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4314" r:id="rId2"/>
    <p:sldMasterId id="2147484325" r:id="rId3"/>
  </p:sldMasterIdLst>
  <p:notesMasterIdLst>
    <p:notesMasterId r:id="rId14"/>
  </p:notesMasterIdLst>
  <p:handoutMasterIdLst>
    <p:handoutMasterId r:id="rId15"/>
  </p:handoutMasterIdLst>
  <p:sldIdLst>
    <p:sldId id="485" r:id="rId4"/>
    <p:sldId id="517" r:id="rId5"/>
    <p:sldId id="518" r:id="rId6"/>
    <p:sldId id="503" r:id="rId7"/>
    <p:sldId id="500" r:id="rId8"/>
    <p:sldId id="494" r:id="rId9"/>
    <p:sldId id="512" r:id="rId10"/>
    <p:sldId id="513" r:id="rId11"/>
    <p:sldId id="511" r:id="rId12"/>
    <p:sldId id="488" r:id="rId13"/>
  </p:sldIdLst>
  <p:sldSz cx="9144000" cy="6858000" type="screen4x3"/>
  <p:notesSz cx="6797675" cy="9926638"/>
  <p:custDataLst>
    <p:tags r:id="rId16"/>
  </p:custDataLst>
  <p:defaultTextStyle>
    <a:defPPr>
      <a:defRPr lang="en-US"/>
    </a:defPPr>
    <a:lvl1pPr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MS PGothic" pitchFamily="34" charset="-128"/>
        <a:cs typeface="+mn-cs"/>
      </a:defRPr>
    </a:lvl1pPr>
    <a:lvl2pPr marL="457200"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MS PGothic" pitchFamily="34" charset="-128"/>
        <a:cs typeface="+mn-cs"/>
      </a:defRPr>
    </a:lvl2pPr>
    <a:lvl3pPr marL="914400"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MS PGothic" pitchFamily="34" charset="-128"/>
        <a:cs typeface="+mn-cs"/>
      </a:defRPr>
    </a:lvl3pPr>
    <a:lvl4pPr marL="1371600"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MS PGothic" pitchFamily="34" charset="-128"/>
        <a:cs typeface="+mn-cs"/>
      </a:defRPr>
    </a:lvl4pPr>
    <a:lvl5pPr marL="1828800"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LindeDaxPowerPoint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LindeDaxPowerPoint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LindeDaxPowerPoint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LindeDaxPowerPoint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0">
          <p15:clr>
            <a:srgbClr val="A4A3A4"/>
          </p15:clr>
        </p15:guide>
        <p15:guide id="2" pos="204">
          <p15:clr>
            <a:srgbClr val="A4A3A4"/>
          </p15:clr>
        </p15:guide>
        <p15:guide id="3" pos="5556">
          <p15:clr>
            <a:srgbClr val="A4A3A4"/>
          </p15:clr>
        </p15:guide>
        <p15:guide id="4" pos="3696">
          <p15:clr>
            <a:srgbClr val="A4A3A4"/>
          </p15:clr>
        </p15:guide>
        <p15:guide id="5" pos="113">
          <p15:clr>
            <a:srgbClr val="A4A3A4"/>
          </p15:clr>
        </p15:guide>
        <p15:guide id="6" pos="5647">
          <p15:clr>
            <a:srgbClr val="A4A3A4"/>
          </p15:clr>
        </p15:guide>
        <p15:guide id="7" pos="4377">
          <p15:clr>
            <a:srgbClr val="A4A3A4"/>
          </p15:clr>
        </p15:guide>
        <p15:guide id="8" pos="29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1E23"/>
    <a:srgbClr val="701518"/>
    <a:srgbClr val="6B1C40"/>
    <a:srgbClr val="00A39C"/>
    <a:srgbClr val="54616E"/>
    <a:srgbClr val="D4DEB5"/>
    <a:srgbClr val="A3A699"/>
    <a:srgbClr val="A8B5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373" autoAdjust="0"/>
  </p:normalViewPr>
  <p:slideViewPr>
    <p:cSldViewPr snapToObjects="1">
      <p:cViewPr>
        <p:scale>
          <a:sx n="100" d="100"/>
          <a:sy n="100" d="100"/>
        </p:scale>
        <p:origin x="1104" y="-102"/>
      </p:cViewPr>
      <p:guideLst>
        <p:guide orient="horz" pos="4020"/>
        <p:guide pos="204"/>
        <p:guide pos="5556"/>
        <p:guide pos="3696"/>
        <p:guide pos="113"/>
        <p:guide pos="5647"/>
        <p:guide pos="4377"/>
        <p:guide pos="29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-7662"/>
    </p:cViewPr>
  </p:sorterViewPr>
  <p:notesViewPr>
    <p:cSldViewPr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481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83" tIns="45740" rIns="91483" bIns="45740" numCol="1" anchor="t" anchorCtr="0" compatLnSpc="1">
            <a:prstTxWarp prst="textNoShape">
              <a:avLst/>
            </a:prstTxWarp>
          </a:bodyPr>
          <a:lstStyle>
            <a:lvl1pPr defTabSz="914188">
              <a:lnSpc>
                <a:spcPct val="100000"/>
              </a:lnSpc>
              <a:defRPr sz="1200">
                <a:latin typeface="LindeDaxPowerPoint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863" y="0"/>
            <a:ext cx="2944812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83" tIns="45740" rIns="91483" bIns="45740" numCol="1" anchor="t" anchorCtr="0" compatLnSpc="1">
            <a:prstTxWarp prst="textNoShape">
              <a:avLst/>
            </a:prstTxWarp>
          </a:bodyPr>
          <a:lstStyle>
            <a:lvl1pPr algn="r" defTabSz="914188">
              <a:lnSpc>
                <a:spcPct val="100000"/>
              </a:lnSpc>
              <a:defRPr sz="1200">
                <a:latin typeface="LindeDaxPowerPoint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9750"/>
            <a:ext cx="294481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83" tIns="45740" rIns="91483" bIns="45740" numCol="1" anchor="b" anchorCtr="0" compatLnSpc="1">
            <a:prstTxWarp prst="textNoShape">
              <a:avLst/>
            </a:prstTxWarp>
          </a:bodyPr>
          <a:lstStyle>
            <a:lvl1pPr defTabSz="914188">
              <a:lnSpc>
                <a:spcPct val="100000"/>
              </a:lnSpc>
              <a:defRPr sz="1200">
                <a:latin typeface="LindeDaxPowerPoint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37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1483" tIns="45740" rIns="91483" bIns="45740" numCol="1" anchor="b" anchorCtr="0" compatLnSpc="1">
            <a:prstTxWarp prst="textNoShape">
              <a:avLst/>
            </a:prstTxWarp>
          </a:bodyPr>
          <a:lstStyle>
            <a:lvl1pPr algn="r" defTabSz="912813">
              <a:lnSpc>
                <a:spcPct val="100000"/>
              </a:lnSpc>
              <a:defRPr sz="1200"/>
            </a:lvl1pPr>
          </a:lstStyle>
          <a:p>
            <a:pPr>
              <a:defRPr/>
            </a:pPr>
            <a:fld id="{A6631873-A95E-41BC-B145-F04DD7E08DE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37946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481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83" tIns="45740" rIns="91483" bIns="45740" numCol="1" anchor="t" anchorCtr="0" compatLnSpc="1">
            <a:prstTxWarp prst="textNoShape">
              <a:avLst/>
            </a:prstTxWarp>
          </a:bodyPr>
          <a:lstStyle>
            <a:lvl1pPr defTabSz="914188">
              <a:lnSpc>
                <a:spcPct val="100000"/>
              </a:lnSpc>
              <a:defRPr sz="1200">
                <a:latin typeface="LindeDaxPowerPoint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863" y="0"/>
            <a:ext cx="2944812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83" tIns="45740" rIns="91483" bIns="45740" numCol="1" anchor="t" anchorCtr="0" compatLnSpc="1">
            <a:prstTxWarp prst="textNoShape">
              <a:avLst/>
            </a:prstTxWarp>
          </a:bodyPr>
          <a:lstStyle>
            <a:lvl1pPr algn="r" defTabSz="914188">
              <a:lnSpc>
                <a:spcPct val="100000"/>
              </a:lnSpc>
              <a:defRPr sz="1200">
                <a:latin typeface="LindeDaxPowerPoint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1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6125"/>
            <a:ext cx="4959350" cy="3719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  <a:ext uri="{FAA26D3D-D897-4be2-8F04-BA451C77F1D7}"/>
          </a:extLst>
        </p:spPr>
      </p:sp>
      <p:sp>
        <p:nvSpPr>
          <p:cNvPr id="21509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904876" y="4714875"/>
            <a:ext cx="4987925" cy="4465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Klicken Sie, um die Formate des Vorlagentextes zu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750"/>
            <a:ext cx="294481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83" tIns="45740" rIns="91483" bIns="45740" numCol="1" anchor="b" anchorCtr="0" compatLnSpc="1">
            <a:prstTxWarp prst="textNoShape">
              <a:avLst/>
            </a:prstTxWarp>
          </a:bodyPr>
          <a:lstStyle>
            <a:lvl1pPr defTabSz="914188">
              <a:lnSpc>
                <a:spcPct val="100000"/>
              </a:lnSpc>
              <a:defRPr sz="1200">
                <a:latin typeface="LindeDaxPowerPoint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15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83" tIns="45740" rIns="91483" bIns="45740" numCol="1" anchor="b" anchorCtr="0" compatLnSpc="1">
            <a:prstTxWarp prst="textNoShape">
              <a:avLst/>
            </a:prstTxWarp>
          </a:bodyPr>
          <a:lstStyle>
            <a:lvl1pPr algn="r" defTabSz="912813">
              <a:lnSpc>
                <a:spcPct val="100000"/>
              </a:lnSpc>
              <a:defRPr sz="1200"/>
            </a:lvl1pPr>
          </a:lstStyle>
          <a:p>
            <a:pPr>
              <a:defRPr/>
            </a:pPr>
            <a:fld id="{7FBCBC4D-57A1-47DA-AABF-343344D2B65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82933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110000"/>
      </a:lnSpc>
      <a:spcBef>
        <a:spcPct val="0"/>
      </a:spcBef>
      <a:spcAft>
        <a:spcPct val="30000"/>
      </a:spcAft>
      <a:tabLst>
        <a:tab pos="274638" algn="l"/>
      </a:tabLst>
      <a:defRPr sz="1600" b="1" kern="1200">
        <a:solidFill>
          <a:schemeClr val="tx1"/>
        </a:solidFill>
        <a:latin typeface="LindeDaxPowerPoint" charset="0"/>
        <a:ea typeface="MS PGothic" charset="0"/>
        <a:cs typeface="MS PGothic" charset="0"/>
      </a:defRPr>
    </a:lvl1pPr>
    <a:lvl2pPr marL="1588" algn="l" rtl="0" eaLnBrk="0" fontAlgn="base" hangingPunct="0">
      <a:lnSpc>
        <a:spcPct val="110000"/>
      </a:lnSpc>
      <a:spcBef>
        <a:spcPct val="0"/>
      </a:spcBef>
      <a:spcAft>
        <a:spcPct val="30000"/>
      </a:spcAft>
      <a:tabLst>
        <a:tab pos="274638" algn="l"/>
      </a:tabLst>
      <a:defRPr sz="1600" kern="1200">
        <a:solidFill>
          <a:schemeClr val="tx1"/>
        </a:solidFill>
        <a:latin typeface="LindeDaxPowerPoint" charset="0"/>
        <a:ea typeface="MS PGothic" charset="0"/>
        <a:cs typeface="MS PGothic" charset="0"/>
      </a:defRPr>
    </a:lvl2pPr>
    <a:lvl3pPr marL="382588" indent="-379413" algn="l" rtl="0" eaLnBrk="0" fontAlgn="base" hangingPunct="0">
      <a:lnSpc>
        <a:spcPct val="110000"/>
      </a:lnSpc>
      <a:spcBef>
        <a:spcPct val="0"/>
      </a:spcBef>
      <a:spcAft>
        <a:spcPct val="30000"/>
      </a:spcAft>
      <a:buFont typeface="LindeDaxPowerPoint" pitchFamily="34" charset="0"/>
      <a:buChar char="—"/>
      <a:tabLst>
        <a:tab pos="274638" algn="l"/>
      </a:tabLst>
      <a:defRPr sz="1600" kern="1200">
        <a:solidFill>
          <a:schemeClr val="tx1"/>
        </a:solidFill>
        <a:latin typeface="LindeDaxPowerPoint" charset="0"/>
        <a:ea typeface="MS PGothic" charset="0"/>
        <a:cs typeface="MS PGothic" charset="0"/>
      </a:defRPr>
    </a:lvl3pPr>
    <a:lvl4pPr marL="762000" indent="-377825" algn="l" rtl="0" eaLnBrk="0" fontAlgn="base" hangingPunct="0">
      <a:lnSpc>
        <a:spcPct val="110000"/>
      </a:lnSpc>
      <a:spcBef>
        <a:spcPct val="0"/>
      </a:spcBef>
      <a:spcAft>
        <a:spcPct val="30000"/>
      </a:spcAft>
      <a:buChar char="—"/>
      <a:tabLst>
        <a:tab pos="274638" algn="l"/>
      </a:tabLst>
      <a:defRPr sz="1600" kern="1200">
        <a:solidFill>
          <a:schemeClr val="tx1"/>
        </a:solidFill>
        <a:latin typeface="LindeDaxPowerPoint" charset="0"/>
        <a:ea typeface="MS PGothic" charset="0"/>
        <a:cs typeface="MS PGothic" charset="0"/>
      </a:defRPr>
    </a:lvl4pPr>
    <a:lvl5pPr marL="1141413" indent="-377825" algn="l" rtl="0" eaLnBrk="0" fontAlgn="base" hangingPunct="0">
      <a:lnSpc>
        <a:spcPct val="110000"/>
      </a:lnSpc>
      <a:spcBef>
        <a:spcPct val="0"/>
      </a:spcBef>
      <a:spcAft>
        <a:spcPct val="30000"/>
      </a:spcAft>
      <a:buChar char="—"/>
      <a:tabLst>
        <a:tab pos="274638" algn="l"/>
      </a:tabLst>
      <a:defRPr sz="1600" kern="1200">
        <a:solidFill>
          <a:schemeClr val="tx1"/>
        </a:solidFill>
        <a:latin typeface="LindeDaxPowerPoint" charset="0"/>
        <a:ea typeface="MS PGothic" charset="0"/>
        <a:cs typeface="MS PGothic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BCBC4D-57A1-47DA-AABF-343344D2B653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81773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BCBC4D-57A1-47DA-AABF-343344D2B653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61448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64BD7-A3A4-4B3F-B869-51F48D309954}" type="slidenum">
              <a:rPr lang="en-US">
                <a:solidFill>
                  <a:prstClr val="black"/>
                </a:solidFill>
                <a:latin typeface="Calibri"/>
              </a:rPr>
              <a:pPr/>
              <a:t>2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Rectangle 49"/>
          <p:cNvSpPr>
            <a:spLocks noChangeArrowheads="1"/>
          </p:cNvSpPr>
          <p:nvPr/>
        </p:nvSpPr>
        <p:spPr bwMode="gray">
          <a:xfrm>
            <a:off x="410633" y="7145154"/>
            <a:ext cx="6180772" cy="441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35767" indent="-135767">
              <a:defRPr/>
            </a:pP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To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enable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comparability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the 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figures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of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2015 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and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2016 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are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adjusted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for 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discontinued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operations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(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Gist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)</a:t>
            </a:r>
          </a:p>
          <a:p>
            <a:pPr marL="135767" indent="-135767">
              <a:defRPr/>
            </a:pPr>
            <a:r>
              <a:rPr lang="en-GB" sz="750" baseline="30000" dirty="0">
                <a:latin typeface="LindeDaxPowerPoint" charset="0"/>
                <a:ea typeface="MS PGothic" charset="0"/>
                <a:cs typeface="MS PGothic" charset="0"/>
              </a:rPr>
              <a:t>1</a:t>
            </a:r>
            <a:r>
              <a:rPr lang="en-GB" sz="750" dirty="0">
                <a:latin typeface="LindeDaxPowerPoint" charset="0"/>
                <a:ea typeface="MS PGothic" charset="0"/>
                <a:cs typeface="MS PGothic" charset="0"/>
              </a:rPr>
              <a:t> EBIT (before non-recurring items) adjusted for amortisation of intangible assets and depreciation of tangible assets</a:t>
            </a:r>
          </a:p>
          <a:p>
            <a:pPr marL="135767" indent="-135767">
              <a:defRPr/>
            </a:pPr>
            <a:r>
              <a:rPr lang="de-DE" sz="750" baseline="30000" dirty="0">
                <a:latin typeface="LindeDaxPowerPoint" charset="0"/>
              </a:rPr>
              <a:t>2</a:t>
            </a:r>
            <a:r>
              <a:rPr lang="de-DE" sz="750" dirty="0">
                <a:latin typeface="LindeDaxPowerPoint" charset="0"/>
              </a:rPr>
              <a:t> Basis </a:t>
            </a:r>
            <a:r>
              <a:rPr lang="de-DE" sz="750" dirty="0" err="1">
                <a:latin typeface="LindeDaxPowerPoint" charset="0"/>
              </a:rPr>
              <a:t>points</a:t>
            </a:r>
            <a:endParaRPr lang="de-DE" sz="750" dirty="0">
              <a:latin typeface="LindeDaxPowerPoint" charset="0"/>
            </a:endParaRPr>
          </a:p>
          <a:p>
            <a:pPr marL="135767" indent="-135767">
              <a:defRPr/>
            </a:pPr>
            <a:endParaRPr lang="de-DE" sz="750" dirty="0">
              <a:latin typeface="LindeDaxPowerPoint" charset="0"/>
            </a:endParaRPr>
          </a:p>
        </p:txBody>
      </p:sp>
      <p:graphicFrame>
        <p:nvGraphicFramePr>
          <p:cNvPr id="6" name="Group 47"/>
          <p:cNvGraphicFramePr>
            <a:graphicFrameLocks noGrp="1"/>
          </p:cNvGraphicFramePr>
          <p:nvPr>
            <p:extLst/>
          </p:nvPr>
        </p:nvGraphicFramePr>
        <p:xfrm>
          <a:off x="410633" y="5472546"/>
          <a:ext cx="6181928" cy="1656676"/>
        </p:xfrm>
        <a:graphic>
          <a:graphicData uri="http://schemas.openxmlformats.org/drawingml/2006/table">
            <a:tbl>
              <a:tblPr/>
              <a:tblGrid>
                <a:gridCol w="32476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86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18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477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862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477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928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2366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Financial highlights</a:t>
                      </a:r>
                      <a:endParaRPr kumimoji="0" lang="en-GB" sz="12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0" marT="28831" marB="2883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1" u="none" strike="noStrike" cap="none" normalizeH="0" baseline="3000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1" u="none" strike="noStrike" cap="none" normalizeH="0" baseline="3000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1" u="none" strike="noStrike" cap="none" normalizeH="0" baseline="3000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 2015</a:t>
                      </a:r>
                      <a:endParaRPr kumimoji="0" lang="de-DE" sz="1200" b="0" i="1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1" u="none" strike="noStrike" cap="none" normalizeH="0" baseline="3000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2016</a:t>
                      </a:r>
                    </a:p>
                  </a:txBody>
                  <a:tcPr marL="0" marR="65475" marT="28831" marB="2883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Change</a:t>
                      </a:r>
                    </a:p>
                  </a:txBody>
                  <a:tcPr marL="0" marR="65475" marT="28831" marB="2883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6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Revenue</a:t>
                      </a:r>
                    </a:p>
                  </a:txBody>
                  <a:tcPr marL="0" marR="0" marT="28831" marB="28831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in EUR m</a:t>
                      </a: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17,345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16,948</a:t>
                      </a: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-2.3%</a:t>
                      </a: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66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Operating profit</a:t>
                      </a:r>
                      <a:r>
                        <a:rPr kumimoji="0" lang="en-GB" sz="12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1</a:t>
                      </a: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0" marT="28831" marB="28831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in EUR m</a:t>
                      </a: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4,087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4,098</a:t>
                      </a: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0.3%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66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Operating margin</a:t>
                      </a:r>
                    </a:p>
                  </a:txBody>
                  <a:tcPr marL="0" marR="0" marT="28831" marB="28831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%</a:t>
                      </a: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23.6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24.2</a:t>
                      </a: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+60 bp</a:t>
                      </a:r>
                      <a:r>
                        <a:rPr kumimoji="0" lang="de-DE" sz="12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2</a:t>
                      </a:r>
                      <a:endParaRPr kumimoji="0" lang="de-DE" sz="1200" b="0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66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EBIT (before non-recurring items)</a:t>
                      </a:r>
                    </a:p>
                  </a:txBody>
                  <a:tcPr marL="0" marR="0" marT="28831" marB="28831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in EUR m</a:t>
                      </a: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2,221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2,201</a:t>
                      </a: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-0.9%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66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Profit for the year</a:t>
                      </a:r>
                    </a:p>
                  </a:txBody>
                  <a:tcPr marL="0" marR="0" marT="28831" marB="28831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in EUR m</a:t>
                      </a: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1,236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1,327</a:t>
                      </a: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7.4%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66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Number of employees as at 31/12</a:t>
                      </a:r>
                      <a:endParaRPr kumimoji="0" lang="en-GB" sz="1200" b="0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0" marT="28831" marB="28831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59,774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59,715</a:t>
                      </a: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-0.1%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44088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defTabSz="94586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69852" indent="-296096" algn="l" defTabSz="94586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84390" indent="-236878" algn="l" defTabSz="94586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58146" indent="-236878" algn="l" defTabSz="94586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131901" indent="-236878" algn="l" defTabSz="94586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605658" indent="-236878" defTabSz="94586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3079415" indent="-236878" defTabSz="94586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553171" indent="-236878" defTabSz="94586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4026926" indent="-236878" defTabSz="94586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r" defTabSz="945866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170077-7998-456C-8A85-19629121DA51}" type="slidenum">
              <a:rPr kumimoji="0" lang="de-DE" altLang="de-DE" sz="13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indeDaxPowerPoint" pitchFamily="34" charset="0"/>
                <a:ea typeface="ＭＳ Ｐゴシック" pitchFamily="34" charset="-128"/>
              </a:rPr>
              <a:pPr marL="0" marR="0" lvl="0" indent="0" algn="r" defTabSz="945866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altLang="de-DE" sz="13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indeDaxPowerPoint" pitchFamily="34" charset="0"/>
              <a:ea typeface="ＭＳ Ｐゴシック" pitchFamily="34" charset="-128"/>
            </a:endParaRPr>
          </a:p>
        </p:txBody>
      </p:sp>
      <p:sp>
        <p:nvSpPr>
          <p:cNvPr id="69635" name="Rectangle 7"/>
          <p:cNvSpPr txBox="1">
            <a:spLocks noGrp="1" noChangeArrowheads="1"/>
          </p:cNvSpPr>
          <p:nvPr/>
        </p:nvSpPr>
        <p:spPr bwMode="auto">
          <a:xfrm>
            <a:off x="4197040" y="10041074"/>
            <a:ext cx="3210926" cy="52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116" tIns="49057" rIns="98116" bIns="49057" anchor="b"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F693B5-4B36-4A44-B542-7D54E0085ED5}" type="slidenum">
              <a:rPr kumimoji="0" lang="de-DE" altLang="de-DE" sz="13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indeDaxPowerPoint" pitchFamily="34" charset="0"/>
                <a:ea typeface="ＭＳ Ｐゴシック" pitchFamily="34" charset="-128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altLang="de-DE" sz="13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indeDaxPowerPoint" pitchFamily="34" charset="0"/>
              <a:ea typeface="ＭＳ Ｐゴシック" pitchFamily="34" charset="-128"/>
            </a:endParaRPr>
          </a:p>
        </p:txBody>
      </p:sp>
      <p:sp>
        <p:nvSpPr>
          <p:cNvPr id="69636" name="Rectangle 7"/>
          <p:cNvSpPr txBox="1">
            <a:spLocks noGrp="1" noChangeArrowheads="1"/>
          </p:cNvSpPr>
          <p:nvPr/>
        </p:nvSpPr>
        <p:spPr bwMode="auto">
          <a:xfrm>
            <a:off x="4197040" y="10041074"/>
            <a:ext cx="3210926" cy="52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2736" tIns="51368" rIns="102736" bIns="51368" anchor="b"/>
          <a:lstStyle>
            <a:lvl1pPr algn="l"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r" defTabSz="92233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A2B0A-92B2-42CA-8357-4A67DDA011C1}" type="slidenum">
              <a:rPr kumimoji="0" lang="de-DE" altLang="de-DE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indeDaxPowerPoint" pitchFamily="34" charset="0"/>
                <a:ea typeface="ＭＳ Ｐゴシック" pitchFamily="34" charset="-128"/>
              </a:rPr>
              <a:pPr marL="0" marR="0" lvl="0" indent="0" algn="r" defTabSz="92233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altLang="de-DE" sz="15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indeDaxPowerPoint" pitchFamily="34" charset="0"/>
              <a:ea typeface="ＭＳ Ｐゴシック" pitchFamily="34" charset="-128"/>
            </a:endParaRPr>
          </a:p>
        </p:txBody>
      </p:sp>
      <p:sp>
        <p:nvSpPr>
          <p:cNvPr id="6963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8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dirty="0"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426666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7"/>
          <p:cNvSpPr txBox="1">
            <a:spLocks noGrp="1" noChangeArrowheads="1"/>
          </p:cNvSpPr>
          <p:nvPr/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1483" tIns="45740" rIns="91483" bIns="45740" anchor="b"/>
          <a:lstStyle>
            <a:lvl1pPr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fld id="{6965BE14-4D77-478A-BF6D-B0DA6F2D3FF2}" type="slidenum">
              <a:rPr lang="de-DE" sz="1200" smtClean="0"/>
              <a:pPr algn="r" eaLnBrk="1" hangingPunct="1">
                <a:lnSpc>
                  <a:spcPct val="100000"/>
                </a:lnSpc>
                <a:defRPr/>
              </a:pPr>
              <a:t>4</a:t>
            </a:fld>
            <a:endParaRPr lang="de-DE" sz="1200"/>
          </a:p>
        </p:txBody>
      </p:sp>
      <p:sp>
        <p:nvSpPr>
          <p:cNvPr id="11" name="Rectangle 7"/>
          <p:cNvSpPr txBox="1">
            <a:spLocks noGrp="1" noChangeArrowheads="1"/>
          </p:cNvSpPr>
          <p:nvPr/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1473" tIns="45736" rIns="91473" bIns="45736" anchor="b"/>
          <a:lstStyle>
            <a:lvl1pPr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fld id="{FDF5298C-8682-4506-9F98-747524F07B60}" type="slidenum">
              <a:rPr lang="de-DE" sz="1200" smtClean="0"/>
              <a:pPr algn="r" eaLnBrk="1" hangingPunct="1">
                <a:lnSpc>
                  <a:spcPct val="100000"/>
                </a:lnSpc>
                <a:defRPr/>
              </a:pPr>
              <a:t>4</a:t>
            </a:fld>
            <a:endParaRPr lang="de-DE" sz="1200"/>
          </a:p>
        </p:txBody>
      </p:sp>
      <p:sp>
        <p:nvSpPr>
          <p:cNvPr id="9" name="Rectangle 7"/>
          <p:cNvSpPr txBox="1">
            <a:spLocks noGrp="1" noChangeArrowheads="1"/>
          </p:cNvSpPr>
          <p:nvPr/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1473" tIns="45736" rIns="91473" bIns="45736" anchor="b"/>
          <a:lstStyle>
            <a:lvl1pPr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fld id="{A257B147-0BDE-4C49-A1B6-217EFCC41A83}" type="slidenum">
              <a:rPr lang="de-DE" sz="1200" smtClean="0"/>
              <a:pPr algn="r" eaLnBrk="1" hangingPunct="1">
                <a:lnSpc>
                  <a:spcPct val="100000"/>
                </a:lnSpc>
                <a:defRPr/>
              </a:pPr>
              <a:t>4</a:t>
            </a:fld>
            <a:endParaRPr lang="de-DE" sz="1200"/>
          </a:p>
        </p:txBody>
      </p:sp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1473" tIns="45736" rIns="91473" bIns="45736" anchor="b"/>
          <a:lstStyle>
            <a:lvl1pPr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fld id="{F992677D-F5B2-4AF5-82E5-DA5C70F6A5F8}" type="slidenum">
              <a:rPr lang="de-DE" sz="1200" smtClean="0"/>
              <a:pPr algn="r" eaLnBrk="1" hangingPunct="1">
                <a:lnSpc>
                  <a:spcPct val="100000"/>
                </a:lnSpc>
                <a:defRPr/>
              </a:pPr>
              <a:t>4</a:t>
            </a:fld>
            <a:endParaRPr lang="de-DE" sz="1200"/>
          </a:p>
        </p:txBody>
      </p:sp>
      <p:sp>
        <p:nvSpPr>
          <p:cNvPr id="907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2338" y="746125"/>
            <a:ext cx="4959350" cy="3719513"/>
          </a:xfrm>
          <a:solidFill>
            <a:srgbClr val="FFFFFF"/>
          </a:solidFill>
          <a:ln/>
        </p:spPr>
      </p:sp>
      <p:sp>
        <p:nvSpPr>
          <p:cNvPr id="907267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>
              <a:tabLst/>
              <a:defRPr/>
            </a:pPr>
            <a:endParaRPr lang="de-DE" dirty="0"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7713"/>
            <a:ext cx="4956175" cy="3717925"/>
          </a:xfrm>
          <a:ln/>
        </p:spPr>
      </p:sp>
      <p:sp>
        <p:nvSpPr>
          <p:cNvPr id="235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82587" indent="-82587">
              <a:tabLst>
                <a:tab pos="431634" algn="l"/>
              </a:tabLst>
            </a:pPr>
            <a:endParaRPr lang="de-DE" b="0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7"/>
          <p:cNvSpPr txBox="1">
            <a:spLocks noGrp="1" noChangeArrowheads="1"/>
          </p:cNvSpPr>
          <p:nvPr/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1483" tIns="45740" rIns="91483" bIns="45740" anchor="b"/>
          <a:lstStyle>
            <a:lvl1pPr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fld id="{6965BE14-4D77-478A-BF6D-B0DA6F2D3FF2}" type="slidenum">
              <a:rPr lang="de-DE" sz="1200" smtClean="0"/>
              <a:pPr algn="r" eaLnBrk="1" hangingPunct="1">
                <a:lnSpc>
                  <a:spcPct val="100000"/>
                </a:lnSpc>
                <a:defRPr/>
              </a:pPr>
              <a:t>6</a:t>
            </a:fld>
            <a:endParaRPr lang="de-DE" sz="1200"/>
          </a:p>
        </p:txBody>
      </p:sp>
      <p:sp>
        <p:nvSpPr>
          <p:cNvPr id="11" name="Rectangle 7"/>
          <p:cNvSpPr txBox="1">
            <a:spLocks noGrp="1" noChangeArrowheads="1"/>
          </p:cNvSpPr>
          <p:nvPr/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1473" tIns="45736" rIns="91473" bIns="45736" anchor="b"/>
          <a:lstStyle>
            <a:lvl1pPr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fld id="{FDF5298C-8682-4506-9F98-747524F07B60}" type="slidenum">
              <a:rPr lang="de-DE" sz="1200" smtClean="0"/>
              <a:pPr algn="r" eaLnBrk="1" hangingPunct="1">
                <a:lnSpc>
                  <a:spcPct val="100000"/>
                </a:lnSpc>
                <a:defRPr/>
              </a:pPr>
              <a:t>6</a:t>
            </a:fld>
            <a:endParaRPr lang="de-DE" sz="1200"/>
          </a:p>
        </p:txBody>
      </p:sp>
      <p:sp>
        <p:nvSpPr>
          <p:cNvPr id="9" name="Rectangle 7"/>
          <p:cNvSpPr txBox="1">
            <a:spLocks noGrp="1" noChangeArrowheads="1"/>
          </p:cNvSpPr>
          <p:nvPr/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1473" tIns="45736" rIns="91473" bIns="45736" anchor="b"/>
          <a:lstStyle>
            <a:lvl1pPr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fld id="{A257B147-0BDE-4C49-A1B6-217EFCC41A83}" type="slidenum">
              <a:rPr lang="de-DE" sz="1200" smtClean="0"/>
              <a:pPr algn="r" eaLnBrk="1" hangingPunct="1">
                <a:lnSpc>
                  <a:spcPct val="100000"/>
                </a:lnSpc>
                <a:defRPr/>
              </a:pPr>
              <a:t>6</a:t>
            </a:fld>
            <a:endParaRPr lang="de-DE" sz="1200"/>
          </a:p>
        </p:txBody>
      </p:sp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1473" tIns="45736" rIns="91473" bIns="45736" anchor="b"/>
          <a:lstStyle>
            <a:lvl1pPr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fld id="{F992677D-F5B2-4AF5-82E5-DA5C70F6A5F8}" type="slidenum">
              <a:rPr lang="de-DE" sz="1200" smtClean="0"/>
              <a:pPr algn="r" eaLnBrk="1" hangingPunct="1">
                <a:lnSpc>
                  <a:spcPct val="100000"/>
                </a:lnSpc>
                <a:defRPr/>
              </a:pPr>
              <a:t>6</a:t>
            </a:fld>
            <a:endParaRPr lang="de-DE" sz="1200"/>
          </a:p>
        </p:txBody>
      </p:sp>
      <p:sp>
        <p:nvSpPr>
          <p:cNvPr id="907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2338" y="746125"/>
            <a:ext cx="4959350" cy="3719513"/>
          </a:xfrm>
          <a:solidFill>
            <a:srgbClr val="FFFFFF"/>
          </a:solidFill>
          <a:ln/>
        </p:spPr>
      </p:sp>
      <p:sp>
        <p:nvSpPr>
          <p:cNvPr id="907267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>
              <a:tabLst/>
              <a:defRPr/>
            </a:pPr>
            <a:endParaRPr lang="de-DE" dirty="0"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A2F8107F-27BE-474F-86B6-CFA782CCDEE6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47700" y="795338"/>
            <a:ext cx="5297488" cy="3973512"/>
          </a:xfrm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73552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A2F8107F-27BE-474F-86B6-CFA782CCDEE6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47700" y="795338"/>
            <a:ext cx="5297488" cy="3973512"/>
          </a:xfrm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77350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842963" eaLnBrk="0" hangingPunct="0">
              <a:lnSpc>
                <a:spcPct val="110000"/>
              </a:lnSpc>
              <a:defRPr sz="1600">
                <a:solidFill>
                  <a:schemeClr val="tx1"/>
                </a:solidFill>
                <a:latin typeface="LindeDaxPowerPoint" pitchFamily="34" charset="0"/>
              </a:defRPr>
            </a:lvl1pPr>
            <a:lvl2pPr marL="742950" indent="-285750" defTabSz="842963" eaLnBrk="0" hangingPunct="0">
              <a:lnSpc>
                <a:spcPct val="110000"/>
              </a:lnSpc>
              <a:defRPr sz="1600">
                <a:solidFill>
                  <a:schemeClr val="tx1"/>
                </a:solidFill>
                <a:latin typeface="LindeDaxPowerPoint" pitchFamily="34" charset="0"/>
              </a:defRPr>
            </a:lvl2pPr>
            <a:lvl3pPr marL="1143000" indent="-228600" defTabSz="842963" eaLnBrk="0" hangingPunct="0">
              <a:lnSpc>
                <a:spcPct val="110000"/>
              </a:lnSpc>
              <a:defRPr sz="1600">
                <a:solidFill>
                  <a:schemeClr val="tx1"/>
                </a:solidFill>
                <a:latin typeface="LindeDaxPowerPoint" pitchFamily="34" charset="0"/>
              </a:defRPr>
            </a:lvl3pPr>
            <a:lvl4pPr marL="1600200" indent="-228600" defTabSz="842963" eaLnBrk="0" hangingPunct="0">
              <a:lnSpc>
                <a:spcPct val="110000"/>
              </a:lnSpc>
              <a:defRPr sz="1600">
                <a:solidFill>
                  <a:schemeClr val="tx1"/>
                </a:solidFill>
                <a:latin typeface="LindeDaxPowerPoint" pitchFamily="34" charset="0"/>
              </a:defRPr>
            </a:lvl4pPr>
            <a:lvl5pPr marL="2057400" indent="-228600" defTabSz="842963" eaLnBrk="0" hangingPunct="0">
              <a:lnSpc>
                <a:spcPct val="110000"/>
              </a:lnSpc>
              <a:defRPr sz="1600">
                <a:solidFill>
                  <a:schemeClr val="tx1"/>
                </a:solidFill>
                <a:latin typeface="LindeDaxPowerPoint" pitchFamily="34" charset="0"/>
              </a:defRPr>
            </a:lvl5pPr>
            <a:lvl6pPr marL="2514600" indent="-228600" defTabSz="842963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</a:defRPr>
            </a:lvl6pPr>
            <a:lvl7pPr marL="2971800" indent="-228600" defTabSz="842963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</a:defRPr>
            </a:lvl7pPr>
            <a:lvl8pPr marL="3429000" indent="-228600" defTabSz="842963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</a:defRPr>
            </a:lvl8pPr>
            <a:lvl9pPr marL="3886200" indent="-228600" defTabSz="842963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defRPr/>
            </a:pPr>
            <a:fld id="{33550572-BCF4-4838-9D18-71B646544E11}" type="slidenum">
              <a:rPr lang="de-DE" sz="1100" smtClean="0">
                <a:ea typeface="MS PGothic" pitchFamily="34" charset="-128"/>
              </a:rPr>
              <a:pPr eaLnBrk="1" hangingPunct="1">
                <a:lnSpc>
                  <a:spcPct val="100000"/>
                </a:lnSpc>
                <a:defRPr/>
              </a:pPr>
              <a:t>9</a:t>
            </a:fld>
            <a:endParaRPr lang="de-DE" sz="1100">
              <a:ea typeface="MS PGothic" pitchFamily="34" charset="-128"/>
            </a:endParaRPr>
          </a:p>
        </p:txBody>
      </p:sp>
      <p:sp>
        <p:nvSpPr>
          <p:cNvPr id="788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88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57764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31"/>
          <p:cNvSpPr>
            <a:spLocks noChangeArrowheads="1"/>
          </p:cNvSpPr>
          <p:nvPr/>
        </p:nvSpPr>
        <p:spPr bwMode="gray">
          <a:xfrm>
            <a:off x="0" y="5226050"/>
            <a:ext cx="9144000" cy="16319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lIns="90000" tIns="82800" rIns="90000" bIns="46800" anchor="ctr"/>
          <a:lstStyle/>
          <a:p>
            <a:pPr>
              <a:defRPr/>
            </a:pPr>
            <a:endParaRPr lang="de-DE">
              <a:latin typeface="LindeDaxPowerPoint" charset="0"/>
              <a:ea typeface="ＭＳ Ｐゴシック" charset="0"/>
            </a:endParaRPr>
          </a:p>
        </p:txBody>
      </p:sp>
      <p:pic>
        <p:nvPicPr>
          <p:cNvPr id="5" name="Picture 6" descr="_Titel_Standard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573588" y="2276475"/>
            <a:ext cx="4408487" cy="3744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459" name="Rectangle 99"/>
          <p:cNvSpPr>
            <a:spLocks noGrp="1" noChangeArrowheads="1"/>
          </p:cNvSpPr>
          <p:nvPr>
            <p:ph type="ctrTitle"/>
          </p:nvPr>
        </p:nvSpPr>
        <p:spPr>
          <a:xfrm>
            <a:off x="4787901" y="2349502"/>
            <a:ext cx="4032250" cy="201612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4000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/>
          </p:nvPr>
        </p:nvSpPr>
        <p:spPr>
          <a:xfrm>
            <a:off x="4787901" y="5229228"/>
            <a:ext cx="4032250" cy="792163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Aft>
                <a:spcPct val="0"/>
              </a:spcAft>
              <a:tabLst/>
              <a:defRPr b="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20771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A5587B-6378-4DC9-B7F3-A3FB8BCE2D7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58808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56388" y="161925"/>
            <a:ext cx="2163762" cy="621982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61929" y="161925"/>
            <a:ext cx="6342063" cy="621982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258385-EA7E-4AFA-B3ED-73AF4191E46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12086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1928" y="161928"/>
            <a:ext cx="6784975" cy="10207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iagrammplatzhalter 2"/>
          <p:cNvSpPr>
            <a:spLocks noGrp="1"/>
          </p:cNvSpPr>
          <p:nvPr>
            <p:ph type="chart" idx="1"/>
          </p:nvPr>
        </p:nvSpPr>
        <p:spPr>
          <a:xfrm>
            <a:off x="323851" y="1484313"/>
            <a:ext cx="8496300" cy="48974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de-DE" noProof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8CA520-0735-4616-A02C-F450DAC08A2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68505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sz="quarter"/>
          </p:nvPr>
        </p:nvSpPr>
        <p:spPr>
          <a:xfrm>
            <a:off x="161928" y="161928"/>
            <a:ext cx="6784975" cy="10207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323850" y="1484313"/>
            <a:ext cx="4171950" cy="23717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648201" y="1484313"/>
            <a:ext cx="4171950" cy="23717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323850" y="4008439"/>
            <a:ext cx="4171950" cy="2373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8201" y="4008439"/>
            <a:ext cx="4171950" cy="2373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AB0AE1-655A-40AB-BBDE-B8C65685CE1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67547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0" y="1500188"/>
            <a:ext cx="4104134" cy="4881562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  <p:sp>
        <p:nvSpPr>
          <p:cNvPr id="7" name="Inhaltsplatzhalter 2"/>
          <p:cNvSpPr>
            <a:spLocks noGrp="1"/>
          </p:cNvSpPr>
          <p:nvPr>
            <p:ph idx="12"/>
          </p:nvPr>
        </p:nvSpPr>
        <p:spPr>
          <a:xfrm>
            <a:off x="4716016" y="1500188"/>
            <a:ext cx="4104134" cy="4881562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595450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0" y="5226050"/>
            <a:ext cx="9144000" cy="163195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000" tIns="82800" rIns="90000" bIns="46800"/>
          <a:lstStyle>
            <a:lvl1pPr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de-DE" altLang="de-DE">
              <a:solidFill>
                <a:srgbClr val="00305C"/>
              </a:solidFill>
            </a:endParaRPr>
          </a:p>
        </p:txBody>
      </p:sp>
      <p:sp>
        <p:nvSpPr>
          <p:cNvPr id="6" name="Rectangle 331"/>
          <p:cNvSpPr>
            <a:spLocks noChangeArrowheads="1"/>
          </p:cNvSpPr>
          <p:nvPr/>
        </p:nvSpPr>
        <p:spPr bwMode="gray">
          <a:xfrm>
            <a:off x="0" y="5226050"/>
            <a:ext cx="9144000" cy="16319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82800" rIns="90000" bIns="46800" anchor="ctr"/>
          <a:lstStyle>
            <a:lvl1pPr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en-GB" altLang="de-DE">
              <a:solidFill>
                <a:srgbClr val="00305C"/>
              </a:solidFill>
            </a:endParaRPr>
          </a:p>
        </p:txBody>
      </p:sp>
      <p:grpSp>
        <p:nvGrpSpPr>
          <p:cNvPr id="7" name="Group 15"/>
          <p:cNvGrpSpPr>
            <a:grpSpLocks/>
          </p:cNvGrpSpPr>
          <p:nvPr userDrawn="1"/>
        </p:nvGrpSpPr>
        <p:grpSpPr bwMode="auto">
          <a:xfrm>
            <a:off x="4572000" y="2276475"/>
            <a:ext cx="4410075" cy="3744913"/>
            <a:chOff x="4572000" y="2276475"/>
            <a:chExt cx="4410075" cy="3744913"/>
          </a:xfrm>
        </p:grpSpPr>
        <p:sp>
          <p:nvSpPr>
            <p:cNvPr id="8" name="Rectangle 16"/>
            <p:cNvSpPr>
              <a:spLocks noChangeArrowheads="1"/>
            </p:cNvSpPr>
            <p:nvPr userDrawn="1"/>
          </p:nvSpPr>
          <p:spPr bwMode="auto">
            <a:xfrm>
              <a:off x="4575175" y="5226050"/>
              <a:ext cx="4402138" cy="79533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9" name="Rectangle 17"/>
            <p:cNvSpPr>
              <a:spLocks noChangeArrowheads="1"/>
            </p:cNvSpPr>
            <p:nvPr userDrawn="1"/>
          </p:nvSpPr>
          <p:spPr bwMode="auto">
            <a:xfrm>
              <a:off x="4572000" y="2276475"/>
              <a:ext cx="4410075" cy="29495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10" name="Bild 5" descr="Claim_white.pdf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9958" y="4687619"/>
              <a:ext cx="910154" cy="4550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Bild 8" descr="Logo_white.pdf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68609" y="4307496"/>
              <a:ext cx="1820308" cy="835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Bildplatzhalter 2"/>
          <p:cNvSpPr>
            <a:spLocks noGrp="1"/>
          </p:cNvSpPr>
          <p:nvPr>
            <p:ph type="pic" sz="quarter" idx="11"/>
          </p:nvPr>
        </p:nvSpPr>
        <p:spPr>
          <a:xfrm>
            <a:off x="3176" y="0"/>
            <a:ext cx="9144000" cy="5226049"/>
          </a:xfrm>
          <a:custGeom>
            <a:avLst/>
            <a:gdLst/>
            <a:ahLst/>
            <a:cxnLst/>
            <a:rect l="l" t="t" r="r" b="b"/>
            <a:pathLst>
              <a:path w="9144000" h="5226049">
                <a:moveTo>
                  <a:pt x="0" y="0"/>
                </a:moveTo>
                <a:lnTo>
                  <a:pt x="9144000" y="0"/>
                </a:lnTo>
                <a:lnTo>
                  <a:pt x="9144000" y="5226049"/>
                </a:lnTo>
                <a:lnTo>
                  <a:pt x="8977312" y="5226049"/>
                </a:lnTo>
                <a:lnTo>
                  <a:pt x="8977312" y="2276475"/>
                </a:lnTo>
                <a:lnTo>
                  <a:pt x="4571999" y="2276475"/>
                </a:lnTo>
                <a:lnTo>
                  <a:pt x="4571999" y="5226049"/>
                </a:lnTo>
                <a:lnTo>
                  <a:pt x="0" y="5226049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266700" indent="-266700" algn="ctr">
              <a:buNone/>
              <a:defRPr lang="de-DE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/>
          </p:nvPr>
        </p:nvSpPr>
        <p:spPr>
          <a:xfrm>
            <a:off x="4787900" y="2349501"/>
            <a:ext cx="4032250" cy="201560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4000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/>
          </p:nvPr>
        </p:nvSpPr>
        <p:spPr>
          <a:xfrm>
            <a:off x="4787900" y="5226051"/>
            <a:ext cx="4032250" cy="795338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spcAft>
                <a:spcPct val="0"/>
              </a:spcAft>
              <a:buNone/>
              <a:tabLst/>
              <a:defRPr b="0"/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135255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7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8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9" name="Bild 15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C40ADF5D-617D-4422-86D2-5BE4660EDD62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3851" y="1500188"/>
            <a:ext cx="8496300" cy="4881562"/>
          </a:xfrm>
        </p:spPr>
        <p:txBody>
          <a:bodyPr/>
          <a:lstStyle>
            <a:lvl1pPr marL="266700" indent="-266700">
              <a:buFont typeface="+mj-lt"/>
              <a:buAutoNum type="arabicPeriod"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12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010231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grey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6" name="Rechteck 1"/>
            <p:cNvSpPr>
              <a:spLocks noChangeArrowheads="1"/>
            </p:cNvSpPr>
            <p:nvPr userDrawn="1"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7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8" name="Bild 8" descr="Logo_white.pdf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3851" y="1500188"/>
            <a:ext cx="8496300" cy="4881562"/>
          </a:xfrm>
        </p:spPr>
        <p:txBody>
          <a:bodyPr/>
          <a:lstStyle>
            <a:lvl1pPr marL="266700" indent="-266700">
              <a:buFont typeface="LindeDaxPowerPoint" pitchFamily="34" charset="0"/>
              <a:buChar char="—"/>
              <a:tabLst>
                <a:tab pos="266700" algn="l"/>
              </a:tabLst>
              <a:defRPr b="0"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94807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cyan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6" name="Rechteck 1"/>
            <p:cNvSpPr>
              <a:spLocks noChangeArrowheads="1"/>
            </p:cNvSpPr>
            <p:nvPr userDrawn="1"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7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8" name="Bild 8" descr="Logo_white.pdf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3851" y="1500188"/>
            <a:ext cx="8496300" cy="4881562"/>
          </a:xfrm>
        </p:spPr>
        <p:txBody>
          <a:bodyPr/>
          <a:lstStyle>
            <a:lvl1pPr marL="266700" indent="-266700">
              <a:buFont typeface="LindeDaxPowerPoint" pitchFamily="34" charset="0"/>
              <a:buChar char="—"/>
              <a:tabLst>
                <a:tab pos="266700" algn="l"/>
              </a:tabLst>
              <a:defRPr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99380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6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7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8" name="Bild 8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468C8991-93C8-4AB1-AB5B-7DC8BE27952C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11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14581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CD6C44-C428-4A82-990F-27A3D7318CC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81230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632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5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6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7" name="Bild 8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95F9C6CE-0BCE-48EF-843C-6182F9E0D379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510273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1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4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5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6" name="Bild 8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AFB6B536-B0F5-48D4-8606-166A5CEC5DF4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481686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7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8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9" name="Bild 15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DE27BBE7-3837-4724-B117-08680CA8B60B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84313"/>
            <a:ext cx="4171950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484313"/>
            <a:ext cx="4171950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10000"/>
              </a:lnSpc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6959600" y="6453188"/>
            <a:ext cx="1860550" cy="25241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305C"/>
                </a:solidFill>
              </a:defRPr>
            </a:lvl1pPr>
          </a:lstStyle>
          <a:p>
            <a:pPr>
              <a:defRPr/>
            </a:pPr>
            <a:fld id="{679388B0-8428-4546-BF40-D69B0279294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88672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6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7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8" name="Bild 8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85161238-3DCB-49E4-B718-D3AADEF0BA8E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1925" y="161925"/>
            <a:ext cx="6784975" cy="10207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323850" y="1484313"/>
            <a:ext cx="8496300" cy="4897437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0"/>
          </p:nvPr>
        </p:nvSpPr>
        <p:spPr>
          <a:xfrm>
            <a:off x="323850" y="6453188"/>
            <a:ext cx="6635750" cy="25241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959600" y="6453188"/>
            <a:ext cx="1860550" cy="25241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305C"/>
                </a:solidFill>
              </a:defRPr>
            </a:lvl1pPr>
          </a:lstStyle>
          <a:p>
            <a:pPr>
              <a:defRPr/>
            </a:pPr>
            <a:fld id="{C099498A-8C84-4E69-967D-5A37950C03D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19212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elfolie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31"/>
          <p:cNvSpPr>
            <a:spLocks noChangeArrowheads="1"/>
          </p:cNvSpPr>
          <p:nvPr/>
        </p:nvSpPr>
        <p:spPr bwMode="gray">
          <a:xfrm>
            <a:off x="0" y="5226050"/>
            <a:ext cx="9144000" cy="16319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lIns="90000" tIns="82800" rIns="90000" bIns="46800" anchor="ctr"/>
          <a:lstStyle/>
          <a:p>
            <a:pPr>
              <a:defRPr/>
            </a:pPr>
            <a:endParaRPr lang="de-DE">
              <a:solidFill>
                <a:srgbClr val="00305C"/>
              </a:solidFill>
              <a:latin typeface="LindeDaxPowerPoint" charset="0"/>
            </a:endParaRPr>
          </a:p>
        </p:txBody>
      </p:sp>
      <p:pic>
        <p:nvPicPr>
          <p:cNvPr id="5" name="Picture 6" descr="_Titel_Standard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573588" y="2276475"/>
            <a:ext cx="4408487" cy="3744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459" name="Rectangle 99"/>
          <p:cNvSpPr>
            <a:spLocks noGrp="1" noChangeArrowheads="1"/>
          </p:cNvSpPr>
          <p:nvPr>
            <p:ph type="ctrTitle"/>
          </p:nvPr>
        </p:nvSpPr>
        <p:spPr>
          <a:xfrm>
            <a:off x="4787900" y="2349500"/>
            <a:ext cx="4032250" cy="201612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4000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Mastertitelformat bearbeiten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/>
          </p:nvPr>
        </p:nvSpPr>
        <p:spPr>
          <a:xfrm>
            <a:off x="4787900" y="5229225"/>
            <a:ext cx="4032250" cy="792163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Aft>
                <a:spcPct val="0"/>
              </a:spcAft>
              <a:tabLst/>
              <a:defRPr b="0"/>
            </a:lvl1pPr>
          </a:lstStyle>
          <a:p>
            <a:pPr lvl="0"/>
            <a:r>
              <a:rPr lang="en-GB" noProof="0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563220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90077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74973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0" y="5226050"/>
            <a:ext cx="9144000" cy="163195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000" tIns="82800" rIns="90000" bIns="46800"/>
          <a:lstStyle>
            <a:lvl1pPr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de-DE" altLang="de-DE">
              <a:solidFill>
                <a:srgbClr val="00305C"/>
              </a:solidFill>
            </a:endParaRPr>
          </a:p>
        </p:txBody>
      </p:sp>
      <p:sp>
        <p:nvSpPr>
          <p:cNvPr id="6" name="Rectangle 331"/>
          <p:cNvSpPr>
            <a:spLocks noChangeArrowheads="1"/>
          </p:cNvSpPr>
          <p:nvPr/>
        </p:nvSpPr>
        <p:spPr bwMode="gray">
          <a:xfrm>
            <a:off x="0" y="5226050"/>
            <a:ext cx="9144000" cy="16319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82800" rIns="90000" bIns="46800" anchor="ctr"/>
          <a:lstStyle>
            <a:lvl1pPr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en-GB" altLang="de-DE">
              <a:solidFill>
                <a:srgbClr val="00305C"/>
              </a:solidFill>
            </a:endParaRPr>
          </a:p>
        </p:txBody>
      </p:sp>
      <p:grpSp>
        <p:nvGrpSpPr>
          <p:cNvPr id="7" name="Group 15"/>
          <p:cNvGrpSpPr>
            <a:grpSpLocks/>
          </p:cNvGrpSpPr>
          <p:nvPr userDrawn="1"/>
        </p:nvGrpSpPr>
        <p:grpSpPr bwMode="auto">
          <a:xfrm>
            <a:off x="4572000" y="2276475"/>
            <a:ext cx="4410075" cy="3744913"/>
            <a:chOff x="4572000" y="2276475"/>
            <a:chExt cx="4410075" cy="3744913"/>
          </a:xfrm>
        </p:grpSpPr>
        <p:sp>
          <p:nvSpPr>
            <p:cNvPr id="8" name="Rectangle 16"/>
            <p:cNvSpPr>
              <a:spLocks noChangeArrowheads="1"/>
            </p:cNvSpPr>
            <p:nvPr userDrawn="1"/>
          </p:nvSpPr>
          <p:spPr bwMode="auto">
            <a:xfrm>
              <a:off x="4575175" y="5226050"/>
              <a:ext cx="4402138" cy="79533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9" name="Rectangle 17"/>
            <p:cNvSpPr>
              <a:spLocks noChangeArrowheads="1"/>
            </p:cNvSpPr>
            <p:nvPr userDrawn="1"/>
          </p:nvSpPr>
          <p:spPr bwMode="auto">
            <a:xfrm>
              <a:off x="4572000" y="2276475"/>
              <a:ext cx="4410075" cy="29495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10" name="Bild 5" descr="Claim_white.pdf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9958" y="4687619"/>
              <a:ext cx="910154" cy="4550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Bild 8" descr="Logo_white.pdf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68609" y="4307496"/>
              <a:ext cx="1820308" cy="835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Bildplatzhalter 2"/>
          <p:cNvSpPr>
            <a:spLocks noGrp="1"/>
          </p:cNvSpPr>
          <p:nvPr>
            <p:ph type="pic" sz="quarter" idx="11"/>
          </p:nvPr>
        </p:nvSpPr>
        <p:spPr>
          <a:xfrm>
            <a:off x="3176" y="0"/>
            <a:ext cx="9144000" cy="5226049"/>
          </a:xfrm>
          <a:custGeom>
            <a:avLst/>
            <a:gdLst/>
            <a:ahLst/>
            <a:cxnLst/>
            <a:rect l="l" t="t" r="r" b="b"/>
            <a:pathLst>
              <a:path w="9144000" h="5226049">
                <a:moveTo>
                  <a:pt x="0" y="0"/>
                </a:moveTo>
                <a:lnTo>
                  <a:pt x="9144000" y="0"/>
                </a:lnTo>
                <a:lnTo>
                  <a:pt x="9144000" y="5226049"/>
                </a:lnTo>
                <a:lnTo>
                  <a:pt x="8977312" y="5226049"/>
                </a:lnTo>
                <a:lnTo>
                  <a:pt x="8977312" y="2276475"/>
                </a:lnTo>
                <a:lnTo>
                  <a:pt x="4571999" y="2276475"/>
                </a:lnTo>
                <a:lnTo>
                  <a:pt x="4571999" y="5226049"/>
                </a:lnTo>
                <a:lnTo>
                  <a:pt x="0" y="5226049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266700" indent="-266700" algn="ctr">
              <a:buNone/>
              <a:defRPr lang="de-DE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/>
          </p:nvPr>
        </p:nvSpPr>
        <p:spPr>
          <a:xfrm>
            <a:off x="4787900" y="2349501"/>
            <a:ext cx="4032250" cy="201560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4000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/>
          </p:nvPr>
        </p:nvSpPr>
        <p:spPr>
          <a:xfrm>
            <a:off x="4787900" y="5226051"/>
            <a:ext cx="4032250" cy="795338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spcAft>
                <a:spcPct val="0"/>
              </a:spcAft>
              <a:buNone/>
              <a:tabLst/>
              <a:defRPr b="0"/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266713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7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8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9" name="Bild 15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021E99CF-F25A-4DBC-A2CB-66F681A3DAFA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3851" y="1500188"/>
            <a:ext cx="8496300" cy="4881562"/>
          </a:xfrm>
        </p:spPr>
        <p:txBody>
          <a:bodyPr/>
          <a:lstStyle>
            <a:lvl1pPr marL="266700" indent="-266700">
              <a:buFont typeface="+mj-lt"/>
              <a:buAutoNum type="arabicPeriod"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12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943889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grey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6" name="Rechteck 1"/>
            <p:cNvSpPr>
              <a:spLocks noChangeArrowheads="1"/>
            </p:cNvSpPr>
            <p:nvPr userDrawn="1"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7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8" name="Bild 8" descr="Logo_white.pdf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3851" y="1500188"/>
            <a:ext cx="8496300" cy="4881562"/>
          </a:xfrm>
        </p:spPr>
        <p:txBody>
          <a:bodyPr/>
          <a:lstStyle>
            <a:lvl1pPr marL="266700" indent="-266700">
              <a:buFont typeface="LindeDaxPowerPoint" pitchFamily="34" charset="0"/>
              <a:buChar char="—"/>
              <a:tabLst>
                <a:tab pos="266700" algn="l"/>
              </a:tabLst>
              <a:defRPr b="0"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61607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cyan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6" name="Rechteck 1"/>
            <p:cNvSpPr>
              <a:spLocks noChangeArrowheads="1"/>
            </p:cNvSpPr>
            <p:nvPr userDrawn="1"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7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8" name="Bild 8" descr="Logo_white.pdf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3851" y="1500188"/>
            <a:ext cx="8496300" cy="4881562"/>
          </a:xfrm>
        </p:spPr>
        <p:txBody>
          <a:bodyPr/>
          <a:lstStyle>
            <a:lvl1pPr marL="266700" indent="-266700">
              <a:buFont typeface="LindeDaxPowerPoint" pitchFamily="34" charset="0"/>
              <a:buChar char="—"/>
              <a:tabLst>
                <a:tab pos="266700" algn="l"/>
              </a:tabLst>
              <a:defRPr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1376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4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7F5BFB-49A4-487A-AC98-C98B2086B7E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38292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6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7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8" name="Bild 8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4FA38F69-2AC8-444A-B58A-C72E3F3B0F41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11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048668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5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6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7" name="Bild 8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03D65A58-DBC3-494D-8354-6D63EAFA7055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8410127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1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4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5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6" name="Bild 8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FE91A775-30CE-4954-A88C-0245890DE8A9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15872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7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8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9" name="Bild 15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C26DC2C5-98C6-45FD-8CF7-FC112338A702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84313"/>
            <a:ext cx="4171950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484313"/>
            <a:ext cx="4171950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10000"/>
              </a:lnSpc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6959600" y="6453188"/>
            <a:ext cx="1860550" cy="25241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305C"/>
                </a:solidFill>
              </a:defRPr>
            </a:lvl1pPr>
          </a:lstStyle>
          <a:p>
            <a:pPr>
              <a:defRPr/>
            </a:pPr>
            <a:fld id="{2676664A-38BB-4D33-BE4D-0F6FB0791CF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10629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6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7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8" name="Bild 8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36DB2E2F-13B5-49B3-9B44-B62E484368DB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1925" y="161925"/>
            <a:ext cx="6784975" cy="10207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323850" y="1484313"/>
            <a:ext cx="8496300" cy="4897437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0"/>
          </p:nvPr>
        </p:nvSpPr>
        <p:spPr>
          <a:xfrm>
            <a:off x="323850" y="6453188"/>
            <a:ext cx="6635750" cy="25241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959600" y="6453188"/>
            <a:ext cx="1860550" cy="25241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305C"/>
                </a:solidFill>
              </a:defRPr>
            </a:lvl1pPr>
          </a:lstStyle>
          <a:p>
            <a:pPr>
              <a:defRPr/>
            </a:pPr>
            <a:fld id="{8D3059BB-56FD-48BC-8BF6-05C1D124499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55496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elfolie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31"/>
          <p:cNvSpPr>
            <a:spLocks noChangeArrowheads="1"/>
          </p:cNvSpPr>
          <p:nvPr/>
        </p:nvSpPr>
        <p:spPr bwMode="gray">
          <a:xfrm>
            <a:off x="0" y="5226050"/>
            <a:ext cx="9144000" cy="16319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lIns="90000" tIns="82800" rIns="90000" bIns="46800" anchor="ctr"/>
          <a:lstStyle/>
          <a:p>
            <a:pPr>
              <a:defRPr/>
            </a:pPr>
            <a:endParaRPr lang="de-DE">
              <a:solidFill>
                <a:srgbClr val="00305C"/>
              </a:solidFill>
              <a:latin typeface="LindeDaxPowerPoint" charset="0"/>
            </a:endParaRPr>
          </a:p>
        </p:txBody>
      </p:sp>
      <p:pic>
        <p:nvPicPr>
          <p:cNvPr id="5" name="Picture 6" descr="_Titel_Standard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573588" y="2276475"/>
            <a:ext cx="4408487" cy="3744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459" name="Rectangle 99"/>
          <p:cNvSpPr>
            <a:spLocks noGrp="1" noChangeArrowheads="1"/>
          </p:cNvSpPr>
          <p:nvPr>
            <p:ph type="ctrTitle"/>
          </p:nvPr>
        </p:nvSpPr>
        <p:spPr>
          <a:xfrm>
            <a:off x="4787900" y="2349500"/>
            <a:ext cx="4032250" cy="201612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4000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Mastertitelformat bearbeiten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/>
          </p:nvPr>
        </p:nvSpPr>
        <p:spPr>
          <a:xfrm>
            <a:off x="4787900" y="5229225"/>
            <a:ext cx="4032250" cy="792163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Aft>
                <a:spcPct val="0"/>
              </a:spcAft>
              <a:tabLst/>
              <a:defRPr b="0"/>
            </a:lvl1pPr>
          </a:lstStyle>
          <a:p>
            <a:pPr lvl="0"/>
            <a:r>
              <a:rPr lang="en-GB" noProof="0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017808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84313"/>
            <a:ext cx="4171950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1" y="1484313"/>
            <a:ext cx="4171950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698F39-A6D7-495E-A3CF-A42E26B9F0F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10981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9" y="1535115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A6A4D2-D78C-4C83-81EF-3155714AAD1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73184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56D91C-EA77-4B8F-9208-23B0DAF43FF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31139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0C0EA39-451A-4C15-B859-241795D614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259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0C0EA39-451A-4C15-B859-241795D61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F0AE0B-17B3-4554-8F4A-C2BD607C2A0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70047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4" y="27305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1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F4966C-5149-4A30-A928-58B320B5C41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16466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41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07C894-60A6-45A0-8490-9157BDC5305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62819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5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vmlDrawing" Target="../drawings/vmlDrawing11.vml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6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oleObject" Target="../embeddings/oleObject1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2017402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Folie" r:id="rId18" imgW="270" imgH="270" progId="TCLayout.ActiveDocument.1">
                  <p:embed/>
                </p:oleObj>
              </mc:Choice>
              <mc:Fallback>
                <p:oleObj name="think-cell Folie" r:id="rId1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324" descr="_Inhalt_Standard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63513" y="161925"/>
            <a:ext cx="8818562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23850" y="1484313"/>
            <a:ext cx="8496300" cy="489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6959600" y="6453188"/>
            <a:ext cx="18605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>
              <a:defRPr/>
            </a:pPr>
            <a:fld id="{387CCBB2-A3DB-481A-806D-2074DD69F44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1925" y="161925"/>
            <a:ext cx="6784975" cy="1020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144000" tIns="162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Mastertitelformat bearbeite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59" r:id="rId1"/>
    <p:sldLayoutId id="2147485347" r:id="rId2"/>
    <p:sldLayoutId id="2147485348" r:id="rId3"/>
    <p:sldLayoutId id="2147485349" r:id="rId4"/>
    <p:sldLayoutId id="2147485350" r:id="rId5"/>
    <p:sldLayoutId id="2147485351" r:id="rId6"/>
    <p:sldLayoutId id="2147485352" r:id="rId7"/>
    <p:sldLayoutId id="2147485353" r:id="rId8"/>
    <p:sldLayoutId id="2147485354" r:id="rId9"/>
    <p:sldLayoutId id="2147485355" r:id="rId10"/>
    <p:sldLayoutId id="2147485356" r:id="rId11"/>
    <p:sldLayoutId id="2147485357" r:id="rId12"/>
    <p:sldLayoutId id="2147485358" r:id="rId13"/>
    <p:sldLayoutId id="2147485417" r:id="rId14"/>
  </p:sldLayoutIdLst>
  <p:hf sldNum="0" hdr="0" ftr="0" dt="0"/>
  <p:txStyles>
    <p:title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MS PGothic" charset="0"/>
          <a:cs typeface="MS PGothic" charset="0"/>
        </a:defRPr>
      </a:lvl1pPr>
      <a:lvl2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charset="0"/>
          <a:ea typeface="MS PGothic" charset="0"/>
          <a:cs typeface="MS PGothic" charset="0"/>
        </a:defRPr>
      </a:lvl2pPr>
      <a:lvl3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charset="0"/>
          <a:ea typeface="MS PGothic" charset="0"/>
          <a:cs typeface="MS PGothic" charset="0"/>
        </a:defRPr>
      </a:lvl3pPr>
      <a:lvl4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charset="0"/>
          <a:ea typeface="MS PGothic" charset="0"/>
          <a:cs typeface="MS PGothic" charset="0"/>
        </a:defRPr>
      </a:lvl4pPr>
      <a:lvl5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charset="0"/>
          <a:ea typeface="MS PGothic" charset="0"/>
          <a:cs typeface="MS PGothic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charset="0"/>
          <a:ea typeface="ＭＳ Ｐゴシック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charset="0"/>
          <a:ea typeface="ＭＳ Ｐゴシック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charset="0"/>
          <a:ea typeface="ＭＳ Ｐゴシック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charset="0"/>
          <a:ea typeface="ＭＳ Ｐゴシック" charset="0"/>
        </a:defRPr>
      </a:lvl9pPr>
    </p:titleStyle>
    <p:bodyStyle>
      <a:lvl1pPr marL="342900" indent="-342900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tabLst>
          <a:tab pos="265113" algn="l"/>
        </a:tabLst>
        <a:defRPr sz="1600" b="1">
          <a:solidFill>
            <a:schemeClr val="tx1"/>
          </a:solidFill>
          <a:latin typeface="+mn-lt"/>
          <a:ea typeface="MS PGothic" charset="0"/>
          <a:cs typeface="MS PGothic" charset="0"/>
        </a:defRPr>
      </a:lvl1pPr>
      <a:lvl2pPr marL="1588" indent="455613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tabLst>
          <a:tab pos="265113" algn="l"/>
        </a:tabLst>
        <a:defRPr sz="1600">
          <a:solidFill>
            <a:schemeClr val="tx1"/>
          </a:solidFill>
          <a:latin typeface="+mn-lt"/>
          <a:ea typeface="MS PGothic" charset="0"/>
          <a:cs typeface="MS PGothic" charset="0"/>
        </a:defRPr>
      </a:lvl2pPr>
      <a:lvl3pPr marL="382588" indent="-379413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Font typeface="LindeDaxPowerPoint" pitchFamily="34" charset="0"/>
        <a:buChar char="—"/>
        <a:tabLst>
          <a:tab pos="265113" algn="l"/>
        </a:tabLst>
        <a:defRPr sz="1600">
          <a:solidFill>
            <a:schemeClr val="tx1"/>
          </a:solidFill>
          <a:latin typeface="+mn-lt"/>
          <a:ea typeface="MS PGothic" charset="0"/>
          <a:cs typeface="MS PGothic" charset="0"/>
        </a:defRPr>
      </a:lvl3pPr>
      <a:lvl4pPr marL="762000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  <a:ea typeface="MS PGothic" charset="0"/>
          <a:cs typeface="MS PGothic" charset="0"/>
        </a:defRPr>
      </a:lvl4pPr>
      <a:lvl5pPr marL="11414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  <a:ea typeface="MS PGothic" charset="0"/>
          <a:cs typeface="MS PGothic" charset="0"/>
        </a:defRPr>
      </a:lvl5pPr>
      <a:lvl6pPr marL="15986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  <a:ea typeface="+mn-ea"/>
        </a:defRPr>
      </a:lvl6pPr>
      <a:lvl7pPr marL="20558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  <a:ea typeface="+mn-ea"/>
        </a:defRPr>
      </a:lvl7pPr>
      <a:lvl8pPr marL="25130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  <a:ea typeface="+mn-ea"/>
        </a:defRPr>
      </a:lvl8pPr>
      <a:lvl9pPr marL="29702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25806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6146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147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8201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8202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6155" name="Bild 8" descr="Logo_white.pdf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23850" y="1500188"/>
            <a:ext cx="8496300" cy="4881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14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1925" y="161925"/>
            <a:ext cx="6786563" cy="1020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144000" tIns="162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 bwMode="auto">
          <a:xfrm>
            <a:off x="1116013" y="6453188"/>
            <a:ext cx="7272337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de-DE" sz="800">
                <a:solidFill>
                  <a:srgbClr val="00305C"/>
                </a:solidFill>
                <a:latin typeface="LindeDaxPowerPoint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 bwMode="auto">
          <a:xfrm>
            <a:off x="323850" y="6453188"/>
            <a:ext cx="719138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de-DE" sz="800">
                <a:solidFill>
                  <a:srgbClr val="00305C"/>
                </a:solidFill>
                <a:latin typeface="LindeDaxPowerPoint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52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FAEC652B-B803-4580-AEFE-B12AF561D5DA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96" r:id="rId1"/>
    <p:sldLayoutId id="2147485397" r:id="rId2"/>
    <p:sldLayoutId id="2147485398" r:id="rId3"/>
    <p:sldLayoutId id="2147485399" r:id="rId4"/>
    <p:sldLayoutId id="2147485400" r:id="rId5"/>
    <p:sldLayoutId id="2147485401" r:id="rId6"/>
    <p:sldLayoutId id="2147485402" r:id="rId7"/>
    <p:sldLayoutId id="2147485403" r:id="rId8"/>
    <p:sldLayoutId id="2147485404" r:id="rId9"/>
    <p:sldLayoutId id="2147485405" r:id="rId10"/>
    <p:sldLayoutId id="2147485418" r:id="rId11"/>
  </p:sldLayoutIdLst>
  <p:hf sldNum="0" hdr="0" ftr="0" dt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  <a:ea typeface="MS PGothic" pitchFamily="34" charset="-128"/>
          <a:cs typeface="ＭＳ Ｐゴシック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  <a:ea typeface="MS PGothic" pitchFamily="34" charset="-128"/>
          <a:cs typeface="ＭＳ Ｐゴシック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  <a:ea typeface="MS PGothic" pitchFamily="34" charset="-128"/>
          <a:cs typeface="ＭＳ Ｐゴシック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  <a:ea typeface="MS PGothic" pitchFamily="34" charset="-128"/>
          <a:cs typeface="ＭＳ Ｐゴシック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9pPr>
    </p:titleStyle>
    <p:bodyStyle>
      <a:lvl1pPr marL="266700" indent="-266700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266700" algn="l"/>
        </a:tabLst>
        <a:defRPr sz="16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542925" indent="-276225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542925" algn="l"/>
        </a:tabLst>
        <a:defRPr sz="1600">
          <a:solidFill>
            <a:schemeClr val="tx1"/>
          </a:solidFill>
          <a:latin typeface="+mn-lt"/>
          <a:ea typeface="MS PGothic" pitchFamily="34" charset="-128"/>
        </a:defRPr>
      </a:lvl2pPr>
      <a:lvl3pPr marL="809625" indent="-266700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809625" algn="l"/>
        </a:tabLst>
        <a:defRPr sz="1600">
          <a:solidFill>
            <a:schemeClr val="tx1"/>
          </a:solidFill>
          <a:latin typeface="+mn-lt"/>
          <a:ea typeface="MS PGothic" pitchFamily="34" charset="-128"/>
        </a:defRPr>
      </a:lvl3pPr>
      <a:lvl4pPr marL="1076325" indent="-266700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1076325" algn="l"/>
        </a:tabLst>
        <a:defRPr sz="1600">
          <a:solidFill>
            <a:schemeClr val="tx1"/>
          </a:solidFill>
          <a:latin typeface="+mn-lt"/>
          <a:ea typeface="MS PGothic" pitchFamily="34" charset="-128"/>
        </a:defRPr>
      </a:lvl4pPr>
      <a:lvl5pPr marL="1343025" indent="-266700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1343025" algn="l"/>
        </a:tabLst>
        <a:defRPr sz="1600">
          <a:solidFill>
            <a:schemeClr val="tx1"/>
          </a:solidFill>
          <a:latin typeface="+mn-lt"/>
          <a:ea typeface="MS PGothic" pitchFamily="34" charset="-128"/>
        </a:defRPr>
      </a:lvl5pPr>
      <a:lvl6pPr marL="15986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6pPr>
      <a:lvl7pPr marL="20558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7pPr>
      <a:lvl8pPr marL="25130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8pPr>
      <a:lvl9pPr marL="29702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6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7170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171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9225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9226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7179" name="Bild 8" descr="Logo_white.pdf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23850" y="1500188"/>
            <a:ext cx="8496300" cy="4881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173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1925" y="161925"/>
            <a:ext cx="6786563" cy="1020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144000" tIns="162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 bwMode="auto">
          <a:xfrm>
            <a:off x="1116013" y="6453188"/>
            <a:ext cx="7272337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de-DE" sz="800">
                <a:solidFill>
                  <a:srgbClr val="00305C"/>
                </a:solidFill>
                <a:latin typeface="LindeDaxPowerPoint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 bwMode="auto">
          <a:xfrm>
            <a:off x="323850" y="6453188"/>
            <a:ext cx="719138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de-DE" sz="800">
                <a:solidFill>
                  <a:srgbClr val="00305C"/>
                </a:solidFill>
                <a:latin typeface="LindeDaxPowerPoint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6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8BF83750-E4D7-46F0-B7DE-97A75F5CEA44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06" r:id="rId1"/>
    <p:sldLayoutId id="2147485407" r:id="rId2"/>
    <p:sldLayoutId id="2147485408" r:id="rId3"/>
    <p:sldLayoutId id="2147485409" r:id="rId4"/>
    <p:sldLayoutId id="2147485410" r:id="rId5"/>
    <p:sldLayoutId id="2147485411" r:id="rId6"/>
    <p:sldLayoutId id="2147485412" r:id="rId7"/>
    <p:sldLayoutId id="2147485413" r:id="rId8"/>
    <p:sldLayoutId id="2147485414" r:id="rId9"/>
    <p:sldLayoutId id="2147485415" r:id="rId10"/>
  </p:sldLayoutIdLst>
  <p:hf sldNum="0" hdr="0" ftr="0" dt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  <a:ea typeface="MS PGothic" pitchFamily="34" charset="-128"/>
          <a:cs typeface="ＭＳ Ｐゴシック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  <a:ea typeface="MS PGothic" pitchFamily="34" charset="-128"/>
          <a:cs typeface="ＭＳ Ｐゴシック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  <a:ea typeface="MS PGothic" pitchFamily="34" charset="-128"/>
          <a:cs typeface="ＭＳ Ｐゴシック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  <a:ea typeface="MS PGothic" pitchFamily="34" charset="-128"/>
          <a:cs typeface="ＭＳ Ｐゴシック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9pPr>
    </p:titleStyle>
    <p:bodyStyle>
      <a:lvl1pPr marL="266700" indent="-266700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266700" algn="l"/>
        </a:tabLst>
        <a:defRPr sz="16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542925" indent="-276225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542925" algn="l"/>
        </a:tabLst>
        <a:defRPr sz="1600">
          <a:solidFill>
            <a:schemeClr val="tx1"/>
          </a:solidFill>
          <a:latin typeface="+mn-lt"/>
          <a:ea typeface="MS PGothic" pitchFamily="34" charset="-128"/>
        </a:defRPr>
      </a:lvl2pPr>
      <a:lvl3pPr marL="809625" indent="-266700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809625" algn="l"/>
        </a:tabLst>
        <a:defRPr sz="1600">
          <a:solidFill>
            <a:schemeClr val="tx1"/>
          </a:solidFill>
          <a:latin typeface="+mn-lt"/>
          <a:ea typeface="MS PGothic" pitchFamily="34" charset="-128"/>
        </a:defRPr>
      </a:lvl3pPr>
      <a:lvl4pPr marL="1076325" indent="-266700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1076325" algn="l"/>
        </a:tabLst>
        <a:defRPr sz="1600">
          <a:solidFill>
            <a:schemeClr val="tx1"/>
          </a:solidFill>
          <a:latin typeface="+mn-lt"/>
          <a:ea typeface="MS PGothic" pitchFamily="34" charset="-128"/>
        </a:defRPr>
      </a:lvl4pPr>
      <a:lvl5pPr marL="1343025" indent="-266700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1343025" algn="l"/>
        </a:tabLst>
        <a:defRPr sz="1600">
          <a:solidFill>
            <a:schemeClr val="tx1"/>
          </a:solidFill>
          <a:latin typeface="+mn-lt"/>
          <a:ea typeface="MS PGothic" pitchFamily="34" charset="-128"/>
        </a:defRPr>
      </a:lvl5pPr>
      <a:lvl6pPr marL="15986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6pPr>
      <a:lvl7pPr marL="20558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7pPr>
      <a:lvl8pPr marL="25130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8pPr>
      <a:lvl9pPr marL="29702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emf"/><Relationship Id="rId11" Type="http://schemas.openxmlformats.org/officeDocument/2006/relationships/image" Target="../media/image16.png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15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4.emf"/><Relationship Id="rId2" Type="http://schemas.openxmlformats.org/officeDocument/2006/relationships/vmlDrawing" Target="../drawings/vmlDrawing20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emf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562" name="Bild 1" descr="2015_02_24 Linde_ppt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6563" name="Group 6"/>
          <p:cNvGrpSpPr>
            <a:grpSpLocks/>
          </p:cNvGrpSpPr>
          <p:nvPr/>
        </p:nvGrpSpPr>
        <p:grpSpPr bwMode="auto">
          <a:xfrm>
            <a:off x="0" y="2276475"/>
            <a:ext cx="9144000" cy="4581525"/>
            <a:chOff x="0" y="1434"/>
            <a:chExt cx="5760" cy="2886"/>
          </a:xfrm>
        </p:grpSpPr>
        <p:sp>
          <p:nvSpPr>
            <p:cNvPr id="534532" name="Rectangle 4"/>
            <p:cNvSpPr>
              <a:spLocks noChangeArrowheads="1"/>
            </p:cNvSpPr>
            <p:nvPr/>
          </p:nvSpPr>
          <p:spPr bwMode="gray">
            <a:xfrm>
              <a:off x="0" y="3292"/>
              <a:ext cx="5760" cy="102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82800" rIns="90000" bIns="46800" anchor="ctr"/>
            <a:lstStyle/>
            <a:p>
              <a:pPr>
                <a:defRPr/>
              </a:pPr>
              <a:endParaRPr lang="de-DE">
                <a:solidFill>
                  <a:srgbClr val="00305C"/>
                </a:solidFill>
                <a:latin typeface="LindeDaxPowerPoint" charset="0"/>
                <a:ea typeface="ＭＳ Ｐゴシック" charset="0"/>
              </a:endParaRPr>
            </a:p>
          </p:txBody>
        </p:sp>
        <p:pic>
          <p:nvPicPr>
            <p:cNvPr id="66567" name="Picture 5" descr="_Titel_Standard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881" y="1434"/>
              <a:ext cx="2777" cy="23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6564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ru-RU" dirty="0">
                <a:ea typeface="MS PGothic" charset="0"/>
                <a:cs typeface="MS PGothic" charset="0"/>
              </a:rPr>
              <a:t>Опыт</a:t>
            </a:r>
            <a:r>
              <a:rPr lang="en-US" dirty="0">
                <a:ea typeface="MS PGothic" charset="0"/>
                <a:cs typeface="MS PGothic" charset="0"/>
              </a:rPr>
              <a:t>, </a:t>
            </a:r>
            <a:r>
              <a:rPr lang="ru-RU" dirty="0">
                <a:ea typeface="MS PGothic" charset="0"/>
                <a:cs typeface="MS PGothic" charset="0"/>
              </a:rPr>
              <a:t>перспективы и стратегия компании </a:t>
            </a:r>
            <a:r>
              <a:rPr lang="en-US" dirty="0">
                <a:ea typeface="MS PGothic" charset="0"/>
                <a:cs typeface="MS PGothic" charset="0"/>
              </a:rPr>
              <a:t>Linde </a:t>
            </a:r>
            <a:br>
              <a:rPr lang="ru-RU" dirty="0">
                <a:ea typeface="MS PGothic" charset="0"/>
                <a:cs typeface="MS PGothic" charset="0"/>
              </a:rPr>
            </a:br>
            <a:r>
              <a:rPr lang="ru-RU" dirty="0">
                <a:ea typeface="MS PGothic" charset="0"/>
                <a:cs typeface="MS PGothic" charset="0"/>
              </a:rPr>
              <a:t>в России</a:t>
            </a:r>
            <a:br>
              <a:rPr lang="en-US" dirty="0">
                <a:ea typeface="MS PGothic" charset="0"/>
                <a:cs typeface="MS PGothic" charset="0"/>
              </a:rPr>
            </a:br>
            <a:endParaRPr lang="en-GB" b="0" dirty="0">
              <a:ea typeface="ＭＳ Ｐゴシック" charset="0"/>
              <a:cs typeface="LindeDaxOffice" charset="0"/>
            </a:endParaRPr>
          </a:p>
        </p:txBody>
      </p:sp>
      <p:sp>
        <p:nvSpPr>
          <p:cNvPr id="66565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marL="0" indent="0" eaLnBrk="1" hangingPunct="1">
              <a:buFont typeface="LindeDaxPowerPoint" charset="0"/>
              <a:buNone/>
              <a:defRPr/>
            </a:pPr>
            <a:r>
              <a:rPr lang="ru-RU" dirty="0">
                <a:ea typeface="MS PGothic" charset="0"/>
                <a:cs typeface="MS PGothic" charset="0"/>
              </a:rPr>
              <a:t>г. Санкт-Петербург</a:t>
            </a:r>
            <a:endParaRPr lang="de-DE" dirty="0">
              <a:ea typeface="MS PGothic" charset="0"/>
              <a:cs typeface="MS PGothic" charset="0"/>
            </a:endParaRPr>
          </a:p>
          <a:p>
            <a:pPr marL="0" indent="0" eaLnBrk="1" hangingPunct="1">
              <a:buFont typeface="LindeDaxPowerPoint" charset="0"/>
              <a:buNone/>
              <a:defRPr/>
            </a:pPr>
            <a:r>
              <a:rPr lang="ru-RU" dirty="0">
                <a:ea typeface="MS PGothic" charset="0"/>
                <a:cs typeface="MS PGothic" charset="0"/>
              </a:rPr>
              <a:t>04.10.2017</a:t>
            </a:r>
            <a:endParaRPr lang="en-GB" dirty="0">
              <a:ea typeface="MS PGothic" charset="0"/>
              <a:cs typeface="MS PGothic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098" name="Bild 1" descr="2015_02_24 Linde_ppt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2099" name="Group 6"/>
          <p:cNvGrpSpPr>
            <a:grpSpLocks/>
          </p:cNvGrpSpPr>
          <p:nvPr/>
        </p:nvGrpSpPr>
        <p:grpSpPr bwMode="auto">
          <a:xfrm>
            <a:off x="0" y="2276475"/>
            <a:ext cx="9144000" cy="4581525"/>
            <a:chOff x="0" y="1434"/>
            <a:chExt cx="5760" cy="2886"/>
          </a:xfrm>
        </p:grpSpPr>
        <p:sp>
          <p:nvSpPr>
            <p:cNvPr id="534532" name="Rectangle 4"/>
            <p:cNvSpPr>
              <a:spLocks noChangeArrowheads="1"/>
            </p:cNvSpPr>
            <p:nvPr/>
          </p:nvSpPr>
          <p:spPr bwMode="gray">
            <a:xfrm>
              <a:off x="0" y="3292"/>
              <a:ext cx="5760" cy="102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82800" rIns="90000" bIns="46800" anchor="ctr"/>
            <a:lstStyle/>
            <a:p>
              <a:pPr>
                <a:defRPr/>
              </a:pPr>
              <a:endParaRPr lang="de-DE">
                <a:solidFill>
                  <a:srgbClr val="00305C"/>
                </a:solidFill>
                <a:latin typeface="LindeDaxPowerPoint" charset="0"/>
                <a:ea typeface="ＭＳ Ｐゴシック" charset="0"/>
              </a:endParaRPr>
            </a:p>
          </p:txBody>
        </p:sp>
        <p:pic>
          <p:nvPicPr>
            <p:cNvPr id="132102" name="Picture 5" descr="_Titel_Standard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881" y="1434"/>
              <a:ext cx="2777" cy="23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3124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ru-RU" dirty="0">
                <a:ea typeface="MS PGothic" charset="0"/>
                <a:cs typeface="MS PGothic" charset="0"/>
              </a:rPr>
              <a:t>Спасибо за внимание</a:t>
            </a:r>
            <a:endParaRPr lang="en-GB" b="0" dirty="0">
              <a:ea typeface="ＭＳ Ｐゴシック" charset="0"/>
              <a:cs typeface="LindeDaxOffice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/>
          <p:cNvGrpSpPr/>
          <p:nvPr/>
        </p:nvGrpSpPr>
        <p:grpSpPr>
          <a:xfrm>
            <a:off x="2591170" y="2539472"/>
            <a:ext cx="6360983" cy="3121088"/>
            <a:chOff x="1383619" y="2631969"/>
            <a:chExt cx="6374606" cy="3127772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>
              <a:off x="1384810" y="2631969"/>
              <a:ext cx="6372224" cy="312777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3251709" y="4996550"/>
              <a:ext cx="145256" cy="152400"/>
            </a:xfrm>
            <a:custGeom>
              <a:avLst/>
              <a:gdLst>
                <a:gd name="T0" fmla="*/ 497 w 506"/>
                <a:gd name="T1" fmla="*/ 302 h 533"/>
                <a:gd name="T2" fmla="*/ 468 w 506"/>
                <a:gd name="T3" fmla="*/ 301 h 533"/>
                <a:gd name="T4" fmla="*/ 439 w 506"/>
                <a:gd name="T5" fmla="*/ 295 h 533"/>
                <a:gd name="T6" fmla="*/ 431 w 506"/>
                <a:gd name="T7" fmla="*/ 264 h 533"/>
                <a:gd name="T8" fmla="*/ 424 w 506"/>
                <a:gd name="T9" fmla="*/ 226 h 533"/>
                <a:gd name="T10" fmla="*/ 408 w 506"/>
                <a:gd name="T11" fmla="*/ 196 h 533"/>
                <a:gd name="T12" fmla="*/ 390 w 506"/>
                <a:gd name="T13" fmla="*/ 189 h 533"/>
                <a:gd name="T14" fmla="*/ 374 w 506"/>
                <a:gd name="T15" fmla="*/ 188 h 533"/>
                <a:gd name="T16" fmla="*/ 325 w 506"/>
                <a:gd name="T17" fmla="*/ 189 h 533"/>
                <a:gd name="T18" fmla="*/ 302 w 506"/>
                <a:gd name="T19" fmla="*/ 185 h 533"/>
                <a:gd name="T20" fmla="*/ 279 w 506"/>
                <a:gd name="T21" fmla="*/ 168 h 533"/>
                <a:gd name="T22" fmla="*/ 285 w 506"/>
                <a:gd name="T23" fmla="*/ 138 h 533"/>
                <a:gd name="T24" fmla="*/ 288 w 506"/>
                <a:gd name="T25" fmla="*/ 109 h 533"/>
                <a:gd name="T26" fmla="*/ 275 w 506"/>
                <a:gd name="T27" fmla="*/ 65 h 533"/>
                <a:gd name="T28" fmla="*/ 268 w 506"/>
                <a:gd name="T29" fmla="*/ 29 h 533"/>
                <a:gd name="T30" fmla="*/ 192 w 506"/>
                <a:gd name="T31" fmla="*/ 2 h 533"/>
                <a:gd name="T32" fmla="*/ 114 w 506"/>
                <a:gd name="T33" fmla="*/ 11 h 533"/>
                <a:gd name="T34" fmla="*/ 100 w 506"/>
                <a:gd name="T35" fmla="*/ 13 h 533"/>
                <a:gd name="T36" fmla="*/ 53 w 506"/>
                <a:gd name="T37" fmla="*/ 27 h 533"/>
                <a:gd name="T38" fmla="*/ 34 w 506"/>
                <a:gd name="T39" fmla="*/ 59 h 533"/>
                <a:gd name="T40" fmla="*/ 21 w 506"/>
                <a:gd name="T41" fmla="*/ 101 h 533"/>
                <a:gd name="T42" fmla="*/ 11 w 506"/>
                <a:gd name="T43" fmla="*/ 150 h 533"/>
                <a:gd name="T44" fmla="*/ 0 w 506"/>
                <a:gd name="T45" fmla="*/ 178 h 533"/>
                <a:gd name="T46" fmla="*/ 16 w 506"/>
                <a:gd name="T47" fmla="*/ 198 h 533"/>
                <a:gd name="T48" fmla="*/ 56 w 506"/>
                <a:gd name="T49" fmla="*/ 246 h 533"/>
                <a:gd name="T50" fmla="*/ 101 w 506"/>
                <a:gd name="T51" fmla="*/ 286 h 533"/>
                <a:gd name="T52" fmla="*/ 155 w 506"/>
                <a:gd name="T53" fmla="*/ 299 h 533"/>
                <a:gd name="T54" fmla="*/ 206 w 506"/>
                <a:gd name="T55" fmla="*/ 332 h 533"/>
                <a:gd name="T56" fmla="*/ 275 w 506"/>
                <a:gd name="T57" fmla="*/ 367 h 533"/>
                <a:gd name="T58" fmla="*/ 309 w 506"/>
                <a:gd name="T59" fmla="*/ 401 h 533"/>
                <a:gd name="T60" fmla="*/ 291 w 506"/>
                <a:gd name="T61" fmla="*/ 433 h 533"/>
                <a:gd name="T62" fmla="*/ 272 w 506"/>
                <a:gd name="T63" fmla="*/ 463 h 533"/>
                <a:gd name="T64" fmla="*/ 258 w 506"/>
                <a:gd name="T65" fmla="*/ 492 h 533"/>
                <a:gd name="T66" fmla="*/ 251 w 506"/>
                <a:gd name="T67" fmla="*/ 513 h 533"/>
                <a:gd name="T68" fmla="*/ 299 w 506"/>
                <a:gd name="T69" fmla="*/ 514 h 533"/>
                <a:gd name="T70" fmla="*/ 325 w 506"/>
                <a:gd name="T71" fmla="*/ 523 h 533"/>
                <a:gd name="T72" fmla="*/ 361 w 506"/>
                <a:gd name="T73" fmla="*/ 523 h 533"/>
                <a:gd name="T74" fmla="*/ 387 w 506"/>
                <a:gd name="T75" fmla="*/ 532 h 533"/>
                <a:gd name="T76" fmla="*/ 406 w 506"/>
                <a:gd name="T77" fmla="*/ 521 h 533"/>
                <a:gd name="T78" fmla="*/ 426 w 506"/>
                <a:gd name="T79" fmla="*/ 518 h 533"/>
                <a:gd name="T80" fmla="*/ 431 w 506"/>
                <a:gd name="T81" fmla="*/ 508 h 533"/>
                <a:gd name="T82" fmla="*/ 471 w 506"/>
                <a:gd name="T83" fmla="*/ 471 h 533"/>
                <a:gd name="T84" fmla="*/ 488 w 506"/>
                <a:gd name="T85" fmla="*/ 427 h 533"/>
                <a:gd name="T86" fmla="*/ 501 w 506"/>
                <a:gd name="T87" fmla="*/ 347 h 533"/>
                <a:gd name="T88" fmla="*/ 505 w 506"/>
                <a:gd name="T89" fmla="*/ 311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06" h="533">
                  <a:moveTo>
                    <a:pt x="506" y="306"/>
                  </a:moveTo>
                  <a:cubicBezTo>
                    <a:pt x="504" y="304"/>
                    <a:pt x="500" y="303"/>
                    <a:pt x="497" y="302"/>
                  </a:cubicBezTo>
                  <a:cubicBezTo>
                    <a:pt x="491" y="300"/>
                    <a:pt x="485" y="300"/>
                    <a:pt x="479" y="300"/>
                  </a:cubicBezTo>
                  <a:cubicBezTo>
                    <a:pt x="475" y="300"/>
                    <a:pt x="471" y="301"/>
                    <a:pt x="468" y="301"/>
                  </a:cubicBezTo>
                  <a:cubicBezTo>
                    <a:pt x="462" y="303"/>
                    <a:pt x="457" y="304"/>
                    <a:pt x="451" y="303"/>
                  </a:cubicBezTo>
                  <a:cubicBezTo>
                    <a:pt x="446" y="302"/>
                    <a:pt x="442" y="299"/>
                    <a:pt x="439" y="295"/>
                  </a:cubicBezTo>
                  <a:cubicBezTo>
                    <a:pt x="437" y="291"/>
                    <a:pt x="435" y="286"/>
                    <a:pt x="434" y="281"/>
                  </a:cubicBezTo>
                  <a:cubicBezTo>
                    <a:pt x="432" y="275"/>
                    <a:pt x="432" y="270"/>
                    <a:pt x="431" y="264"/>
                  </a:cubicBezTo>
                  <a:cubicBezTo>
                    <a:pt x="430" y="257"/>
                    <a:pt x="429" y="250"/>
                    <a:pt x="427" y="241"/>
                  </a:cubicBezTo>
                  <a:cubicBezTo>
                    <a:pt x="426" y="236"/>
                    <a:pt x="425" y="230"/>
                    <a:pt x="424" y="226"/>
                  </a:cubicBezTo>
                  <a:cubicBezTo>
                    <a:pt x="422" y="213"/>
                    <a:pt x="420" y="202"/>
                    <a:pt x="416" y="198"/>
                  </a:cubicBezTo>
                  <a:cubicBezTo>
                    <a:pt x="413" y="196"/>
                    <a:pt x="410" y="196"/>
                    <a:pt x="408" y="196"/>
                  </a:cubicBezTo>
                  <a:cubicBezTo>
                    <a:pt x="404" y="195"/>
                    <a:pt x="401" y="195"/>
                    <a:pt x="396" y="193"/>
                  </a:cubicBezTo>
                  <a:cubicBezTo>
                    <a:pt x="394" y="191"/>
                    <a:pt x="392" y="190"/>
                    <a:pt x="390" y="189"/>
                  </a:cubicBezTo>
                  <a:cubicBezTo>
                    <a:pt x="386" y="187"/>
                    <a:pt x="383" y="185"/>
                    <a:pt x="379" y="185"/>
                  </a:cubicBezTo>
                  <a:cubicBezTo>
                    <a:pt x="378" y="186"/>
                    <a:pt x="376" y="187"/>
                    <a:pt x="374" y="188"/>
                  </a:cubicBezTo>
                  <a:cubicBezTo>
                    <a:pt x="370" y="191"/>
                    <a:pt x="366" y="194"/>
                    <a:pt x="357" y="194"/>
                  </a:cubicBezTo>
                  <a:cubicBezTo>
                    <a:pt x="348" y="195"/>
                    <a:pt x="336" y="191"/>
                    <a:pt x="325" y="189"/>
                  </a:cubicBezTo>
                  <a:cubicBezTo>
                    <a:pt x="318" y="187"/>
                    <a:pt x="311" y="185"/>
                    <a:pt x="308" y="185"/>
                  </a:cubicBezTo>
                  <a:cubicBezTo>
                    <a:pt x="306" y="185"/>
                    <a:pt x="304" y="185"/>
                    <a:pt x="302" y="185"/>
                  </a:cubicBezTo>
                  <a:cubicBezTo>
                    <a:pt x="293" y="185"/>
                    <a:pt x="285" y="185"/>
                    <a:pt x="282" y="181"/>
                  </a:cubicBezTo>
                  <a:cubicBezTo>
                    <a:pt x="280" y="178"/>
                    <a:pt x="279" y="174"/>
                    <a:pt x="279" y="168"/>
                  </a:cubicBezTo>
                  <a:cubicBezTo>
                    <a:pt x="280" y="163"/>
                    <a:pt x="280" y="156"/>
                    <a:pt x="282" y="148"/>
                  </a:cubicBezTo>
                  <a:cubicBezTo>
                    <a:pt x="283" y="144"/>
                    <a:pt x="284" y="141"/>
                    <a:pt x="285" y="138"/>
                  </a:cubicBezTo>
                  <a:cubicBezTo>
                    <a:pt x="285" y="138"/>
                    <a:pt x="285" y="138"/>
                    <a:pt x="285" y="138"/>
                  </a:cubicBezTo>
                  <a:cubicBezTo>
                    <a:pt x="287" y="129"/>
                    <a:pt x="288" y="123"/>
                    <a:pt x="288" y="109"/>
                  </a:cubicBezTo>
                  <a:cubicBezTo>
                    <a:pt x="287" y="97"/>
                    <a:pt x="283" y="87"/>
                    <a:pt x="279" y="77"/>
                  </a:cubicBezTo>
                  <a:cubicBezTo>
                    <a:pt x="278" y="73"/>
                    <a:pt x="276" y="69"/>
                    <a:pt x="275" y="65"/>
                  </a:cubicBezTo>
                  <a:cubicBezTo>
                    <a:pt x="274" y="63"/>
                    <a:pt x="273" y="61"/>
                    <a:pt x="273" y="60"/>
                  </a:cubicBezTo>
                  <a:cubicBezTo>
                    <a:pt x="269" y="49"/>
                    <a:pt x="265" y="38"/>
                    <a:pt x="268" y="29"/>
                  </a:cubicBezTo>
                  <a:cubicBezTo>
                    <a:pt x="257" y="22"/>
                    <a:pt x="229" y="4"/>
                    <a:pt x="215" y="2"/>
                  </a:cubicBezTo>
                  <a:cubicBezTo>
                    <a:pt x="205" y="0"/>
                    <a:pt x="201" y="1"/>
                    <a:pt x="192" y="2"/>
                  </a:cubicBezTo>
                  <a:cubicBezTo>
                    <a:pt x="186" y="3"/>
                    <a:pt x="178" y="4"/>
                    <a:pt x="165" y="5"/>
                  </a:cubicBezTo>
                  <a:cubicBezTo>
                    <a:pt x="138" y="6"/>
                    <a:pt x="132" y="7"/>
                    <a:pt x="114" y="11"/>
                  </a:cubicBezTo>
                  <a:cubicBezTo>
                    <a:pt x="110" y="11"/>
                    <a:pt x="106" y="12"/>
                    <a:pt x="100" y="13"/>
                  </a:cubicBezTo>
                  <a:cubicBezTo>
                    <a:pt x="100" y="13"/>
                    <a:pt x="100" y="13"/>
                    <a:pt x="100" y="13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69" y="19"/>
                    <a:pt x="61" y="20"/>
                    <a:pt x="53" y="27"/>
                  </a:cubicBezTo>
                  <a:cubicBezTo>
                    <a:pt x="48" y="31"/>
                    <a:pt x="45" y="39"/>
                    <a:pt x="41" y="46"/>
                  </a:cubicBezTo>
                  <a:cubicBezTo>
                    <a:pt x="39" y="51"/>
                    <a:pt x="37" y="56"/>
                    <a:pt x="34" y="59"/>
                  </a:cubicBezTo>
                  <a:cubicBezTo>
                    <a:pt x="31" y="63"/>
                    <a:pt x="27" y="70"/>
                    <a:pt x="24" y="79"/>
                  </a:cubicBezTo>
                  <a:cubicBezTo>
                    <a:pt x="22" y="85"/>
                    <a:pt x="21" y="93"/>
                    <a:pt x="21" y="101"/>
                  </a:cubicBezTo>
                  <a:cubicBezTo>
                    <a:pt x="22" y="115"/>
                    <a:pt x="19" y="125"/>
                    <a:pt x="15" y="135"/>
                  </a:cubicBezTo>
                  <a:cubicBezTo>
                    <a:pt x="14" y="140"/>
                    <a:pt x="12" y="145"/>
                    <a:pt x="11" y="150"/>
                  </a:cubicBezTo>
                  <a:cubicBezTo>
                    <a:pt x="8" y="165"/>
                    <a:pt x="3" y="172"/>
                    <a:pt x="0" y="177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1" y="180"/>
                    <a:pt x="3" y="182"/>
                    <a:pt x="5" y="185"/>
                  </a:cubicBezTo>
                  <a:cubicBezTo>
                    <a:pt x="8" y="189"/>
                    <a:pt x="11" y="194"/>
                    <a:pt x="16" y="198"/>
                  </a:cubicBezTo>
                  <a:cubicBezTo>
                    <a:pt x="22" y="206"/>
                    <a:pt x="30" y="215"/>
                    <a:pt x="38" y="223"/>
                  </a:cubicBezTo>
                  <a:cubicBezTo>
                    <a:pt x="45" y="232"/>
                    <a:pt x="52" y="240"/>
                    <a:pt x="56" y="246"/>
                  </a:cubicBezTo>
                  <a:cubicBezTo>
                    <a:pt x="61" y="252"/>
                    <a:pt x="70" y="262"/>
                    <a:pt x="80" y="270"/>
                  </a:cubicBezTo>
                  <a:cubicBezTo>
                    <a:pt x="87" y="277"/>
                    <a:pt x="95" y="283"/>
                    <a:pt x="101" y="286"/>
                  </a:cubicBezTo>
                  <a:cubicBezTo>
                    <a:pt x="109" y="290"/>
                    <a:pt x="118" y="291"/>
                    <a:pt x="128" y="293"/>
                  </a:cubicBezTo>
                  <a:cubicBezTo>
                    <a:pt x="136" y="294"/>
                    <a:pt x="145" y="296"/>
                    <a:pt x="155" y="299"/>
                  </a:cubicBezTo>
                  <a:cubicBezTo>
                    <a:pt x="169" y="303"/>
                    <a:pt x="174" y="307"/>
                    <a:pt x="181" y="313"/>
                  </a:cubicBezTo>
                  <a:cubicBezTo>
                    <a:pt x="186" y="318"/>
                    <a:pt x="193" y="324"/>
                    <a:pt x="206" y="332"/>
                  </a:cubicBezTo>
                  <a:cubicBezTo>
                    <a:pt x="230" y="347"/>
                    <a:pt x="247" y="354"/>
                    <a:pt x="261" y="360"/>
                  </a:cubicBezTo>
                  <a:cubicBezTo>
                    <a:pt x="266" y="363"/>
                    <a:pt x="271" y="365"/>
                    <a:pt x="275" y="367"/>
                  </a:cubicBezTo>
                  <a:cubicBezTo>
                    <a:pt x="283" y="371"/>
                    <a:pt x="292" y="376"/>
                    <a:pt x="298" y="382"/>
                  </a:cubicBezTo>
                  <a:cubicBezTo>
                    <a:pt x="304" y="388"/>
                    <a:pt x="308" y="395"/>
                    <a:pt x="309" y="401"/>
                  </a:cubicBezTo>
                  <a:cubicBezTo>
                    <a:pt x="310" y="411"/>
                    <a:pt x="306" y="416"/>
                    <a:pt x="297" y="427"/>
                  </a:cubicBezTo>
                  <a:cubicBezTo>
                    <a:pt x="295" y="429"/>
                    <a:pt x="293" y="431"/>
                    <a:pt x="291" y="433"/>
                  </a:cubicBezTo>
                  <a:cubicBezTo>
                    <a:pt x="288" y="436"/>
                    <a:pt x="286" y="439"/>
                    <a:pt x="284" y="441"/>
                  </a:cubicBezTo>
                  <a:cubicBezTo>
                    <a:pt x="278" y="448"/>
                    <a:pt x="275" y="451"/>
                    <a:pt x="272" y="463"/>
                  </a:cubicBezTo>
                  <a:cubicBezTo>
                    <a:pt x="270" y="473"/>
                    <a:pt x="267" y="477"/>
                    <a:pt x="264" y="481"/>
                  </a:cubicBezTo>
                  <a:cubicBezTo>
                    <a:pt x="262" y="484"/>
                    <a:pt x="260" y="487"/>
                    <a:pt x="258" y="492"/>
                  </a:cubicBezTo>
                  <a:cubicBezTo>
                    <a:pt x="256" y="496"/>
                    <a:pt x="255" y="499"/>
                    <a:pt x="253" y="502"/>
                  </a:cubicBezTo>
                  <a:cubicBezTo>
                    <a:pt x="250" y="508"/>
                    <a:pt x="248" y="512"/>
                    <a:pt x="251" y="513"/>
                  </a:cubicBezTo>
                  <a:cubicBezTo>
                    <a:pt x="253" y="515"/>
                    <a:pt x="256" y="514"/>
                    <a:pt x="262" y="514"/>
                  </a:cubicBezTo>
                  <a:cubicBezTo>
                    <a:pt x="269" y="513"/>
                    <a:pt x="280" y="512"/>
                    <a:pt x="299" y="514"/>
                  </a:cubicBezTo>
                  <a:cubicBezTo>
                    <a:pt x="325" y="516"/>
                    <a:pt x="324" y="519"/>
                    <a:pt x="324" y="524"/>
                  </a:cubicBezTo>
                  <a:cubicBezTo>
                    <a:pt x="323" y="524"/>
                    <a:pt x="324" y="523"/>
                    <a:pt x="325" y="523"/>
                  </a:cubicBezTo>
                  <a:cubicBezTo>
                    <a:pt x="332" y="526"/>
                    <a:pt x="338" y="525"/>
                    <a:pt x="345" y="524"/>
                  </a:cubicBezTo>
                  <a:cubicBezTo>
                    <a:pt x="350" y="524"/>
                    <a:pt x="355" y="523"/>
                    <a:pt x="361" y="523"/>
                  </a:cubicBezTo>
                  <a:cubicBezTo>
                    <a:pt x="372" y="523"/>
                    <a:pt x="377" y="526"/>
                    <a:pt x="381" y="529"/>
                  </a:cubicBezTo>
                  <a:cubicBezTo>
                    <a:pt x="383" y="530"/>
                    <a:pt x="385" y="531"/>
                    <a:pt x="387" y="532"/>
                  </a:cubicBezTo>
                  <a:cubicBezTo>
                    <a:pt x="390" y="533"/>
                    <a:pt x="394" y="530"/>
                    <a:pt x="399" y="526"/>
                  </a:cubicBezTo>
                  <a:cubicBezTo>
                    <a:pt x="401" y="525"/>
                    <a:pt x="403" y="523"/>
                    <a:pt x="406" y="521"/>
                  </a:cubicBezTo>
                  <a:cubicBezTo>
                    <a:pt x="412" y="518"/>
                    <a:pt x="416" y="518"/>
                    <a:pt x="420" y="518"/>
                  </a:cubicBezTo>
                  <a:cubicBezTo>
                    <a:pt x="422" y="519"/>
                    <a:pt x="424" y="519"/>
                    <a:pt x="426" y="518"/>
                  </a:cubicBezTo>
                  <a:cubicBezTo>
                    <a:pt x="428" y="517"/>
                    <a:pt x="429" y="516"/>
                    <a:pt x="429" y="514"/>
                  </a:cubicBezTo>
                  <a:cubicBezTo>
                    <a:pt x="430" y="512"/>
                    <a:pt x="430" y="510"/>
                    <a:pt x="431" y="508"/>
                  </a:cubicBezTo>
                  <a:cubicBezTo>
                    <a:pt x="431" y="502"/>
                    <a:pt x="459" y="480"/>
                    <a:pt x="469" y="472"/>
                  </a:cubicBezTo>
                  <a:cubicBezTo>
                    <a:pt x="471" y="471"/>
                    <a:pt x="471" y="471"/>
                    <a:pt x="471" y="471"/>
                  </a:cubicBezTo>
                  <a:cubicBezTo>
                    <a:pt x="475" y="469"/>
                    <a:pt x="478" y="465"/>
                    <a:pt x="481" y="458"/>
                  </a:cubicBezTo>
                  <a:cubicBezTo>
                    <a:pt x="484" y="451"/>
                    <a:pt x="486" y="441"/>
                    <a:pt x="488" y="427"/>
                  </a:cubicBezTo>
                  <a:cubicBezTo>
                    <a:pt x="489" y="412"/>
                    <a:pt x="492" y="396"/>
                    <a:pt x="495" y="381"/>
                  </a:cubicBezTo>
                  <a:cubicBezTo>
                    <a:pt x="498" y="366"/>
                    <a:pt x="501" y="353"/>
                    <a:pt x="501" y="347"/>
                  </a:cubicBezTo>
                  <a:cubicBezTo>
                    <a:pt x="500" y="336"/>
                    <a:pt x="502" y="327"/>
                    <a:pt x="504" y="319"/>
                  </a:cubicBezTo>
                  <a:cubicBezTo>
                    <a:pt x="504" y="316"/>
                    <a:pt x="505" y="314"/>
                    <a:pt x="505" y="311"/>
                  </a:cubicBezTo>
                  <a:cubicBezTo>
                    <a:pt x="506" y="309"/>
                    <a:pt x="506" y="308"/>
                    <a:pt x="506" y="30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3127885" y="4823910"/>
              <a:ext cx="211931" cy="235744"/>
            </a:xfrm>
            <a:custGeom>
              <a:avLst/>
              <a:gdLst>
                <a:gd name="T0" fmla="*/ 625 w 740"/>
                <a:gd name="T1" fmla="*/ 596 h 822"/>
                <a:gd name="T2" fmla="*/ 532 w 740"/>
                <a:gd name="T3" fmla="*/ 608 h 822"/>
                <a:gd name="T4" fmla="*/ 468 w 740"/>
                <a:gd name="T5" fmla="*/ 645 h 822"/>
                <a:gd name="T6" fmla="*/ 447 w 740"/>
                <a:gd name="T7" fmla="*/ 703 h 822"/>
                <a:gd name="T8" fmla="*/ 428 w 740"/>
                <a:gd name="T9" fmla="*/ 774 h 822"/>
                <a:gd name="T10" fmla="*/ 350 w 740"/>
                <a:gd name="T11" fmla="*/ 770 h 822"/>
                <a:gd name="T12" fmla="*/ 323 w 740"/>
                <a:gd name="T13" fmla="*/ 809 h 822"/>
                <a:gd name="T14" fmla="*/ 272 w 740"/>
                <a:gd name="T15" fmla="*/ 776 h 822"/>
                <a:gd name="T16" fmla="*/ 230 w 740"/>
                <a:gd name="T17" fmla="*/ 768 h 822"/>
                <a:gd name="T18" fmla="*/ 204 w 740"/>
                <a:gd name="T19" fmla="*/ 758 h 822"/>
                <a:gd name="T20" fmla="*/ 170 w 740"/>
                <a:gd name="T21" fmla="*/ 796 h 822"/>
                <a:gd name="T22" fmla="*/ 112 w 740"/>
                <a:gd name="T23" fmla="*/ 816 h 822"/>
                <a:gd name="T24" fmla="*/ 101 w 740"/>
                <a:gd name="T25" fmla="*/ 772 h 822"/>
                <a:gd name="T26" fmla="*/ 87 w 740"/>
                <a:gd name="T27" fmla="*/ 722 h 822"/>
                <a:gd name="T28" fmla="*/ 71 w 740"/>
                <a:gd name="T29" fmla="*/ 695 h 822"/>
                <a:gd name="T30" fmla="*/ 55 w 740"/>
                <a:gd name="T31" fmla="*/ 658 h 822"/>
                <a:gd name="T32" fmla="*/ 61 w 740"/>
                <a:gd name="T33" fmla="*/ 635 h 822"/>
                <a:gd name="T34" fmla="*/ 64 w 740"/>
                <a:gd name="T35" fmla="*/ 619 h 822"/>
                <a:gd name="T36" fmla="*/ 47 w 740"/>
                <a:gd name="T37" fmla="*/ 575 h 822"/>
                <a:gd name="T38" fmla="*/ 35 w 740"/>
                <a:gd name="T39" fmla="*/ 528 h 822"/>
                <a:gd name="T40" fmla="*/ 27 w 740"/>
                <a:gd name="T41" fmla="*/ 510 h 822"/>
                <a:gd name="T42" fmla="*/ 7 w 740"/>
                <a:gd name="T43" fmla="*/ 491 h 822"/>
                <a:gd name="T44" fmla="*/ 2 w 740"/>
                <a:gd name="T45" fmla="*/ 474 h 822"/>
                <a:gd name="T46" fmla="*/ 46 w 740"/>
                <a:gd name="T47" fmla="*/ 417 h 822"/>
                <a:gd name="T48" fmla="*/ 43 w 740"/>
                <a:gd name="T49" fmla="*/ 402 h 822"/>
                <a:gd name="T50" fmla="*/ 30 w 740"/>
                <a:gd name="T51" fmla="*/ 389 h 822"/>
                <a:gd name="T52" fmla="*/ 23 w 740"/>
                <a:gd name="T53" fmla="*/ 354 h 822"/>
                <a:gd name="T54" fmla="*/ 19 w 740"/>
                <a:gd name="T55" fmla="*/ 315 h 822"/>
                <a:gd name="T56" fmla="*/ 44 w 740"/>
                <a:gd name="T57" fmla="*/ 263 h 822"/>
                <a:gd name="T58" fmla="*/ 60 w 740"/>
                <a:gd name="T59" fmla="*/ 171 h 822"/>
                <a:gd name="T60" fmla="*/ 15 w 740"/>
                <a:gd name="T61" fmla="*/ 79 h 822"/>
                <a:gd name="T62" fmla="*/ 54 w 740"/>
                <a:gd name="T63" fmla="*/ 81 h 822"/>
                <a:gd name="T64" fmla="*/ 129 w 740"/>
                <a:gd name="T65" fmla="*/ 46 h 822"/>
                <a:gd name="T66" fmla="*/ 193 w 740"/>
                <a:gd name="T67" fmla="*/ 5 h 822"/>
                <a:gd name="T68" fmla="*/ 258 w 740"/>
                <a:gd name="T69" fmla="*/ 13 h 822"/>
                <a:gd name="T70" fmla="*/ 258 w 740"/>
                <a:gd name="T71" fmla="*/ 35 h 822"/>
                <a:gd name="T72" fmla="*/ 319 w 740"/>
                <a:gd name="T73" fmla="*/ 165 h 822"/>
                <a:gd name="T74" fmla="*/ 379 w 740"/>
                <a:gd name="T75" fmla="*/ 172 h 822"/>
                <a:gd name="T76" fmla="*/ 427 w 740"/>
                <a:gd name="T77" fmla="*/ 205 h 822"/>
                <a:gd name="T78" fmla="*/ 465 w 740"/>
                <a:gd name="T79" fmla="*/ 218 h 822"/>
                <a:gd name="T80" fmla="*/ 529 w 740"/>
                <a:gd name="T81" fmla="*/ 236 h 822"/>
                <a:gd name="T82" fmla="*/ 569 w 740"/>
                <a:gd name="T83" fmla="*/ 293 h 822"/>
                <a:gd name="T84" fmla="*/ 559 w 740"/>
                <a:gd name="T85" fmla="*/ 339 h 822"/>
                <a:gd name="T86" fmla="*/ 580 w 740"/>
                <a:gd name="T87" fmla="*/ 383 h 822"/>
                <a:gd name="T88" fmla="*/ 635 w 740"/>
                <a:gd name="T89" fmla="*/ 409 h 822"/>
                <a:gd name="T90" fmla="*/ 687 w 740"/>
                <a:gd name="T91" fmla="*/ 426 h 822"/>
                <a:gd name="T92" fmla="*/ 702 w 740"/>
                <a:gd name="T93" fmla="*/ 477 h 822"/>
                <a:gd name="T94" fmla="*/ 738 w 740"/>
                <a:gd name="T95" fmla="*/ 520 h 822"/>
                <a:gd name="T96" fmla="*/ 724 w 740"/>
                <a:gd name="T97" fmla="*/ 582 h 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40" h="822">
                  <a:moveTo>
                    <a:pt x="705" y="623"/>
                  </a:moveTo>
                  <a:cubicBezTo>
                    <a:pt x="693" y="616"/>
                    <a:pt x="665" y="599"/>
                    <a:pt x="651" y="596"/>
                  </a:cubicBezTo>
                  <a:cubicBezTo>
                    <a:pt x="639" y="594"/>
                    <a:pt x="634" y="595"/>
                    <a:pt x="625" y="596"/>
                  </a:cubicBezTo>
                  <a:cubicBezTo>
                    <a:pt x="619" y="597"/>
                    <a:pt x="611" y="598"/>
                    <a:pt x="598" y="599"/>
                  </a:cubicBezTo>
                  <a:cubicBezTo>
                    <a:pt x="571" y="600"/>
                    <a:pt x="564" y="601"/>
                    <a:pt x="547" y="605"/>
                  </a:cubicBezTo>
                  <a:cubicBezTo>
                    <a:pt x="542" y="606"/>
                    <a:pt x="537" y="607"/>
                    <a:pt x="532" y="608"/>
                  </a:cubicBezTo>
                  <a:cubicBezTo>
                    <a:pt x="525" y="609"/>
                    <a:pt x="525" y="609"/>
                    <a:pt x="525" y="609"/>
                  </a:cubicBezTo>
                  <a:cubicBezTo>
                    <a:pt x="500" y="613"/>
                    <a:pt x="492" y="615"/>
                    <a:pt x="482" y="623"/>
                  </a:cubicBezTo>
                  <a:cubicBezTo>
                    <a:pt x="476" y="628"/>
                    <a:pt x="472" y="637"/>
                    <a:pt x="468" y="645"/>
                  </a:cubicBezTo>
                  <a:cubicBezTo>
                    <a:pt x="466" y="649"/>
                    <a:pt x="464" y="654"/>
                    <a:pt x="462" y="656"/>
                  </a:cubicBezTo>
                  <a:cubicBezTo>
                    <a:pt x="459" y="660"/>
                    <a:pt x="454" y="668"/>
                    <a:pt x="451" y="678"/>
                  </a:cubicBezTo>
                  <a:cubicBezTo>
                    <a:pt x="449" y="685"/>
                    <a:pt x="447" y="694"/>
                    <a:pt x="447" y="703"/>
                  </a:cubicBezTo>
                  <a:cubicBezTo>
                    <a:pt x="448" y="716"/>
                    <a:pt x="445" y="725"/>
                    <a:pt x="442" y="735"/>
                  </a:cubicBezTo>
                  <a:cubicBezTo>
                    <a:pt x="440" y="740"/>
                    <a:pt x="439" y="745"/>
                    <a:pt x="437" y="750"/>
                  </a:cubicBezTo>
                  <a:cubicBezTo>
                    <a:pt x="435" y="762"/>
                    <a:pt x="431" y="769"/>
                    <a:pt x="428" y="774"/>
                  </a:cubicBezTo>
                  <a:cubicBezTo>
                    <a:pt x="424" y="771"/>
                    <a:pt x="420" y="769"/>
                    <a:pt x="414" y="768"/>
                  </a:cubicBezTo>
                  <a:cubicBezTo>
                    <a:pt x="411" y="768"/>
                    <a:pt x="411" y="768"/>
                    <a:pt x="411" y="768"/>
                  </a:cubicBezTo>
                  <a:cubicBezTo>
                    <a:pt x="393" y="767"/>
                    <a:pt x="356" y="765"/>
                    <a:pt x="350" y="770"/>
                  </a:cubicBezTo>
                  <a:cubicBezTo>
                    <a:pt x="346" y="772"/>
                    <a:pt x="342" y="782"/>
                    <a:pt x="339" y="793"/>
                  </a:cubicBezTo>
                  <a:cubicBezTo>
                    <a:pt x="334" y="806"/>
                    <a:pt x="329" y="819"/>
                    <a:pt x="328" y="819"/>
                  </a:cubicBezTo>
                  <a:cubicBezTo>
                    <a:pt x="327" y="819"/>
                    <a:pt x="325" y="814"/>
                    <a:pt x="323" y="809"/>
                  </a:cubicBezTo>
                  <a:cubicBezTo>
                    <a:pt x="320" y="801"/>
                    <a:pt x="317" y="792"/>
                    <a:pt x="309" y="787"/>
                  </a:cubicBezTo>
                  <a:cubicBezTo>
                    <a:pt x="307" y="785"/>
                    <a:pt x="306" y="784"/>
                    <a:pt x="304" y="783"/>
                  </a:cubicBezTo>
                  <a:cubicBezTo>
                    <a:pt x="297" y="777"/>
                    <a:pt x="296" y="776"/>
                    <a:pt x="272" y="776"/>
                  </a:cubicBezTo>
                  <a:cubicBezTo>
                    <a:pt x="260" y="776"/>
                    <a:pt x="253" y="777"/>
                    <a:pt x="249" y="778"/>
                  </a:cubicBezTo>
                  <a:cubicBezTo>
                    <a:pt x="245" y="779"/>
                    <a:pt x="244" y="779"/>
                    <a:pt x="240" y="776"/>
                  </a:cubicBezTo>
                  <a:cubicBezTo>
                    <a:pt x="237" y="774"/>
                    <a:pt x="234" y="771"/>
                    <a:pt x="230" y="768"/>
                  </a:cubicBezTo>
                  <a:cubicBezTo>
                    <a:pt x="226" y="764"/>
                    <a:pt x="222" y="760"/>
                    <a:pt x="218" y="757"/>
                  </a:cubicBezTo>
                  <a:cubicBezTo>
                    <a:pt x="212" y="754"/>
                    <a:pt x="207" y="753"/>
                    <a:pt x="204" y="758"/>
                  </a:cubicBezTo>
                  <a:cubicBezTo>
                    <a:pt x="204" y="758"/>
                    <a:pt x="204" y="758"/>
                    <a:pt x="204" y="758"/>
                  </a:cubicBezTo>
                  <a:cubicBezTo>
                    <a:pt x="202" y="762"/>
                    <a:pt x="201" y="765"/>
                    <a:pt x="201" y="769"/>
                  </a:cubicBezTo>
                  <a:cubicBezTo>
                    <a:pt x="200" y="772"/>
                    <a:pt x="200" y="775"/>
                    <a:pt x="197" y="776"/>
                  </a:cubicBezTo>
                  <a:cubicBezTo>
                    <a:pt x="193" y="778"/>
                    <a:pt x="181" y="787"/>
                    <a:pt x="170" y="796"/>
                  </a:cubicBezTo>
                  <a:cubicBezTo>
                    <a:pt x="162" y="802"/>
                    <a:pt x="154" y="809"/>
                    <a:pt x="152" y="813"/>
                  </a:cubicBezTo>
                  <a:cubicBezTo>
                    <a:pt x="150" y="816"/>
                    <a:pt x="149" y="819"/>
                    <a:pt x="149" y="822"/>
                  </a:cubicBezTo>
                  <a:cubicBezTo>
                    <a:pt x="141" y="822"/>
                    <a:pt x="115" y="821"/>
                    <a:pt x="112" y="816"/>
                  </a:cubicBezTo>
                  <a:cubicBezTo>
                    <a:pt x="110" y="814"/>
                    <a:pt x="110" y="812"/>
                    <a:pt x="110" y="810"/>
                  </a:cubicBezTo>
                  <a:cubicBezTo>
                    <a:pt x="110" y="807"/>
                    <a:pt x="110" y="802"/>
                    <a:pt x="107" y="792"/>
                  </a:cubicBezTo>
                  <a:cubicBezTo>
                    <a:pt x="104" y="781"/>
                    <a:pt x="103" y="777"/>
                    <a:pt x="101" y="772"/>
                  </a:cubicBezTo>
                  <a:cubicBezTo>
                    <a:pt x="100" y="769"/>
                    <a:pt x="98" y="765"/>
                    <a:pt x="96" y="759"/>
                  </a:cubicBezTo>
                  <a:cubicBezTo>
                    <a:pt x="94" y="751"/>
                    <a:pt x="93" y="745"/>
                    <a:pt x="92" y="740"/>
                  </a:cubicBezTo>
                  <a:cubicBezTo>
                    <a:pt x="91" y="733"/>
                    <a:pt x="91" y="728"/>
                    <a:pt x="87" y="722"/>
                  </a:cubicBezTo>
                  <a:cubicBezTo>
                    <a:pt x="84" y="718"/>
                    <a:pt x="81" y="714"/>
                    <a:pt x="78" y="711"/>
                  </a:cubicBezTo>
                  <a:cubicBezTo>
                    <a:pt x="74" y="708"/>
                    <a:pt x="71" y="705"/>
                    <a:pt x="71" y="702"/>
                  </a:cubicBezTo>
                  <a:cubicBezTo>
                    <a:pt x="70" y="699"/>
                    <a:pt x="70" y="697"/>
                    <a:pt x="71" y="695"/>
                  </a:cubicBezTo>
                  <a:cubicBezTo>
                    <a:pt x="71" y="690"/>
                    <a:pt x="72" y="684"/>
                    <a:pt x="66" y="676"/>
                  </a:cubicBezTo>
                  <a:cubicBezTo>
                    <a:pt x="64" y="673"/>
                    <a:pt x="62" y="672"/>
                    <a:pt x="61" y="670"/>
                  </a:cubicBezTo>
                  <a:cubicBezTo>
                    <a:pt x="57" y="665"/>
                    <a:pt x="55" y="663"/>
                    <a:pt x="55" y="658"/>
                  </a:cubicBezTo>
                  <a:cubicBezTo>
                    <a:pt x="54" y="655"/>
                    <a:pt x="56" y="653"/>
                    <a:pt x="58" y="651"/>
                  </a:cubicBezTo>
                  <a:cubicBezTo>
                    <a:pt x="60" y="648"/>
                    <a:pt x="62" y="645"/>
                    <a:pt x="62" y="641"/>
                  </a:cubicBezTo>
                  <a:cubicBezTo>
                    <a:pt x="62" y="638"/>
                    <a:pt x="61" y="636"/>
                    <a:pt x="61" y="635"/>
                  </a:cubicBezTo>
                  <a:cubicBezTo>
                    <a:pt x="60" y="632"/>
                    <a:pt x="60" y="630"/>
                    <a:pt x="61" y="626"/>
                  </a:cubicBezTo>
                  <a:cubicBezTo>
                    <a:pt x="61" y="623"/>
                    <a:pt x="63" y="621"/>
                    <a:pt x="64" y="619"/>
                  </a:cubicBezTo>
                  <a:cubicBezTo>
                    <a:pt x="64" y="619"/>
                    <a:pt x="64" y="619"/>
                    <a:pt x="64" y="619"/>
                  </a:cubicBezTo>
                  <a:cubicBezTo>
                    <a:pt x="67" y="614"/>
                    <a:pt x="70" y="609"/>
                    <a:pt x="67" y="600"/>
                  </a:cubicBezTo>
                  <a:cubicBezTo>
                    <a:pt x="65" y="593"/>
                    <a:pt x="61" y="589"/>
                    <a:pt x="57" y="585"/>
                  </a:cubicBezTo>
                  <a:cubicBezTo>
                    <a:pt x="54" y="583"/>
                    <a:pt x="50" y="580"/>
                    <a:pt x="47" y="575"/>
                  </a:cubicBezTo>
                  <a:cubicBezTo>
                    <a:pt x="41" y="566"/>
                    <a:pt x="41" y="562"/>
                    <a:pt x="39" y="554"/>
                  </a:cubicBezTo>
                  <a:cubicBezTo>
                    <a:pt x="39" y="551"/>
                    <a:pt x="38" y="547"/>
                    <a:pt x="37" y="542"/>
                  </a:cubicBezTo>
                  <a:cubicBezTo>
                    <a:pt x="36" y="536"/>
                    <a:pt x="36" y="532"/>
                    <a:pt x="35" y="528"/>
                  </a:cubicBezTo>
                  <a:cubicBezTo>
                    <a:pt x="35" y="528"/>
                    <a:pt x="35" y="528"/>
                    <a:pt x="35" y="528"/>
                  </a:cubicBezTo>
                  <a:cubicBezTo>
                    <a:pt x="35" y="520"/>
                    <a:pt x="34" y="515"/>
                    <a:pt x="27" y="510"/>
                  </a:cubicBezTo>
                  <a:cubicBezTo>
                    <a:pt x="27" y="510"/>
                    <a:pt x="27" y="510"/>
                    <a:pt x="27" y="510"/>
                  </a:cubicBezTo>
                  <a:cubicBezTo>
                    <a:pt x="23" y="508"/>
                    <a:pt x="21" y="507"/>
                    <a:pt x="19" y="506"/>
                  </a:cubicBezTo>
                  <a:cubicBezTo>
                    <a:pt x="16" y="505"/>
                    <a:pt x="15" y="505"/>
                    <a:pt x="12" y="501"/>
                  </a:cubicBezTo>
                  <a:cubicBezTo>
                    <a:pt x="10" y="497"/>
                    <a:pt x="8" y="494"/>
                    <a:pt x="7" y="491"/>
                  </a:cubicBezTo>
                  <a:cubicBezTo>
                    <a:pt x="6" y="489"/>
                    <a:pt x="5" y="487"/>
                    <a:pt x="4" y="486"/>
                  </a:cubicBezTo>
                  <a:cubicBezTo>
                    <a:pt x="4" y="485"/>
                    <a:pt x="4" y="485"/>
                    <a:pt x="4" y="485"/>
                  </a:cubicBezTo>
                  <a:cubicBezTo>
                    <a:pt x="5" y="480"/>
                    <a:pt x="3" y="477"/>
                    <a:pt x="2" y="474"/>
                  </a:cubicBezTo>
                  <a:cubicBezTo>
                    <a:pt x="1" y="473"/>
                    <a:pt x="0" y="472"/>
                    <a:pt x="1" y="469"/>
                  </a:cubicBezTo>
                  <a:cubicBezTo>
                    <a:pt x="4" y="464"/>
                    <a:pt x="20" y="447"/>
                    <a:pt x="32" y="434"/>
                  </a:cubicBezTo>
                  <a:cubicBezTo>
                    <a:pt x="39" y="426"/>
                    <a:pt x="44" y="420"/>
                    <a:pt x="46" y="417"/>
                  </a:cubicBezTo>
                  <a:cubicBezTo>
                    <a:pt x="47" y="416"/>
                    <a:pt x="48" y="414"/>
                    <a:pt x="48" y="412"/>
                  </a:cubicBezTo>
                  <a:cubicBezTo>
                    <a:pt x="48" y="410"/>
                    <a:pt x="48" y="408"/>
                    <a:pt x="47" y="406"/>
                  </a:cubicBezTo>
                  <a:cubicBezTo>
                    <a:pt x="46" y="405"/>
                    <a:pt x="44" y="403"/>
                    <a:pt x="43" y="402"/>
                  </a:cubicBezTo>
                  <a:cubicBezTo>
                    <a:pt x="41" y="401"/>
                    <a:pt x="39" y="400"/>
                    <a:pt x="37" y="400"/>
                  </a:cubicBezTo>
                  <a:cubicBezTo>
                    <a:pt x="37" y="400"/>
                    <a:pt x="36" y="400"/>
                    <a:pt x="36" y="400"/>
                  </a:cubicBezTo>
                  <a:cubicBezTo>
                    <a:pt x="35" y="400"/>
                    <a:pt x="34" y="400"/>
                    <a:pt x="30" y="389"/>
                  </a:cubicBezTo>
                  <a:cubicBezTo>
                    <a:pt x="27" y="381"/>
                    <a:pt x="25" y="376"/>
                    <a:pt x="24" y="372"/>
                  </a:cubicBezTo>
                  <a:cubicBezTo>
                    <a:pt x="23" y="367"/>
                    <a:pt x="22" y="364"/>
                    <a:pt x="22" y="360"/>
                  </a:cubicBezTo>
                  <a:cubicBezTo>
                    <a:pt x="22" y="356"/>
                    <a:pt x="22" y="355"/>
                    <a:pt x="23" y="354"/>
                  </a:cubicBezTo>
                  <a:cubicBezTo>
                    <a:pt x="25" y="352"/>
                    <a:pt x="26" y="349"/>
                    <a:pt x="27" y="343"/>
                  </a:cubicBezTo>
                  <a:cubicBezTo>
                    <a:pt x="28" y="336"/>
                    <a:pt x="25" y="331"/>
                    <a:pt x="23" y="326"/>
                  </a:cubicBezTo>
                  <a:cubicBezTo>
                    <a:pt x="20" y="323"/>
                    <a:pt x="18" y="319"/>
                    <a:pt x="19" y="315"/>
                  </a:cubicBezTo>
                  <a:cubicBezTo>
                    <a:pt x="20" y="310"/>
                    <a:pt x="27" y="303"/>
                    <a:pt x="34" y="297"/>
                  </a:cubicBezTo>
                  <a:cubicBezTo>
                    <a:pt x="41" y="290"/>
                    <a:pt x="47" y="284"/>
                    <a:pt x="49" y="278"/>
                  </a:cubicBezTo>
                  <a:cubicBezTo>
                    <a:pt x="50" y="273"/>
                    <a:pt x="47" y="268"/>
                    <a:pt x="44" y="263"/>
                  </a:cubicBezTo>
                  <a:cubicBezTo>
                    <a:pt x="40" y="256"/>
                    <a:pt x="35" y="249"/>
                    <a:pt x="36" y="238"/>
                  </a:cubicBezTo>
                  <a:cubicBezTo>
                    <a:pt x="38" y="228"/>
                    <a:pt x="44" y="213"/>
                    <a:pt x="50" y="199"/>
                  </a:cubicBezTo>
                  <a:cubicBezTo>
                    <a:pt x="54" y="188"/>
                    <a:pt x="59" y="177"/>
                    <a:pt x="60" y="171"/>
                  </a:cubicBezTo>
                  <a:cubicBezTo>
                    <a:pt x="61" y="164"/>
                    <a:pt x="53" y="146"/>
                    <a:pt x="43" y="128"/>
                  </a:cubicBezTo>
                  <a:cubicBezTo>
                    <a:pt x="33" y="110"/>
                    <a:pt x="21" y="92"/>
                    <a:pt x="12" y="80"/>
                  </a:cubicBezTo>
                  <a:cubicBezTo>
                    <a:pt x="13" y="80"/>
                    <a:pt x="14" y="80"/>
                    <a:pt x="15" y="79"/>
                  </a:cubicBezTo>
                  <a:cubicBezTo>
                    <a:pt x="18" y="79"/>
                    <a:pt x="20" y="78"/>
                    <a:pt x="23" y="78"/>
                  </a:cubicBezTo>
                  <a:cubicBezTo>
                    <a:pt x="26" y="78"/>
                    <a:pt x="30" y="79"/>
                    <a:pt x="36" y="79"/>
                  </a:cubicBezTo>
                  <a:cubicBezTo>
                    <a:pt x="41" y="79"/>
                    <a:pt x="47" y="80"/>
                    <a:pt x="54" y="81"/>
                  </a:cubicBezTo>
                  <a:cubicBezTo>
                    <a:pt x="64" y="82"/>
                    <a:pt x="73" y="77"/>
                    <a:pt x="83" y="70"/>
                  </a:cubicBezTo>
                  <a:cubicBezTo>
                    <a:pt x="88" y="67"/>
                    <a:pt x="93" y="63"/>
                    <a:pt x="99" y="61"/>
                  </a:cubicBezTo>
                  <a:cubicBezTo>
                    <a:pt x="108" y="57"/>
                    <a:pt x="119" y="51"/>
                    <a:pt x="129" y="46"/>
                  </a:cubicBezTo>
                  <a:cubicBezTo>
                    <a:pt x="139" y="41"/>
                    <a:pt x="149" y="36"/>
                    <a:pt x="157" y="31"/>
                  </a:cubicBezTo>
                  <a:cubicBezTo>
                    <a:pt x="164" y="27"/>
                    <a:pt x="169" y="22"/>
                    <a:pt x="174" y="18"/>
                  </a:cubicBezTo>
                  <a:cubicBezTo>
                    <a:pt x="180" y="12"/>
                    <a:pt x="186" y="7"/>
                    <a:pt x="193" y="5"/>
                  </a:cubicBezTo>
                  <a:cubicBezTo>
                    <a:pt x="201" y="3"/>
                    <a:pt x="218" y="1"/>
                    <a:pt x="232" y="1"/>
                  </a:cubicBezTo>
                  <a:cubicBezTo>
                    <a:pt x="242" y="0"/>
                    <a:pt x="250" y="1"/>
                    <a:pt x="253" y="2"/>
                  </a:cubicBezTo>
                  <a:cubicBezTo>
                    <a:pt x="258" y="5"/>
                    <a:pt x="258" y="8"/>
                    <a:pt x="258" y="13"/>
                  </a:cubicBezTo>
                  <a:cubicBezTo>
                    <a:pt x="258" y="13"/>
                    <a:pt x="258" y="13"/>
                    <a:pt x="258" y="13"/>
                  </a:cubicBezTo>
                  <a:cubicBezTo>
                    <a:pt x="258" y="14"/>
                    <a:pt x="258" y="16"/>
                    <a:pt x="258" y="17"/>
                  </a:cubicBezTo>
                  <a:cubicBezTo>
                    <a:pt x="258" y="20"/>
                    <a:pt x="258" y="26"/>
                    <a:pt x="258" y="35"/>
                  </a:cubicBezTo>
                  <a:cubicBezTo>
                    <a:pt x="258" y="58"/>
                    <a:pt x="258" y="93"/>
                    <a:pt x="261" y="100"/>
                  </a:cubicBezTo>
                  <a:cubicBezTo>
                    <a:pt x="262" y="105"/>
                    <a:pt x="271" y="116"/>
                    <a:pt x="282" y="127"/>
                  </a:cubicBezTo>
                  <a:cubicBezTo>
                    <a:pt x="296" y="144"/>
                    <a:pt x="314" y="162"/>
                    <a:pt x="319" y="165"/>
                  </a:cubicBezTo>
                  <a:cubicBezTo>
                    <a:pt x="325" y="170"/>
                    <a:pt x="334" y="170"/>
                    <a:pt x="343" y="169"/>
                  </a:cubicBezTo>
                  <a:cubicBezTo>
                    <a:pt x="347" y="169"/>
                    <a:pt x="352" y="169"/>
                    <a:pt x="356" y="169"/>
                  </a:cubicBezTo>
                  <a:cubicBezTo>
                    <a:pt x="363" y="169"/>
                    <a:pt x="371" y="170"/>
                    <a:pt x="379" y="172"/>
                  </a:cubicBezTo>
                  <a:cubicBezTo>
                    <a:pt x="386" y="174"/>
                    <a:pt x="393" y="176"/>
                    <a:pt x="397" y="179"/>
                  </a:cubicBezTo>
                  <a:cubicBezTo>
                    <a:pt x="402" y="181"/>
                    <a:pt x="407" y="187"/>
                    <a:pt x="411" y="192"/>
                  </a:cubicBezTo>
                  <a:cubicBezTo>
                    <a:pt x="417" y="198"/>
                    <a:pt x="422" y="204"/>
                    <a:pt x="427" y="205"/>
                  </a:cubicBezTo>
                  <a:cubicBezTo>
                    <a:pt x="430" y="206"/>
                    <a:pt x="434" y="206"/>
                    <a:pt x="438" y="207"/>
                  </a:cubicBezTo>
                  <a:cubicBezTo>
                    <a:pt x="446" y="208"/>
                    <a:pt x="454" y="209"/>
                    <a:pt x="458" y="212"/>
                  </a:cubicBezTo>
                  <a:cubicBezTo>
                    <a:pt x="460" y="213"/>
                    <a:pt x="462" y="215"/>
                    <a:pt x="465" y="218"/>
                  </a:cubicBezTo>
                  <a:cubicBezTo>
                    <a:pt x="472" y="226"/>
                    <a:pt x="482" y="237"/>
                    <a:pt x="496" y="238"/>
                  </a:cubicBezTo>
                  <a:cubicBezTo>
                    <a:pt x="504" y="238"/>
                    <a:pt x="510" y="237"/>
                    <a:pt x="516" y="236"/>
                  </a:cubicBezTo>
                  <a:cubicBezTo>
                    <a:pt x="521" y="235"/>
                    <a:pt x="526" y="235"/>
                    <a:pt x="529" y="236"/>
                  </a:cubicBezTo>
                  <a:cubicBezTo>
                    <a:pt x="533" y="237"/>
                    <a:pt x="541" y="242"/>
                    <a:pt x="548" y="249"/>
                  </a:cubicBezTo>
                  <a:cubicBezTo>
                    <a:pt x="555" y="255"/>
                    <a:pt x="562" y="262"/>
                    <a:pt x="564" y="266"/>
                  </a:cubicBezTo>
                  <a:cubicBezTo>
                    <a:pt x="567" y="270"/>
                    <a:pt x="569" y="282"/>
                    <a:pt x="569" y="293"/>
                  </a:cubicBezTo>
                  <a:cubicBezTo>
                    <a:pt x="570" y="304"/>
                    <a:pt x="570" y="315"/>
                    <a:pt x="568" y="320"/>
                  </a:cubicBezTo>
                  <a:cubicBezTo>
                    <a:pt x="566" y="326"/>
                    <a:pt x="564" y="328"/>
                    <a:pt x="562" y="329"/>
                  </a:cubicBezTo>
                  <a:cubicBezTo>
                    <a:pt x="560" y="332"/>
                    <a:pt x="558" y="334"/>
                    <a:pt x="559" y="339"/>
                  </a:cubicBezTo>
                  <a:cubicBezTo>
                    <a:pt x="560" y="344"/>
                    <a:pt x="564" y="347"/>
                    <a:pt x="568" y="351"/>
                  </a:cubicBezTo>
                  <a:cubicBezTo>
                    <a:pt x="572" y="354"/>
                    <a:pt x="576" y="358"/>
                    <a:pt x="578" y="363"/>
                  </a:cubicBezTo>
                  <a:cubicBezTo>
                    <a:pt x="580" y="368"/>
                    <a:pt x="580" y="376"/>
                    <a:pt x="580" y="383"/>
                  </a:cubicBezTo>
                  <a:cubicBezTo>
                    <a:pt x="580" y="393"/>
                    <a:pt x="580" y="403"/>
                    <a:pt x="584" y="407"/>
                  </a:cubicBezTo>
                  <a:cubicBezTo>
                    <a:pt x="590" y="414"/>
                    <a:pt x="606" y="412"/>
                    <a:pt x="622" y="411"/>
                  </a:cubicBezTo>
                  <a:cubicBezTo>
                    <a:pt x="626" y="410"/>
                    <a:pt x="631" y="410"/>
                    <a:pt x="635" y="409"/>
                  </a:cubicBezTo>
                  <a:cubicBezTo>
                    <a:pt x="636" y="409"/>
                    <a:pt x="636" y="409"/>
                    <a:pt x="636" y="409"/>
                  </a:cubicBezTo>
                  <a:cubicBezTo>
                    <a:pt x="652" y="408"/>
                    <a:pt x="683" y="407"/>
                    <a:pt x="689" y="410"/>
                  </a:cubicBezTo>
                  <a:cubicBezTo>
                    <a:pt x="691" y="412"/>
                    <a:pt x="689" y="418"/>
                    <a:pt x="687" y="426"/>
                  </a:cubicBezTo>
                  <a:cubicBezTo>
                    <a:pt x="686" y="429"/>
                    <a:pt x="685" y="433"/>
                    <a:pt x="684" y="437"/>
                  </a:cubicBezTo>
                  <a:cubicBezTo>
                    <a:pt x="682" y="444"/>
                    <a:pt x="683" y="451"/>
                    <a:pt x="687" y="459"/>
                  </a:cubicBezTo>
                  <a:cubicBezTo>
                    <a:pt x="689" y="465"/>
                    <a:pt x="695" y="472"/>
                    <a:pt x="702" y="477"/>
                  </a:cubicBezTo>
                  <a:cubicBezTo>
                    <a:pt x="707" y="481"/>
                    <a:pt x="711" y="484"/>
                    <a:pt x="715" y="486"/>
                  </a:cubicBezTo>
                  <a:cubicBezTo>
                    <a:pt x="722" y="490"/>
                    <a:pt x="726" y="493"/>
                    <a:pt x="730" y="501"/>
                  </a:cubicBezTo>
                  <a:cubicBezTo>
                    <a:pt x="734" y="507"/>
                    <a:pt x="736" y="513"/>
                    <a:pt x="738" y="520"/>
                  </a:cubicBezTo>
                  <a:cubicBezTo>
                    <a:pt x="739" y="526"/>
                    <a:pt x="740" y="533"/>
                    <a:pt x="739" y="541"/>
                  </a:cubicBezTo>
                  <a:cubicBezTo>
                    <a:pt x="739" y="548"/>
                    <a:pt x="738" y="555"/>
                    <a:pt x="735" y="561"/>
                  </a:cubicBezTo>
                  <a:cubicBezTo>
                    <a:pt x="732" y="567"/>
                    <a:pt x="729" y="574"/>
                    <a:pt x="724" y="582"/>
                  </a:cubicBezTo>
                  <a:cubicBezTo>
                    <a:pt x="716" y="595"/>
                    <a:pt x="710" y="610"/>
                    <a:pt x="706" y="621"/>
                  </a:cubicBezTo>
                  <a:cubicBezTo>
                    <a:pt x="705" y="623"/>
                    <a:pt x="705" y="623"/>
                    <a:pt x="705" y="6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3064781" y="4815575"/>
              <a:ext cx="0" cy="0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0"/>
                    <a:pt x="1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2799272" y="4319085"/>
              <a:ext cx="4762" cy="7144"/>
            </a:xfrm>
            <a:custGeom>
              <a:avLst/>
              <a:gdLst>
                <a:gd name="T0" fmla="*/ 15 w 15"/>
                <a:gd name="T1" fmla="*/ 4 h 22"/>
                <a:gd name="T2" fmla="*/ 6 w 15"/>
                <a:gd name="T3" fmla="*/ 21 h 22"/>
                <a:gd name="T4" fmla="*/ 1 w 15"/>
                <a:gd name="T5" fmla="*/ 1 h 22"/>
                <a:gd name="T6" fmla="*/ 1 w 15"/>
                <a:gd name="T7" fmla="*/ 0 h 22"/>
                <a:gd name="T8" fmla="*/ 15 w 15"/>
                <a:gd name="T9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2">
                  <a:moveTo>
                    <a:pt x="15" y="4"/>
                  </a:moveTo>
                  <a:cubicBezTo>
                    <a:pt x="14" y="15"/>
                    <a:pt x="9" y="22"/>
                    <a:pt x="6" y="21"/>
                  </a:cubicBezTo>
                  <a:cubicBezTo>
                    <a:pt x="2" y="19"/>
                    <a:pt x="0" y="15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1"/>
                    <a:pt x="11" y="3"/>
                    <a:pt x="15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auto">
            <a:xfrm>
              <a:off x="2779031" y="4319085"/>
              <a:ext cx="19050" cy="44053"/>
            </a:xfrm>
            <a:custGeom>
              <a:avLst/>
              <a:gdLst>
                <a:gd name="T0" fmla="*/ 65 w 66"/>
                <a:gd name="T1" fmla="*/ 1 h 153"/>
                <a:gd name="T2" fmla="*/ 65 w 66"/>
                <a:gd name="T3" fmla="*/ 19 h 153"/>
                <a:gd name="T4" fmla="*/ 59 w 66"/>
                <a:gd name="T5" fmla="*/ 58 h 153"/>
                <a:gd name="T6" fmla="*/ 60 w 66"/>
                <a:gd name="T7" fmla="*/ 98 h 153"/>
                <a:gd name="T8" fmla="*/ 37 w 66"/>
                <a:gd name="T9" fmla="*/ 131 h 153"/>
                <a:gd name="T10" fmla="*/ 24 w 66"/>
                <a:gd name="T11" fmla="*/ 150 h 153"/>
                <a:gd name="T12" fmla="*/ 1 w 66"/>
                <a:gd name="T13" fmla="*/ 152 h 153"/>
                <a:gd name="T14" fmla="*/ 4 w 66"/>
                <a:gd name="T15" fmla="*/ 36 h 153"/>
                <a:gd name="T16" fmla="*/ 35 w 66"/>
                <a:gd name="T17" fmla="*/ 10 h 153"/>
                <a:gd name="T18" fmla="*/ 43 w 66"/>
                <a:gd name="T19" fmla="*/ 1 h 153"/>
                <a:gd name="T20" fmla="*/ 65 w 66"/>
                <a:gd name="T21" fmla="*/ 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53">
                  <a:moveTo>
                    <a:pt x="65" y="1"/>
                  </a:moveTo>
                  <a:cubicBezTo>
                    <a:pt x="64" y="7"/>
                    <a:pt x="64" y="11"/>
                    <a:pt x="65" y="19"/>
                  </a:cubicBezTo>
                  <a:cubicBezTo>
                    <a:pt x="66" y="31"/>
                    <a:pt x="63" y="43"/>
                    <a:pt x="59" y="58"/>
                  </a:cubicBezTo>
                  <a:cubicBezTo>
                    <a:pt x="54" y="73"/>
                    <a:pt x="60" y="87"/>
                    <a:pt x="60" y="98"/>
                  </a:cubicBezTo>
                  <a:cubicBezTo>
                    <a:pt x="60" y="110"/>
                    <a:pt x="42" y="128"/>
                    <a:pt x="37" y="131"/>
                  </a:cubicBezTo>
                  <a:cubicBezTo>
                    <a:pt x="34" y="133"/>
                    <a:pt x="27" y="143"/>
                    <a:pt x="24" y="150"/>
                  </a:cubicBezTo>
                  <a:cubicBezTo>
                    <a:pt x="15" y="152"/>
                    <a:pt x="4" y="153"/>
                    <a:pt x="1" y="152"/>
                  </a:cubicBezTo>
                  <a:cubicBezTo>
                    <a:pt x="0" y="152"/>
                    <a:pt x="4" y="54"/>
                    <a:pt x="4" y="36"/>
                  </a:cubicBezTo>
                  <a:cubicBezTo>
                    <a:pt x="13" y="34"/>
                    <a:pt x="26" y="21"/>
                    <a:pt x="35" y="10"/>
                  </a:cubicBezTo>
                  <a:cubicBezTo>
                    <a:pt x="39" y="6"/>
                    <a:pt x="42" y="3"/>
                    <a:pt x="43" y="1"/>
                  </a:cubicBezTo>
                  <a:cubicBezTo>
                    <a:pt x="46" y="0"/>
                    <a:pt x="55" y="0"/>
                    <a:pt x="65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Freeform 12"/>
            <p:cNvSpPr>
              <a:spLocks/>
            </p:cNvSpPr>
            <p:nvPr/>
          </p:nvSpPr>
          <p:spPr bwMode="auto">
            <a:xfrm>
              <a:off x="2726644" y="4329800"/>
              <a:ext cx="69056" cy="72628"/>
            </a:xfrm>
            <a:custGeom>
              <a:avLst/>
              <a:gdLst>
                <a:gd name="T0" fmla="*/ 209 w 243"/>
                <a:gd name="T1" fmla="*/ 122 h 254"/>
                <a:gd name="T2" fmla="*/ 229 w 243"/>
                <a:gd name="T3" fmla="*/ 126 h 254"/>
                <a:gd name="T4" fmla="*/ 243 w 243"/>
                <a:gd name="T5" fmla="*/ 125 h 254"/>
                <a:gd name="T6" fmla="*/ 226 w 243"/>
                <a:gd name="T7" fmla="*/ 142 h 254"/>
                <a:gd name="T8" fmla="*/ 208 w 243"/>
                <a:gd name="T9" fmla="*/ 157 h 254"/>
                <a:gd name="T10" fmla="*/ 208 w 243"/>
                <a:gd name="T11" fmla="*/ 157 h 254"/>
                <a:gd name="T12" fmla="*/ 206 w 243"/>
                <a:gd name="T13" fmla="*/ 159 h 254"/>
                <a:gd name="T14" fmla="*/ 188 w 243"/>
                <a:gd name="T15" fmla="*/ 179 h 254"/>
                <a:gd name="T16" fmla="*/ 186 w 243"/>
                <a:gd name="T17" fmla="*/ 189 h 254"/>
                <a:gd name="T18" fmla="*/ 186 w 243"/>
                <a:gd name="T19" fmla="*/ 189 h 254"/>
                <a:gd name="T20" fmla="*/ 184 w 243"/>
                <a:gd name="T21" fmla="*/ 199 h 254"/>
                <a:gd name="T22" fmla="*/ 184 w 243"/>
                <a:gd name="T23" fmla="*/ 204 h 254"/>
                <a:gd name="T24" fmla="*/ 154 w 243"/>
                <a:gd name="T25" fmla="*/ 224 h 254"/>
                <a:gd name="T26" fmla="*/ 138 w 243"/>
                <a:gd name="T27" fmla="*/ 238 h 254"/>
                <a:gd name="T28" fmla="*/ 123 w 243"/>
                <a:gd name="T29" fmla="*/ 254 h 254"/>
                <a:gd name="T30" fmla="*/ 113 w 243"/>
                <a:gd name="T31" fmla="*/ 250 h 254"/>
                <a:gd name="T32" fmla="*/ 74 w 243"/>
                <a:gd name="T33" fmla="*/ 246 h 254"/>
                <a:gd name="T34" fmla="*/ 41 w 243"/>
                <a:gd name="T35" fmla="*/ 240 h 254"/>
                <a:gd name="T36" fmla="*/ 16 w 243"/>
                <a:gd name="T37" fmla="*/ 223 h 254"/>
                <a:gd name="T38" fmla="*/ 0 w 243"/>
                <a:gd name="T39" fmla="*/ 210 h 254"/>
                <a:gd name="T40" fmla="*/ 2 w 243"/>
                <a:gd name="T41" fmla="*/ 205 h 254"/>
                <a:gd name="T42" fmla="*/ 13 w 243"/>
                <a:gd name="T43" fmla="*/ 180 h 254"/>
                <a:gd name="T44" fmla="*/ 17 w 243"/>
                <a:gd name="T45" fmla="*/ 161 h 254"/>
                <a:gd name="T46" fmla="*/ 27 w 243"/>
                <a:gd name="T47" fmla="*/ 122 h 254"/>
                <a:gd name="T48" fmla="*/ 90 w 243"/>
                <a:gd name="T49" fmla="*/ 115 h 254"/>
                <a:gd name="T50" fmla="*/ 90 w 243"/>
                <a:gd name="T51" fmla="*/ 115 h 254"/>
                <a:gd name="T52" fmla="*/ 108 w 243"/>
                <a:gd name="T53" fmla="*/ 113 h 254"/>
                <a:gd name="T54" fmla="*/ 112 w 243"/>
                <a:gd name="T55" fmla="*/ 96 h 254"/>
                <a:gd name="T56" fmla="*/ 76 w 243"/>
                <a:gd name="T57" fmla="*/ 58 h 254"/>
                <a:gd name="T58" fmla="*/ 54 w 243"/>
                <a:gd name="T59" fmla="*/ 38 h 254"/>
                <a:gd name="T60" fmla="*/ 55 w 243"/>
                <a:gd name="T61" fmla="*/ 34 h 254"/>
                <a:gd name="T62" fmla="*/ 65 w 243"/>
                <a:gd name="T63" fmla="*/ 33 h 254"/>
                <a:gd name="T64" fmla="*/ 65 w 243"/>
                <a:gd name="T65" fmla="*/ 33 h 254"/>
                <a:gd name="T66" fmla="*/ 65 w 243"/>
                <a:gd name="T67" fmla="*/ 33 h 254"/>
                <a:gd name="T68" fmla="*/ 65 w 243"/>
                <a:gd name="T69" fmla="*/ 33 h 254"/>
                <a:gd name="T70" fmla="*/ 77 w 243"/>
                <a:gd name="T71" fmla="*/ 22 h 254"/>
                <a:gd name="T72" fmla="*/ 79 w 243"/>
                <a:gd name="T73" fmla="*/ 6 h 254"/>
                <a:gd name="T74" fmla="*/ 79 w 243"/>
                <a:gd name="T75" fmla="*/ 3 h 254"/>
                <a:gd name="T76" fmla="*/ 107 w 243"/>
                <a:gd name="T77" fmla="*/ 1 h 254"/>
                <a:gd name="T78" fmla="*/ 164 w 243"/>
                <a:gd name="T79" fmla="*/ 0 h 254"/>
                <a:gd name="T80" fmla="*/ 181 w 243"/>
                <a:gd name="T81" fmla="*/ 0 h 254"/>
                <a:gd name="T82" fmla="*/ 185 w 243"/>
                <a:gd name="T83" fmla="*/ 123 h 254"/>
                <a:gd name="T84" fmla="*/ 209 w 243"/>
                <a:gd name="T85" fmla="*/ 122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3" h="254">
                  <a:moveTo>
                    <a:pt x="209" y="122"/>
                  </a:moveTo>
                  <a:cubicBezTo>
                    <a:pt x="213" y="127"/>
                    <a:pt x="224" y="130"/>
                    <a:pt x="229" y="126"/>
                  </a:cubicBezTo>
                  <a:cubicBezTo>
                    <a:pt x="232" y="123"/>
                    <a:pt x="238" y="124"/>
                    <a:pt x="243" y="125"/>
                  </a:cubicBezTo>
                  <a:cubicBezTo>
                    <a:pt x="238" y="130"/>
                    <a:pt x="232" y="136"/>
                    <a:pt x="226" y="142"/>
                  </a:cubicBezTo>
                  <a:cubicBezTo>
                    <a:pt x="219" y="149"/>
                    <a:pt x="211" y="155"/>
                    <a:pt x="208" y="157"/>
                  </a:cubicBezTo>
                  <a:cubicBezTo>
                    <a:pt x="208" y="157"/>
                    <a:pt x="208" y="157"/>
                    <a:pt x="208" y="157"/>
                  </a:cubicBezTo>
                  <a:cubicBezTo>
                    <a:pt x="206" y="159"/>
                    <a:pt x="206" y="159"/>
                    <a:pt x="206" y="159"/>
                  </a:cubicBezTo>
                  <a:cubicBezTo>
                    <a:pt x="197" y="164"/>
                    <a:pt x="191" y="169"/>
                    <a:pt x="188" y="179"/>
                  </a:cubicBezTo>
                  <a:cubicBezTo>
                    <a:pt x="186" y="184"/>
                    <a:pt x="186" y="187"/>
                    <a:pt x="186" y="189"/>
                  </a:cubicBezTo>
                  <a:cubicBezTo>
                    <a:pt x="186" y="189"/>
                    <a:pt x="186" y="189"/>
                    <a:pt x="186" y="189"/>
                  </a:cubicBezTo>
                  <a:cubicBezTo>
                    <a:pt x="186" y="192"/>
                    <a:pt x="186" y="194"/>
                    <a:pt x="184" y="199"/>
                  </a:cubicBezTo>
                  <a:cubicBezTo>
                    <a:pt x="184" y="201"/>
                    <a:pt x="184" y="203"/>
                    <a:pt x="184" y="204"/>
                  </a:cubicBezTo>
                  <a:cubicBezTo>
                    <a:pt x="179" y="207"/>
                    <a:pt x="162" y="218"/>
                    <a:pt x="154" y="224"/>
                  </a:cubicBezTo>
                  <a:cubicBezTo>
                    <a:pt x="150" y="227"/>
                    <a:pt x="144" y="232"/>
                    <a:pt x="138" y="238"/>
                  </a:cubicBezTo>
                  <a:cubicBezTo>
                    <a:pt x="132" y="244"/>
                    <a:pt x="127" y="250"/>
                    <a:pt x="123" y="254"/>
                  </a:cubicBezTo>
                  <a:cubicBezTo>
                    <a:pt x="119" y="253"/>
                    <a:pt x="116" y="251"/>
                    <a:pt x="113" y="250"/>
                  </a:cubicBezTo>
                  <a:cubicBezTo>
                    <a:pt x="106" y="247"/>
                    <a:pt x="81" y="246"/>
                    <a:pt x="74" y="246"/>
                  </a:cubicBezTo>
                  <a:cubicBezTo>
                    <a:pt x="67" y="245"/>
                    <a:pt x="46" y="246"/>
                    <a:pt x="41" y="240"/>
                  </a:cubicBezTo>
                  <a:cubicBezTo>
                    <a:pt x="35" y="234"/>
                    <a:pt x="29" y="233"/>
                    <a:pt x="16" y="223"/>
                  </a:cubicBezTo>
                  <a:cubicBezTo>
                    <a:pt x="9" y="218"/>
                    <a:pt x="4" y="214"/>
                    <a:pt x="0" y="210"/>
                  </a:cubicBezTo>
                  <a:cubicBezTo>
                    <a:pt x="1" y="208"/>
                    <a:pt x="2" y="206"/>
                    <a:pt x="2" y="205"/>
                  </a:cubicBezTo>
                  <a:cubicBezTo>
                    <a:pt x="7" y="197"/>
                    <a:pt x="11" y="187"/>
                    <a:pt x="13" y="180"/>
                  </a:cubicBezTo>
                  <a:cubicBezTo>
                    <a:pt x="14" y="176"/>
                    <a:pt x="15" y="169"/>
                    <a:pt x="17" y="161"/>
                  </a:cubicBezTo>
                  <a:cubicBezTo>
                    <a:pt x="20" y="147"/>
                    <a:pt x="23" y="129"/>
                    <a:pt x="27" y="122"/>
                  </a:cubicBezTo>
                  <a:cubicBezTo>
                    <a:pt x="31" y="113"/>
                    <a:pt x="75" y="114"/>
                    <a:pt x="90" y="115"/>
                  </a:cubicBezTo>
                  <a:cubicBezTo>
                    <a:pt x="90" y="115"/>
                    <a:pt x="90" y="115"/>
                    <a:pt x="90" y="115"/>
                  </a:cubicBezTo>
                  <a:cubicBezTo>
                    <a:pt x="99" y="115"/>
                    <a:pt x="104" y="115"/>
                    <a:pt x="108" y="113"/>
                  </a:cubicBezTo>
                  <a:cubicBezTo>
                    <a:pt x="112" y="110"/>
                    <a:pt x="113" y="105"/>
                    <a:pt x="112" y="96"/>
                  </a:cubicBezTo>
                  <a:cubicBezTo>
                    <a:pt x="111" y="86"/>
                    <a:pt x="92" y="71"/>
                    <a:pt x="76" y="58"/>
                  </a:cubicBezTo>
                  <a:cubicBezTo>
                    <a:pt x="65" y="49"/>
                    <a:pt x="55" y="41"/>
                    <a:pt x="54" y="38"/>
                  </a:cubicBezTo>
                  <a:cubicBezTo>
                    <a:pt x="53" y="36"/>
                    <a:pt x="54" y="35"/>
                    <a:pt x="55" y="34"/>
                  </a:cubicBezTo>
                  <a:cubicBezTo>
                    <a:pt x="57" y="34"/>
                    <a:pt x="61" y="33"/>
                    <a:pt x="65" y="33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71" y="33"/>
                    <a:pt x="74" y="29"/>
                    <a:pt x="77" y="22"/>
                  </a:cubicBezTo>
                  <a:cubicBezTo>
                    <a:pt x="78" y="17"/>
                    <a:pt x="79" y="11"/>
                    <a:pt x="79" y="6"/>
                  </a:cubicBezTo>
                  <a:cubicBezTo>
                    <a:pt x="79" y="5"/>
                    <a:pt x="79" y="4"/>
                    <a:pt x="79" y="3"/>
                  </a:cubicBezTo>
                  <a:cubicBezTo>
                    <a:pt x="79" y="3"/>
                    <a:pt x="91" y="2"/>
                    <a:pt x="107" y="1"/>
                  </a:cubicBezTo>
                  <a:cubicBezTo>
                    <a:pt x="125" y="0"/>
                    <a:pt x="147" y="0"/>
                    <a:pt x="164" y="0"/>
                  </a:cubicBezTo>
                  <a:cubicBezTo>
                    <a:pt x="171" y="0"/>
                    <a:pt x="177" y="0"/>
                    <a:pt x="181" y="0"/>
                  </a:cubicBezTo>
                  <a:cubicBezTo>
                    <a:pt x="181" y="20"/>
                    <a:pt x="177" y="122"/>
                    <a:pt x="185" y="123"/>
                  </a:cubicBezTo>
                  <a:cubicBezTo>
                    <a:pt x="188" y="124"/>
                    <a:pt x="199" y="123"/>
                    <a:pt x="209" y="12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auto">
            <a:xfrm>
              <a:off x="2781413" y="4361947"/>
              <a:ext cx="101203" cy="53578"/>
            </a:xfrm>
            <a:custGeom>
              <a:avLst/>
              <a:gdLst>
                <a:gd name="T0" fmla="*/ 62 w 354"/>
                <a:gd name="T1" fmla="*/ 15 h 189"/>
                <a:gd name="T2" fmla="*/ 85 w 354"/>
                <a:gd name="T3" fmla="*/ 9 h 189"/>
                <a:gd name="T4" fmla="*/ 104 w 354"/>
                <a:gd name="T5" fmla="*/ 10 h 189"/>
                <a:gd name="T6" fmla="*/ 132 w 354"/>
                <a:gd name="T7" fmla="*/ 16 h 189"/>
                <a:gd name="T8" fmla="*/ 163 w 354"/>
                <a:gd name="T9" fmla="*/ 14 h 189"/>
                <a:gd name="T10" fmla="*/ 185 w 354"/>
                <a:gd name="T11" fmla="*/ 6 h 189"/>
                <a:gd name="T12" fmla="*/ 207 w 354"/>
                <a:gd name="T13" fmla="*/ 4 h 189"/>
                <a:gd name="T14" fmla="*/ 233 w 354"/>
                <a:gd name="T15" fmla="*/ 6 h 189"/>
                <a:gd name="T16" fmla="*/ 253 w 354"/>
                <a:gd name="T17" fmla="*/ 3 h 189"/>
                <a:gd name="T18" fmla="*/ 272 w 354"/>
                <a:gd name="T19" fmla="*/ 12 h 189"/>
                <a:gd name="T20" fmla="*/ 289 w 354"/>
                <a:gd name="T21" fmla="*/ 14 h 189"/>
                <a:gd name="T22" fmla="*/ 309 w 354"/>
                <a:gd name="T23" fmla="*/ 24 h 189"/>
                <a:gd name="T24" fmla="*/ 321 w 354"/>
                <a:gd name="T25" fmla="*/ 34 h 189"/>
                <a:gd name="T26" fmla="*/ 318 w 354"/>
                <a:gd name="T27" fmla="*/ 43 h 189"/>
                <a:gd name="T28" fmla="*/ 338 w 354"/>
                <a:gd name="T29" fmla="*/ 56 h 189"/>
                <a:gd name="T30" fmla="*/ 351 w 354"/>
                <a:gd name="T31" fmla="*/ 63 h 189"/>
                <a:gd name="T32" fmla="*/ 354 w 354"/>
                <a:gd name="T33" fmla="*/ 70 h 189"/>
                <a:gd name="T34" fmla="*/ 338 w 354"/>
                <a:gd name="T35" fmla="*/ 75 h 189"/>
                <a:gd name="T36" fmla="*/ 296 w 354"/>
                <a:gd name="T37" fmla="*/ 86 h 189"/>
                <a:gd name="T38" fmla="*/ 281 w 354"/>
                <a:gd name="T39" fmla="*/ 79 h 189"/>
                <a:gd name="T40" fmla="*/ 266 w 354"/>
                <a:gd name="T41" fmla="*/ 73 h 189"/>
                <a:gd name="T42" fmla="*/ 255 w 354"/>
                <a:gd name="T43" fmla="*/ 80 h 189"/>
                <a:gd name="T44" fmla="*/ 244 w 354"/>
                <a:gd name="T45" fmla="*/ 92 h 189"/>
                <a:gd name="T46" fmla="*/ 242 w 354"/>
                <a:gd name="T47" fmla="*/ 104 h 189"/>
                <a:gd name="T48" fmla="*/ 242 w 354"/>
                <a:gd name="T49" fmla="*/ 111 h 189"/>
                <a:gd name="T50" fmla="*/ 231 w 354"/>
                <a:gd name="T51" fmla="*/ 122 h 189"/>
                <a:gd name="T52" fmla="*/ 209 w 354"/>
                <a:gd name="T53" fmla="*/ 136 h 189"/>
                <a:gd name="T54" fmla="*/ 201 w 354"/>
                <a:gd name="T55" fmla="*/ 131 h 189"/>
                <a:gd name="T56" fmla="*/ 191 w 354"/>
                <a:gd name="T57" fmla="*/ 125 h 189"/>
                <a:gd name="T58" fmla="*/ 177 w 354"/>
                <a:gd name="T59" fmla="*/ 134 h 189"/>
                <a:gd name="T60" fmla="*/ 170 w 354"/>
                <a:gd name="T61" fmla="*/ 140 h 189"/>
                <a:gd name="T62" fmla="*/ 162 w 354"/>
                <a:gd name="T63" fmla="*/ 139 h 189"/>
                <a:gd name="T64" fmla="*/ 140 w 354"/>
                <a:gd name="T65" fmla="*/ 143 h 189"/>
                <a:gd name="T66" fmla="*/ 141 w 354"/>
                <a:gd name="T67" fmla="*/ 162 h 189"/>
                <a:gd name="T68" fmla="*/ 142 w 354"/>
                <a:gd name="T69" fmla="*/ 170 h 189"/>
                <a:gd name="T70" fmla="*/ 131 w 354"/>
                <a:gd name="T71" fmla="*/ 182 h 189"/>
                <a:gd name="T72" fmla="*/ 119 w 354"/>
                <a:gd name="T73" fmla="*/ 189 h 189"/>
                <a:gd name="T74" fmla="*/ 107 w 354"/>
                <a:gd name="T75" fmla="*/ 187 h 189"/>
                <a:gd name="T76" fmla="*/ 106 w 354"/>
                <a:gd name="T77" fmla="*/ 185 h 189"/>
                <a:gd name="T78" fmla="*/ 100 w 354"/>
                <a:gd name="T79" fmla="*/ 177 h 189"/>
                <a:gd name="T80" fmla="*/ 103 w 354"/>
                <a:gd name="T81" fmla="*/ 169 h 189"/>
                <a:gd name="T82" fmla="*/ 97 w 354"/>
                <a:gd name="T83" fmla="*/ 163 h 189"/>
                <a:gd name="T84" fmla="*/ 90 w 354"/>
                <a:gd name="T85" fmla="*/ 163 h 189"/>
                <a:gd name="T86" fmla="*/ 88 w 354"/>
                <a:gd name="T87" fmla="*/ 144 h 189"/>
                <a:gd name="T88" fmla="*/ 83 w 354"/>
                <a:gd name="T89" fmla="*/ 135 h 189"/>
                <a:gd name="T90" fmla="*/ 78 w 354"/>
                <a:gd name="T91" fmla="*/ 132 h 189"/>
                <a:gd name="T92" fmla="*/ 68 w 354"/>
                <a:gd name="T93" fmla="*/ 127 h 189"/>
                <a:gd name="T94" fmla="*/ 57 w 354"/>
                <a:gd name="T95" fmla="*/ 128 h 189"/>
                <a:gd name="T96" fmla="*/ 52 w 354"/>
                <a:gd name="T97" fmla="*/ 130 h 189"/>
                <a:gd name="T98" fmla="*/ 37 w 354"/>
                <a:gd name="T99" fmla="*/ 130 h 189"/>
                <a:gd name="T100" fmla="*/ 9 w 354"/>
                <a:gd name="T101" fmla="*/ 105 h 189"/>
                <a:gd name="T102" fmla="*/ 1 w 354"/>
                <a:gd name="T103" fmla="*/ 91 h 189"/>
                <a:gd name="T104" fmla="*/ 3 w 354"/>
                <a:gd name="T105" fmla="*/ 78 h 189"/>
                <a:gd name="T106" fmla="*/ 4 w 354"/>
                <a:gd name="T107" fmla="*/ 70 h 189"/>
                <a:gd name="T108" fmla="*/ 20 w 354"/>
                <a:gd name="T109" fmla="*/ 54 h 189"/>
                <a:gd name="T110" fmla="*/ 22 w 354"/>
                <a:gd name="T111" fmla="*/ 53 h 189"/>
                <a:gd name="T112" fmla="*/ 22 w 354"/>
                <a:gd name="T113" fmla="*/ 53 h 189"/>
                <a:gd name="T114" fmla="*/ 41 w 354"/>
                <a:gd name="T115" fmla="*/ 37 h 189"/>
                <a:gd name="T116" fmla="*/ 62 w 354"/>
                <a:gd name="T117" fmla="*/ 15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54" h="189">
                  <a:moveTo>
                    <a:pt x="62" y="15"/>
                  </a:moveTo>
                  <a:cubicBezTo>
                    <a:pt x="70" y="15"/>
                    <a:pt x="81" y="10"/>
                    <a:pt x="85" y="9"/>
                  </a:cubicBezTo>
                  <a:cubicBezTo>
                    <a:pt x="90" y="8"/>
                    <a:pt x="98" y="7"/>
                    <a:pt x="104" y="10"/>
                  </a:cubicBezTo>
                  <a:cubicBezTo>
                    <a:pt x="110" y="13"/>
                    <a:pt x="125" y="16"/>
                    <a:pt x="132" y="16"/>
                  </a:cubicBezTo>
                  <a:cubicBezTo>
                    <a:pt x="140" y="16"/>
                    <a:pt x="151" y="16"/>
                    <a:pt x="163" y="14"/>
                  </a:cubicBezTo>
                  <a:cubicBezTo>
                    <a:pt x="175" y="12"/>
                    <a:pt x="171" y="8"/>
                    <a:pt x="185" y="6"/>
                  </a:cubicBezTo>
                  <a:cubicBezTo>
                    <a:pt x="199" y="5"/>
                    <a:pt x="196" y="3"/>
                    <a:pt x="207" y="4"/>
                  </a:cubicBezTo>
                  <a:cubicBezTo>
                    <a:pt x="218" y="6"/>
                    <a:pt x="224" y="8"/>
                    <a:pt x="233" y="6"/>
                  </a:cubicBezTo>
                  <a:cubicBezTo>
                    <a:pt x="241" y="4"/>
                    <a:pt x="245" y="0"/>
                    <a:pt x="253" y="3"/>
                  </a:cubicBezTo>
                  <a:cubicBezTo>
                    <a:pt x="261" y="6"/>
                    <a:pt x="265" y="9"/>
                    <a:pt x="272" y="12"/>
                  </a:cubicBezTo>
                  <a:cubicBezTo>
                    <a:pt x="280" y="14"/>
                    <a:pt x="279" y="12"/>
                    <a:pt x="289" y="14"/>
                  </a:cubicBezTo>
                  <a:cubicBezTo>
                    <a:pt x="298" y="17"/>
                    <a:pt x="305" y="20"/>
                    <a:pt x="309" y="24"/>
                  </a:cubicBezTo>
                  <a:cubicBezTo>
                    <a:pt x="312" y="28"/>
                    <a:pt x="319" y="28"/>
                    <a:pt x="321" y="34"/>
                  </a:cubicBezTo>
                  <a:cubicBezTo>
                    <a:pt x="323" y="40"/>
                    <a:pt x="317" y="37"/>
                    <a:pt x="318" y="43"/>
                  </a:cubicBezTo>
                  <a:cubicBezTo>
                    <a:pt x="320" y="49"/>
                    <a:pt x="330" y="53"/>
                    <a:pt x="338" y="56"/>
                  </a:cubicBezTo>
                  <a:cubicBezTo>
                    <a:pt x="345" y="59"/>
                    <a:pt x="347" y="56"/>
                    <a:pt x="351" y="63"/>
                  </a:cubicBezTo>
                  <a:cubicBezTo>
                    <a:pt x="353" y="67"/>
                    <a:pt x="354" y="68"/>
                    <a:pt x="354" y="70"/>
                  </a:cubicBezTo>
                  <a:cubicBezTo>
                    <a:pt x="349" y="71"/>
                    <a:pt x="344" y="73"/>
                    <a:pt x="338" y="75"/>
                  </a:cubicBezTo>
                  <a:cubicBezTo>
                    <a:pt x="321" y="81"/>
                    <a:pt x="301" y="86"/>
                    <a:pt x="296" y="86"/>
                  </a:cubicBezTo>
                  <a:cubicBezTo>
                    <a:pt x="292" y="86"/>
                    <a:pt x="286" y="83"/>
                    <a:pt x="281" y="79"/>
                  </a:cubicBezTo>
                  <a:cubicBezTo>
                    <a:pt x="275" y="76"/>
                    <a:pt x="270" y="73"/>
                    <a:pt x="266" y="73"/>
                  </a:cubicBezTo>
                  <a:cubicBezTo>
                    <a:pt x="263" y="74"/>
                    <a:pt x="259" y="76"/>
                    <a:pt x="255" y="80"/>
                  </a:cubicBezTo>
                  <a:cubicBezTo>
                    <a:pt x="250" y="84"/>
                    <a:pt x="245" y="89"/>
                    <a:pt x="244" y="92"/>
                  </a:cubicBezTo>
                  <a:cubicBezTo>
                    <a:pt x="242" y="96"/>
                    <a:pt x="242" y="100"/>
                    <a:pt x="242" y="104"/>
                  </a:cubicBezTo>
                  <a:cubicBezTo>
                    <a:pt x="242" y="107"/>
                    <a:pt x="242" y="109"/>
                    <a:pt x="242" y="111"/>
                  </a:cubicBezTo>
                  <a:cubicBezTo>
                    <a:pt x="242" y="113"/>
                    <a:pt x="237" y="117"/>
                    <a:pt x="231" y="122"/>
                  </a:cubicBezTo>
                  <a:cubicBezTo>
                    <a:pt x="222" y="128"/>
                    <a:pt x="212" y="135"/>
                    <a:pt x="209" y="136"/>
                  </a:cubicBezTo>
                  <a:cubicBezTo>
                    <a:pt x="208" y="136"/>
                    <a:pt x="204" y="133"/>
                    <a:pt x="201" y="131"/>
                  </a:cubicBezTo>
                  <a:cubicBezTo>
                    <a:pt x="197" y="128"/>
                    <a:pt x="194" y="125"/>
                    <a:pt x="191" y="125"/>
                  </a:cubicBezTo>
                  <a:cubicBezTo>
                    <a:pt x="186" y="124"/>
                    <a:pt x="181" y="129"/>
                    <a:pt x="177" y="134"/>
                  </a:cubicBezTo>
                  <a:cubicBezTo>
                    <a:pt x="174" y="137"/>
                    <a:pt x="171" y="140"/>
                    <a:pt x="170" y="140"/>
                  </a:cubicBezTo>
                  <a:cubicBezTo>
                    <a:pt x="169" y="140"/>
                    <a:pt x="166" y="140"/>
                    <a:pt x="162" y="139"/>
                  </a:cubicBezTo>
                  <a:cubicBezTo>
                    <a:pt x="153" y="138"/>
                    <a:pt x="142" y="136"/>
                    <a:pt x="140" y="143"/>
                  </a:cubicBezTo>
                  <a:cubicBezTo>
                    <a:pt x="139" y="148"/>
                    <a:pt x="140" y="156"/>
                    <a:pt x="141" y="162"/>
                  </a:cubicBezTo>
                  <a:cubicBezTo>
                    <a:pt x="142" y="166"/>
                    <a:pt x="143" y="169"/>
                    <a:pt x="142" y="170"/>
                  </a:cubicBezTo>
                  <a:cubicBezTo>
                    <a:pt x="142" y="172"/>
                    <a:pt x="137" y="177"/>
                    <a:pt x="131" y="182"/>
                  </a:cubicBezTo>
                  <a:cubicBezTo>
                    <a:pt x="127" y="185"/>
                    <a:pt x="122" y="188"/>
                    <a:pt x="119" y="189"/>
                  </a:cubicBezTo>
                  <a:cubicBezTo>
                    <a:pt x="117" y="189"/>
                    <a:pt x="112" y="188"/>
                    <a:pt x="107" y="187"/>
                  </a:cubicBezTo>
                  <a:cubicBezTo>
                    <a:pt x="107" y="186"/>
                    <a:pt x="107" y="186"/>
                    <a:pt x="106" y="185"/>
                  </a:cubicBezTo>
                  <a:cubicBezTo>
                    <a:pt x="103" y="182"/>
                    <a:pt x="99" y="182"/>
                    <a:pt x="100" y="177"/>
                  </a:cubicBezTo>
                  <a:cubicBezTo>
                    <a:pt x="101" y="173"/>
                    <a:pt x="103" y="171"/>
                    <a:pt x="103" y="169"/>
                  </a:cubicBezTo>
                  <a:cubicBezTo>
                    <a:pt x="103" y="166"/>
                    <a:pt x="102" y="163"/>
                    <a:pt x="97" y="163"/>
                  </a:cubicBezTo>
                  <a:cubicBezTo>
                    <a:pt x="94" y="163"/>
                    <a:pt x="92" y="164"/>
                    <a:pt x="90" y="163"/>
                  </a:cubicBezTo>
                  <a:cubicBezTo>
                    <a:pt x="89" y="156"/>
                    <a:pt x="89" y="148"/>
                    <a:pt x="88" y="144"/>
                  </a:cubicBezTo>
                  <a:cubicBezTo>
                    <a:pt x="87" y="138"/>
                    <a:pt x="86" y="137"/>
                    <a:pt x="83" y="135"/>
                  </a:cubicBezTo>
                  <a:cubicBezTo>
                    <a:pt x="82" y="135"/>
                    <a:pt x="80" y="134"/>
                    <a:pt x="78" y="132"/>
                  </a:cubicBezTo>
                  <a:cubicBezTo>
                    <a:pt x="74" y="129"/>
                    <a:pt x="71" y="128"/>
                    <a:pt x="68" y="127"/>
                  </a:cubicBezTo>
                  <a:cubicBezTo>
                    <a:pt x="64" y="127"/>
                    <a:pt x="61" y="127"/>
                    <a:pt x="57" y="128"/>
                  </a:cubicBezTo>
                  <a:cubicBezTo>
                    <a:pt x="56" y="129"/>
                    <a:pt x="54" y="129"/>
                    <a:pt x="52" y="130"/>
                  </a:cubicBezTo>
                  <a:cubicBezTo>
                    <a:pt x="48" y="131"/>
                    <a:pt x="43" y="133"/>
                    <a:pt x="37" y="130"/>
                  </a:cubicBezTo>
                  <a:cubicBezTo>
                    <a:pt x="31" y="126"/>
                    <a:pt x="18" y="116"/>
                    <a:pt x="9" y="105"/>
                  </a:cubicBezTo>
                  <a:cubicBezTo>
                    <a:pt x="4" y="99"/>
                    <a:pt x="0" y="93"/>
                    <a:pt x="1" y="91"/>
                  </a:cubicBezTo>
                  <a:cubicBezTo>
                    <a:pt x="3" y="84"/>
                    <a:pt x="3" y="81"/>
                    <a:pt x="3" y="78"/>
                  </a:cubicBezTo>
                  <a:cubicBezTo>
                    <a:pt x="3" y="76"/>
                    <a:pt x="3" y="74"/>
                    <a:pt x="4" y="70"/>
                  </a:cubicBezTo>
                  <a:cubicBezTo>
                    <a:pt x="7" y="63"/>
                    <a:pt x="12" y="59"/>
                    <a:pt x="20" y="54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5" y="51"/>
                    <a:pt x="33" y="44"/>
                    <a:pt x="41" y="37"/>
                  </a:cubicBezTo>
                  <a:cubicBezTo>
                    <a:pt x="48" y="29"/>
                    <a:pt x="57" y="21"/>
                    <a:pt x="62" y="1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Freeform 14"/>
            <p:cNvSpPr>
              <a:spLocks/>
            </p:cNvSpPr>
            <p:nvPr/>
          </p:nvSpPr>
          <p:spPr bwMode="auto">
            <a:xfrm>
              <a:off x="2806416" y="4383378"/>
              <a:ext cx="79772" cy="72628"/>
            </a:xfrm>
            <a:custGeom>
              <a:avLst/>
              <a:gdLst>
                <a:gd name="T0" fmla="*/ 267 w 277"/>
                <a:gd name="T1" fmla="*/ 0 h 253"/>
                <a:gd name="T2" fmla="*/ 267 w 277"/>
                <a:gd name="T3" fmla="*/ 1 h 253"/>
                <a:gd name="T4" fmla="*/ 275 w 277"/>
                <a:gd name="T5" fmla="*/ 19 h 253"/>
                <a:gd name="T6" fmla="*/ 276 w 277"/>
                <a:gd name="T7" fmla="*/ 40 h 253"/>
                <a:gd name="T8" fmla="*/ 267 w 277"/>
                <a:gd name="T9" fmla="*/ 73 h 253"/>
                <a:gd name="T10" fmla="*/ 255 w 277"/>
                <a:gd name="T11" fmla="*/ 99 h 253"/>
                <a:gd name="T12" fmla="*/ 256 w 277"/>
                <a:gd name="T13" fmla="*/ 125 h 253"/>
                <a:gd name="T14" fmla="*/ 251 w 277"/>
                <a:gd name="T15" fmla="*/ 139 h 253"/>
                <a:gd name="T16" fmla="*/ 246 w 277"/>
                <a:gd name="T17" fmla="*/ 152 h 253"/>
                <a:gd name="T18" fmla="*/ 247 w 277"/>
                <a:gd name="T19" fmla="*/ 166 h 253"/>
                <a:gd name="T20" fmla="*/ 241 w 277"/>
                <a:gd name="T21" fmla="*/ 181 h 253"/>
                <a:gd name="T22" fmla="*/ 248 w 277"/>
                <a:gd name="T23" fmla="*/ 199 h 253"/>
                <a:gd name="T24" fmla="*/ 249 w 277"/>
                <a:gd name="T25" fmla="*/ 210 h 253"/>
                <a:gd name="T26" fmla="*/ 241 w 277"/>
                <a:gd name="T27" fmla="*/ 224 h 253"/>
                <a:gd name="T28" fmla="*/ 246 w 277"/>
                <a:gd name="T29" fmla="*/ 242 h 253"/>
                <a:gd name="T30" fmla="*/ 228 w 277"/>
                <a:gd name="T31" fmla="*/ 253 h 253"/>
                <a:gd name="T32" fmla="*/ 211 w 277"/>
                <a:gd name="T33" fmla="*/ 245 h 253"/>
                <a:gd name="T34" fmla="*/ 201 w 277"/>
                <a:gd name="T35" fmla="*/ 239 h 253"/>
                <a:gd name="T36" fmla="*/ 184 w 277"/>
                <a:gd name="T37" fmla="*/ 240 h 253"/>
                <a:gd name="T38" fmla="*/ 171 w 277"/>
                <a:gd name="T39" fmla="*/ 244 h 253"/>
                <a:gd name="T40" fmla="*/ 150 w 277"/>
                <a:gd name="T41" fmla="*/ 237 h 253"/>
                <a:gd name="T42" fmla="*/ 126 w 277"/>
                <a:gd name="T43" fmla="*/ 228 h 253"/>
                <a:gd name="T44" fmla="*/ 114 w 277"/>
                <a:gd name="T45" fmla="*/ 230 h 253"/>
                <a:gd name="T46" fmla="*/ 114 w 277"/>
                <a:gd name="T47" fmla="*/ 229 h 253"/>
                <a:gd name="T48" fmla="*/ 95 w 277"/>
                <a:gd name="T49" fmla="*/ 214 h 253"/>
                <a:gd name="T50" fmla="*/ 68 w 277"/>
                <a:gd name="T51" fmla="*/ 190 h 253"/>
                <a:gd name="T52" fmla="*/ 59 w 277"/>
                <a:gd name="T53" fmla="*/ 171 h 253"/>
                <a:gd name="T54" fmla="*/ 37 w 277"/>
                <a:gd name="T55" fmla="*/ 151 h 253"/>
                <a:gd name="T56" fmla="*/ 8 w 277"/>
                <a:gd name="T57" fmla="*/ 132 h 253"/>
                <a:gd name="T58" fmla="*/ 1 w 277"/>
                <a:gd name="T59" fmla="*/ 120 h 253"/>
                <a:gd name="T60" fmla="*/ 5 w 277"/>
                <a:gd name="T61" fmla="*/ 114 h 253"/>
                <a:gd name="T62" fmla="*/ 31 w 277"/>
                <a:gd name="T63" fmla="*/ 120 h 253"/>
                <a:gd name="T64" fmla="*/ 47 w 277"/>
                <a:gd name="T65" fmla="*/ 111 h 253"/>
                <a:gd name="T66" fmla="*/ 61 w 277"/>
                <a:gd name="T67" fmla="*/ 95 h 253"/>
                <a:gd name="T68" fmla="*/ 60 w 277"/>
                <a:gd name="T69" fmla="*/ 84 h 253"/>
                <a:gd name="T70" fmla="*/ 59 w 277"/>
                <a:gd name="T71" fmla="*/ 69 h 253"/>
                <a:gd name="T72" fmla="*/ 71 w 277"/>
                <a:gd name="T73" fmla="*/ 70 h 253"/>
                <a:gd name="T74" fmla="*/ 83 w 277"/>
                <a:gd name="T75" fmla="*/ 71 h 253"/>
                <a:gd name="T76" fmla="*/ 94 w 277"/>
                <a:gd name="T77" fmla="*/ 62 h 253"/>
                <a:gd name="T78" fmla="*/ 100 w 277"/>
                <a:gd name="T79" fmla="*/ 56 h 253"/>
                <a:gd name="T80" fmla="*/ 107 w 277"/>
                <a:gd name="T81" fmla="*/ 60 h 253"/>
                <a:gd name="T82" fmla="*/ 123 w 277"/>
                <a:gd name="T83" fmla="*/ 66 h 253"/>
                <a:gd name="T84" fmla="*/ 146 w 277"/>
                <a:gd name="T85" fmla="*/ 51 h 253"/>
                <a:gd name="T86" fmla="*/ 161 w 277"/>
                <a:gd name="T87" fmla="*/ 36 h 253"/>
                <a:gd name="T88" fmla="*/ 161 w 277"/>
                <a:gd name="T89" fmla="*/ 27 h 253"/>
                <a:gd name="T90" fmla="*/ 162 w 277"/>
                <a:gd name="T91" fmla="*/ 19 h 253"/>
                <a:gd name="T92" fmla="*/ 171 w 277"/>
                <a:gd name="T93" fmla="*/ 9 h 253"/>
                <a:gd name="T94" fmla="*/ 179 w 277"/>
                <a:gd name="T95" fmla="*/ 4 h 253"/>
                <a:gd name="T96" fmla="*/ 187 w 277"/>
                <a:gd name="T97" fmla="*/ 9 h 253"/>
                <a:gd name="T98" fmla="*/ 207 w 277"/>
                <a:gd name="T99" fmla="*/ 17 h 253"/>
                <a:gd name="T100" fmla="*/ 252 w 277"/>
                <a:gd name="T101" fmla="*/ 6 h 253"/>
                <a:gd name="T102" fmla="*/ 267 w 277"/>
                <a:gd name="T103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7" h="253">
                  <a:moveTo>
                    <a:pt x="267" y="0"/>
                  </a:moveTo>
                  <a:cubicBezTo>
                    <a:pt x="267" y="1"/>
                    <a:pt x="267" y="1"/>
                    <a:pt x="267" y="1"/>
                  </a:cubicBezTo>
                  <a:cubicBezTo>
                    <a:pt x="270" y="10"/>
                    <a:pt x="274" y="12"/>
                    <a:pt x="275" y="19"/>
                  </a:cubicBezTo>
                  <a:cubicBezTo>
                    <a:pt x="276" y="25"/>
                    <a:pt x="277" y="31"/>
                    <a:pt x="276" y="40"/>
                  </a:cubicBezTo>
                  <a:cubicBezTo>
                    <a:pt x="275" y="50"/>
                    <a:pt x="273" y="59"/>
                    <a:pt x="267" y="73"/>
                  </a:cubicBezTo>
                  <a:cubicBezTo>
                    <a:pt x="261" y="87"/>
                    <a:pt x="256" y="91"/>
                    <a:pt x="255" y="99"/>
                  </a:cubicBezTo>
                  <a:cubicBezTo>
                    <a:pt x="255" y="108"/>
                    <a:pt x="256" y="118"/>
                    <a:pt x="256" y="125"/>
                  </a:cubicBezTo>
                  <a:cubicBezTo>
                    <a:pt x="255" y="132"/>
                    <a:pt x="254" y="135"/>
                    <a:pt x="251" y="139"/>
                  </a:cubicBezTo>
                  <a:cubicBezTo>
                    <a:pt x="248" y="143"/>
                    <a:pt x="245" y="148"/>
                    <a:pt x="246" y="152"/>
                  </a:cubicBezTo>
                  <a:cubicBezTo>
                    <a:pt x="248" y="157"/>
                    <a:pt x="249" y="163"/>
                    <a:pt x="247" y="166"/>
                  </a:cubicBezTo>
                  <a:cubicBezTo>
                    <a:pt x="244" y="170"/>
                    <a:pt x="239" y="175"/>
                    <a:pt x="241" y="181"/>
                  </a:cubicBezTo>
                  <a:cubicBezTo>
                    <a:pt x="242" y="187"/>
                    <a:pt x="245" y="194"/>
                    <a:pt x="248" y="199"/>
                  </a:cubicBezTo>
                  <a:cubicBezTo>
                    <a:pt x="251" y="203"/>
                    <a:pt x="250" y="205"/>
                    <a:pt x="249" y="210"/>
                  </a:cubicBezTo>
                  <a:cubicBezTo>
                    <a:pt x="248" y="215"/>
                    <a:pt x="241" y="217"/>
                    <a:pt x="241" y="224"/>
                  </a:cubicBezTo>
                  <a:cubicBezTo>
                    <a:pt x="241" y="229"/>
                    <a:pt x="243" y="236"/>
                    <a:pt x="246" y="242"/>
                  </a:cubicBezTo>
                  <a:cubicBezTo>
                    <a:pt x="240" y="247"/>
                    <a:pt x="232" y="253"/>
                    <a:pt x="228" y="253"/>
                  </a:cubicBezTo>
                  <a:cubicBezTo>
                    <a:pt x="222" y="253"/>
                    <a:pt x="217" y="249"/>
                    <a:pt x="211" y="245"/>
                  </a:cubicBezTo>
                  <a:cubicBezTo>
                    <a:pt x="208" y="242"/>
                    <a:pt x="204" y="240"/>
                    <a:pt x="201" y="239"/>
                  </a:cubicBezTo>
                  <a:cubicBezTo>
                    <a:pt x="194" y="236"/>
                    <a:pt x="190" y="238"/>
                    <a:pt x="184" y="240"/>
                  </a:cubicBezTo>
                  <a:cubicBezTo>
                    <a:pt x="181" y="242"/>
                    <a:pt x="176" y="244"/>
                    <a:pt x="171" y="244"/>
                  </a:cubicBezTo>
                  <a:cubicBezTo>
                    <a:pt x="165" y="245"/>
                    <a:pt x="157" y="241"/>
                    <a:pt x="150" y="237"/>
                  </a:cubicBezTo>
                  <a:cubicBezTo>
                    <a:pt x="142" y="233"/>
                    <a:pt x="134" y="229"/>
                    <a:pt x="126" y="228"/>
                  </a:cubicBezTo>
                  <a:cubicBezTo>
                    <a:pt x="121" y="228"/>
                    <a:pt x="117" y="228"/>
                    <a:pt x="114" y="230"/>
                  </a:cubicBezTo>
                  <a:cubicBezTo>
                    <a:pt x="114" y="230"/>
                    <a:pt x="114" y="229"/>
                    <a:pt x="114" y="229"/>
                  </a:cubicBezTo>
                  <a:cubicBezTo>
                    <a:pt x="111" y="224"/>
                    <a:pt x="105" y="223"/>
                    <a:pt x="95" y="214"/>
                  </a:cubicBezTo>
                  <a:cubicBezTo>
                    <a:pt x="85" y="204"/>
                    <a:pt x="72" y="198"/>
                    <a:pt x="68" y="190"/>
                  </a:cubicBezTo>
                  <a:cubicBezTo>
                    <a:pt x="63" y="183"/>
                    <a:pt x="62" y="177"/>
                    <a:pt x="59" y="171"/>
                  </a:cubicBezTo>
                  <a:cubicBezTo>
                    <a:pt x="57" y="165"/>
                    <a:pt x="49" y="159"/>
                    <a:pt x="37" y="151"/>
                  </a:cubicBezTo>
                  <a:cubicBezTo>
                    <a:pt x="25" y="144"/>
                    <a:pt x="12" y="136"/>
                    <a:pt x="8" y="132"/>
                  </a:cubicBezTo>
                  <a:cubicBezTo>
                    <a:pt x="4" y="127"/>
                    <a:pt x="0" y="124"/>
                    <a:pt x="1" y="120"/>
                  </a:cubicBezTo>
                  <a:cubicBezTo>
                    <a:pt x="1" y="116"/>
                    <a:pt x="1" y="114"/>
                    <a:pt x="5" y="114"/>
                  </a:cubicBezTo>
                  <a:cubicBezTo>
                    <a:pt x="13" y="117"/>
                    <a:pt x="25" y="121"/>
                    <a:pt x="31" y="120"/>
                  </a:cubicBezTo>
                  <a:cubicBezTo>
                    <a:pt x="36" y="119"/>
                    <a:pt x="42" y="115"/>
                    <a:pt x="47" y="111"/>
                  </a:cubicBezTo>
                  <a:cubicBezTo>
                    <a:pt x="54" y="105"/>
                    <a:pt x="60" y="98"/>
                    <a:pt x="61" y="95"/>
                  </a:cubicBezTo>
                  <a:cubicBezTo>
                    <a:pt x="62" y="93"/>
                    <a:pt x="61" y="89"/>
                    <a:pt x="60" y="84"/>
                  </a:cubicBezTo>
                  <a:cubicBezTo>
                    <a:pt x="59" y="78"/>
                    <a:pt x="58" y="72"/>
                    <a:pt x="59" y="69"/>
                  </a:cubicBezTo>
                  <a:cubicBezTo>
                    <a:pt x="59" y="68"/>
                    <a:pt x="66" y="69"/>
                    <a:pt x="71" y="70"/>
                  </a:cubicBezTo>
                  <a:cubicBezTo>
                    <a:pt x="76" y="71"/>
                    <a:pt x="81" y="71"/>
                    <a:pt x="83" y="71"/>
                  </a:cubicBezTo>
                  <a:cubicBezTo>
                    <a:pt x="87" y="70"/>
                    <a:pt x="90" y="66"/>
                    <a:pt x="94" y="62"/>
                  </a:cubicBezTo>
                  <a:cubicBezTo>
                    <a:pt x="97" y="59"/>
                    <a:pt x="100" y="55"/>
                    <a:pt x="100" y="56"/>
                  </a:cubicBezTo>
                  <a:cubicBezTo>
                    <a:pt x="102" y="56"/>
                    <a:pt x="104" y="58"/>
                    <a:pt x="107" y="60"/>
                  </a:cubicBezTo>
                  <a:cubicBezTo>
                    <a:pt x="112" y="64"/>
                    <a:pt x="117" y="68"/>
                    <a:pt x="123" y="66"/>
                  </a:cubicBezTo>
                  <a:cubicBezTo>
                    <a:pt x="127" y="65"/>
                    <a:pt x="138" y="58"/>
                    <a:pt x="146" y="51"/>
                  </a:cubicBezTo>
                  <a:cubicBezTo>
                    <a:pt x="154" y="45"/>
                    <a:pt x="160" y="40"/>
                    <a:pt x="161" y="36"/>
                  </a:cubicBezTo>
                  <a:cubicBezTo>
                    <a:pt x="161" y="33"/>
                    <a:pt x="161" y="30"/>
                    <a:pt x="161" y="27"/>
                  </a:cubicBezTo>
                  <a:cubicBezTo>
                    <a:pt x="161" y="24"/>
                    <a:pt x="161" y="21"/>
                    <a:pt x="162" y="19"/>
                  </a:cubicBezTo>
                  <a:cubicBezTo>
                    <a:pt x="163" y="17"/>
                    <a:pt x="167" y="13"/>
                    <a:pt x="171" y="9"/>
                  </a:cubicBezTo>
                  <a:cubicBezTo>
                    <a:pt x="174" y="6"/>
                    <a:pt x="177" y="4"/>
                    <a:pt x="179" y="4"/>
                  </a:cubicBezTo>
                  <a:cubicBezTo>
                    <a:pt x="180" y="4"/>
                    <a:pt x="183" y="6"/>
                    <a:pt x="187" y="9"/>
                  </a:cubicBezTo>
                  <a:cubicBezTo>
                    <a:pt x="194" y="13"/>
                    <a:pt x="201" y="18"/>
                    <a:pt x="207" y="17"/>
                  </a:cubicBezTo>
                  <a:cubicBezTo>
                    <a:pt x="213" y="17"/>
                    <a:pt x="234" y="12"/>
                    <a:pt x="252" y="6"/>
                  </a:cubicBezTo>
                  <a:cubicBezTo>
                    <a:pt x="257" y="4"/>
                    <a:pt x="262" y="2"/>
                    <a:pt x="267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Freeform 15"/>
            <p:cNvSpPr>
              <a:spLocks/>
            </p:cNvSpPr>
            <p:nvPr/>
          </p:nvSpPr>
          <p:spPr bwMode="auto">
            <a:xfrm>
              <a:off x="2838563" y="4451244"/>
              <a:ext cx="55959" cy="53578"/>
            </a:xfrm>
            <a:custGeom>
              <a:avLst/>
              <a:gdLst>
                <a:gd name="T0" fmla="*/ 137 w 193"/>
                <a:gd name="T1" fmla="*/ 14 h 188"/>
                <a:gd name="T2" fmla="*/ 115 w 193"/>
                <a:gd name="T3" fmla="*/ 26 h 188"/>
                <a:gd name="T4" fmla="*/ 94 w 193"/>
                <a:gd name="T5" fmla="*/ 16 h 188"/>
                <a:gd name="T6" fmla="*/ 85 w 193"/>
                <a:gd name="T7" fmla="*/ 11 h 188"/>
                <a:gd name="T8" fmla="*/ 74 w 193"/>
                <a:gd name="T9" fmla="*/ 13 h 188"/>
                <a:gd name="T10" fmla="*/ 58 w 193"/>
                <a:gd name="T11" fmla="*/ 17 h 188"/>
                <a:gd name="T12" fmla="*/ 33 w 193"/>
                <a:gd name="T13" fmla="*/ 9 h 188"/>
                <a:gd name="T14" fmla="*/ 12 w 193"/>
                <a:gd name="T15" fmla="*/ 1 h 188"/>
                <a:gd name="T16" fmla="*/ 2 w 193"/>
                <a:gd name="T17" fmla="*/ 7 h 188"/>
                <a:gd name="T18" fmla="*/ 2 w 193"/>
                <a:gd name="T19" fmla="*/ 8 h 188"/>
                <a:gd name="T20" fmla="*/ 9 w 193"/>
                <a:gd name="T21" fmla="*/ 18 h 188"/>
                <a:gd name="T22" fmla="*/ 13 w 193"/>
                <a:gd name="T23" fmla="*/ 33 h 188"/>
                <a:gd name="T24" fmla="*/ 4 w 193"/>
                <a:gd name="T25" fmla="*/ 36 h 188"/>
                <a:gd name="T26" fmla="*/ 1 w 193"/>
                <a:gd name="T27" fmla="*/ 46 h 188"/>
                <a:gd name="T28" fmla="*/ 7 w 193"/>
                <a:gd name="T29" fmla="*/ 57 h 188"/>
                <a:gd name="T30" fmla="*/ 12 w 193"/>
                <a:gd name="T31" fmla="*/ 71 h 188"/>
                <a:gd name="T32" fmla="*/ 28 w 193"/>
                <a:gd name="T33" fmla="*/ 79 h 188"/>
                <a:gd name="T34" fmla="*/ 37 w 193"/>
                <a:gd name="T35" fmla="*/ 87 h 188"/>
                <a:gd name="T36" fmla="*/ 47 w 193"/>
                <a:gd name="T37" fmla="*/ 91 h 188"/>
                <a:gd name="T38" fmla="*/ 57 w 193"/>
                <a:gd name="T39" fmla="*/ 83 h 188"/>
                <a:gd name="T40" fmla="*/ 53 w 193"/>
                <a:gd name="T41" fmla="*/ 77 h 188"/>
                <a:gd name="T42" fmla="*/ 46 w 193"/>
                <a:gd name="T43" fmla="*/ 68 h 188"/>
                <a:gd name="T44" fmla="*/ 37 w 193"/>
                <a:gd name="T45" fmla="*/ 63 h 188"/>
                <a:gd name="T46" fmla="*/ 31 w 193"/>
                <a:gd name="T47" fmla="*/ 54 h 188"/>
                <a:gd name="T48" fmla="*/ 39 w 193"/>
                <a:gd name="T49" fmla="*/ 54 h 188"/>
                <a:gd name="T50" fmla="*/ 53 w 193"/>
                <a:gd name="T51" fmla="*/ 59 h 188"/>
                <a:gd name="T52" fmla="*/ 69 w 193"/>
                <a:gd name="T53" fmla="*/ 73 h 188"/>
                <a:gd name="T54" fmla="*/ 73 w 193"/>
                <a:gd name="T55" fmla="*/ 90 h 188"/>
                <a:gd name="T56" fmla="*/ 90 w 193"/>
                <a:gd name="T57" fmla="*/ 96 h 188"/>
                <a:gd name="T58" fmla="*/ 108 w 193"/>
                <a:gd name="T59" fmla="*/ 107 h 188"/>
                <a:gd name="T60" fmla="*/ 134 w 193"/>
                <a:gd name="T61" fmla="*/ 125 h 188"/>
                <a:gd name="T62" fmla="*/ 136 w 193"/>
                <a:gd name="T63" fmla="*/ 132 h 188"/>
                <a:gd name="T64" fmla="*/ 133 w 193"/>
                <a:gd name="T65" fmla="*/ 142 h 188"/>
                <a:gd name="T66" fmla="*/ 132 w 193"/>
                <a:gd name="T67" fmla="*/ 153 h 188"/>
                <a:gd name="T68" fmla="*/ 141 w 193"/>
                <a:gd name="T69" fmla="*/ 162 h 188"/>
                <a:gd name="T70" fmla="*/ 149 w 193"/>
                <a:gd name="T71" fmla="*/ 163 h 188"/>
                <a:gd name="T72" fmla="*/ 147 w 193"/>
                <a:gd name="T73" fmla="*/ 153 h 188"/>
                <a:gd name="T74" fmla="*/ 149 w 193"/>
                <a:gd name="T75" fmla="*/ 148 h 188"/>
                <a:gd name="T76" fmla="*/ 161 w 193"/>
                <a:gd name="T77" fmla="*/ 149 h 188"/>
                <a:gd name="T78" fmla="*/ 170 w 193"/>
                <a:gd name="T79" fmla="*/ 156 h 188"/>
                <a:gd name="T80" fmla="*/ 172 w 193"/>
                <a:gd name="T81" fmla="*/ 164 h 188"/>
                <a:gd name="T82" fmla="*/ 170 w 193"/>
                <a:gd name="T83" fmla="*/ 175 h 188"/>
                <a:gd name="T84" fmla="*/ 173 w 193"/>
                <a:gd name="T85" fmla="*/ 185 h 188"/>
                <a:gd name="T86" fmla="*/ 177 w 193"/>
                <a:gd name="T87" fmla="*/ 188 h 188"/>
                <a:gd name="T88" fmla="*/ 179 w 193"/>
                <a:gd name="T89" fmla="*/ 158 h 188"/>
                <a:gd name="T90" fmla="*/ 186 w 193"/>
                <a:gd name="T91" fmla="*/ 142 h 188"/>
                <a:gd name="T92" fmla="*/ 190 w 193"/>
                <a:gd name="T93" fmla="*/ 135 h 188"/>
                <a:gd name="T94" fmla="*/ 192 w 193"/>
                <a:gd name="T95" fmla="*/ 135 h 188"/>
                <a:gd name="T96" fmla="*/ 190 w 193"/>
                <a:gd name="T97" fmla="*/ 134 h 188"/>
                <a:gd name="T98" fmla="*/ 178 w 193"/>
                <a:gd name="T99" fmla="*/ 124 h 188"/>
                <a:gd name="T100" fmla="*/ 180 w 193"/>
                <a:gd name="T101" fmla="*/ 99 h 188"/>
                <a:gd name="T102" fmla="*/ 182 w 193"/>
                <a:gd name="T103" fmla="*/ 95 h 188"/>
                <a:gd name="T104" fmla="*/ 191 w 193"/>
                <a:gd name="T105" fmla="*/ 87 h 188"/>
                <a:gd name="T106" fmla="*/ 175 w 193"/>
                <a:gd name="T107" fmla="*/ 70 h 188"/>
                <a:gd name="T108" fmla="*/ 156 w 193"/>
                <a:gd name="T109" fmla="*/ 49 h 188"/>
                <a:gd name="T110" fmla="*/ 145 w 193"/>
                <a:gd name="T111" fmla="*/ 31 h 188"/>
                <a:gd name="T112" fmla="*/ 137 w 193"/>
                <a:gd name="T113" fmla="*/ 1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3" h="188">
                  <a:moveTo>
                    <a:pt x="137" y="14"/>
                  </a:moveTo>
                  <a:cubicBezTo>
                    <a:pt x="130" y="20"/>
                    <a:pt x="121" y="26"/>
                    <a:pt x="115" y="26"/>
                  </a:cubicBezTo>
                  <a:cubicBezTo>
                    <a:pt x="107" y="26"/>
                    <a:pt x="100" y="21"/>
                    <a:pt x="94" y="16"/>
                  </a:cubicBezTo>
                  <a:cubicBezTo>
                    <a:pt x="90" y="14"/>
                    <a:pt x="87" y="12"/>
                    <a:pt x="85" y="11"/>
                  </a:cubicBezTo>
                  <a:cubicBezTo>
                    <a:pt x="81" y="10"/>
                    <a:pt x="78" y="11"/>
                    <a:pt x="74" y="13"/>
                  </a:cubicBezTo>
                  <a:cubicBezTo>
                    <a:pt x="70" y="15"/>
                    <a:pt x="65" y="17"/>
                    <a:pt x="58" y="17"/>
                  </a:cubicBezTo>
                  <a:cubicBezTo>
                    <a:pt x="50" y="18"/>
                    <a:pt x="42" y="13"/>
                    <a:pt x="33" y="9"/>
                  </a:cubicBezTo>
                  <a:cubicBezTo>
                    <a:pt x="26" y="5"/>
                    <a:pt x="19" y="2"/>
                    <a:pt x="12" y="1"/>
                  </a:cubicBezTo>
                  <a:cubicBezTo>
                    <a:pt x="6" y="0"/>
                    <a:pt x="3" y="3"/>
                    <a:pt x="2" y="7"/>
                  </a:cubicBezTo>
                  <a:cubicBezTo>
                    <a:pt x="2" y="7"/>
                    <a:pt x="2" y="8"/>
                    <a:pt x="2" y="8"/>
                  </a:cubicBezTo>
                  <a:cubicBezTo>
                    <a:pt x="2" y="13"/>
                    <a:pt x="4" y="14"/>
                    <a:pt x="9" y="18"/>
                  </a:cubicBezTo>
                  <a:cubicBezTo>
                    <a:pt x="14" y="21"/>
                    <a:pt x="14" y="29"/>
                    <a:pt x="13" y="33"/>
                  </a:cubicBezTo>
                  <a:cubicBezTo>
                    <a:pt x="11" y="38"/>
                    <a:pt x="7" y="34"/>
                    <a:pt x="4" y="36"/>
                  </a:cubicBezTo>
                  <a:cubicBezTo>
                    <a:pt x="1" y="37"/>
                    <a:pt x="0" y="42"/>
                    <a:pt x="1" y="46"/>
                  </a:cubicBezTo>
                  <a:cubicBezTo>
                    <a:pt x="2" y="50"/>
                    <a:pt x="5" y="53"/>
                    <a:pt x="7" y="57"/>
                  </a:cubicBezTo>
                  <a:cubicBezTo>
                    <a:pt x="9" y="62"/>
                    <a:pt x="10" y="69"/>
                    <a:pt x="12" y="71"/>
                  </a:cubicBezTo>
                  <a:cubicBezTo>
                    <a:pt x="14" y="73"/>
                    <a:pt x="22" y="76"/>
                    <a:pt x="28" y="79"/>
                  </a:cubicBezTo>
                  <a:cubicBezTo>
                    <a:pt x="35" y="82"/>
                    <a:pt x="34" y="82"/>
                    <a:pt x="37" y="87"/>
                  </a:cubicBezTo>
                  <a:cubicBezTo>
                    <a:pt x="39" y="91"/>
                    <a:pt x="44" y="93"/>
                    <a:pt x="47" y="91"/>
                  </a:cubicBezTo>
                  <a:cubicBezTo>
                    <a:pt x="50" y="89"/>
                    <a:pt x="54" y="87"/>
                    <a:pt x="57" y="83"/>
                  </a:cubicBezTo>
                  <a:cubicBezTo>
                    <a:pt x="60" y="78"/>
                    <a:pt x="56" y="79"/>
                    <a:pt x="53" y="77"/>
                  </a:cubicBezTo>
                  <a:cubicBezTo>
                    <a:pt x="51" y="75"/>
                    <a:pt x="49" y="73"/>
                    <a:pt x="46" y="68"/>
                  </a:cubicBezTo>
                  <a:cubicBezTo>
                    <a:pt x="43" y="63"/>
                    <a:pt x="41" y="65"/>
                    <a:pt x="37" y="63"/>
                  </a:cubicBezTo>
                  <a:cubicBezTo>
                    <a:pt x="33" y="62"/>
                    <a:pt x="32" y="58"/>
                    <a:pt x="31" y="54"/>
                  </a:cubicBezTo>
                  <a:cubicBezTo>
                    <a:pt x="30" y="51"/>
                    <a:pt x="36" y="52"/>
                    <a:pt x="39" y="54"/>
                  </a:cubicBezTo>
                  <a:cubicBezTo>
                    <a:pt x="41" y="56"/>
                    <a:pt x="47" y="57"/>
                    <a:pt x="53" y="59"/>
                  </a:cubicBezTo>
                  <a:cubicBezTo>
                    <a:pt x="58" y="62"/>
                    <a:pt x="66" y="67"/>
                    <a:pt x="69" y="73"/>
                  </a:cubicBezTo>
                  <a:cubicBezTo>
                    <a:pt x="73" y="79"/>
                    <a:pt x="71" y="87"/>
                    <a:pt x="73" y="90"/>
                  </a:cubicBezTo>
                  <a:cubicBezTo>
                    <a:pt x="76" y="92"/>
                    <a:pt x="84" y="94"/>
                    <a:pt x="90" y="96"/>
                  </a:cubicBezTo>
                  <a:cubicBezTo>
                    <a:pt x="96" y="98"/>
                    <a:pt x="103" y="104"/>
                    <a:pt x="108" y="107"/>
                  </a:cubicBezTo>
                  <a:cubicBezTo>
                    <a:pt x="113" y="109"/>
                    <a:pt x="133" y="123"/>
                    <a:pt x="134" y="125"/>
                  </a:cubicBezTo>
                  <a:cubicBezTo>
                    <a:pt x="134" y="127"/>
                    <a:pt x="136" y="127"/>
                    <a:pt x="136" y="132"/>
                  </a:cubicBezTo>
                  <a:cubicBezTo>
                    <a:pt x="136" y="138"/>
                    <a:pt x="135" y="139"/>
                    <a:pt x="133" y="142"/>
                  </a:cubicBezTo>
                  <a:cubicBezTo>
                    <a:pt x="132" y="146"/>
                    <a:pt x="131" y="148"/>
                    <a:pt x="132" y="153"/>
                  </a:cubicBezTo>
                  <a:cubicBezTo>
                    <a:pt x="134" y="159"/>
                    <a:pt x="137" y="161"/>
                    <a:pt x="141" y="162"/>
                  </a:cubicBezTo>
                  <a:cubicBezTo>
                    <a:pt x="144" y="164"/>
                    <a:pt x="148" y="164"/>
                    <a:pt x="149" y="163"/>
                  </a:cubicBezTo>
                  <a:cubicBezTo>
                    <a:pt x="151" y="162"/>
                    <a:pt x="148" y="155"/>
                    <a:pt x="147" y="153"/>
                  </a:cubicBezTo>
                  <a:cubicBezTo>
                    <a:pt x="147" y="150"/>
                    <a:pt x="149" y="148"/>
                    <a:pt x="149" y="148"/>
                  </a:cubicBezTo>
                  <a:cubicBezTo>
                    <a:pt x="150" y="148"/>
                    <a:pt x="158" y="148"/>
                    <a:pt x="161" y="149"/>
                  </a:cubicBezTo>
                  <a:cubicBezTo>
                    <a:pt x="163" y="150"/>
                    <a:pt x="168" y="153"/>
                    <a:pt x="170" y="156"/>
                  </a:cubicBezTo>
                  <a:cubicBezTo>
                    <a:pt x="173" y="159"/>
                    <a:pt x="172" y="162"/>
                    <a:pt x="172" y="164"/>
                  </a:cubicBezTo>
                  <a:cubicBezTo>
                    <a:pt x="171" y="166"/>
                    <a:pt x="170" y="171"/>
                    <a:pt x="170" y="175"/>
                  </a:cubicBezTo>
                  <a:cubicBezTo>
                    <a:pt x="170" y="178"/>
                    <a:pt x="172" y="183"/>
                    <a:pt x="173" y="185"/>
                  </a:cubicBezTo>
                  <a:cubicBezTo>
                    <a:pt x="173" y="187"/>
                    <a:pt x="175" y="188"/>
                    <a:pt x="177" y="188"/>
                  </a:cubicBezTo>
                  <a:cubicBezTo>
                    <a:pt x="176" y="179"/>
                    <a:pt x="176" y="167"/>
                    <a:pt x="179" y="158"/>
                  </a:cubicBezTo>
                  <a:cubicBezTo>
                    <a:pt x="182" y="147"/>
                    <a:pt x="184" y="144"/>
                    <a:pt x="186" y="142"/>
                  </a:cubicBezTo>
                  <a:cubicBezTo>
                    <a:pt x="188" y="140"/>
                    <a:pt x="189" y="139"/>
                    <a:pt x="190" y="135"/>
                  </a:cubicBezTo>
                  <a:cubicBezTo>
                    <a:pt x="191" y="135"/>
                    <a:pt x="193" y="135"/>
                    <a:pt x="192" y="135"/>
                  </a:cubicBezTo>
                  <a:cubicBezTo>
                    <a:pt x="192" y="135"/>
                    <a:pt x="191" y="135"/>
                    <a:pt x="190" y="134"/>
                  </a:cubicBezTo>
                  <a:cubicBezTo>
                    <a:pt x="187" y="133"/>
                    <a:pt x="181" y="132"/>
                    <a:pt x="178" y="124"/>
                  </a:cubicBezTo>
                  <a:cubicBezTo>
                    <a:pt x="172" y="113"/>
                    <a:pt x="176" y="106"/>
                    <a:pt x="180" y="99"/>
                  </a:cubicBezTo>
                  <a:cubicBezTo>
                    <a:pt x="181" y="98"/>
                    <a:pt x="181" y="96"/>
                    <a:pt x="182" y="95"/>
                  </a:cubicBezTo>
                  <a:cubicBezTo>
                    <a:pt x="182" y="91"/>
                    <a:pt x="186" y="89"/>
                    <a:pt x="191" y="87"/>
                  </a:cubicBezTo>
                  <a:cubicBezTo>
                    <a:pt x="186" y="83"/>
                    <a:pt x="184" y="78"/>
                    <a:pt x="175" y="70"/>
                  </a:cubicBezTo>
                  <a:cubicBezTo>
                    <a:pt x="164" y="60"/>
                    <a:pt x="162" y="57"/>
                    <a:pt x="156" y="49"/>
                  </a:cubicBezTo>
                  <a:cubicBezTo>
                    <a:pt x="151" y="42"/>
                    <a:pt x="148" y="40"/>
                    <a:pt x="145" y="31"/>
                  </a:cubicBezTo>
                  <a:cubicBezTo>
                    <a:pt x="142" y="23"/>
                    <a:pt x="140" y="19"/>
                    <a:pt x="137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Freeform 16"/>
            <p:cNvSpPr>
              <a:spLocks/>
            </p:cNvSpPr>
            <p:nvPr/>
          </p:nvSpPr>
          <p:spPr bwMode="auto">
            <a:xfrm>
              <a:off x="2890950" y="4477438"/>
              <a:ext cx="101203" cy="42863"/>
            </a:xfrm>
            <a:custGeom>
              <a:avLst/>
              <a:gdLst>
                <a:gd name="T0" fmla="*/ 33 w 353"/>
                <a:gd name="T1" fmla="*/ 16 h 147"/>
                <a:gd name="T2" fmla="*/ 51 w 353"/>
                <a:gd name="T3" fmla="*/ 19 h 147"/>
                <a:gd name="T4" fmla="*/ 46 w 353"/>
                <a:gd name="T5" fmla="*/ 31 h 147"/>
                <a:gd name="T6" fmla="*/ 64 w 353"/>
                <a:gd name="T7" fmla="*/ 41 h 147"/>
                <a:gd name="T8" fmla="*/ 79 w 353"/>
                <a:gd name="T9" fmla="*/ 34 h 147"/>
                <a:gd name="T10" fmla="*/ 105 w 353"/>
                <a:gd name="T11" fmla="*/ 48 h 147"/>
                <a:gd name="T12" fmla="*/ 134 w 353"/>
                <a:gd name="T13" fmla="*/ 42 h 147"/>
                <a:gd name="T14" fmla="*/ 164 w 353"/>
                <a:gd name="T15" fmla="*/ 30 h 147"/>
                <a:gd name="T16" fmla="*/ 197 w 353"/>
                <a:gd name="T17" fmla="*/ 7 h 147"/>
                <a:gd name="T18" fmla="*/ 251 w 353"/>
                <a:gd name="T19" fmla="*/ 7 h 147"/>
                <a:gd name="T20" fmla="*/ 296 w 353"/>
                <a:gd name="T21" fmla="*/ 24 h 147"/>
                <a:gd name="T22" fmla="*/ 333 w 353"/>
                <a:gd name="T23" fmla="*/ 52 h 147"/>
                <a:gd name="T24" fmla="*/ 338 w 353"/>
                <a:gd name="T25" fmla="*/ 71 h 147"/>
                <a:gd name="T26" fmla="*/ 352 w 353"/>
                <a:gd name="T27" fmla="*/ 102 h 147"/>
                <a:gd name="T28" fmla="*/ 332 w 353"/>
                <a:gd name="T29" fmla="*/ 119 h 147"/>
                <a:gd name="T30" fmla="*/ 317 w 353"/>
                <a:gd name="T31" fmla="*/ 117 h 147"/>
                <a:gd name="T32" fmla="*/ 283 w 353"/>
                <a:gd name="T33" fmla="*/ 115 h 147"/>
                <a:gd name="T34" fmla="*/ 289 w 353"/>
                <a:gd name="T35" fmla="*/ 84 h 147"/>
                <a:gd name="T36" fmla="*/ 314 w 353"/>
                <a:gd name="T37" fmla="*/ 89 h 147"/>
                <a:gd name="T38" fmla="*/ 296 w 353"/>
                <a:gd name="T39" fmla="*/ 67 h 147"/>
                <a:gd name="T40" fmla="*/ 265 w 353"/>
                <a:gd name="T41" fmla="*/ 55 h 147"/>
                <a:gd name="T42" fmla="*/ 242 w 353"/>
                <a:gd name="T43" fmla="*/ 32 h 147"/>
                <a:gd name="T44" fmla="*/ 211 w 353"/>
                <a:gd name="T45" fmla="*/ 38 h 147"/>
                <a:gd name="T46" fmla="*/ 193 w 353"/>
                <a:gd name="T47" fmla="*/ 61 h 147"/>
                <a:gd name="T48" fmla="*/ 156 w 353"/>
                <a:gd name="T49" fmla="*/ 81 h 147"/>
                <a:gd name="T50" fmla="*/ 158 w 353"/>
                <a:gd name="T51" fmla="*/ 108 h 147"/>
                <a:gd name="T52" fmla="*/ 174 w 353"/>
                <a:gd name="T53" fmla="*/ 128 h 147"/>
                <a:gd name="T54" fmla="*/ 142 w 353"/>
                <a:gd name="T55" fmla="*/ 146 h 147"/>
                <a:gd name="T56" fmla="*/ 121 w 353"/>
                <a:gd name="T57" fmla="*/ 134 h 147"/>
                <a:gd name="T58" fmla="*/ 116 w 353"/>
                <a:gd name="T59" fmla="*/ 106 h 147"/>
                <a:gd name="T60" fmla="*/ 105 w 353"/>
                <a:gd name="T61" fmla="*/ 111 h 147"/>
                <a:gd name="T62" fmla="*/ 98 w 353"/>
                <a:gd name="T63" fmla="*/ 123 h 147"/>
                <a:gd name="T64" fmla="*/ 82 w 353"/>
                <a:gd name="T65" fmla="*/ 103 h 147"/>
                <a:gd name="T66" fmla="*/ 59 w 353"/>
                <a:gd name="T67" fmla="*/ 87 h 147"/>
                <a:gd name="T68" fmla="*/ 44 w 353"/>
                <a:gd name="T69" fmla="*/ 81 h 147"/>
                <a:gd name="T70" fmla="*/ 12 w 353"/>
                <a:gd name="T71" fmla="*/ 81 h 147"/>
                <a:gd name="T72" fmla="*/ 4 w 353"/>
                <a:gd name="T73" fmla="*/ 95 h 147"/>
                <a:gd name="T74" fmla="*/ 11 w 353"/>
                <a:gd name="T75" fmla="*/ 54 h 147"/>
                <a:gd name="T76" fmla="*/ 14 w 353"/>
                <a:gd name="T77" fmla="*/ 35 h 147"/>
                <a:gd name="T78" fmla="*/ 4 w 353"/>
                <a:gd name="T79" fmla="*/ 28 h 147"/>
                <a:gd name="T80" fmla="*/ 9 w 353"/>
                <a:gd name="T81" fmla="*/ 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3" h="147">
                  <a:moveTo>
                    <a:pt x="17" y="0"/>
                  </a:moveTo>
                  <a:cubicBezTo>
                    <a:pt x="26" y="7"/>
                    <a:pt x="28" y="16"/>
                    <a:pt x="33" y="16"/>
                  </a:cubicBezTo>
                  <a:cubicBezTo>
                    <a:pt x="39" y="16"/>
                    <a:pt x="39" y="12"/>
                    <a:pt x="43" y="13"/>
                  </a:cubicBezTo>
                  <a:cubicBezTo>
                    <a:pt x="48" y="14"/>
                    <a:pt x="49" y="17"/>
                    <a:pt x="51" y="19"/>
                  </a:cubicBezTo>
                  <a:cubicBezTo>
                    <a:pt x="54" y="21"/>
                    <a:pt x="52" y="24"/>
                    <a:pt x="50" y="25"/>
                  </a:cubicBezTo>
                  <a:cubicBezTo>
                    <a:pt x="48" y="25"/>
                    <a:pt x="45" y="26"/>
                    <a:pt x="46" y="31"/>
                  </a:cubicBezTo>
                  <a:cubicBezTo>
                    <a:pt x="46" y="35"/>
                    <a:pt x="46" y="40"/>
                    <a:pt x="51" y="41"/>
                  </a:cubicBezTo>
                  <a:cubicBezTo>
                    <a:pt x="57" y="42"/>
                    <a:pt x="61" y="43"/>
                    <a:pt x="64" y="41"/>
                  </a:cubicBezTo>
                  <a:cubicBezTo>
                    <a:pt x="67" y="39"/>
                    <a:pt x="65" y="35"/>
                    <a:pt x="69" y="33"/>
                  </a:cubicBezTo>
                  <a:cubicBezTo>
                    <a:pt x="72" y="32"/>
                    <a:pt x="72" y="29"/>
                    <a:pt x="79" y="34"/>
                  </a:cubicBezTo>
                  <a:cubicBezTo>
                    <a:pt x="86" y="38"/>
                    <a:pt x="86" y="39"/>
                    <a:pt x="92" y="43"/>
                  </a:cubicBezTo>
                  <a:cubicBezTo>
                    <a:pt x="97" y="46"/>
                    <a:pt x="101" y="48"/>
                    <a:pt x="105" y="48"/>
                  </a:cubicBezTo>
                  <a:cubicBezTo>
                    <a:pt x="109" y="48"/>
                    <a:pt x="111" y="50"/>
                    <a:pt x="118" y="48"/>
                  </a:cubicBezTo>
                  <a:cubicBezTo>
                    <a:pt x="125" y="46"/>
                    <a:pt x="129" y="44"/>
                    <a:pt x="134" y="42"/>
                  </a:cubicBezTo>
                  <a:cubicBezTo>
                    <a:pt x="140" y="40"/>
                    <a:pt x="140" y="39"/>
                    <a:pt x="147" y="36"/>
                  </a:cubicBezTo>
                  <a:cubicBezTo>
                    <a:pt x="154" y="33"/>
                    <a:pt x="157" y="31"/>
                    <a:pt x="164" y="30"/>
                  </a:cubicBezTo>
                  <a:cubicBezTo>
                    <a:pt x="171" y="29"/>
                    <a:pt x="175" y="26"/>
                    <a:pt x="181" y="22"/>
                  </a:cubicBezTo>
                  <a:cubicBezTo>
                    <a:pt x="186" y="17"/>
                    <a:pt x="188" y="11"/>
                    <a:pt x="197" y="7"/>
                  </a:cubicBezTo>
                  <a:cubicBezTo>
                    <a:pt x="206" y="4"/>
                    <a:pt x="213" y="2"/>
                    <a:pt x="218" y="2"/>
                  </a:cubicBezTo>
                  <a:cubicBezTo>
                    <a:pt x="222" y="2"/>
                    <a:pt x="235" y="2"/>
                    <a:pt x="251" y="7"/>
                  </a:cubicBezTo>
                  <a:cubicBezTo>
                    <a:pt x="266" y="12"/>
                    <a:pt x="266" y="12"/>
                    <a:pt x="276" y="17"/>
                  </a:cubicBezTo>
                  <a:cubicBezTo>
                    <a:pt x="286" y="21"/>
                    <a:pt x="285" y="22"/>
                    <a:pt x="296" y="24"/>
                  </a:cubicBezTo>
                  <a:cubicBezTo>
                    <a:pt x="306" y="27"/>
                    <a:pt x="312" y="33"/>
                    <a:pt x="318" y="38"/>
                  </a:cubicBezTo>
                  <a:cubicBezTo>
                    <a:pt x="324" y="43"/>
                    <a:pt x="324" y="43"/>
                    <a:pt x="333" y="52"/>
                  </a:cubicBezTo>
                  <a:cubicBezTo>
                    <a:pt x="335" y="54"/>
                    <a:pt x="337" y="55"/>
                    <a:pt x="338" y="57"/>
                  </a:cubicBezTo>
                  <a:cubicBezTo>
                    <a:pt x="337" y="61"/>
                    <a:pt x="336" y="65"/>
                    <a:pt x="338" y="71"/>
                  </a:cubicBezTo>
                  <a:cubicBezTo>
                    <a:pt x="339" y="77"/>
                    <a:pt x="343" y="83"/>
                    <a:pt x="346" y="89"/>
                  </a:cubicBezTo>
                  <a:cubicBezTo>
                    <a:pt x="350" y="95"/>
                    <a:pt x="353" y="100"/>
                    <a:pt x="352" y="102"/>
                  </a:cubicBezTo>
                  <a:cubicBezTo>
                    <a:pt x="350" y="105"/>
                    <a:pt x="346" y="109"/>
                    <a:pt x="342" y="112"/>
                  </a:cubicBezTo>
                  <a:cubicBezTo>
                    <a:pt x="338" y="115"/>
                    <a:pt x="335" y="118"/>
                    <a:pt x="332" y="119"/>
                  </a:cubicBezTo>
                  <a:cubicBezTo>
                    <a:pt x="332" y="119"/>
                    <a:pt x="331" y="119"/>
                    <a:pt x="331" y="118"/>
                  </a:cubicBezTo>
                  <a:cubicBezTo>
                    <a:pt x="328" y="116"/>
                    <a:pt x="325" y="113"/>
                    <a:pt x="317" y="117"/>
                  </a:cubicBezTo>
                  <a:cubicBezTo>
                    <a:pt x="311" y="121"/>
                    <a:pt x="307" y="132"/>
                    <a:pt x="304" y="141"/>
                  </a:cubicBezTo>
                  <a:cubicBezTo>
                    <a:pt x="297" y="136"/>
                    <a:pt x="288" y="122"/>
                    <a:pt x="283" y="115"/>
                  </a:cubicBezTo>
                  <a:cubicBezTo>
                    <a:pt x="279" y="107"/>
                    <a:pt x="276" y="99"/>
                    <a:pt x="279" y="93"/>
                  </a:cubicBezTo>
                  <a:cubicBezTo>
                    <a:pt x="282" y="88"/>
                    <a:pt x="283" y="85"/>
                    <a:pt x="289" y="84"/>
                  </a:cubicBezTo>
                  <a:cubicBezTo>
                    <a:pt x="294" y="82"/>
                    <a:pt x="296" y="80"/>
                    <a:pt x="303" y="85"/>
                  </a:cubicBezTo>
                  <a:cubicBezTo>
                    <a:pt x="310" y="90"/>
                    <a:pt x="314" y="93"/>
                    <a:pt x="314" y="89"/>
                  </a:cubicBezTo>
                  <a:cubicBezTo>
                    <a:pt x="315" y="84"/>
                    <a:pt x="311" y="79"/>
                    <a:pt x="307" y="74"/>
                  </a:cubicBezTo>
                  <a:cubicBezTo>
                    <a:pt x="304" y="70"/>
                    <a:pt x="304" y="67"/>
                    <a:pt x="296" y="67"/>
                  </a:cubicBezTo>
                  <a:cubicBezTo>
                    <a:pt x="288" y="67"/>
                    <a:pt x="287" y="71"/>
                    <a:pt x="279" y="66"/>
                  </a:cubicBezTo>
                  <a:cubicBezTo>
                    <a:pt x="271" y="62"/>
                    <a:pt x="267" y="61"/>
                    <a:pt x="265" y="55"/>
                  </a:cubicBezTo>
                  <a:cubicBezTo>
                    <a:pt x="262" y="50"/>
                    <a:pt x="258" y="51"/>
                    <a:pt x="253" y="47"/>
                  </a:cubicBezTo>
                  <a:cubicBezTo>
                    <a:pt x="248" y="43"/>
                    <a:pt x="247" y="35"/>
                    <a:pt x="242" y="32"/>
                  </a:cubicBezTo>
                  <a:cubicBezTo>
                    <a:pt x="238" y="30"/>
                    <a:pt x="236" y="29"/>
                    <a:pt x="230" y="31"/>
                  </a:cubicBezTo>
                  <a:cubicBezTo>
                    <a:pt x="225" y="32"/>
                    <a:pt x="215" y="33"/>
                    <a:pt x="211" y="38"/>
                  </a:cubicBezTo>
                  <a:cubicBezTo>
                    <a:pt x="206" y="42"/>
                    <a:pt x="199" y="42"/>
                    <a:pt x="196" y="45"/>
                  </a:cubicBezTo>
                  <a:cubicBezTo>
                    <a:pt x="194" y="48"/>
                    <a:pt x="194" y="58"/>
                    <a:pt x="193" y="61"/>
                  </a:cubicBezTo>
                  <a:cubicBezTo>
                    <a:pt x="193" y="65"/>
                    <a:pt x="182" y="72"/>
                    <a:pt x="179" y="73"/>
                  </a:cubicBezTo>
                  <a:cubicBezTo>
                    <a:pt x="176" y="75"/>
                    <a:pt x="160" y="78"/>
                    <a:pt x="156" y="81"/>
                  </a:cubicBezTo>
                  <a:cubicBezTo>
                    <a:pt x="152" y="84"/>
                    <a:pt x="148" y="85"/>
                    <a:pt x="148" y="91"/>
                  </a:cubicBezTo>
                  <a:cubicBezTo>
                    <a:pt x="149" y="96"/>
                    <a:pt x="153" y="105"/>
                    <a:pt x="158" y="108"/>
                  </a:cubicBezTo>
                  <a:cubicBezTo>
                    <a:pt x="164" y="111"/>
                    <a:pt x="171" y="118"/>
                    <a:pt x="172" y="120"/>
                  </a:cubicBezTo>
                  <a:cubicBezTo>
                    <a:pt x="173" y="122"/>
                    <a:pt x="176" y="126"/>
                    <a:pt x="174" y="128"/>
                  </a:cubicBezTo>
                  <a:cubicBezTo>
                    <a:pt x="172" y="131"/>
                    <a:pt x="164" y="136"/>
                    <a:pt x="159" y="137"/>
                  </a:cubicBezTo>
                  <a:cubicBezTo>
                    <a:pt x="154" y="138"/>
                    <a:pt x="145" y="144"/>
                    <a:pt x="142" y="146"/>
                  </a:cubicBezTo>
                  <a:cubicBezTo>
                    <a:pt x="140" y="147"/>
                    <a:pt x="128" y="147"/>
                    <a:pt x="125" y="144"/>
                  </a:cubicBezTo>
                  <a:cubicBezTo>
                    <a:pt x="122" y="142"/>
                    <a:pt x="120" y="141"/>
                    <a:pt x="121" y="134"/>
                  </a:cubicBezTo>
                  <a:cubicBezTo>
                    <a:pt x="121" y="127"/>
                    <a:pt x="121" y="121"/>
                    <a:pt x="120" y="118"/>
                  </a:cubicBezTo>
                  <a:cubicBezTo>
                    <a:pt x="119" y="114"/>
                    <a:pt x="118" y="108"/>
                    <a:pt x="116" y="106"/>
                  </a:cubicBezTo>
                  <a:cubicBezTo>
                    <a:pt x="113" y="104"/>
                    <a:pt x="111" y="103"/>
                    <a:pt x="108" y="104"/>
                  </a:cubicBezTo>
                  <a:cubicBezTo>
                    <a:pt x="106" y="105"/>
                    <a:pt x="105" y="107"/>
                    <a:pt x="105" y="111"/>
                  </a:cubicBezTo>
                  <a:cubicBezTo>
                    <a:pt x="105" y="114"/>
                    <a:pt x="107" y="119"/>
                    <a:pt x="105" y="121"/>
                  </a:cubicBezTo>
                  <a:cubicBezTo>
                    <a:pt x="103" y="122"/>
                    <a:pt x="101" y="124"/>
                    <a:pt x="98" y="123"/>
                  </a:cubicBezTo>
                  <a:cubicBezTo>
                    <a:pt x="95" y="122"/>
                    <a:pt x="87" y="118"/>
                    <a:pt x="86" y="116"/>
                  </a:cubicBezTo>
                  <a:cubicBezTo>
                    <a:pt x="84" y="113"/>
                    <a:pt x="86" y="110"/>
                    <a:pt x="82" y="103"/>
                  </a:cubicBezTo>
                  <a:cubicBezTo>
                    <a:pt x="78" y="96"/>
                    <a:pt x="74" y="89"/>
                    <a:pt x="70" y="88"/>
                  </a:cubicBezTo>
                  <a:cubicBezTo>
                    <a:pt x="66" y="87"/>
                    <a:pt x="62" y="86"/>
                    <a:pt x="59" y="87"/>
                  </a:cubicBezTo>
                  <a:cubicBezTo>
                    <a:pt x="56" y="87"/>
                    <a:pt x="54" y="91"/>
                    <a:pt x="50" y="88"/>
                  </a:cubicBezTo>
                  <a:cubicBezTo>
                    <a:pt x="46" y="85"/>
                    <a:pt x="47" y="82"/>
                    <a:pt x="44" y="81"/>
                  </a:cubicBezTo>
                  <a:cubicBezTo>
                    <a:pt x="40" y="81"/>
                    <a:pt x="37" y="80"/>
                    <a:pt x="32" y="80"/>
                  </a:cubicBezTo>
                  <a:cubicBezTo>
                    <a:pt x="27" y="80"/>
                    <a:pt x="15" y="79"/>
                    <a:pt x="12" y="81"/>
                  </a:cubicBezTo>
                  <a:cubicBezTo>
                    <a:pt x="8" y="83"/>
                    <a:pt x="6" y="88"/>
                    <a:pt x="5" y="92"/>
                  </a:cubicBezTo>
                  <a:cubicBezTo>
                    <a:pt x="5" y="94"/>
                    <a:pt x="4" y="95"/>
                    <a:pt x="4" y="95"/>
                  </a:cubicBezTo>
                  <a:cubicBezTo>
                    <a:pt x="3" y="86"/>
                    <a:pt x="3" y="75"/>
                    <a:pt x="5" y="67"/>
                  </a:cubicBezTo>
                  <a:cubicBezTo>
                    <a:pt x="8" y="58"/>
                    <a:pt x="10" y="56"/>
                    <a:pt x="11" y="54"/>
                  </a:cubicBezTo>
                  <a:cubicBezTo>
                    <a:pt x="13" y="52"/>
                    <a:pt x="15" y="50"/>
                    <a:pt x="17" y="46"/>
                  </a:cubicBezTo>
                  <a:cubicBezTo>
                    <a:pt x="20" y="39"/>
                    <a:pt x="18" y="36"/>
                    <a:pt x="14" y="35"/>
                  </a:cubicBezTo>
                  <a:cubicBezTo>
                    <a:pt x="13" y="34"/>
                    <a:pt x="13" y="34"/>
                    <a:pt x="12" y="34"/>
                  </a:cubicBezTo>
                  <a:cubicBezTo>
                    <a:pt x="9" y="33"/>
                    <a:pt x="6" y="32"/>
                    <a:pt x="4" y="28"/>
                  </a:cubicBezTo>
                  <a:cubicBezTo>
                    <a:pt x="0" y="21"/>
                    <a:pt x="3" y="15"/>
                    <a:pt x="6" y="10"/>
                  </a:cubicBezTo>
                  <a:cubicBezTo>
                    <a:pt x="7" y="8"/>
                    <a:pt x="8" y="6"/>
                    <a:pt x="9" y="3"/>
                  </a:cubicBezTo>
                  <a:cubicBezTo>
                    <a:pt x="9" y="2"/>
                    <a:pt x="12" y="1"/>
                    <a:pt x="17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auto">
            <a:xfrm>
              <a:off x="3274331" y="4501250"/>
              <a:ext cx="82153" cy="123825"/>
            </a:xfrm>
            <a:custGeom>
              <a:avLst/>
              <a:gdLst>
                <a:gd name="T0" fmla="*/ 88 w 284"/>
                <a:gd name="T1" fmla="*/ 10 h 434"/>
                <a:gd name="T2" fmla="*/ 68 w 284"/>
                <a:gd name="T3" fmla="*/ 27 h 434"/>
                <a:gd name="T4" fmla="*/ 44 w 284"/>
                <a:gd name="T5" fmla="*/ 44 h 434"/>
                <a:gd name="T6" fmla="*/ 41 w 284"/>
                <a:gd name="T7" fmla="*/ 57 h 434"/>
                <a:gd name="T8" fmla="*/ 51 w 284"/>
                <a:gd name="T9" fmla="*/ 66 h 434"/>
                <a:gd name="T10" fmla="*/ 59 w 284"/>
                <a:gd name="T11" fmla="*/ 71 h 434"/>
                <a:gd name="T12" fmla="*/ 60 w 284"/>
                <a:gd name="T13" fmla="*/ 82 h 434"/>
                <a:gd name="T14" fmla="*/ 53 w 284"/>
                <a:gd name="T15" fmla="*/ 90 h 434"/>
                <a:gd name="T16" fmla="*/ 27 w 284"/>
                <a:gd name="T17" fmla="*/ 99 h 434"/>
                <a:gd name="T18" fmla="*/ 14 w 284"/>
                <a:gd name="T19" fmla="*/ 105 h 434"/>
                <a:gd name="T20" fmla="*/ 6 w 284"/>
                <a:gd name="T21" fmla="*/ 140 h 434"/>
                <a:gd name="T22" fmla="*/ 0 w 284"/>
                <a:gd name="T23" fmla="*/ 153 h 434"/>
                <a:gd name="T24" fmla="*/ 33 w 284"/>
                <a:gd name="T25" fmla="*/ 185 h 434"/>
                <a:gd name="T26" fmla="*/ 43 w 284"/>
                <a:gd name="T27" fmla="*/ 189 h 434"/>
                <a:gd name="T28" fmla="*/ 69 w 284"/>
                <a:gd name="T29" fmla="*/ 187 h 434"/>
                <a:gd name="T30" fmla="*/ 80 w 284"/>
                <a:gd name="T31" fmla="*/ 198 h 434"/>
                <a:gd name="T32" fmla="*/ 78 w 284"/>
                <a:gd name="T33" fmla="*/ 223 h 434"/>
                <a:gd name="T34" fmla="*/ 88 w 284"/>
                <a:gd name="T35" fmla="*/ 236 h 434"/>
                <a:gd name="T36" fmla="*/ 101 w 284"/>
                <a:gd name="T37" fmla="*/ 247 h 434"/>
                <a:gd name="T38" fmla="*/ 105 w 284"/>
                <a:gd name="T39" fmla="*/ 262 h 434"/>
                <a:gd name="T40" fmla="*/ 104 w 284"/>
                <a:gd name="T41" fmla="*/ 289 h 434"/>
                <a:gd name="T42" fmla="*/ 95 w 284"/>
                <a:gd name="T43" fmla="*/ 305 h 434"/>
                <a:gd name="T44" fmla="*/ 90 w 284"/>
                <a:gd name="T45" fmla="*/ 323 h 434"/>
                <a:gd name="T46" fmla="*/ 85 w 284"/>
                <a:gd name="T47" fmla="*/ 344 h 434"/>
                <a:gd name="T48" fmla="*/ 91 w 284"/>
                <a:gd name="T49" fmla="*/ 364 h 434"/>
                <a:gd name="T50" fmla="*/ 107 w 284"/>
                <a:gd name="T51" fmla="*/ 396 h 434"/>
                <a:gd name="T52" fmla="*/ 107 w 284"/>
                <a:gd name="T53" fmla="*/ 401 h 434"/>
                <a:gd name="T54" fmla="*/ 143 w 284"/>
                <a:gd name="T55" fmla="*/ 433 h 434"/>
                <a:gd name="T56" fmla="*/ 162 w 284"/>
                <a:gd name="T57" fmla="*/ 434 h 434"/>
                <a:gd name="T58" fmla="*/ 169 w 284"/>
                <a:gd name="T59" fmla="*/ 421 h 434"/>
                <a:gd name="T60" fmla="*/ 195 w 284"/>
                <a:gd name="T61" fmla="*/ 416 h 434"/>
                <a:gd name="T62" fmla="*/ 198 w 284"/>
                <a:gd name="T63" fmla="*/ 416 h 434"/>
                <a:gd name="T64" fmla="*/ 226 w 284"/>
                <a:gd name="T65" fmla="*/ 411 h 434"/>
                <a:gd name="T66" fmla="*/ 244 w 284"/>
                <a:gd name="T67" fmla="*/ 393 h 434"/>
                <a:gd name="T68" fmla="*/ 274 w 284"/>
                <a:gd name="T69" fmla="*/ 393 h 434"/>
                <a:gd name="T70" fmla="*/ 284 w 284"/>
                <a:gd name="T71" fmla="*/ 391 h 434"/>
                <a:gd name="T72" fmla="*/ 264 w 284"/>
                <a:gd name="T73" fmla="*/ 364 h 434"/>
                <a:gd name="T74" fmla="*/ 246 w 284"/>
                <a:gd name="T75" fmla="*/ 340 h 434"/>
                <a:gd name="T76" fmla="*/ 244 w 284"/>
                <a:gd name="T77" fmla="*/ 316 h 434"/>
                <a:gd name="T78" fmla="*/ 230 w 284"/>
                <a:gd name="T79" fmla="*/ 311 h 434"/>
                <a:gd name="T80" fmla="*/ 211 w 284"/>
                <a:gd name="T81" fmla="*/ 294 h 434"/>
                <a:gd name="T82" fmla="*/ 210 w 284"/>
                <a:gd name="T83" fmla="*/ 291 h 434"/>
                <a:gd name="T84" fmla="*/ 202 w 284"/>
                <a:gd name="T85" fmla="*/ 248 h 434"/>
                <a:gd name="T86" fmla="*/ 207 w 284"/>
                <a:gd name="T87" fmla="*/ 231 h 434"/>
                <a:gd name="T88" fmla="*/ 227 w 284"/>
                <a:gd name="T89" fmla="*/ 206 h 434"/>
                <a:gd name="T90" fmla="*/ 240 w 284"/>
                <a:gd name="T91" fmla="*/ 203 h 434"/>
                <a:gd name="T92" fmla="*/ 247 w 284"/>
                <a:gd name="T93" fmla="*/ 185 h 434"/>
                <a:gd name="T94" fmla="*/ 252 w 284"/>
                <a:gd name="T95" fmla="*/ 157 h 434"/>
                <a:gd name="T96" fmla="*/ 239 w 284"/>
                <a:gd name="T97" fmla="*/ 128 h 434"/>
                <a:gd name="T98" fmla="*/ 201 w 284"/>
                <a:gd name="T99" fmla="*/ 93 h 434"/>
                <a:gd name="T100" fmla="*/ 166 w 284"/>
                <a:gd name="T101" fmla="*/ 117 h 434"/>
                <a:gd name="T102" fmla="*/ 167 w 284"/>
                <a:gd name="T103" fmla="*/ 85 h 434"/>
                <a:gd name="T104" fmla="*/ 150 w 284"/>
                <a:gd name="T105" fmla="*/ 34 h 434"/>
                <a:gd name="T106" fmla="*/ 108 w 284"/>
                <a:gd name="T107" fmla="*/ 7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84" h="434">
                  <a:moveTo>
                    <a:pt x="93" y="0"/>
                  </a:moveTo>
                  <a:cubicBezTo>
                    <a:pt x="92" y="3"/>
                    <a:pt x="90" y="6"/>
                    <a:pt x="88" y="10"/>
                  </a:cubicBezTo>
                  <a:cubicBezTo>
                    <a:pt x="87" y="11"/>
                    <a:pt x="86" y="13"/>
                    <a:pt x="85" y="15"/>
                  </a:cubicBezTo>
                  <a:cubicBezTo>
                    <a:pt x="81" y="23"/>
                    <a:pt x="75" y="25"/>
                    <a:pt x="68" y="27"/>
                  </a:cubicBezTo>
                  <a:cubicBezTo>
                    <a:pt x="64" y="28"/>
                    <a:pt x="61" y="29"/>
                    <a:pt x="56" y="31"/>
                  </a:cubicBezTo>
                  <a:cubicBezTo>
                    <a:pt x="48" y="35"/>
                    <a:pt x="46" y="39"/>
                    <a:pt x="44" y="44"/>
                  </a:cubicBezTo>
                  <a:cubicBezTo>
                    <a:pt x="44" y="45"/>
                    <a:pt x="43" y="47"/>
                    <a:pt x="42" y="49"/>
                  </a:cubicBezTo>
                  <a:cubicBezTo>
                    <a:pt x="41" y="52"/>
                    <a:pt x="41" y="55"/>
                    <a:pt x="41" y="57"/>
                  </a:cubicBezTo>
                  <a:cubicBezTo>
                    <a:pt x="42" y="59"/>
                    <a:pt x="44" y="61"/>
                    <a:pt x="46" y="63"/>
                  </a:cubicBezTo>
                  <a:cubicBezTo>
                    <a:pt x="48" y="65"/>
                    <a:pt x="50" y="66"/>
                    <a:pt x="51" y="66"/>
                  </a:cubicBezTo>
                  <a:cubicBezTo>
                    <a:pt x="54" y="67"/>
                    <a:pt x="57" y="68"/>
                    <a:pt x="59" y="71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59" y="72"/>
                    <a:pt x="60" y="73"/>
                    <a:pt x="60" y="73"/>
                  </a:cubicBezTo>
                  <a:cubicBezTo>
                    <a:pt x="61" y="76"/>
                    <a:pt x="61" y="79"/>
                    <a:pt x="60" y="82"/>
                  </a:cubicBezTo>
                  <a:cubicBezTo>
                    <a:pt x="59" y="85"/>
                    <a:pt x="57" y="87"/>
                    <a:pt x="55" y="89"/>
                  </a:cubicBezTo>
                  <a:cubicBezTo>
                    <a:pt x="55" y="89"/>
                    <a:pt x="54" y="89"/>
                    <a:pt x="53" y="90"/>
                  </a:cubicBezTo>
                  <a:cubicBezTo>
                    <a:pt x="50" y="91"/>
                    <a:pt x="45" y="93"/>
                    <a:pt x="39" y="95"/>
                  </a:cubicBezTo>
                  <a:cubicBezTo>
                    <a:pt x="35" y="96"/>
                    <a:pt x="31" y="98"/>
                    <a:pt x="27" y="99"/>
                  </a:cubicBezTo>
                  <a:cubicBezTo>
                    <a:pt x="25" y="100"/>
                    <a:pt x="23" y="101"/>
                    <a:pt x="21" y="101"/>
                  </a:cubicBezTo>
                  <a:cubicBezTo>
                    <a:pt x="16" y="102"/>
                    <a:pt x="15" y="103"/>
                    <a:pt x="14" y="105"/>
                  </a:cubicBezTo>
                  <a:cubicBezTo>
                    <a:pt x="13" y="106"/>
                    <a:pt x="13" y="110"/>
                    <a:pt x="12" y="115"/>
                  </a:cubicBezTo>
                  <a:cubicBezTo>
                    <a:pt x="12" y="125"/>
                    <a:pt x="11" y="137"/>
                    <a:pt x="6" y="140"/>
                  </a:cubicBezTo>
                  <a:cubicBezTo>
                    <a:pt x="4" y="142"/>
                    <a:pt x="2" y="144"/>
                    <a:pt x="1" y="147"/>
                  </a:cubicBezTo>
                  <a:cubicBezTo>
                    <a:pt x="0" y="149"/>
                    <a:pt x="0" y="152"/>
                    <a:pt x="0" y="153"/>
                  </a:cubicBezTo>
                  <a:cubicBezTo>
                    <a:pt x="1" y="155"/>
                    <a:pt x="12" y="164"/>
                    <a:pt x="21" y="173"/>
                  </a:cubicBezTo>
                  <a:cubicBezTo>
                    <a:pt x="26" y="178"/>
                    <a:pt x="31" y="182"/>
                    <a:pt x="33" y="185"/>
                  </a:cubicBezTo>
                  <a:cubicBezTo>
                    <a:pt x="35" y="187"/>
                    <a:pt x="37" y="189"/>
                    <a:pt x="38" y="191"/>
                  </a:cubicBezTo>
                  <a:cubicBezTo>
                    <a:pt x="40" y="190"/>
                    <a:pt x="41" y="190"/>
                    <a:pt x="43" y="189"/>
                  </a:cubicBezTo>
                  <a:cubicBezTo>
                    <a:pt x="47" y="187"/>
                    <a:pt x="51" y="186"/>
                    <a:pt x="57" y="186"/>
                  </a:cubicBezTo>
                  <a:cubicBezTo>
                    <a:pt x="62" y="186"/>
                    <a:pt x="65" y="186"/>
                    <a:pt x="69" y="187"/>
                  </a:cubicBezTo>
                  <a:cubicBezTo>
                    <a:pt x="72" y="189"/>
                    <a:pt x="75" y="191"/>
                    <a:pt x="78" y="195"/>
                  </a:cubicBezTo>
                  <a:cubicBezTo>
                    <a:pt x="79" y="196"/>
                    <a:pt x="79" y="197"/>
                    <a:pt x="80" y="198"/>
                  </a:cubicBezTo>
                  <a:cubicBezTo>
                    <a:pt x="85" y="204"/>
                    <a:pt x="87" y="206"/>
                    <a:pt x="81" y="219"/>
                  </a:cubicBezTo>
                  <a:cubicBezTo>
                    <a:pt x="80" y="220"/>
                    <a:pt x="79" y="222"/>
                    <a:pt x="78" y="223"/>
                  </a:cubicBezTo>
                  <a:cubicBezTo>
                    <a:pt x="75" y="230"/>
                    <a:pt x="73" y="232"/>
                    <a:pt x="75" y="233"/>
                  </a:cubicBezTo>
                  <a:cubicBezTo>
                    <a:pt x="77" y="235"/>
                    <a:pt x="83" y="235"/>
                    <a:pt x="88" y="236"/>
                  </a:cubicBezTo>
                  <a:cubicBezTo>
                    <a:pt x="93" y="236"/>
                    <a:pt x="97" y="237"/>
                    <a:pt x="99" y="238"/>
                  </a:cubicBezTo>
                  <a:cubicBezTo>
                    <a:pt x="103" y="241"/>
                    <a:pt x="102" y="243"/>
                    <a:pt x="101" y="247"/>
                  </a:cubicBezTo>
                  <a:cubicBezTo>
                    <a:pt x="100" y="248"/>
                    <a:pt x="99" y="250"/>
                    <a:pt x="100" y="254"/>
                  </a:cubicBezTo>
                  <a:cubicBezTo>
                    <a:pt x="101" y="257"/>
                    <a:pt x="103" y="260"/>
                    <a:pt x="105" y="262"/>
                  </a:cubicBezTo>
                  <a:cubicBezTo>
                    <a:pt x="107" y="265"/>
                    <a:pt x="109" y="268"/>
                    <a:pt x="109" y="273"/>
                  </a:cubicBezTo>
                  <a:cubicBezTo>
                    <a:pt x="110" y="281"/>
                    <a:pt x="108" y="284"/>
                    <a:pt x="104" y="289"/>
                  </a:cubicBezTo>
                  <a:cubicBezTo>
                    <a:pt x="103" y="290"/>
                    <a:pt x="103" y="291"/>
                    <a:pt x="102" y="293"/>
                  </a:cubicBezTo>
                  <a:cubicBezTo>
                    <a:pt x="100" y="296"/>
                    <a:pt x="97" y="301"/>
                    <a:pt x="95" y="305"/>
                  </a:cubicBezTo>
                  <a:cubicBezTo>
                    <a:pt x="93" y="310"/>
                    <a:pt x="92" y="314"/>
                    <a:pt x="91" y="317"/>
                  </a:cubicBezTo>
                  <a:cubicBezTo>
                    <a:pt x="91" y="319"/>
                    <a:pt x="90" y="320"/>
                    <a:pt x="90" y="323"/>
                  </a:cubicBezTo>
                  <a:cubicBezTo>
                    <a:pt x="90" y="323"/>
                    <a:pt x="90" y="323"/>
                    <a:pt x="90" y="323"/>
                  </a:cubicBezTo>
                  <a:cubicBezTo>
                    <a:pt x="88" y="329"/>
                    <a:pt x="85" y="338"/>
                    <a:pt x="85" y="344"/>
                  </a:cubicBezTo>
                  <a:cubicBezTo>
                    <a:pt x="86" y="349"/>
                    <a:pt x="86" y="353"/>
                    <a:pt x="87" y="356"/>
                  </a:cubicBezTo>
                  <a:cubicBezTo>
                    <a:pt x="88" y="359"/>
                    <a:pt x="90" y="362"/>
                    <a:pt x="91" y="364"/>
                  </a:cubicBezTo>
                  <a:cubicBezTo>
                    <a:pt x="94" y="367"/>
                    <a:pt x="98" y="375"/>
                    <a:pt x="102" y="381"/>
                  </a:cubicBezTo>
                  <a:cubicBezTo>
                    <a:pt x="104" y="387"/>
                    <a:pt x="107" y="392"/>
                    <a:pt x="107" y="396"/>
                  </a:cubicBezTo>
                  <a:cubicBezTo>
                    <a:pt x="108" y="398"/>
                    <a:pt x="108" y="400"/>
                    <a:pt x="107" y="401"/>
                  </a:cubicBezTo>
                  <a:cubicBezTo>
                    <a:pt x="107" y="401"/>
                    <a:pt x="107" y="401"/>
                    <a:pt x="107" y="401"/>
                  </a:cubicBezTo>
                  <a:cubicBezTo>
                    <a:pt x="107" y="404"/>
                    <a:pt x="107" y="406"/>
                    <a:pt x="116" y="414"/>
                  </a:cubicBezTo>
                  <a:cubicBezTo>
                    <a:pt x="127" y="422"/>
                    <a:pt x="137" y="429"/>
                    <a:pt x="143" y="433"/>
                  </a:cubicBezTo>
                  <a:cubicBezTo>
                    <a:pt x="146" y="431"/>
                    <a:pt x="150" y="432"/>
                    <a:pt x="154" y="433"/>
                  </a:cubicBezTo>
                  <a:cubicBezTo>
                    <a:pt x="157" y="433"/>
                    <a:pt x="159" y="434"/>
                    <a:pt x="162" y="434"/>
                  </a:cubicBezTo>
                  <a:cubicBezTo>
                    <a:pt x="163" y="434"/>
                    <a:pt x="164" y="433"/>
                    <a:pt x="164" y="431"/>
                  </a:cubicBezTo>
                  <a:cubicBezTo>
                    <a:pt x="165" y="428"/>
                    <a:pt x="165" y="425"/>
                    <a:pt x="169" y="421"/>
                  </a:cubicBezTo>
                  <a:cubicBezTo>
                    <a:pt x="174" y="414"/>
                    <a:pt x="179" y="415"/>
                    <a:pt x="185" y="416"/>
                  </a:cubicBezTo>
                  <a:cubicBezTo>
                    <a:pt x="188" y="416"/>
                    <a:pt x="191" y="417"/>
                    <a:pt x="195" y="416"/>
                  </a:cubicBezTo>
                  <a:cubicBezTo>
                    <a:pt x="195" y="416"/>
                    <a:pt x="195" y="416"/>
                    <a:pt x="195" y="416"/>
                  </a:cubicBezTo>
                  <a:cubicBezTo>
                    <a:pt x="198" y="416"/>
                    <a:pt x="198" y="416"/>
                    <a:pt x="198" y="416"/>
                  </a:cubicBezTo>
                  <a:cubicBezTo>
                    <a:pt x="198" y="416"/>
                    <a:pt x="198" y="416"/>
                    <a:pt x="198" y="416"/>
                  </a:cubicBezTo>
                  <a:cubicBezTo>
                    <a:pt x="206" y="415"/>
                    <a:pt x="211" y="415"/>
                    <a:pt x="226" y="411"/>
                  </a:cubicBezTo>
                  <a:cubicBezTo>
                    <a:pt x="233" y="409"/>
                    <a:pt x="234" y="406"/>
                    <a:pt x="235" y="403"/>
                  </a:cubicBezTo>
                  <a:cubicBezTo>
                    <a:pt x="237" y="399"/>
                    <a:pt x="238" y="396"/>
                    <a:pt x="244" y="393"/>
                  </a:cubicBezTo>
                  <a:cubicBezTo>
                    <a:pt x="252" y="389"/>
                    <a:pt x="258" y="390"/>
                    <a:pt x="264" y="392"/>
                  </a:cubicBezTo>
                  <a:cubicBezTo>
                    <a:pt x="267" y="392"/>
                    <a:pt x="270" y="393"/>
                    <a:pt x="274" y="393"/>
                  </a:cubicBezTo>
                  <a:cubicBezTo>
                    <a:pt x="280" y="393"/>
                    <a:pt x="282" y="392"/>
                    <a:pt x="284" y="392"/>
                  </a:cubicBezTo>
                  <a:cubicBezTo>
                    <a:pt x="284" y="391"/>
                    <a:pt x="284" y="391"/>
                    <a:pt x="284" y="391"/>
                  </a:cubicBezTo>
                  <a:cubicBezTo>
                    <a:pt x="283" y="389"/>
                    <a:pt x="279" y="385"/>
                    <a:pt x="276" y="380"/>
                  </a:cubicBezTo>
                  <a:cubicBezTo>
                    <a:pt x="272" y="374"/>
                    <a:pt x="267" y="368"/>
                    <a:pt x="264" y="364"/>
                  </a:cubicBezTo>
                  <a:cubicBezTo>
                    <a:pt x="262" y="363"/>
                    <a:pt x="261" y="361"/>
                    <a:pt x="259" y="359"/>
                  </a:cubicBezTo>
                  <a:cubicBezTo>
                    <a:pt x="253" y="353"/>
                    <a:pt x="247" y="346"/>
                    <a:pt x="246" y="340"/>
                  </a:cubicBezTo>
                  <a:cubicBezTo>
                    <a:pt x="246" y="337"/>
                    <a:pt x="246" y="334"/>
                    <a:pt x="246" y="331"/>
                  </a:cubicBezTo>
                  <a:cubicBezTo>
                    <a:pt x="246" y="326"/>
                    <a:pt x="246" y="321"/>
                    <a:pt x="244" y="316"/>
                  </a:cubicBezTo>
                  <a:cubicBezTo>
                    <a:pt x="242" y="312"/>
                    <a:pt x="241" y="312"/>
                    <a:pt x="239" y="312"/>
                  </a:cubicBezTo>
                  <a:cubicBezTo>
                    <a:pt x="237" y="312"/>
                    <a:pt x="234" y="312"/>
                    <a:pt x="230" y="311"/>
                  </a:cubicBezTo>
                  <a:cubicBezTo>
                    <a:pt x="221" y="309"/>
                    <a:pt x="221" y="308"/>
                    <a:pt x="215" y="299"/>
                  </a:cubicBezTo>
                  <a:cubicBezTo>
                    <a:pt x="214" y="298"/>
                    <a:pt x="213" y="296"/>
                    <a:pt x="211" y="294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02" y="279"/>
                    <a:pt x="198" y="274"/>
                    <a:pt x="197" y="261"/>
                  </a:cubicBezTo>
                  <a:cubicBezTo>
                    <a:pt x="195" y="251"/>
                    <a:pt x="198" y="250"/>
                    <a:pt x="202" y="248"/>
                  </a:cubicBezTo>
                  <a:cubicBezTo>
                    <a:pt x="203" y="248"/>
                    <a:pt x="204" y="247"/>
                    <a:pt x="205" y="246"/>
                  </a:cubicBezTo>
                  <a:cubicBezTo>
                    <a:pt x="208" y="241"/>
                    <a:pt x="207" y="236"/>
                    <a:pt x="207" y="231"/>
                  </a:cubicBezTo>
                  <a:cubicBezTo>
                    <a:pt x="207" y="228"/>
                    <a:pt x="207" y="225"/>
                    <a:pt x="207" y="222"/>
                  </a:cubicBezTo>
                  <a:cubicBezTo>
                    <a:pt x="207" y="208"/>
                    <a:pt x="216" y="207"/>
                    <a:pt x="227" y="206"/>
                  </a:cubicBezTo>
                  <a:cubicBezTo>
                    <a:pt x="227" y="206"/>
                    <a:pt x="227" y="206"/>
                    <a:pt x="227" y="206"/>
                  </a:cubicBezTo>
                  <a:cubicBezTo>
                    <a:pt x="231" y="206"/>
                    <a:pt x="236" y="205"/>
                    <a:pt x="240" y="203"/>
                  </a:cubicBezTo>
                  <a:cubicBezTo>
                    <a:pt x="243" y="202"/>
                    <a:pt x="245" y="200"/>
                    <a:pt x="246" y="198"/>
                  </a:cubicBezTo>
                  <a:cubicBezTo>
                    <a:pt x="247" y="193"/>
                    <a:pt x="247" y="190"/>
                    <a:pt x="247" y="185"/>
                  </a:cubicBezTo>
                  <a:cubicBezTo>
                    <a:pt x="247" y="182"/>
                    <a:pt x="247" y="178"/>
                    <a:pt x="248" y="174"/>
                  </a:cubicBezTo>
                  <a:cubicBezTo>
                    <a:pt x="249" y="168"/>
                    <a:pt x="250" y="162"/>
                    <a:pt x="252" y="157"/>
                  </a:cubicBezTo>
                  <a:cubicBezTo>
                    <a:pt x="250" y="154"/>
                    <a:pt x="257" y="150"/>
                    <a:pt x="252" y="144"/>
                  </a:cubicBezTo>
                  <a:cubicBezTo>
                    <a:pt x="247" y="136"/>
                    <a:pt x="248" y="135"/>
                    <a:pt x="239" y="128"/>
                  </a:cubicBezTo>
                  <a:cubicBezTo>
                    <a:pt x="229" y="122"/>
                    <a:pt x="229" y="123"/>
                    <a:pt x="220" y="111"/>
                  </a:cubicBezTo>
                  <a:cubicBezTo>
                    <a:pt x="211" y="98"/>
                    <a:pt x="210" y="100"/>
                    <a:pt x="201" y="93"/>
                  </a:cubicBezTo>
                  <a:cubicBezTo>
                    <a:pt x="192" y="85"/>
                    <a:pt x="175" y="87"/>
                    <a:pt x="174" y="91"/>
                  </a:cubicBezTo>
                  <a:cubicBezTo>
                    <a:pt x="173" y="96"/>
                    <a:pt x="174" y="111"/>
                    <a:pt x="166" y="117"/>
                  </a:cubicBezTo>
                  <a:cubicBezTo>
                    <a:pt x="159" y="123"/>
                    <a:pt x="163" y="113"/>
                    <a:pt x="163" y="106"/>
                  </a:cubicBezTo>
                  <a:cubicBezTo>
                    <a:pt x="162" y="99"/>
                    <a:pt x="166" y="91"/>
                    <a:pt x="167" y="85"/>
                  </a:cubicBezTo>
                  <a:cubicBezTo>
                    <a:pt x="167" y="78"/>
                    <a:pt x="172" y="66"/>
                    <a:pt x="169" y="57"/>
                  </a:cubicBezTo>
                  <a:cubicBezTo>
                    <a:pt x="165" y="48"/>
                    <a:pt x="155" y="41"/>
                    <a:pt x="150" y="34"/>
                  </a:cubicBezTo>
                  <a:cubicBezTo>
                    <a:pt x="144" y="27"/>
                    <a:pt x="136" y="20"/>
                    <a:pt x="126" y="13"/>
                  </a:cubicBezTo>
                  <a:cubicBezTo>
                    <a:pt x="116" y="7"/>
                    <a:pt x="120" y="9"/>
                    <a:pt x="108" y="7"/>
                  </a:cubicBezTo>
                  <a:cubicBezTo>
                    <a:pt x="100" y="6"/>
                    <a:pt x="97" y="4"/>
                    <a:pt x="93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Freeform 20"/>
            <p:cNvSpPr>
              <a:spLocks/>
            </p:cNvSpPr>
            <p:nvPr/>
          </p:nvSpPr>
          <p:spPr bwMode="auto">
            <a:xfrm>
              <a:off x="3332672" y="4541732"/>
              <a:ext cx="71437" cy="73819"/>
            </a:xfrm>
            <a:custGeom>
              <a:avLst/>
              <a:gdLst>
                <a:gd name="T0" fmla="*/ 52 w 246"/>
                <a:gd name="T1" fmla="*/ 33 h 256"/>
                <a:gd name="T2" fmla="*/ 50 w 246"/>
                <a:gd name="T3" fmla="*/ 58 h 256"/>
                <a:gd name="T4" fmla="*/ 24 w 246"/>
                <a:gd name="T5" fmla="*/ 72 h 256"/>
                <a:gd name="T6" fmla="*/ 11 w 246"/>
                <a:gd name="T7" fmla="*/ 80 h 256"/>
                <a:gd name="T8" fmla="*/ 8 w 246"/>
                <a:gd name="T9" fmla="*/ 108 h 256"/>
                <a:gd name="T10" fmla="*/ 1 w 246"/>
                <a:gd name="T11" fmla="*/ 118 h 256"/>
                <a:gd name="T12" fmla="*/ 12 w 246"/>
                <a:gd name="T13" fmla="*/ 144 h 256"/>
                <a:gd name="T14" fmla="*/ 18 w 246"/>
                <a:gd name="T15" fmla="*/ 153 h 256"/>
                <a:gd name="T16" fmla="*/ 35 w 246"/>
                <a:gd name="T17" fmla="*/ 162 h 256"/>
                <a:gd name="T18" fmla="*/ 50 w 246"/>
                <a:gd name="T19" fmla="*/ 189 h 256"/>
                <a:gd name="T20" fmla="*/ 61 w 246"/>
                <a:gd name="T21" fmla="*/ 211 h 256"/>
                <a:gd name="T22" fmla="*/ 78 w 246"/>
                <a:gd name="T23" fmla="*/ 233 h 256"/>
                <a:gd name="T24" fmla="*/ 91 w 246"/>
                <a:gd name="T25" fmla="*/ 250 h 256"/>
                <a:gd name="T26" fmla="*/ 111 w 246"/>
                <a:gd name="T27" fmla="*/ 256 h 256"/>
                <a:gd name="T28" fmla="*/ 122 w 246"/>
                <a:gd name="T29" fmla="*/ 253 h 256"/>
                <a:gd name="T30" fmla="*/ 117 w 246"/>
                <a:gd name="T31" fmla="*/ 235 h 256"/>
                <a:gd name="T32" fmla="*/ 122 w 246"/>
                <a:gd name="T33" fmla="*/ 216 h 256"/>
                <a:gd name="T34" fmla="*/ 136 w 246"/>
                <a:gd name="T35" fmla="*/ 218 h 256"/>
                <a:gd name="T36" fmla="*/ 168 w 246"/>
                <a:gd name="T37" fmla="*/ 215 h 256"/>
                <a:gd name="T38" fmla="*/ 199 w 246"/>
                <a:gd name="T39" fmla="*/ 216 h 256"/>
                <a:gd name="T40" fmla="*/ 228 w 246"/>
                <a:gd name="T41" fmla="*/ 202 h 256"/>
                <a:gd name="T42" fmla="*/ 234 w 246"/>
                <a:gd name="T43" fmla="*/ 150 h 256"/>
                <a:gd name="T44" fmla="*/ 227 w 246"/>
                <a:gd name="T45" fmla="*/ 121 h 256"/>
                <a:gd name="T46" fmla="*/ 218 w 246"/>
                <a:gd name="T47" fmla="*/ 78 h 256"/>
                <a:gd name="T48" fmla="*/ 237 w 246"/>
                <a:gd name="T49" fmla="*/ 35 h 256"/>
                <a:gd name="T50" fmla="*/ 246 w 246"/>
                <a:gd name="T51" fmla="*/ 16 h 256"/>
                <a:gd name="T52" fmla="*/ 213 w 246"/>
                <a:gd name="T53" fmla="*/ 2 h 256"/>
                <a:gd name="T54" fmla="*/ 175 w 246"/>
                <a:gd name="T55" fmla="*/ 10 h 256"/>
                <a:gd name="T56" fmla="*/ 145 w 246"/>
                <a:gd name="T57" fmla="*/ 5 h 256"/>
                <a:gd name="T58" fmla="*/ 123 w 246"/>
                <a:gd name="T59" fmla="*/ 20 h 256"/>
                <a:gd name="T60" fmla="*/ 96 w 246"/>
                <a:gd name="T61" fmla="*/ 8 h 256"/>
                <a:gd name="T62" fmla="*/ 62 w 246"/>
                <a:gd name="T63" fmla="*/ 12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6" h="256">
                  <a:moveTo>
                    <a:pt x="57" y="15"/>
                  </a:moveTo>
                  <a:cubicBezTo>
                    <a:pt x="55" y="21"/>
                    <a:pt x="52" y="27"/>
                    <a:pt x="52" y="33"/>
                  </a:cubicBezTo>
                  <a:cubicBezTo>
                    <a:pt x="51" y="37"/>
                    <a:pt x="51" y="40"/>
                    <a:pt x="51" y="44"/>
                  </a:cubicBezTo>
                  <a:cubicBezTo>
                    <a:pt x="51" y="48"/>
                    <a:pt x="51" y="52"/>
                    <a:pt x="50" y="58"/>
                  </a:cubicBezTo>
                  <a:cubicBezTo>
                    <a:pt x="48" y="63"/>
                    <a:pt x="44" y="67"/>
                    <a:pt x="39" y="69"/>
                  </a:cubicBezTo>
                  <a:cubicBezTo>
                    <a:pt x="34" y="71"/>
                    <a:pt x="29" y="72"/>
                    <a:pt x="24" y="72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17" y="73"/>
                    <a:pt x="11" y="74"/>
                    <a:pt x="11" y="80"/>
                  </a:cubicBezTo>
                  <a:cubicBezTo>
                    <a:pt x="11" y="83"/>
                    <a:pt x="11" y="86"/>
                    <a:pt x="11" y="88"/>
                  </a:cubicBezTo>
                  <a:cubicBezTo>
                    <a:pt x="11" y="95"/>
                    <a:pt x="12" y="101"/>
                    <a:pt x="8" y="108"/>
                  </a:cubicBezTo>
                  <a:cubicBezTo>
                    <a:pt x="5" y="112"/>
                    <a:pt x="2" y="113"/>
                    <a:pt x="0" y="114"/>
                  </a:cubicBezTo>
                  <a:cubicBezTo>
                    <a:pt x="0" y="114"/>
                    <a:pt x="0" y="114"/>
                    <a:pt x="1" y="118"/>
                  </a:cubicBezTo>
                  <a:cubicBezTo>
                    <a:pt x="2" y="129"/>
                    <a:pt x="5" y="134"/>
                    <a:pt x="12" y="144"/>
                  </a:cubicBezTo>
                  <a:cubicBezTo>
                    <a:pt x="12" y="144"/>
                    <a:pt x="12" y="144"/>
                    <a:pt x="12" y="144"/>
                  </a:cubicBezTo>
                  <a:cubicBezTo>
                    <a:pt x="14" y="147"/>
                    <a:pt x="14" y="147"/>
                    <a:pt x="14" y="147"/>
                  </a:cubicBezTo>
                  <a:cubicBezTo>
                    <a:pt x="15" y="149"/>
                    <a:pt x="17" y="151"/>
                    <a:pt x="18" y="153"/>
                  </a:cubicBezTo>
                  <a:cubicBezTo>
                    <a:pt x="22" y="159"/>
                    <a:pt x="22" y="160"/>
                    <a:pt x="28" y="161"/>
                  </a:cubicBezTo>
                  <a:cubicBezTo>
                    <a:pt x="31" y="162"/>
                    <a:pt x="33" y="162"/>
                    <a:pt x="35" y="162"/>
                  </a:cubicBezTo>
                  <a:cubicBezTo>
                    <a:pt x="41" y="162"/>
                    <a:pt x="43" y="162"/>
                    <a:pt x="47" y="171"/>
                  </a:cubicBezTo>
                  <a:cubicBezTo>
                    <a:pt x="50" y="177"/>
                    <a:pt x="50" y="183"/>
                    <a:pt x="50" y="189"/>
                  </a:cubicBezTo>
                  <a:cubicBezTo>
                    <a:pt x="50" y="192"/>
                    <a:pt x="50" y="194"/>
                    <a:pt x="50" y="197"/>
                  </a:cubicBezTo>
                  <a:cubicBezTo>
                    <a:pt x="51" y="201"/>
                    <a:pt x="56" y="206"/>
                    <a:pt x="61" y="211"/>
                  </a:cubicBezTo>
                  <a:cubicBezTo>
                    <a:pt x="63" y="213"/>
                    <a:pt x="64" y="215"/>
                    <a:pt x="66" y="217"/>
                  </a:cubicBezTo>
                  <a:cubicBezTo>
                    <a:pt x="69" y="221"/>
                    <a:pt x="74" y="227"/>
                    <a:pt x="78" y="233"/>
                  </a:cubicBezTo>
                  <a:cubicBezTo>
                    <a:pt x="82" y="238"/>
                    <a:pt x="85" y="243"/>
                    <a:pt x="87" y="245"/>
                  </a:cubicBezTo>
                  <a:cubicBezTo>
                    <a:pt x="88" y="247"/>
                    <a:pt x="89" y="249"/>
                    <a:pt x="91" y="250"/>
                  </a:cubicBezTo>
                  <a:cubicBezTo>
                    <a:pt x="93" y="252"/>
                    <a:pt x="96" y="253"/>
                    <a:pt x="99" y="253"/>
                  </a:cubicBezTo>
                  <a:cubicBezTo>
                    <a:pt x="102" y="254"/>
                    <a:pt x="107" y="256"/>
                    <a:pt x="111" y="256"/>
                  </a:cubicBezTo>
                  <a:cubicBezTo>
                    <a:pt x="115" y="256"/>
                    <a:pt x="119" y="256"/>
                    <a:pt x="120" y="255"/>
                  </a:cubicBezTo>
                  <a:cubicBezTo>
                    <a:pt x="121" y="254"/>
                    <a:pt x="121" y="254"/>
                    <a:pt x="122" y="253"/>
                  </a:cubicBezTo>
                  <a:cubicBezTo>
                    <a:pt x="124" y="251"/>
                    <a:pt x="124" y="251"/>
                    <a:pt x="121" y="243"/>
                  </a:cubicBezTo>
                  <a:cubicBezTo>
                    <a:pt x="119" y="240"/>
                    <a:pt x="118" y="237"/>
                    <a:pt x="117" y="235"/>
                  </a:cubicBezTo>
                  <a:cubicBezTo>
                    <a:pt x="116" y="231"/>
                    <a:pt x="116" y="227"/>
                    <a:pt x="117" y="224"/>
                  </a:cubicBezTo>
                  <a:cubicBezTo>
                    <a:pt x="117" y="220"/>
                    <a:pt x="119" y="218"/>
                    <a:pt x="122" y="216"/>
                  </a:cubicBezTo>
                  <a:cubicBezTo>
                    <a:pt x="123" y="216"/>
                    <a:pt x="124" y="216"/>
                    <a:pt x="124" y="215"/>
                  </a:cubicBezTo>
                  <a:cubicBezTo>
                    <a:pt x="128" y="214"/>
                    <a:pt x="132" y="216"/>
                    <a:pt x="136" y="218"/>
                  </a:cubicBezTo>
                  <a:cubicBezTo>
                    <a:pt x="140" y="220"/>
                    <a:pt x="145" y="223"/>
                    <a:pt x="152" y="221"/>
                  </a:cubicBezTo>
                  <a:cubicBezTo>
                    <a:pt x="158" y="219"/>
                    <a:pt x="163" y="217"/>
                    <a:pt x="168" y="215"/>
                  </a:cubicBezTo>
                  <a:cubicBezTo>
                    <a:pt x="174" y="213"/>
                    <a:pt x="179" y="211"/>
                    <a:pt x="183" y="211"/>
                  </a:cubicBezTo>
                  <a:cubicBezTo>
                    <a:pt x="186" y="211"/>
                    <a:pt x="192" y="213"/>
                    <a:pt x="199" y="216"/>
                  </a:cubicBezTo>
                  <a:cubicBezTo>
                    <a:pt x="202" y="218"/>
                    <a:pt x="206" y="220"/>
                    <a:pt x="209" y="222"/>
                  </a:cubicBezTo>
                  <a:cubicBezTo>
                    <a:pt x="215" y="218"/>
                    <a:pt x="222" y="211"/>
                    <a:pt x="228" y="202"/>
                  </a:cubicBezTo>
                  <a:cubicBezTo>
                    <a:pt x="233" y="194"/>
                    <a:pt x="236" y="186"/>
                    <a:pt x="236" y="178"/>
                  </a:cubicBezTo>
                  <a:cubicBezTo>
                    <a:pt x="237" y="169"/>
                    <a:pt x="236" y="160"/>
                    <a:pt x="234" y="150"/>
                  </a:cubicBezTo>
                  <a:cubicBezTo>
                    <a:pt x="233" y="140"/>
                    <a:pt x="230" y="130"/>
                    <a:pt x="227" y="121"/>
                  </a:cubicBezTo>
                  <a:cubicBezTo>
                    <a:pt x="227" y="121"/>
                    <a:pt x="227" y="121"/>
                    <a:pt x="227" y="121"/>
                  </a:cubicBezTo>
                  <a:cubicBezTo>
                    <a:pt x="226" y="117"/>
                    <a:pt x="226" y="117"/>
                    <a:pt x="226" y="117"/>
                  </a:cubicBezTo>
                  <a:cubicBezTo>
                    <a:pt x="220" y="100"/>
                    <a:pt x="218" y="94"/>
                    <a:pt x="218" y="78"/>
                  </a:cubicBezTo>
                  <a:cubicBezTo>
                    <a:pt x="218" y="65"/>
                    <a:pt x="224" y="55"/>
                    <a:pt x="231" y="45"/>
                  </a:cubicBezTo>
                  <a:cubicBezTo>
                    <a:pt x="233" y="42"/>
                    <a:pt x="235" y="38"/>
                    <a:pt x="237" y="35"/>
                  </a:cubicBezTo>
                  <a:cubicBezTo>
                    <a:pt x="237" y="34"/>
                    <a:pt x="237" y="34"/>
                    <a:pt x="237" y="34"/>
                  </a:cubicBezTo>
                  <a:cubicBezTo>
                    <a:pt x="241" y="27"/>
                    <a:pt x="244" y="22"/>
                    <a:pt x="246" y="16"/>
                  </a:cubicBezTo>
                  <a:cubicBezTo>
                    <a:pt x="244" y="15"/>
                    <a:pt x="243" y="15"/>
                    <a:pt x="242" y="14"/>
                  </a:cubicBezTo>
                  <a:cubicBezTo>
                    <a:pt x="237" y="13"/>
                    <a:pt x="221" y="4"/>
                    <a:pt x="213" y="2"/>
                  </a:cubicBezTo>
                  <a:cubicBezTo>
                    <a:pt x="204" y="0"/>
                    <a:pt x="187" y="2"/>
                    <a:pt x="179" y="3"/>
                  </a:cubicBezTo>
                  <a:cubicBezTo>
                    <a:pt x="171" y="4"/>
                    <a:pt x="177" y="8"/>
                    <a:pt x="175" y="10"/>
                  </a:cubicBezTo>
                  <a:cubicBezTo>
                    <a:pt x="174" y="13"/>
                    <a:pt x="167" y="9"/>
                    <a:pt x="162" y="6"/>
                  </a:cubicBezTo>
                  <a:cubicBezTo>
                    <a:pt x="157" y="2"/>
                    <a:pt x="156" y="5"/>
                    <a:pt x="145" y="5"/>
                  </a:cubicBezTo>
                  <a:cubicBezTo>
                    <a:pt x="133" y="5"/>
                    <a:pt x="133" y="6"/>
                    <a:pt x="130" y="8"/>
                  </a:cubicBezTo>
                  <a:cubicBezTo>
                    <a:pt x="128" y="9"/>
                    <a:pt x="126" y="16"/>
                    <a:pt x="123" y="20"/>
                  </a:cubicBezTo>
                  <a:cubicBezTo>
                    <a:pt x="120" y="23"/>
                    <a:pt x="115" y="19"/>
                    <a:pt x="112" y="17"/>
                  </a:cubicBezTo>
                  <a:cubicBezTo>
                    <a:pt x="109" y="16"/>
                    <a:pt x="104" y="13"/>
                    <a:pt x="96" y="8"/>
                  </a:cubicBezTo>
                  <a:cubicBezTo>
                    <a:pt x="88" y="3"/>
                    <a:pt x="84" y="5"/>
                    <a:pt x="78" y="5"/>
                  </a:cubicBezTo>
                  <a:cubicBezTo>
                    <a:pt x="72" y="5"/>
                    <a:pt x="67" y="9"/>
                    <a:pt x="62" y="12"/>
                  </a:cubicBezTo>
                  <a:cubicBezTo>
                    <a:pt x="60" y="13"/>
                    <a:pt x="58" y="14"/>
                    <a:pt x="57" y="1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763553" y="4390522"/>
              <a:ext cx="40481" cy="23813"/>
            </a:xfrm>
            <a:custGeom>
              <a:avLst/>
              <a:gdLst>
                <a:gd name="T0" fmla="*/ 143 w 143"/>
                <a:gd name="T1" fmla="*/ 60 h 82"/>
                <a:gd name="T2" fmla="*/ 141 w 143"/>
                <a:gd name="T3" fmla="*/ 44 h 82"/>
                <a:gd name="T4" fmla="*/ 140 w 143"/>
                <a:gd name="T5" fmla="*/ 42 h 82"/>
                <a:gd name="T6" fmla="*/ 134 w 143"/>
                <a:gd name="T7" fmla="*/ 38 h 82"/>
                <a:gd name="T8" fmla="*/ 127 w 143"/>
                <a:gd name="T9" fmla="*/ 34 h 82"/>
                <a:gd name="T10" fmla="*/ 120 w 143"/>
                <a:gd name="T11" fmla="*/ 35 h 82"/>
                <a:gd name="T12" fmla="*/ 116 w 143"/>
                <a:gd name="T13" fmla="*/ 36 h 82"/>
                <a:gd name="T14" fmla="*/ 94 w 143"/>
                <a:gd name="T15" fmla="*/ 36 h 82"/>
                <a:gd name="T16" fmla="*/ 64 w 143"/>
                <a:gd name="T17" fmla="*/ 10 h 82"/>
                <a:gd name="T18" fmla="*/ 57 w 143"/>
                <a:gd name="T19" fmla="*/ 0 h 82"/>
                <a:gd name="T20" fmla="*/ 28 w 143"/>
                <a:gd name="T21" fmla="*/ 18 h 82"/>
                <a:gd name="T22" fmla="*/ 14 w 143"/>
                <a:gd name="T23" fmla="*/ 32 h 82"/>
                <a:gd name="T24" fmla="*/ 0 w 143"/>
                <a:gd name="T25" fmla="*/ 46 h 82"/>
                <a:gd name="T26" fmla="*/ 11 w 143"/>
                <a:gd name="T27" fmla="*/ 52 h 82"/>
                <a:gd name="T28" fmla="*/ 44 w 143"/>
                <a:gd name="T29" fmla="*/ 62 h 82"/>
                <a:gd name="T30" fmla="*/ 72 w 143"/>
                <a:gd name="T31" fmla="*/ 72 h 82"/>
                <a:gd name="T32" fmla="*/ 103 w 143"/>
                <a:gd name="T33" fmla="*/ 80 h 82"/>
                <a:gd name="T34" fmla="*/ 137 w 143"/>
                <a:gd name="T35" fmla="*/ 80 h 82"/>
                <a:gd name="T36" fmla="*/ 138 w 143"/>
                <a:gd name="T37" fmla="*/ 72 h 82"/>
                <a:gd name="T38" fmla="*/ 140 w 143"/>
                <a:gd name="T39" fmla="*/ 59 h 82"/>
                <a:gd name="T40" fmla="*/ 143 w 143"/>
                <a:gd name="T41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3" h="82">
                  <a:moveTo>
                    <a:pt x="143" y="60"/>
                  </a:moveTo>
                  <a:cubicBezTo>
                    <a:pt x="142" y="53"/>
                    <a:pt x="142" y="47"/>
                    <a:pt x="141" y="44"/>
                  </a:cubicBezTo>
                  <a:cubicBezTo>
                    <a:pt x="141" y="42"/>
                    <a:pt x="141" y="42"/>
                    <a:pt x="140" y="42"/>
                  </a:cubicBezTo>
                  <a:cubicBezTo>
                    <a:pt x="139" y="41"/>
                    <a:pt x="137" y="40"/>
                    <a:pt x="134" y="38"/>
                  </a:cubicBezTo>
                  <a:cubicBezTo>
                    <a:pt x="131" y="35"/>
                    <a:pt x="129" y="34"/>
                    <a:pt x="127" y="34"/>
                  </a:cubicBezTo>
                  <a:cubicBezTo>
                    <a:pt x="125" y="34"/>
                    <a:pt x="123" y="34"/>
                    <a:pt x="120" y="35"/>
                  </a:cubicBezTo>
                  <a:cubicBezTo>
                    <a:pt x="119" y="35"/>
                    <a:pt x="117" y="36"/>
                    <a:pt x="116" y="36"/>
                  </a:cubicBezTo>
                  <a:cubicBezTo>
                    <a:pt x="110" y="39"/>
                    <a:pt x="103" y="41"/>
                    <a:pt x="94" y="36"/>
                  </a:cubicBezTo>
                  <a:cubicBezTo>
                    <a:pt x="88" y="32"/>
                    <a:pt x="74" y="21"/>
                    <a:pt x="64" y="10"/>
                  </a:cubicBezTo>
                  <a:cubicBezTo>
                    <a:pt x="61" y="6"/>
                    <a:pt x="59" y="3"/>
                    <a:pt x="57" y="0"/>
                  </a:cubicBezTo>
                  <a:cubicBezTo>
                    <a:pt x="51" y="4"/>
                    <a:pt x="36" y="13"/>
                    <a:pt x="28" y="18"/>
                  </a:cubicBezTo>
                  <a:cubicBezTo>
                    <a:pt x="25" y="21"/>
                    <a:pt x="19" y="26"/>
                    <a:pt x="14" y="32"/>
                  </a:cubicBezTo>
                  <a:cubicBezTo>
                    <a:pt x="9" y="36"/>
                    <a:pt x="4" y="42"/>
                    <a:pt x="0" y="46"/>
                  </a:cubicBezTo>
                  <a:cubicBezTo>
                    <a:pt x="4" y="48"/>
                    <a:pt x="8" y="50"/>
                    <a:pt x="11" y="52"/>
                  </a:cubicBezTo>
                  <a:cubicBezTo>
                    <a:pt x="22" y="58"/>
                    <a:pt x="34" y="59"/>
                    <a:pt x="44" y="62"/>
                  </a:cubicBezTo>
                  <a:cubicBezTo>
                    <a:pt x="55" y="65"/>
                    <a:pt x="61" y="68"/>
                    <a:pt x="72" y="72"/>
                  </a:cubicBezTo>
                  <a:cubicBezTo>
                    <a:pt x="83" y="77"/>
                    <a:pt x="93" y="78"/>
                    <a:pt x="103" y="80"/>
                  </a:cubicBezTo>
                  <a:cubicBezTo>
                    <a:pt x="112" y="82"/>
                    <a:pt x="133" y="82"/>
                    <a:pt x="137" y="80"/>
                  </a:cubicBezTo>
                  <a:cubicBezTo>
                    <a:pt x="141" y="79"/>
                    <a:pt x="138" y="76"/>
                    <a:pt x="138" y="72"/>
                  </a:cubicBezTo>
                  <a:cubicBezTo>
                    <a:pt x="137" y="69"/>
                    <a:pt x="138" y="60"/>
                    <a:pt x="140" y="59"/>
                  </a:cubicBezTo>
                  <a:cubicBezTo>
                    <a:pt x="140" y="59"/>
                    <a:pt x="141" y="59"/>
                    <a:pt x="143" y="6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Freeform 31"/>
            <p:cNvSpPr>
              <a:spLocks/>
            </p:cNvSpPr>
            <p:nvPr/>
          </p:nvSpPr>
          <p:spPr bwMode="auto">
            <a:xfrm>
              <a:off x="2418272" y="5140616"/>
              <a:ext cx="7144" cy="4763"/>
            </a:xfrm>
            <a:custGeom>
              <a:avLst/>
              <a:gdLst>
                <a:gd name="T0" fmla="*/ 7 w 21"/>
                <a:gd name="T1" fmla="*/ 1 h 17"/>
                <a:gd name="T2" fmla="*/ 16 w 21"/>
                <a:gd name="T3" fmla="*/ 1 h 17"/>
                <a:gd name="T4" fmla="*/ 18 w 21"/>
                <a:gd name="T5" fmla="*/ 6 h 17"/>
                <a:gd name="T6" fmla="*/ 9 w 21"/>
                <a:gd name="T7" fmla="*/ 9 h 17"/>
                <a:gd name="T8" fmla="*/ 3 w 21"/>
                <a:gd name="T9" fmla="*/ 15 h 17"/>
                <a:gd name="T10" fmla="*/ 7 w 21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7">
                  <a:moveTo>
                    <a:pt x="7" y="1"/>
                  </a:moveTo>
                  <a:cubicBezTo>
                    <a:pt x="10" y="1"/>
                    <a:pt x="15" y="0"/>
                    <a:pt x="16" y="1"/>
                  </a:cubicBezTo>
                  <a:cubicBezTo>
                    <a:pt x="18" y="3"/>
                    <a:pt x="21" y="4"/>
                    <a:pt x="18" y="6"/>
                  </a:cubicBezTo>
                  <a:cubicBezTo>
                    <a:pt x="14" y="8"/>
                    <a:pt x="10" y="5"/>
                    <a:pt x="9" y="9"/>
                  </a:cubicBezTo>
                  <a:cubicBezTo>
                    <a:pt x="8" y="12"/>
                    <a:pt x="6" y="17"/>
                    <a:pt x="3" y="15"/>
                  </a:cubicBezTo>
                  <a:cubicBezTo>
                    <a:pt x="0" y="13"/>
                    <a:pt x="1" y="1"/>
                    <a:pt x="7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" name="Freeform 32"/>
            <p:cNvSpPr>
              <a:spLocks/>
            </p:cNvSpPr>
            <p:nvPr/>
          </p:nvSpPr>
          <p:spPr bwMode="auto">
            <a:xfrm>
              <a:off x="1566975" y="5010838"/>
              <a:ext cx="3572" cy="3572"/>
            </a:xfrm>
            <a:custGeom>
              <a:avLst/>
              <a:gdLst>
                <a:gd name="T0" fmla="*/ 4 w 14"/>
                <a:gd name="T1" fmla="*/ 3 h 12"/>
                <a:gd name="T2" fmla="*/ 4 w 14"/>
                <a:gd name="T3" fmla="*/ 9 h 12"/>
                <a:gd name="T4" fmla="*/ 14 w 14"/>
                <a:gd name="T5" fmla="*/ 8 h 12"/>
                <a:gd name="T6" fmla="*/ 4 w 14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2">
                  <a:moveTo>
                    <a:pt x="4" y="3"/>
                  </a:moveTo>
                  <a:cubicBezTo>
                    <a:pt x="1" y="6"/>
                    <a:pt x="0" y="9"/>
                    <a:pt x="4" y="9"/>
                  </a:cubicBezTo>
                  <a:cubicBezTo>
                    <a:pt x="9" y="10"/>
                    <a:pt x="14" y="12"/>
                    <a:pt x="14" y="8"/>
                  </a:cubicBezTo>
                  <a:cubicBezTo>
                    <a:pt x="14" y="4"/>
                    <a:pt x="10" y="0"/>
                    <a:pt x="4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Freeform 33"/>
            <p:cNvSpPr>
              <a:spLocks/>
            </p:cNvSpPr>
            <p:nvPr/>
          </p:nvSpPr>
          <p:spPr bwMode="auto">
            <a:xfrm>
              <a:off x="1559831" y="5003694"/>
              <a:ext cx="3572" cy="2381"/>
            </a:xfrm>
            <a:custGeom>
              <a:avLst/>
              <a:gdLst>
                <a:gd name="T0" fmla="*/ 1 w 10"/>
                <a:gd name="T1" fmla="*/ 4 h 11"/>
                <a:gd name="T2" fmla="*/ 3 w 10"/>
                <a:gd name="T3" fmla="*/ 10 h 11"/>
                <a:gd name="T4" fmla="*/ 10 w 10"/>
                <a:gd name="T5" fmla="*/ 3 h 11"/>
                <a:gd name="T6" fmla="*/ 1 w 10"/>
                <a:gd name="T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1" y="4"/>
                  </a:moveTo>
                  <a:cubicBezTo>
                    <a:pt x="0" y="7"/>
                    <a:pt x="1" y="11"/>
                    <a:pt x="3" y="10"/>
                  </a:cubicBezTo>
                  <a:cubicBezTo>
                    <a:pt x="6" y="10"/>
                    <a:pt x="10" y="6"/>
                    <a:pt x="10" y="3"/>
                  </a:cubicBezTo>
                  <a:cubicBezTo>
                    <a:pt x="10" y="0"/>
                    <a:pt x="2" y="0"/>
                    <a:pt x="1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Freeform 34"/>
            <p:cNvSpPr>
              <a:spLocks/>
            </p:cNvSpPr>
            <p:nvPr/>
          </p:nvSpPr>
          <p:spPr bwMode="auto">
            <a:xfrm>
              <a:off x="1556260" y="5041794"/>
              <a:ext cx="3572" cy="3572"/>
            </a:xfrm>
            <a:custGeom>
              <a:avLst/>
              <a:gdLst>
                <a:gd name="T0" fmla="*/ 10 w 16"/>
                <a:gd name="T1" fmla="*/ 2 h 10"/>
                <a:gd name="T2" fmla="*/ 3 w 16"/>
                <a:gd name="T3" fmla="*/ 9 h 10"/>
                <a:gd name="T4" fmla="*/ 12 w 16"/>
                <a:gd name="T5" fmla="*/ 7 h 10"/>
                <a:gd name="T6" fmla="*/ 10 w 1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0">
                  <a:moveTo>
                    <a:pt x="10" y="2"/>
                  </a:moveTo>
                  <a:cubicBezTo>
                    <a:pt x="4" y="4"/>
                    <a:pt x="0" y="8"/>
                    <a:pt x="3" y="9"/>
                  </a:cubicBezTo>
                  <a:cubicBezTo>
                    <a:pt x="5" y="10"/>
                    <a:pt x="8" y="9"/>
                    <a:pt x="12" y="7"/>
                  </a:cubicBezTo>
                  <a:cubicBezTo>
                    <a:pt x="15" y="5"/>
                    <a:pt x="16" y="0"/>
                    <a:pt x="10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" name="Freeform 35"/>
            <p:cNvSpPr>
              <a:spLocks/>
            </p:cNvSpPr>
            <p:nvPr/>
          </p:nvSpPr>
          <p:spPr bwMode="auto">
            <a:xfrm>
              <a:off x="1524113" y="5028697"/>
              <a:ext cx="3572" cy="3572"/>
            </a:xfrm>
            <a:custGeom>
              <a:avLst/>
              <a:gdLst>
                <a:gd name="T0" fmla="*/ 2 w 15"/>
                <a:gd name="T1" fmla="*/ 7 h 13"/>
                <a:gd name="T2" fmla="*/ 5 w 15"/>
                <a:gd name="T3" fmla="*/ 13 h 13"/>
                <a:gd name="T4" fmla="*/ 14 w 15"/>
                <a:gd name="T5" fmla="*/ 10 h 13"/>
                <a:gd name="T6" fmla="*/ 2 w 15"/>
                <a:gd name="T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3">
                  <a:moveTo>
                    <a:pt x="2" y="7"/>
                  </a:moveTo>
                  <a:cubicBezTo>
                    <a:pt x="1" y="10"/>
                    <a:pt x="0" y="13"/>
                    <a:pt x="5" y="13"/>
                  </a:cubicBezTo>
                  <a:cubicBezTo>
                    <a:pt x="9" y="13"/>
                    <a:pt x="13" y="13"/>
                    <a:pt x="14" y="10"/>
                  </a:cubicBezTo>
                  <a:cubicBezTo>
                    <a:pt x="15" y="7"/>
                    <a:pt x="6" y="0"/>
                    <a:pt x="2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" name="Freeform 36"/>
            <p:cNvSpPr>
              <a:spLocks/>
            </p:cNvSpPr>
            <p:nvPr/>
          </p:nvSpPr>
          <p:spPr bwMode="auto">
            <a:xfrm>
              <a:off x="1551497" y="5002503"/>
              <a:ext cx="2381" cy="3572"/>
            </a:xfrm>
            <a:custGeom>
              <a:avLst/>
              <a:gdLst>
                <a:gd name="T0" fmla="*/ 1 w 10"/>
                <a:gd name="T1" fmla="*/ 4 h 12"/>
                <a:gd name="T2" fmla="*/ 3 w 10"/>
                <a:gd name="T3" fmla="*/ 12 h 12"/>
                <a:gd name="T4" fmla="*/ 10 w 10"/>
                <a:gd name="T5" fmla="*/ 7 h 12"/>
                <a:gd name="T6" fmla="*/ 1 w 10"/>
                <a:gd name="T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2">
                  <a:moveTo>
                    <a:pt x="1" y="4"/>
                  </a:moveTo>
                  <a:cubicBezTo>
                    <a:pt x="0" y="6"/>
                    <a:pt x="0" y="12"/>
                    <a:pt x="3" y="12"/>
                  </a:cubicBezTo>
                  <a:cubicBezTo>
                    <a:pt x="6" y="12"/>
                    <a:pt x="10" y="11"/>
                    <a:pt x="10" y="7"/>
                  </a:cubicBezTo>
                  <a:cubicBezTo>
                    <a:pt x="10" y="3"/>
                    <a:pt x="0" y="0"/>
                    <a:pt x="1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" name="Freeform 37"/>
            <p:cNvSpPr>
              <a:spLocks/>
            </p:cNvSpPr>
            <p:nvPr/>
          </p:nvSpPr>
          <p:spPr bwMode="auto">
            <a:xfrm>
              <a:off x="2049178" y="5101325"/>
              <a:ext cx="4762" cy="3572"/>
            </a:xfrm>
            <a:custGeom>
              <a:avLst/>
              <a:gdLst>
                <a:gd name="T0" fmla="*/ 11 w 17"/>
                <a:gd name="T1" fmla="*/ 0 h 15"/>
                <a:gd name="T2" fmla="*/ 17 w 17"/>
                <a:gd name="T3" fmla="*/ 8 h 15"/>
                <a:gd name="T4" fmla="*/ 7 w 17"/>
                <a:gd name="T5" fmla="*/ 12 h 15"/>
                <a:gd name="T6" fmla="*/ 11 w 17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5">
                  <a:moveTo>
                    <a:pt x="11" y="0"/>
                  </a:moveTo>
                  <a:cubicBezTo>
                    <a:pt x="17" y="4"/>
                    <a:pt x="17" y="3"/>
                    <a:pt x="17" y="8"/>
                  </a:cubicBezTo>
                  <a:cubicBezTo>
                    <a:pt x="17" y="12"/>
                    <a:pt x="10" y="15"/>
                    <a:pt x="7" y="12"/>
                  </a:cubicBezTo>
                  <a:cubicBezTo>
                    <a:pt x="4" y="9"/>
                    <a:pt x="0" y="1"/>
                    <a:pt x="11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" name="Freeform 38"/>
            <p:cNvSpPr>
              <a:spLocks/>
            </p:cNvSpPr>
            <p:nvPr/>
          </p:nvSpPr>
          <p:spPr bwMode="auto">
            <a:xfrm>
              <a:off x="2082516" y="5083466"/>
              <a:ext cx="4762" cy="8334"/>
            </a:xfrm>
            <a:custGeom>
              <a:avLst/>
              <a:gdLst>
                <a:gd name="T0" fmla="*/ 3 w 16"/>
                <a:gd name="T1" fmla="*/ 17 h 28"/>
                <a:gd name="T2" fmla="*/ 8 w 16"/>
                <a:gd name="T3" fmla="*/ 28 h 28"/>
                <a:gd name="T4" fmla="*/ 15 w 16"/>
                <a:gd name="T5" fmla="*/ 21 h 28"/>
                <a:gd name="T6" fmla="*/ 3 w 16"/>
                <a:gd name="T7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28">
                  <a:moveTo>
                    <a:pt x="3" y="17"/>
                  </a:moveTo>
                  <a:cubicBezTo>
                    <a:pt x="0" y="22"/>
                    <a:pt x="5" y="28"/>
                    <a:pt x="8" y="28"/>
                  </a:cubicBezTo>
                  <a:cubicBezTo>
                    <a:pt x="10" y="28"/>
                    <a:pt x="14" y="27"/>
                    <a:pt x="15" y="21"/>
                  </a:cubicBezTo>
                  <a:cubicBezTo>
                    <a:pt x="16" y="16"/>
                    <a:pt x="4" y="0"/>
                    <a:pt x="3" y="1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" name="Freeform 39"/>
            <p:cNvSpPr>
              <a:spLocks/>
            </p:cNvSpPr>
            <p:nvPr/>
          </p:nvSpPr>
          <p:spPr bwMode="auto">
            <a:xfrm>
              <a:off x="2039653" y="5077513"/>
              <a:ext cx="4762" cy="5953"/>
            </a:xfrm>
            <a:custGeom>
              <a:avLst/>
              <a:gdLst>
                <a:gd name="T0" fmla="*/ 3 w 14"/>
                <a:gd name="T1" fmla="*/ 7 h 19"/>
                <a:gd name="T2" fmla="*/ 5 w 14"/>
                <a:gd name="T3" fmla="*/ 19 h 19"/>
                <a:gd name="T4" fmla="*/ 13 w 14"/>
                <a:gd name="T5" fmla="*/ 14 h 19"/>
                <a:gd name="T6" fmla="*/ 3 w 14"/>
                <a:gd name="T7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9">
                  <a:moveTo>
                    <a:pt x="3" y="7"/>
                  </a:moveTo>
                  <a:cubicBezTo>
                    <a:pt x="1" y="12"/>
                    <a:pt x="0" y="18"/>
                    <a:pt x="5" y="19"/>
                  </a:cubicBezTo>
                  <a:cubicBezTo>
                    <a:pt x="9" y="19"/>
                    <a:pt x="14" y="17"/>
                    <a:pt x="13" y="14"/>
                  </a:cubicBezTo>
                  <a:cubicBezTo>
                    <a:pt x="13" y="11"/>
                    <a:pt x="6" y="0"/>
                    <a:pt x="3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" name="Freeform 40"/>
            <p:cNvSpPr>
              <a:spLocks/>
            </p:cNvSpPr>
            <p:nvPr/>
          </p:nvSpPr>
          <p:spPr bwMode="auto">
            <a:xfrm>
              <a:off x="1892016" y="5020363"/>
              <a:ext cx="2381" cy="5953"/>
            </a:xfrm>
            <a:custGeom>
              <a:avLst/>
              <a:gdLst>
                <a:gd name="T0" fmla="*/ 2 w 11"/>
                <a:gd name="T1" fmla="*/ 6 h 18"/>
                <a:gd name="T2" fmla="*/ 4 w 11"/>
                <a:gd name="T3" fmla="*/ 15 h 18"/>
                <a:gd name="T4" fmla="*/ 10 w 11"/>
                <a:gd name="T5" fmla="*/ 9 h 18"/>
                <a:gd name="T6" fmla="*/ 2 w 11"/>
                <a:gd name="T7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8">
                  <a:moveTo>
                    <a:pt x="2" y="6"/>
                  </a:moveTo>
                  <a:cubicBezTo>
                    <a:pt x="0" y="10"/>
                    <a:pt x="0" y="18"/>
                    <a:pt x="4" y="15"/>
                  </a:cubicBezTo>
                  <a:cubicBezTo>
                    <a:pt x="8" y="12"/>
                    <a:pt x="9" y="12"/>
                    <a:pt x="10" y="9"/>
                  </a:cubicBezTo>
                  <a:cubicBezTo>
                    <a:pt x="11" y="6"/>
                    <a:pt x="5" y="0"/>
                    <a:pt x="2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" name="Freeform 41"/>
            <p:cNvSpPr>
              <a:spLocks/>
            </p:cNvSpPr>
            <p:nvPr/>
          </p:nvSpPr>
          <p:spPr bwMode="auto">
            <a:xfrm>
              <a:off x="1901541" y="5020363"/>
              <a:ext cx="3572" cy="7144"/>
            </a:xfrm>
            <a:custGeom>
              <a:avLst/>
              <a:gdLst>
                <a:gd name="T0" fmla="*/ 3 w 13"/>
                <a:gd name="T1" fmla="*/ 6 h 25"/>
                <a:gd name="T2" fmla="*/ 5 w 13"/>
                <a:gd name="T3" fmla="*/ 15 h 25"/>
                <a:gd name="T4" fmla="*/ 11 w 13"/>
                <a:gd name="T5" fmla="*/ 20 h 25"/>
                <a:gd name="T6" fmla="*/ 11 w 13"/>
                <a:gd name="T7" fmla="*/ 9 h 25"/>
                <a:gd name="T8" fmla="*/ 3 w 13"/>
                <a:gd name="T9" fmla="*/ 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3" y="6"/>
                  </a:moveTo>
                  <a:cubicBezTo>
                    <a:pt x="0" y="9"/>
                    <a:pt x="2" y="10"/>
                    <a:pt x="5" y="15"/>
                  </a:cubicBezTo>
                  <a:cubicBezTo>
                    <a:pt x="7" y="20"/>
                    <a:pt x="9" y="25"/>
                    <a:pt x="11" y="20"/>
                  </a:cubicBezTo>
                  <a:cubicBezTo>
                    <a:pt x="13" y="14"/>
                    <a:pt x="13" y="13"/>
                    <a:pt x="11" y="9"/>
                  </a:cubicBezTo>
                  <a:cubicBezTo>
                    <a:pt x="10" y="5"/>
                    <a:pt x="8" y="0"/>
                    <a:pt x="3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" name="Freeform 42"/>
            <p:cNvSpPr>
              <a:spLocks/>
            </p:cNvSpPr>
            <p:nvPr/>
          </p:nvSpPr>
          <p:spPr bwMode="auto">
            <a:xfrm>
              <a:off x="3692241" y="5714497"/>
              <a:ext cx="33337" cy="21431"/>
            </a:xfrm>
            <a:custGeom>
              <a:avLst/>
              <a:gdLst>
                <a:gd name="T0" fmla="*/ 55 w 114"/>
                <a:gd name="T1" fmla="*/ 30 h 74"/>
                <a:gd name="T2" fmla="*/ 75 w 114"/>
                <a:gd name="T3" fmla="*/ 42 h 74"/>
                <a:gd name="T4" fmla="*/ 81 w 114"/>
                <a:gd name="T5" fmla="*/ 55 h 74"/>
                <a:gd name="T6" fmla="*/ 95 w 114"/>
                <a:gd name="T7" fmla="*/ 70 h 74"/>
                <a:gd name="T8" fmla="*/ 111 w 114"/>
                <a:gd name="T9" fmla="*/ 70 h 74"/>
                <a:gd name="T10" fmla="*/ 112 w 114"/>
                <a:gd name="T11" fmla="*/ 60 h 74"/>
                <a:gd name="T12" fmla="*/ 112 w 114"/>
                <a:gd name="T13" fmla="*/ 49 h 74"/>
                <a:gd name="T14" fmla="*/ 103 w 114"/>
                <a:gd name="T15" fmla="*/ 45 h 74"/>
                <a:gd name="T16" fmla="*/ 99 w 114"/>
                <a:gd name="T17" fmla="*/ 39 h 74"/>
                <a:gd name="T18" fmla="*/ 92 w 114"/>
                <a:gd name="T19" fmla="*/ 34 h 74"/>
                <a:gd name="T20" fmla="*/ 87 w 114"/>
                <a:gd name="T21" fmla="*/ 27 h 74"/>
                <a:gd name="T22" fmla="*/ 79 w 114"/>
                <a:gd name="T23" fmla="*/ 25 h 74"/>
                <a:gd name="T24" fmla="*/ 68 w 114"/>
                <a:gd name="T25" fmla="*/ 23 h 74"/>
                <a:gd name="T26" fmla="*/ 63 w 114"/>
                <a:gd name="T27" fmla="*/ 16 h 74"/>
                <a:gd name="T28" fmla="*/ 57 w 114"/>
                <a:gd name="T29" fmla="*/ 10 h 74"/>
                <a:gd name="T30" fmla="*/ 44 w 114"/>
                <a:gd name="T31" fmla="*/ 11 h 74"/>
                <a:gd name="T32" fmla="*/ 36 w 114"/>
                <a:gd name="T33" fmla="*/ 10 h 74"/>
                <a:gd name="T34" fmla="*/ 31 w 114"/>
                <a:gd name="T35" fmla="*/ 5 h 74"/>
                <a:gd name="T36" fmla="*/ 21 w 114"/>
                <a:gd name="T37" fmla="*/ 5 h 74"/>
                <a:gd name="T38" fmla="*/ 14 w 114"/>
                <a:gd name="T39" fmla="*/ 0 h 74"/>
                <a:gd name="T40" fmla="*/ 4 w 114"/>
                <a:gd name="T41" fmla="*/ 3 h 74"/>
                <a:gd name="T42" fmla="*/ 1 w 114"/>
                <a:gd name="T43" fmla="*/ 6 h 74"/>
                <a:gd name="T44" fmla="*/ 6 w 114"/>
                <a:gd name="T45" fmla="*/ 10 h 74"/>
                <a:gd name="T46" fmla="*/ 15 w 114"/>
                <a:gd name="T47" fmla="*/ 10 h 74"/>
                <a:gd name="T48" fmla="*/ 26 w 114"/>
                <a:gd name="T49" fmla="*/ 12 h 74"/>
                <a:gd name="T50" fmla="*/ 33 w 114"/>
                <a:gd name="T51" fmla="*/ 17 h 74"/>
                <a:gd name="T52" fmla="*/ 40 w 114"/>
                <a:gd name="T53" fmla="*/ 22 h 74"/>
                <a:gd name="T54" fmla="*/ 55 w 114"/>
                <a:gd name="T55" fmla="*/ 3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4" h="74">
                  <a:moveTo>
                    <a:pt x="55" y="30"/>
                  </a:moveTo>
                  <a:cubicBezTo>
                    <a:pt x="64" y="34"/>
                    <a:pt x="73" y="37"/>
                    <a:pt x="75" y="42"/>
                  </a:cubicBezTo>
                  <a:cubicBezTo>
                    <a:pt x="78" y="48"/>
                    <a:pt x="76" y="48"/>
                    <a:pt x="81" y="55"/>
                  </a:cubicBezTo>
                  <a:cubicBezTo>
                    <a:pt x="87" y="61"/>
                    <a:pt x="88" y="68"/>
                    <a:pt x="95" y="70"/>
                  </a:cubicBezTo>
                  <a:cubicBezTo>
                    <a:pt x="102" y="72"/>
                    <a:pt x="110" y="74"/>
                    <a:pt x="111" y="70"/>
                  </a:cubicBezTo>
                  <a:cubicBezTo>
                    <a:pt x="111" y="65"/>
                    <a:pt x="112" y="65"/>
                    <a:pt x="112" y="60"/>
                  </a:cubicBezTo>
                  <a:cubicBezTo>
                    <a:pt x="112" y="54"/>
                    <a:pt x="114" y="52"/>
                    <a:pt x="112" y="49"/>
                  </a:cubicBezTo>
                  <a:cubicBezTo>
                    <a:pt x="109" y="47"/>
                    <a:pt x="104" y="47"/>
                    <a:pt x="103" y="45"/>
                  </a:cubicBezTo>
                  <a:cubicBezTo>
                    <a:pt x="101" y="44"/>
                    <a:pt x="99" y="41"/>
                    <a:pt x="99" y="39"/>
                  </a:cubicBezTo>
                  <a:cubicBezTo>
                    <a:pt x="98" y="36"/>
                    <a:pt x="96" y="36"/>
                    <a:pt x="92" y="34"/>
                  </a:cubicBezTo>
                  <a:cubicBezTo>
                    <a:pt x="89" y="31"/>
                    <a:pt x="90" y="28"/>
                    <a:pt x="87" y="27"/>
                  </a:cubicBezTo>
                  <a:cubicBezTo>
                    <a:pt x="85" y="25"/>
                    <a:pt x="85" y="26"/>
                    <a:pt x="79" y="25"/>
                  </a:cubicBezTo>
                  <a:cubicBezTo>
                    <a:pt x="73" y="24"/>
                    <a:pt x="72" y="26"/>
                    <a:pt x="68" y="23"/>
                  </a:cubicBezTo>
                  <a:cubicBezTo>
                    <a:pt x="64" y="20"/>
                    <a:pt x="64" y="18"/>
                    <a:pt x="63" y="16"/>
                  </a:cubicBezTo>
                  <a:cubicBezTo>
                    <a:pt x="61" y="13"/>
                    <a:pt x="65" y="11"/>
                    <a:pt x="57" y="10"/>
                  </a:cubicBezTo>
                  <a:cubicBezTo>
                    <a:pt x="50" y="8"/>
                    <a:pt x="50" y="10"/>
                    <a:pt x="44" y="11"/>
                  </a:cubicBezTo>
                  <a:cubicBezTo>
                    <a:pt x="38" y="11"/>
                    <a:pt x="36" y="13"/>
                    <a:pt x="36" y="10"/>
                  </a:cubicBezTo>
                  <a:cubicBezTo>
                    <a:pt x="35" y="7"/>
                    <a:pt x="36" y="6"/>
                    <a:pt x="31" y="5"/>
                  </a:cubicBezTo>
                  <a:cubicBezTo>
                    <a:pt x="25" y="5"/>
                    <a:pt x="24" y="6"/>
                    <a:pt x="21" y="5"/>
                  </a:cubicBezTo>
                  <a:cubicBezTo>
                    <a:pt x="18" y="3"/>
                    <a:pt x="18" y="1"/>
                    <a:pt x="14" y="0"/>
                  </a:cubicBezTo>
                  <a:cubicBezTo>
                    <a:pt x="10" y="0"/>
                    <a:pt x="6" y="1"/>
                    <a:pt x="4" y="3"/>
                  </a:cubicBezTo>
                  <a:cubicBezTo>
                    <a:pt x="3" y="4"/>
                    <a:pt x="0" y="2"/>
                    <a:pt x="1" y="6"/>
                  </a:cubicBezTo>
                  <a:cubicBezTo>
                    <a:pt x="1" y="10"/>
                    <a:pt x="2" y="11"/>
                    <a:pt x="6" y="10"/>
                  </a:cubicBezTo>
                  <a:cubicBezTo>
                    <a:pt x="10" y="10"/>
                    <a:pt x="9" y="8"/>
                    <a:pt x="15" y="10"/>
                  </a:cubicBezTo>
                  <a:cubicBezTo>
                    <a:pt x="20" y="11"/>
                    <a:pt x="22" y="11"/>
                    <a:pt x="26" y="12"/>
                  </a:cubicBezTo>
                  <a:cubicBezTo>
                    <a:pt x="29" y="13"/>
                    <a:pt x="31" y="12"/>
                    <a:pt x="33" y="17"/>
                  </a:cubicBezTo>
                  <a:cubicBezTo>
                    <a:pt x="35" y="21"/>
                    <a:pt x="36" y="22"/>
                    <a:pt x="40" y="22"/>
                  </a:cubicBezTo>
                  <a:cubicBezTo>
                    <a:pt x="45" y="23"/>
                    <a:pt x="49" y="27"/>
                    <a:pt x="55" y="3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" name="Freeform 43"/>
            <p:cNvSpPr>
              <a:spLocks/>
            </p:cNvSpPr>
            <p:nvPr/>
          </p:nvSpPr>
          <p:spPr bwMode="auto">
            <a:xfrm>
              <a:off x="3619613" y="5702591"/>
              <a:ext cx="2381" cy="4763"/>
            </a:xfrm>
            <a:custGeom>
              <a:avLst/>
              <a:gdLst>
                <a:gd name="T0" fmla="*/ 2 w 11"/>
                <a:gd name="T1" fmla="*/ 5 h 15"/>
                <a:gd name="T2" fmla="*/ 0 w 11"/>
                <a:gd name="T3" fmla="*/ 12 h 15"/>
                <a:gd name="T4" fmla="*/ 11 w 11"/>
                <a:gd name="T5" fmla="*/ 9 h 15"/>
                <a:gd name="T6" fmla="*/ 2 w 11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5">
                  <a:moveTo>
                    <a:pt x="2" y="5"/>
                  </a:moveTo>
                  <a:cubicBezTo>
                    <a:pt x="0" y="6"/>
                    <a:pt x="0" y="10"/>
                    <a:pt x="0" y="12"/>
                  </a:cubicBezTo>
                  <a:cubicBezTo>
                    <a:pt x="0" y="12"/>
                    <a:pt x="11" y="15"/>
                    <a:pt x="11" y="9"/>
                  </a:cubicBezTo>
                  <a:cubicBezTo>
                    <a:pt x="11" y="4"/>
                    <a:pt x="3" y="0"/>
                    <a:pt x="2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" name="Freeform 44"/>
            <p:cNvSpPr>
              <a:spLocks/>
            </p:cNvSpPr>
            <p:nvPr/>
          </p:nvSpPr>
          <p:spPr bwMode="auto">
            <a:xfrm>
              <a:off x="3612469" y="5697828"/>
              <a:ext cx="4762" cy="4763"/>
            </a:xfrm>
            <a:custGeom>
              <a:avLst/>
              <a:gdLst>
                <a:gd name="T0" fmla="*/ 4 w 15"/>
                <a:gd name="T1" fmla="*/ 4 h 16"/>
                <a:gd name="T2" fmla="*/ 3 w 15"/>
                <a:gd name="T3" fmla="*/ 11 h 16"/>
                <a:gd name="T4" fmla="*/ 14 w 15"/>
                <a:gd name="T5" fmla="*/ 11 h 16"/>
                <a:gd name="T6" fmla="*/ 4 w 15"/>
                <a:gd name="T7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4" y="4"/>
                  </a:moveTo>
                  <a:cubicBezTo>
                    <a:pt x="2" y="8"/>
                    <a:pt x="0" y="9"/>
                    <a:pt x="3" y="11"/>
                  </a:cubicBezTo>
                  <a:cubicBezTo>
                    <a:pt x="6" y="14"/>
                    <a:pt x="12" y="16"/>
                    <a:pt x="14" y="11"/>
                  </a:cubicBezTo>
                  <a:cubicBezTo>
                    <a:pt x="15" y="6"/>
                    <a:pt x="6" y="0"/>
                    <a:pt x="4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" name="Freeform 45"/>
            <p:cNvSpPr>
              <a:spLocks noEditPoints="1"/>
            </p:cNvSpPr>
            <p:nvPr/>
          </p:nvSpPr>
          <p:spPr bwMode="auto">
            <a:xfrm>
              <a:off x="3276713" y="5647822"/>
              <a:ext cx="58341" cy="25003"/>
            </a:xfrm>
            <a:custGeom>
              <a:avLst/>
              <a:gdLst>
                <a:gd name="T0" fmla="*/ 6 w 203"/>
                <a:gd name="T1" fmla="*/ 56 h 85"/>
                <a:gd name="T2" fmla="*/ 15 w 203"/>
                <a:gd name="T3" fmla="*/ 46 h 85"/>
                <a:gd name="T4" fmla="*/ 107 w 203"/>
                <a:gd name="T5" fmla="*/ 51 h 85"/>
                <a:gd name="T6" fmla="*/ 91 w 203"/>
                <a:gd name="T7" fmla="*/ 66 h 85"/>
                <a:gd name="T8" fmla="*/ 106 w 203"/>
                <a:gd name="T9" fmla="*/ 85 h 85"/>
                <a:gd name="T10" fmla="*/ 110 w 203"/>
                <a:gd name="T11" fmla="*/ 72 h 85"/>
                <a:gd name="T12" fmla="*/ 127 w 203"/>
                <a:gd name="T13" fmla="*/ 69 h 85"/>
                <a:gd name="T14" fmla="*/ 139 w 203"/>
                <a:gd name="T15" fmla="*/ 65 h 85"/>
                <a:gd name="T16" fmla="*/ 145 w 203"/>
                <a:gd name="T17" fmla="*/ 56 h 85"/>
                <a:gd name="T18" fmla="*/ 120 w 203"/>
                <a:gd name="T19" fmla="*/ 39 h 85"/>
                <a:gd name="T20" fmla="*/ 134 w 203"/>
                <a:gd name="T21" fmla="*/ 10 h 85"/>
                <a:gd name="T22" fmla="*/ 134 w 203"/>
                <a:gd name="T23" fmla="*/ 35 h 85"/>
                <a:gd name="T24" fmla="*/ 160 w 203"/>
                <a:gd name="T25" fmla="*/ 51 h 85"/>
                <a:gd name="T26" fmla="*/ 187 w 203"/>
                <a:gd name="T27" fmla="*/ 43 h 85"/>
                <a:gd name="T28" fmla="*/ 199 w 203"/>
                <a:gd name="T29" fmla="*/ 31 h 85"/>
                <a:gd name="T30" fmla="*/ 179 w 203"/>
                <a:gd name="T31" fmla="*/ 34 h 85"/>
                <a:gd name="T32" fmla="*/ 160 w 203"/>
                <a:gd name="T33" fmla="*/ 17 h 85"/>
                <a:gd name="T34" fmla="*/ 154 w 203"/>
                <a:gd name="T35" fmla="*/ 3 h 85"/>
                <a:gd name="T36" fmla="*/ 134 w 203"/>
                <a:gd name="T37" fmla="*/ 10 h 85"/>
                <a:gd name="T38" fmla="*/ 184 w 203"/>
                <a:gd name="T39" fmla="*/ 14 h 85"/>
                <a:gd name="T40" fmla="*/ 187 w 203"/>
                <a:gd name="T41" fmla="*/ 7 h 85"/>
                <a:gd name="T42" fmla="*/ 95 w 203"/>
                <a:gd name="T43" fmla="*/ 13 h 85"/>
                <a:gd name="T44" fmla="*/ 76 w 203"/>
                <a:gd name="T45" fmla="*/ 13 h 85"/>
                <a:gd name="T46" fmla="*/ 58 w 203"/>
                <a:gd name="T47" fmla="*/ 19 h 85"/>
                <a:gd name="T48" fmla="*/ 57 w 203"/>
                <a:gd name="T49" fmla="*/ 30 h 85"/>
                <a:gd name="T50" fmla="*/ 64 w 203"/>
                <a:gd name="T51" fmla="*/ 39 h 85"/>
                <a:gd name="T52" fmla="*/ 44 w 203"/>
                <a:gd name="T53" fmla="*/ 46 h 85"/>
                <a:gd name="T54" fmla="*/ 33 w 203"/>
                <a:gd name="T55" fmla="*/ 60 h 85"/>
                <a:gd name="T56" fmla="*/ 17 w 203"/>
                <a:gd name="T57" fmla="*/ 65 h 85"/>
                <a:gd name="T58" fmla="*/ 36 w 203"/>
                <a:gd name="T59" fmla="*/ 76 h 85"/>
                <a:gd name="T60" fmla="*/ 50 w 203"/>
                <a:gd name="T61" fmla="*/ 68 h 85"/>
                <a:gd name="T62" fmla="*/ 74 w 203"/>
                <a:gd name="T63" fmla="*/ 59 h 85"/>
                <a:gd name="T64" fmla="*/ 97 w 203"/>
                <a:gd name="T65" fmla="*/ 32 h 85"/>
                <a:gd name="T66" fmla="*/ 113 w 203"/>
                <a:gd name="T67" fmla="*/ 12 h 85"/>
                <a:gd name="T68" fmla="*/ 37 w 203"/>
                <a:gd name="T69" fmla="*/ 39 h 85"/>
                <a:gd name="T70" fmla="*/ 34 w 203"/>
                <a:gd name="T71" fmla="*/ 3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03" h="85">
                  <a:moveTo>
                    <a:pt x="4" y="45"/>
                  </a:moveTo>
                  <a:cubicBezTo>
                    <a:pt x="0" y="46"/>
                    <a:pt x="4" y="53"/>
                    <a:pt x="6" y="56"/>
                  </a:cubicBezTo>
                  <a:cubicBezTo>
                    <a:pt x="8" y="59"/>
                    <a:pt x="10" y="57"/>
                    <a:pt x="13" y="53"/>
                  </a:cubicBezTo>
                  <a:cubicBezTo>
                    <a:pt x="17" y="48"/>
                    <a:pt x="15" y="50"/>
                    <a:pt x="15" y="46"/>
                  </a:cubicBezTo>
                  <a:cubicBezTo>
                    <a:pt x="14" y="42"/>
                    <a:pt x="12" y="44"/>
                    <a:pt x="4" y="45"/>
                  </a:cubicBezTo>
                  <a:close/>
                  <a:moveTo>
                    <a:pt x="107" y="51"/>
                  </a:moveTo>
                  <a:cubicBezTo>
                    <a:pt x="104" y="55"/>
                    <a:pt x="105" y="55"/>
                    <a:pt x="100" y="58"/>
                  </a:cubicBezTo>
                  <a:cubicBezTo>
                    <a:pt x="95" y="62"/>
                    <a:pt x="92" y="61"/>
                    <a:pt x="91" y="66"/>
                  </a:cubicBezTo>
                  <a:cubicBezTo>
                    <a:pt x="90" y="71"/>
                    <a:pt x="90" y="73"/>
                    <a:pt x="95" y="77"/>
                  </a:cubicBezTo>
                  <a:cubicBezTo>
                    <a:pt x="100" y="80"/>
                    <a:pt x="103" y="84"/>
                    <a:pt x="106" y="85"/>
                  </a:cubicBezTo>
                  <a:cubicBezTo>
                    <a:pt x="109" y="85"/>
                    <a:pt x="112" y="84"/>
                    <a:pt x="111" y="81"/>
                  </a:cubicBezTo>
                  <a:cubicBezTo>
                    <a:pt x="109" y="77"/>
                    <a:pt x="107" y="72"/>
                    <a:pt x="110" y="72"/>
                  </a:cubicBezTo>
                  <a:cubicBezTo>
                    <a:pt x="113" y="72"/>
                    <a:pt x="116" y="74"/>
                    <a:pt x="121" y="74"/>
                  </a:cubicBezTo>
                  <a:cubicBezTo>
                    <a:pt x="127" y="73"/>
                    <a:pt x="129" y="73"/>
                    <a:pt x="127" y="69"/>
                  </a:cubicBezTo>
                  <a:cubicBezTo>
                    <a:pt x="125" y="64"/>
                    <a:pt x="119" y="61"/>
                    <a:pt x="126" y="62"/>
                  </a:cubicBezTo>
                  <a:cubicBezTo>
                    <a:pt x="132" y="62"/>
                    <a:pt x="133" y="65"/>
                    <a:pt x="139" y="65"/>
                  </a:cubicBezTo>
                  <a:cubicBezTo>
                    <a:pt x="145" y="65"/>
                    <a:pt x="149" y="66"/>
                    <a:pt x="149" y="63"/>
                  </a:cubicBezTo>
                  <a:cubicBezTo>
                    <a:pt x="149" y="59"/>
                    <a:pt x="152" y="62"/>
                    <a:pt x="145" y="56"/>
                  </a:cubicBezTo>
                  <a:cubicBezTo>
                    <a:pt x="138" y="50"/>
                    <a:pt x="133" y="51"/>
                    <a:pt x="130" y="45"/>
                  </a:cubicBezTo>
                  <a:cubicBezTo>
                    <a:pt x="127" y="40"/>
                    <a:pt x="125" y="37"/>
                    <a:pt x="120" y="39"/>
                  </a:cubicBezTo>
                  <a:cubicBezTo>
                    <a:pt x="116" y="40"/>
                    <a:pt x="109" y="48"/>
                    <a:pt x="107" y="51"/>
                  </a:cubicBezTo>
                  <a:close/>
                  <a:moveTo>
                    <a:pt x="134" y="10"/>
                  </a:moveTo>
                  <a:cubicBezTo>
                    <a:pt x="132" y="18"/>
                    <a:pt x="133" y="17"/>
                    <a:pt x="133" y="23"/>
                  </a:cubicBezTo>
                  <a:cubicBezTo>
                    <a:pt x="133" y="29"/>
                    <a:pt x="131" y="29"/>
                    <a:pt x="134" y="35"/>
                  </a:cubicBezTo>
                  <a:cubicBezTo>
                    <a:pt x="137" y="40"/>
                    <a:pt x="136" y="39"/>
                    <a:pt x="142" y="44"/>
                  </a:cubicBezTo>
                  <a:cubicBezTo>
                    <a:pt x="148" y="49"/>
                    <a:pt x="154" y="51"/>
                    <a:pt x="160" y="51"/>
                  </a:cubicBezTo>
                  <a:cubicBezTo>
                    <a:pt x="165" y="52"/>
                    <a:pt x="171" y="54"/>
                    <a:pt x="176" y="50"/>
                  </a:cubicBezTo>
                  <a:cubicBezTo>
                    <a:pt x="181" y="47"/>
                    <a:pt x="179" y="45"/>
                    <a:pt x="187" y="43"/>
                  </a:cubicBezTo>
                  <a:cubicBezTo>
                    <a:pt x="194" y="40"/>
                    <a:pt x="198" y="40"/>
                    <a:pt x="200" y="38"/>
                  </a:cubicBezTo>
                  <a:cubicBezTo>
                    <a:pt x="203" y="36"/>
                    <a:pt x="203" y="34"/>
                    <a:pt x="199" y="31"/>
                  </a:cubicBezTo>
                  <a:cubicBezTo>
                    <a:pt x="194" y="28"/>
                    <a:pt x="186" y="23"/>
                    <a:pt x="185" y="26"/>
                  </a:cubicBezTo>
                  <a:cubicBezTo>
                    <a:pt x="183" y="30"/>
                    <a:pt x="188" y="35"/>
                    <a:pt x="179" y="34"/>
                  </a:cubicBezTo>
                  <a:cubicBezTo>
                    <a:pt x="171" y="32"/>
                    <a:pt x="164" y="30"/>
                    <a:pt x="163" y="25"/>
                  </a:cubicBezTo>
                  <a:cubicBezTo>
                    <a:pt x="161" y="20"/>
                    <a:pt x="158" y="20"/>
                    <a:pt x="160" y="17"/>
                  </a:cubicBezTo>
                  <a:cubicBezTo>
                    <a:pt x="162" y="13"/>
                    <a:pt x="165" y="19"/>
                    <a:pt x="165" y="13"/>
                  </a:cubicBezTo>
                  <a:cubicBezTo>
                    <a:pt x="165" y="7"/>
                    <a:pt x="160" y="5"/>
                    <a:pt x="154" y="3"/>
                  </a:cubicBezTo>
                  <a:cubicBezTo>
                    <a:pt x="147" y="1"/>
                    <a:pt x="145" y="0"/>
                    <a:pt x="142" y="1"/>
                  </a:cubicBezTo>
                  <a:cubicBezTo>
                    <a:pt x="139" y="2"/>
                    <a:pt x="135" y="7"/>
                    <a:pt x="134" y="10"/>
                  </a:cubicBezTo>
                  <a:close/>
                  <a:moveTo>
                    <a:pt x="187" y="7"/>
                  </a:moveTo>
                  <a:cubicBezTo>
                    <a:pt x="182" y="11"/>
                    <a:pt x="179" y="12"/>
                    <a:pt x="184" y="14"/>
                  </a:cubicBezTo>
                  <a:cubicBezTo>
                    <a:pt x="189" y="16"/>
                    <a:pt x="197" y="17"/>
                    <a:pt x="201" y="17"/>
                  </a:cubicBezTo>
                  <a:cubicBezTo>
                    <a:pt x="203" y="17"/>
                    <a:pt x="192" y="2"/>
                    <a:pt x="187" y="7"/>
                  </a:cubicBezTo>
                  <a:close/>
                  <a:moveTo>
                    <a:pt x="113" y="12"/>
                  </a:moveTo>
                  <a:cubicBezTo>
                    <a:pt x="110" y="3"/>
                    <a:pt x="99" y="9"/>
                    <a:pt x="95" y="13"/>
                  </a:cubicBezTo>
                  <a:cubicBezTo>
                    <a:pt x="90" y="16"/>
                    <a:pt x="89" y="15"/>
                    <a:pt x="85" y="16"/>
                  </a:cubicBezTo>
                  <a:cubicBezTo>
                    <a:pt x="80" y="17"/>
                    <a:pt x="80" y="14"/>
                    <a:pt x="76" y="13"/>
                  </a:cubicBezTo>
                  <a:cubicBezTo>
                    <a:pt x="71" y="12"/>
                    <a:pt x="71" y="13"/>
                    <a:pt x="66" y="19"/>
                  </a:cubicBezTo>
                  <a:cubicBezTo>
                    <a:pt x="61" y="24"/>
                    <a:pt x="62" y="20"/>
                    <a:pt x="58" y="19"/>
                  </a:cubicBezTo>
                  <a:cubicBezTo>
                    <a:pt x="55" y="19"/>
                    <a:pt x="51" y="19"/>
                    <a:pt x="50" y="22"/>
                  </a:cubicBezTo>
                  <a:cubicBezTo>
                    <a:pt x="48" y="24"/>
                    <a:pt x="52" y="28"/>
                    <a:pt x="57" y="30"/>
                  </a:cubicBezTo>
                  <a:cubicBezTo>
                    <a:pt x="62" y="31"/>
                    <a:pt x="66" y="32"/>
                    <a:pt x="69" y="35"/>
                  </a:cubicBezTo>
                  <a:cubicBezTo>
                    <a:pt x="73" y="39"/>
                    <a:pt x="69" y="37"/>
                    <a:pt x="64" y="39"/>
                  </a:cubicBezTo>
                  <a:cubicBezTo>
                    <a:pt x="59" y="42"/>
                    <a:pt x="58" y="42"/>
                    <a:pt x="53" y="42"/>
                  </a:cubicBezTo>
                  <a:cubicBezTo>
                    <a:pt x="48" y="43"/>
                    <a:pt x="47" y="43"/>
                    <a:pt x="44" y="46"/>
                  </a:cubicBezTo>
                  <a:cubicBezTo>
                    <a:pt x="40" y="49"/>
                    <a:pt x="44" y="50"/>
                    <a:pt x="42" y="54"/>
                  </a:cubicBezTo>
                  <a:cubicBezTo>
                    <a:pt x="40" y="59"/>
                    <a:pt x="36" y="56"/>
                    <a:pt x="33" y="60"/>
                  </a:cubicBezTo>
                  <a:cubicBezTo>
                    <a:pt x="31" y="63"/>
                    <a:pt x="30" y="62"/>
                    <a:pt x="25" y="62"/>
                  </a:cubicBezTo>
                  <a:cubicBezTo>
                    <a:pt x="20" y="62"/>
                    <a:pt x="17" y="63"/>
                    <a:pt x="17" y="65"/>
                  </a:cubicBezTo>
                  <a:cubicBezTo>
                    <a:pt x="16" y="68"/>
                    <a:pt x="23" y="72"/>
                    <a:pt x="26" y="75"/>
                  </a:cubicBezTo>
                  <a:cubicBezTo>
                    <a:pt x="29" y="79"/>
                    <a:pt x="33" y="78"/>
                    <a:pt x="36" y="76"/>
                  </a:cubicBezTo>
                  <a:cubicBezTo>
                    <a:pt x="39" y="74"/>
                    <a:pt x="39" y="70"/>
                    <a:pt x="42" y="68"/>
                  </a:cubicBezTo>
                  <a:cubicBezTo>
                    <a:pt x="45" y="67"/>
                    <a:pt x="48" y="69"/>
                    <a:pt x="50" y="68"/>
                  </a:cubicBezTo>
                  <a:cubicBezTo>
                    <a:pt x="53" y="67"/>
                    <a:pt x="53" y="62"/>
                    <a:pt x="58" y="59"/>
                  </a:cubicBezTo>
                  <a:cubicBezTo>
                    <a:pt x="62" y="55"/>
                    <a:pt x="69" y="59"/>
                    <a:pt x="74" y="59"/>
                  </a:cubicBezTo>
                  <a:cubicBezTo>
                    <a:pt x="80" y="58"/>
                    <a:pt x="81" y="53"/>
                    <a:pt x="86" y="45"/>
                  </a:cubicBezTo>
                  <a:cubicBezTo>
                    <a:pt x="92" y="38"/>
                    <a:pt x="91" y="40"/>
                    <a:pt x="97" y="32"/>
                  </a:cubicBezTo>
                  <a:cubicBezTo>
                    <a:pt x="104" y="25"/>
                    <a:pt x="104" y="28"/>
                    <a:pt x="108" y="25"/>
                  </a:cubicBezTo>
                  <a:cubicBezTo>
                    <a:pt x="112" y="22"/>
                    <a:pt x="113" y="18"/>
                    <a:pt x="113" y="12"/>
                  </a:cubicBezTo>
                  <a:close/>
                  <a:moveTo>
                    <a:pt x="34" y="34"/>
                  </a:moveTo>
                  <a:cubicBezTo>
                    <a:pt x="32" y="38"/>
                    <a:pt x="33" y="39"/>
                    <a:pt x="37" y="39"/>
                  </a:cubicBezTo>
                  <a:cubicBezTo>
                    <a:pt x="41" y="39"/>
                    <a:pt x="45" y="42"/>
                    <a:pt x="45" y="37"/>
                  </a:cubicBezTo>
                  <a:cubicBezTo>
                    <a:pt x="45" y="31"/>
                    <a:pt x="35" y="29"/>
                    <a:pt x="34" y="3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5" name="Freeform 46"/>
            <p:cNvSpPr>
              <a:spLocks/>
            </p:cNvSpPr>
            <p:nvPr/>
          </p:nvSpPr>
          <p:spPr bwMode="auto">
            <a:xfrm>
              <a:off x="3213609" y="5731166"/>
              <a:ext cx="11906" cy="4763"/>
            </a:xfrm>
            <a:custGeom>
              <a:avLst/>
              <a:gdLst>
                <a:gd name="T0" fmla="*/ 11 w 40"/>
                <a:gd name="T1" fmla="*/ 2 h 19"/>
                <a:gd name="T2" fmla="*/ 21 w 40"/>
                <a:gd name="T3" fmla="*/ 1 h 19"/>
                <a:gd name="T4" fmla="*/ 34 w 40"/>
                <a:gd name="T5" fmla="*/ 2 h 19"/>
                <a:gd name="T6" fmla="*/ 37 w 40"/>
                <a:gd name="T7" fmla="*/ 6 h 19"/>
                <a:gd name="T8" fmla="*/ 26 w 40"/>
                <a:gd name="T9" fmla="*/ 9 h 19"/>
                <a:gd name="T10" fmla="*/ 14 w 40"/>
                <a:gd name="T11" fmla="*/ 16 h 19"/>
                <a:gd name="T12" fmla="*/ 2 w 40"/>
                <a:gd name="T13" fmla="*/ 17 h 19"/>
                <a:gd name="T14" fmla="*/ 1 w 40"/>
                <a:gd name="T15" fmla="*/ 11 h 19"/>
                <a:gd name="T16" fmla="*/ 11 w 40"/>
                <a:gd name="T17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19">
                  <a:moveTo>
                    <a:pt x="11" y="2"/>
                  </a:moveTo>
                  <a:cubicBezTo>
                    <a:pt x="15" y="1"/>
                    <a:pt x="14" y="0"/>
                    <a:pt x="21" y="1"/>
                  </a:cubicBezTo>
                  <a:cubicBezTo>
                    <a:pt x="27" y="2"/>
                    <a:pt x="28" y="2"/>
                    <a:pt x="34" y="2"/>
                  </a:cubicBezTo>
                  <a:cubicBezTo>
                    <a:pt x="39" y="2"/>
                    <a:pt x="40" y="5"/>
                    <a:pt x="37" y="6"/>
                  </a:cubicBezTo>
                  <a:cubicBezTo>
                    <a:pt x="34" y="8"/>
                    <a:pt x="34" y="6"/>
                    <a:pt x="26" y="9"/>
                  </a:cubicBezTo>
                  <a:cubicBezTo>
                    <a:pt x="18" y="13"/>
                    <a:pt x="17" y="13"/>
                    <a:pt x="14" y="16"/>
                  </a:cubicBezTo>
                  <a:cubicBezTo>
                    <a:pt x="11" y="19"/>
                    <a:pt x="4" y="19"/>
                    <a:pt x="2" y="17"/>
                  </a:cubicBezTo>
                  <a:cubicBezTo>
                    <a:pt x="0" y="15"/>
                    <a:pt x="0" y="14"/>
                    <a:pt x="1" y="11"/>
                  </a:cubicBezTo>
                  <a:cubicBezTo>
                    <a:pt x="2" y="9"/>
                    <a:pt x="7" y="5"/>
                    <a:pt x="11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6" name="Freeform 47"/>
            <p:cNvSpPr>
              <a:spLocks/>
            </p:cNvSpPr>
            <p:nvPr/>
          </p:nvSpPr>
          <p:spPr bwMode="auto">
            <a:xfrm>
              <a:off x="3156460" y="5756169"/>
              <a:ext cx="7144" cy="3572"/>
            </a:xfrm>
            <a:custGeom>
              <a:avLst/>
              <a:gdLst>
                <a:gd name="T0" fmla="*/ 7 w 25"/>
                <a:gd name="T1" fmla="*/ 6 h 12"/>
                <a:gd name="T2" fmla="*/ 4 w 25"/>
                <a:gd name="T3" fmla="*/ 12 h 12"/>
                <a:gd name="T4" fmla="*/ 14 w 25"/>
                <a:gd name="T5" fmla="*/ 10 h 12"/>
                <a:gd name="T6" fmla="*/ 24 w 25"/>
                <a:gd name="T7" fmla="*/ 8 h 12"/>
                <a:gd name="T8" fmla="*/ 7 w 25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2">
                  <a:moveTo>
                    <a:pt x="7" y="6"/>
                  </a:moveTo>
                  <a:cubicBezTo>
                    <a:pt x="1" y="9"/>
                    <a:pt x="0" y="12"/>
                    <a:pt x="4" y="12"/>
                  </a:cubicBezTo>
                  <a:cubicBezTo>
                    <a:pt x="8" y="12"/>
                    <a:pt x="9" y="10"/>
                    <a:pt x="14" y="10"/>
                  </a:cubicBezTo>
                  <a:cubicBezTo>
                    <a:pt x="19" y="10"/>
                    <a:pt x="25" y="11"/>
                    <a:pt x="24" y="8"/>
                  </a:cubicBezTo>
                  <a:cubicBezTo>
                    <a:pt x="23" y="5"/>
                    <a:pt x="13" y="0"/>
                    <a:pt x="7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7" name="Freeform 48"/>
            <p:cNvSpPr>
              <a:spLocks/>
            </p:cNvSpPr>
            <p:nvPr/>
          </p:nvSpPr>
          <p:spPr bwMode="auto">
            <a:xfrm>
              <a:off x="3169556" y="5754978"/>
              <a:ext cx="3572" cy="4763"/>
            </a:xfrm>
            <a:custGeom>
              <a:avLst/>
              <a:gdLst>
                <a:gd name="T0" fmla="*/ 5 w 10"/>
                <a:gd name="T1" fmla="*/ 6 h 16"/>
                <a:gd name="T2" fmla="*/ 4 w 10"/>
                <a:gd name="T3" fmla="*/ 15 h 16"/>
                <a:gd name="T4" fmla="*/ 9 w 10"/>
                <a:gd name="T5" fmla="*/ 9 h 16"/>
                <a:gd name="T6" fmla="*/ 5 w 10"/>
                <a:gd name="T7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6">
                  <a:moveTo>
                    <a:pt x="5" y="6"/>
                  </a:moveTo>
                  <a:cubicBezTo>
                    <a:pt x="2" y="9"/>
                    <a:pt x="0" y="16"/>
                    <a:pt x="4" y="15"/>
                  </a:cubicBezTo>
                  <a:cubicBezTo>
                    <a:pt x="8" y="14"/>
                    <a:pt x="8" y="16"/>
                    <a:pt x="9" y="9"/>
                  </a:cubicBezTo>
                  <a:cubicBezTo>
                    <a:pt x="10" y="3"/>
                    <a:pt x="6" y="0"/>
                    <a:pt x="5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" name="Freeform 49"/>
            <p:cNvSpPr>
              <a:spLocks/>
            </p:cNvSpPr>
            <p:nvPr/>
          </p:nvSpPr>
          <p:spPr bwMode="auto">
            <a:xfrm>
              <a:off x="3162413" y="5751407"/>
              <a:ext cx="5953" cy="7144"/>
            </a:xfrm>
            <a:custGeom>
              <a:avLst/>
              <a:gdLst>
                <a:gd name="T0" fmla="*/ 7 w 19"/>
                <a:gd name="T1" fmla="*/ 6 h 23"/>
                <a:gd name="T2" fmla="*/ 18 w 19"/>
                <a:gd name="T3" fmla="*/ 17 h 23"/>
                <a:gd name="T4" fmla="*/ 5 w 19"/>
                <a:gd name="T5" fmla="*/ 14 h 23"/>
                <a:gd name="T6" fmla="*/ 7 w 19"/>
                <a:gd name="T7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3">
                  <a:moveTo>
                    <a:pt x="7" y="6"/>
                  </a:moveTo>
                  <a:cubicBezTo>
                    <a:pt x="10" y="0"/>
                    <a:pt x="19" y="12"/>
                    <a:pt x="18" y="17"/>
                  </a:cubicBezTo>
                  <a:cubicBezTo>
                    <a:pt x="17" y="23"/>
                    <a:pt x="9" y="17"/>
                    <a:pt x="5" y="14"/>
                  </a:cubicBezTo>
                  <a:cubicBezTo>
                    <a:pt x="0" y="11"/>
                    <a:pt x="3" y="10"/>
                    <a:pt x="7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9" name="Freeform 50"/>
            <p:cNvSpPr>
              <a:spLocks/>
            </p:cNvSpPr>
            <p:nvPr/>
          </p:nvSpPr>
          <p:spPr bwMode="auto">
            <a:xfrm>
              <a:off x="3144553" y="5747835"/>
              <a:ext cx="10716" cy="7144"/>
            </a:xfrm>
            <a:custGeom>
              <a:avLst/>
              <a:gdLst>
                <a:gd name="T0" fmla="*/ 24 w 36"/>
                <a:gd name="T1" fmla="*/ 4 h 27"/>
                <a:gd name="T2" fmla="*/ 31 w 36"/>
                <a:gd name="T3" fmla="*/ 11 h 27"/>
                <a:gd name="T4" fmla="*/ 35 w 36"/>
                <a:gd name="T5" fmla="*/ 18 h 27"/>
                <a:gd name="T6" fmla="*/ 33 w 36"/>
                <a:gd name="T7" fmla="*/ 27 h 27"/>
                <a:gd name="T8" fmla="*/ 21 w 36"/>
                <a:gd name="T9" fmla="*/ 21 h 27"/>
                <a:gd name="T10" fmla="*/ 9 w 36"/>
                <a:gd name="T11" fmla="*/ 12 h 27"/>
                <a:gd name="T12" fmla="*/ 5 w 36"/>
                <a:gd name="T13" fmla="*/ 4 h 27"/>
                <a:gd name="T14" fmla="*/ 24 w 36"/>
                <a:gd name="T15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7">
                  <a:moveTo>
                    <a:pt x="24" y="4"/>
                  </a:moveTo>
                  <a:cubicBezTo>
                    <a:pt x="30" y="6"/>
                    <a:pt x="29" y="6"/>
                    <a:pt x="31" y="11"/>
                  </a:cubicBezTo>
                  <a:cubicBezTo>
                    <a:pt x="34" y="15"/>
                    <a:pt x="35" y="12"/>
                    <a:pt x="35" y="18"/>
                  </a:cubicBezTo>
                  <a:cubicBezTo>
                    <a:pt x="35" y="24"/>
                    <a:pt x="36" y="27"/>
                    <a:pt x="33" y="27"/>
                  </a:cubicBezTo>
                  <a:cubicBezTo>
                    <a:pt x="30" y="27"/>
                    <a:pt x="26" y="26"/>
                    <a:pt x="21" y="21"/>
                  </a:cubicBezTo>
                  <a:cubicBezTo>
                    <a:pt x="16" y="17"/>
                    <a:pt x="13" y="17"/>
                    <a:pt x="9" y="12"/>
                  </a:cubicBezTo>
                  <a:cubicBezTo>
                    <a:pt x="5" y="7"/>
                    <a:pt x="0" y="8"/>
                    <a:pt x="5" y="4"/>
                  </a:cubicBezTo>
                  <a:cubicBezTo>
                    <a:pt x="9" y="0"/>
                    <a:pt x="19" y="0"/>
                    <a:pt x="24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0" name="Freeform 54"/>
            <p:cNvSpPr>
              <a:spLocks/>
            </p:cNvSpPr>
            <p:nvPr/>
          </p:nvSpPr>
          <p:spPr bwMode="auto">
            <a:xfrm>
              <a:off x="3145744" y="5683541"/>
              <a:ext cx="5953" cy="9525"/>
            </a:xfrm>
            <a:custGeom>
              <a:avLst/>
              <a:gdLst>
                <a:gd name="T0" fmla="*/ 0 w 19"/>
                <a:gd name="T1" fmla="*/ 30 h 32"/>
                <a:gd name="T2" fmla="*/ 0 w 19"/>
                <a:gd name="T3" fmla="*/ 0 h 32"/>
                <a:gd name="T4" fmla="*/ 2 w 19"/>
                <a:gd name="T5" fmla="*/ 3 h 32"/>
                <a:gd name="T6" fmla="*/ 15 w 19"/>
                <a:gd name="T7" fmla="*/ 16 h 32"/>
                <a:gd name="T8" fmla="*/ 17 w 19"/>
                <a:gd name="T9" fmla="*/ 26 h 32"/>
                <a:gd name="T10" fmla="*/ 7 w 19"/>
                <a:gd name="T11" fmla="*/ 27 h 32"/>
                <a:gd name="T12" fmla="*/ 0 w 19"/>
                <a:gd name="T13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2">
                  <a:moveTo>
                    <a:pt x="0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2"/>
                    <a:pt x="2" y="3"/>
                  </a:cubicBezTo>
                  <a:cubicBezTo>
                    <a:pt x="7" y="9"/>
                    <a:pt x="10" y="11"/>
                    <a:pt x="15" y="16"/>
                  </a:cubicBezTo>
                  <a:cubicBezTo>
                    <a:pt x="19" y="21"/>
                    <a:pt x="19" y="20"/>
                    <a:pt x="17" y="26"/>
                  </a:cubicBezTo>
                  <a:cubicBezTo>
                    <a:pt x="15" y="32"/>
                    <a:pt x="11" y="29"/>
                    <a:pt x="7" y="27"/>
                  </a:cubicBezTo>
                  <a:cubicBezTo>
                    <a:pt x="3" y="25"/>
                    <a:pt x="2" y="27"/>
                    <a:pt x="0" y="3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1" name="Freeform 55"/>
            <p:cNvSpPr>
              <a:spLocks/>
            </p:cNvSpPr>
            <p:nvPr/>
          </p:nvSpPr>
          <p:spPr bwMode="auto">
            <a:xfrm>
              <a:off x="2956435" y="4500060"/>
              <a:ext cx="2381" cy="3572"/>
            </a:xfrm>
            <a:custGeom>
              <a:avLst/>
              <a:gdLst>
                <a:gd name="T0" fmla="*/ 1 w 7"/>
                <a:gd name="T1" fmla="*/ 4 h 12"/>
                <a:gd name="T2" fmla="*/ 3 w 7"/>
                <a:gd name="T3" fmla="*/ 11 h 12"/>
                <a:gd name="T4" fmla="*/ 7 w 7"/>
                <a:gd name="T5" fmla="*/ 6 h 12"/>
                <a:gd name="T6" fmla="*/ 1 w 7"/>
                <a:gd name="T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2">
                  <a:moveTo>
                    <a:pt x="1" y="4"/>
                  </a:moveTo>
                  <a:cubicBezTo>
                    <a:pt x="0" y="8"/>
                    <a:pt x="1" y="12"/>
                    <a:pt x="3" y="11"/>
                  </a:cubicBezTo>
                  <a:cubicBezTo>
                    <a:pt x="6" y="10"/>
                    <a:pt x="7" y="10"/>
                    <a:pt x="7" y="6"/>
                  </a:cubicBezTo>
                  <a:cubicBezTo>
                    <a:pt x="7" y="2"/>
                    <a:pt x="3" y="0"/>
                    <a:pt x="1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2" name="Freeform 56"/>
            <p:cNvSpPr>
              <a:spLocks/>
            </p:cNvSpPr>
            <p:nvPr/>
          </p:nvSpPr>
          <p:spPr bwMode="auto">
            <a:xfrm>
              <a:off x="2961197" y="4497678"/>
              <a:ext cx="2381" cy="5953"/>
            </a:xfrm>
            <a:custGeom>
              <a:avLst/>
              <a:gdLst>
                <a:gd name="T0" fmla="*/ 3 w 10"/>
                <a:gd name="T1" fmla="*/ 1 h 19"/>
                <a:gd name="T2" fmla="*/ 0 w 10"/>
                <a:gd name="T3" fmla="*/ 5 h 19"/>
                <a:gd name="T4" fmla="*/ 2 w 10"/>
                <a:gd name="T5" fmla="*/ 12 h 19"/>
                <a:gd name="T6" fmla="*/ 7 w 10"/>
                <a:gd name="T7" fmla="*/ 17 h 19"/>
                <a:gd name="T8" fmla="*/ 9 w 10"/>
                <a:gd name="T9" fmla="*/ 5 h 19"/>
                <a:gd name="T10" fmla="*/ 3 w 10"/>
                <a:gd name="T11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9">
                  <a:moveTo>
                    <a:pt x="3" y="1"/>
                  </a:moveTo>
                  <a:cubicBezTo>
                    <a:pt x="0" y="2"/>
                    <a:pt x="0" y="3"/>
                    <a:pt x="0" y="5"/>
                  </a:cubicBezTo>
                  <a:cubicBezTo>
                    <a:pt x="0" y="8"/>
                    <a:pt x="1" y="10"/>
                    <a:pt x="2" y="12"/>
                  </a:cubicBezTo>
                  <a:cubicBezTo>
                    <a:pt x="2" y="14"/>
                    <a:pt x="6" y="19"/>
                    <a:pt x="7" y="17"/>
                  </a:cubicBezTo>
                  <a:cubicBezTo>
                    <a:pt x="8" y="16"/>
                    <a:pt x="8" y="10"/>
                    <a:pt x="9" y="5"/>
                  </a:cubicBezTo>
                  <a:cubicBezTo>
                    <a:pt x="10" y="0"/>
                    <a:pt x="8" y="0"/>
                    <a:pt x="3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3" name="Freeform 57"/>
            <p:cNvSpPr>
              <a:spLocks/>
            </p:cNvSpPr>
            <p:nvPr/>
          </p:nvSpPr>
          <p:spPr bwMode="auto">
            <a:xfrm>
              <a:off x="2908810" y="4511966"/>
              <a:ext cx="4762" cy="7144"/>
            </a:xfrm>
            <a:custGeom>
              <a:avLst/>
              <a:gdLst>
                <a:gd name="T0" fmla="*/ 3 w 18"/>
                <a:gd name="T1" fmla="*/ 10 h 25"/>
                <a:gd name="T2" fmla="*/ 3 w 18"/>
                <a:gd name="T3" fmla="*/ 18 h 25"/>
                <a:gd name="T4" fmla="*/ 17 w 18"/>
                <a:gd name="T5" fmla="*/ 24 h 25"/>
                <a:gd name="T6" fmla="*/ 15 w 18"/>
                <a:gd name="T7" fmla="*/ 8 h 25"/>
                <a:gd name="T8" fmla="*/ 3 w 18"/>
                <a:gd name="T9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5">
                  <a:moveTo>
                    <a:pt x="3" y="10"/>
                  </a:moveTo>
                  <a:cubicBezTo>
                    <a:pt x="0" y="10"/>
                    <a:pt x="1" y="17"/>
                    <a:pt x="3" y="18"/>
                  </a:cubicBezTo>
                  <a:cubicBezTo>
                    <a:pt x="5" y="19"/>
                    <a:pt x="15" y="25"/>
                    <a:pt x="17" y="24"/>
                  </a:cubicBezTo>
                  <a:cubicBezTo>
                    <a:pt x="18" y="22"/>
                    <a:pt x="16" y="16"/>
                    <a:pt x="15" y="8"/>
                  </a:cubicBezTo>
                  <a:cubicBezTo>
                    <a:pt x="14" y="0"/>
                    <a:pt x="10" y="6"/>
                    <a:pt x="3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" name="Freeform 58"/>
            <p:cNvSpPr>
              <a:spLocks/>
            </p:cNvSpPr>
            <p:nvPr/>
          </p:nvSpPr>
          <p:spPr bwMode="auto">
            <a:xfrm>
              <a:off x="3262425" y="4340516"/>
              <a:ext cx="7144" cy="4763"/>
            </a:xfrm>
            <a:custGeom>
              <a:avLst/>
              <a:gdLst>
                <a:gd name="T0" fmla="*/ 7 w 24"/>
                <a:gd name="T1" fmla="*/ 3 h 16"/>
                <a:gd name="T2" fmla="*/ 5 w 24"/>
                <a:gd name="T3" fmla="*/ 14 h 16"/>
                <a:gd name="T4" fmla="*/ 21 w 24"/>
                <a:gd name="T5" fmla="*/ 14 h 16"/>
                <a:gd name="T6" fmla="*/ 19 w 24"/>
                <a:gd name="T7" fmla="*/ 8 h 16"/>
                <a:gd name="T8" fmla="*/ 7 w 24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6">
                  <a:moveTo>
                    <a:pt x="7" y="3"/>
                  </a:moveTo>
                  <a:cubicBezTo>
                    <a:pt x="4" y="8"/>
                    <a:pt x="0" y="12"/>
                    <a:pt x="5" y="14"/>
                  </a:cubicBezTo>
                  <a:cubicBezTo>
                    <a:pt x="11" y="15"/>
                    <a:pt x="18" y="16"/>
                    <a:pt x="21" y="14"/>
                  </a:cubicBezTo>
                  <a:cubicBezTo>
                    <a:pt x="24" y="12"/>
                    <a:pt x="23" y="13"/>
                    <a:pt x="19" y="8"/>
                  </a:cubicBezTo>
                  <a:cubicBezTo>
                    <a:pt x="15" y="3"/>
                    <a:pt x="9" y="0"/>
                    <a:pt x="7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5" name="Freeform 59"/>
            <p:cNvSpPr>
              <a:spLocks/>
            </p:cNvSpPr>
            <p:nvPr/>
          </p:nvSpPr>
          <p:spPr bwMode="auto">
            <a:xfrm>
              <a:off x="3281475" y="4444100"/>
              <a:ext cx="7144" cy="5953"/>
            </a:xfrm>
            <a:custGeom>
              <a:avLst/>
              <a:gdLst>
                <a:gd name="T0" fmla="*/ 11 w 22"/>
                <a:gd name="T1" fmla="*/ 7 h 21"/>
                <a:gd name="T2" fmla="*/ 22 w 22"/>
                <a:gd name="T3" fmla="*/ 13 h 21"/>
                <a:gd name="T4" fmla="*/ 11 w 22"/>
                <a:gd name="T5" fmla="*/ 18 h 21"/>
                <a:gd name="T6" fmla="*/ 1 w 22"/>
                <a:gd name="T7" fmla="*/ 16 h 21"/>
                <a:gd name="T8" fmla="*/ 11 w 22"/>
                <a:gd name="T9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1">
                  <a:moveTo>
                    <a:pt x="11" y="7"/>
                  </a:moveTo>
                  <a:cubicBezTo>
                    <a:pt x="14" y="0"/>
                    <a:pt x="22" y="8"/>
                    <a:pt x="22" y="13"/>
                  </a:cubicBezTo>
                  <a:cubicBezTo>
                    <a:pt x="22" y="16"/>
                    <a:pt x="16" y="16"/>
                    <a:pt x="11" y="18"/>
                  </a:cubicBezTo>
                  <a:cubicBezTo>
                    <a:pt x="5" y="21"/>
                    <a:pt x="3" y="21"/>
                    <a:pt x="1" y="16"/>
                  </a:cubicBezTo>
                  <a:cubicBezTo>
                    <a:pt x="0" y="12"/>
                    <a:pt x="7" y="13"/>
                    <a:pt x="11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6" name="Freeform 60"/>
            <p:cNvSpPr>
              <a:spLocks/>
            </p:cNvSpPr>
            <p:nvPr/>
          </p:nvSpPr>
          <p:spPr bwMode="auto">
            <a:xfrm>
              <a:off x="3263616" y="4429813"/>
              <a:ext cx="7144" cy="4763"/>
            </a:xfrm>
            <a:custGeom>
              <a:avLst/>
              <a:gdLst>
                <a:gd name="T0" fmla="*/ 8 w 22"/>
                <a:gd name="T1" fmla="*/ 7 h 19"/>
                <a:gd name="T2" fmla="*/ 20 w 22"/>
                <a:gd name="T3" fmla="*/ 6 h 19"/>
                <a:gd name="T4" fmla="*/ 12 w 22"/>
                <a:gd name="T5" fmla="*/ 13 h 19"/>
                <a:gd name="T6" fmla="*/ 4 w 22"/>
                <a:gd name="T7" fmla="*/ 17 h 19"/>
                <a:gd name="T8" fmla="*/ 8 w 22"/>
                <a:gd name="T9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9">
                  <a:moveTo>
                    <a:pt x="8" y="7"/>
                  </a:moveTo>
                  <a:cubicBezTo>
                    <a:pt x="9" y="0"/>
                    <a:pt x="18" y="3"/>
                    <a:pt x="20" y="6"/>
                  </a:cubicBezTo>
                  <a:cubicBezTo>
                    <a:pt x="22" y="9"/>
                    <a:pt x="19" y="10"/>
                    <a:pt x="12" y="13"/>
                  </a:cubicBezTo>
                  <a:cubicBezTo>
                    <a:pt x="6" y="17"/>
                    <a:pt x="7" y="19"/>
                    <a:pt x="4" y="17"/>
                  </a:cubicBezTo>
                  <a:cubicBezTo>
                    <a:pt x="0" y="14"/>
                    <a:pt x="6" y="12"/>
                    <a:pt x="8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7" name="Freeform 61"/>
            <p:cNvSpPr>
              <a:spLocks/>
            </p:cNvSpPr>
            <p:nvPr/>
          </p:nvSpPr>
          <p:spPr bwMode="auto">
            <a:xfrm>
              <a:off x="3223134" y="4450053"/>
              <a:ext cx="7144" cy="4763"/>
            </a:xfrm>
            <a:custGeom>
              <a:avLst/>
              <a:gdLst>
                <a:gd name="T0" fmla="*/ 11 w 26"/>
                <a:gd name="T1" fmla="*/ 5 h 17"/>
                <a:gd name="T2" fmla="*/ 19 w 26"/>
                <a:gd name="T3" fmla="*/ 3 h 17"/>
                <a:gd name="T4" fmla="*/ 25 w 26"/>
                <a:gd name="T5" fmla="*/ 11 h 17"/>
                <a:gd name="T6" fmla="*/ 20 w 26"/>
                <a:gd name="T7" fmla="*/ 16 h 17"/>
                <a:gd name="T8" fmla="*/ 13 w 26"/>
                <a:gd name="T9" fmla="*/ 17 h 17"/>
                <a:gd name="T10" fmla="*/ 3 w 26"/>
                <a:gd name="T11" fmla="*/ 13 h 17"/>
                <a:gd name="T12" fmla="*/ 4 w 26"/>
                <a:gd name="T13" fmla="*/ 8 h 17"/>
                <a:gd name="T14" fmla="*/ 11 w 26"/>
                <a:gd name="T15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7">
                  <a:moveTo>
                    <a:pt x="11" y="5"/>
                  </a:moveTo>
                  <a:cubicBezTo>
                    <a:pt x="15" y="0"/>
                    <a:pt x="15" y="0"/>
                    <a:pt x="19" y="3"/>
                  </a:cubicBezTo>
                  <a:cubicBezTo>
                    <a:pt x="23" y="5"/>
                    <a:pt x="26" y="8"/>
                    <a:pt x="25" y="11"/>
                  </a:cubicBezTo>
                  <a:cubicBezTo>
                    <a:pt x="24" y="13"/>
                    <a:pt x="22" y="15"/>
                    <a:pt x="20" y="16"/>
                  </a:cubicBezTo>
                  <a:cubicBezTo>
                    <a:pt x="17" y="16"/>
                    <a:pt x="16" y="17"/>
                    <a:pt x="13" y="17"/>
                  </a:cubicBezTo>
                  <a:cubicBezTo>
                    <a:pt x="10" y="17"/>
                    <a:pt x="6" y="15"/>
                    <a:pt x="3" y="13"/>
                  </a:cubicBezTo>
                  <a:cubicBezTo>
                    <a:pt x="0" y="11"/>
                    <a:pt x="2" y="9"/>
                    <a:pt x="4" y="8"/>
                  </a:cubicBezTo>
                  <a:cubicBezTo>
                    <a:pt x="5" y="8"/>
                    <a:pt x="9" y="7"/>
                    <a:pt x="11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8" name="Freeform 62"/>
            <p:cNvSpPr>
              <a:spLocks/>
            </p:cNvSpPr>
            <p:nvPr/>
          </p:nvSpPr>
          <p:spPr bwMode="auto">
            <a:xfrm>
              <a:off x="3264806" y="4456007"/>
              <a:ext cx="16669" cy="14288"/>
            </a:xfrm>
            <a:custGeom>
              <a:avLst/>
              <a:gdLst>
                <a:gd name="T0" fmla="*/ 32 w 57"/>
                <a:gd name="T1" fmla="*/ 3 h 51"/>
                <a:gd name="T2" fmla="*/ 48 w 57"/>
                <a:gd name="T3" fmla="*/ 2 h 51"/>
                <a:gd name="T4" fmla="*/ 54 w 57"/>
                <a:gd name="T5" fmla="*/ 7 h 51"/>
                <a:gd name="T6" fmla="*/ 47 w 57"/>
                <a:gd name="T7" fmla="*/ 19 h 51"/>
                <a:gd name="T8" fmla="*/ 51 w 57"/>
                <a:gd name="T9" fmla="*/ 31 h 51"/>
                <a:gd name="T10" fmla="*/ 48 w 57"/>
                <a:gd name="T11" fmla="*/ 42 h 51"/>
                <a:gd name="T12" fmla="*/ 37 w 57"/>
                <a:gd name="T13" fmla="*/ 45 h 51"/>
                <a:gd name="T14" fmla="*/ 23 w 57"/>
                <a:gd name="T15" fmla="*/ 45 h 51"/>
                <a:gd name="T16" fmla="*/ 7 w 57"/>
                <a:gd name="T17" fmla="*/ 49 h 51"/>
                <a:gd name="T18" fmla="*/ 6 w 57"/>
                <a:gd name="T19" fmla="*/ 42 h 51"/>
                <a:gd name="T20" fmla="*/ 19 w 57"/>
                <a:gd name="T21" fmla="*/ 33 h 51"/>
                <a:gd name="T22" fmla="*/ 22 w 57"/>
                <a:gd name="T23" fmla="*/ 20 h 51"/>
                <a:gd name="T24" fmla="*/ 16 w 57"/>
                <a:gd name="T25" fmla="*/ 9 h 51"/>
                <a:gd name="T26" fmla="*/ 32 w 57"/>
                <a:gd name="T27" fmla="*/ 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51">
                  <a:moveTo>
                    <a:pt x="32" y="3"/>
                  </a:moveTo>
                  <a:cubicBezTo>
                    <a:pt x="40" y="2"/>
                    <a:pt x="42" y="1"/>
                    <a:pt x="48" y="2"/>
                  </a:cubicBezTo>
                  <a:cubicBezTo>
                    <a:pt x="54" y="3"/>
                    <a:pt x="57" y="0"/>
                    <a:pt x="54" y="7"/>
                  </a:cubicBezTo>
                  <a:cubicBezTo>
                    <a:pt x="50" y="15"/>
                    <a:pt x="46" y="13"/>
                    <a:pt x="47" y="19"/>
                  </a:cubicBezTo>
                  <a:cubicBezTo>
                    <a:pt x="48" y="24"/>
                    <a:pt x="50" y="27"/>
                    <a:pt x="51" y="31"/>
                  </a:cubicBezTo>
                  <a:cubicBezTo>
                    <a:pt x="51" y="35"/>
                    <a:pt x="51" y="39"/>
                    <a:pt x="48" y="42"/>
                  </a:cubicBezTo>
                  <a:cubicBezTo>
                    <a:pt x="45" y="44"/>
                    <a:pt x="41" y="46"/>
                    <a:pt x="37" y="45"/>
                  </a:cubicBezTo>
                  <a:cubicBezTo>
                    <a:pt x="32" y="44"/>
                    <a:pt x="30" y="41"/>
                    <a:pt x="23" y="45"/>
                  </a:cubicBezTo>
                  <a:cubicBezTo>
                    <a:pt x="17" y="48"/>
                    <a:pt x="11" y="51"/>
                    <a:pt x="7" y="49"/>
                  </a:cubicBezTo>
                  <a:cubicBezTo>
                    <a:pt x="4" y="46"/>
                    <a:pt x="0" y="44"/>
                    <a:pt x="6" y="42"/>
                  </a:cubicBezTo>
                  <a:cubicBezTo>
                    <a:pt x="12" y="39"/>
                    <a:pt x="16" y="38"/>
                    <a:pt x="19" y="33"/>
                  </a:cubicBezTo>
                  <a:cubicBezTo>
                    <a:pt x="22" y="28"/>
                    <a:pt x="25" y="24"/>
                    <a:pt x="22" y="20"/>
                  </a:cubicBezTo>
                  <a:cubicBezTo>
                    <a:pt x="20" y="15"/>
                    <a:pt x="14" y="12"/>
                    <a:pt x="16" y="9"/>
                  </a:cubicBezTo>
                  <a:cubicBezTo>
                    <a:pt x="17" y="6"/>
                    <a:pt x="24" y="3"/>
                    <a:pt x="32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9" name="Freeform 63"/>
            <p:cNvSpPr>
              <a:spLocks/>
            </p:cNvSpPr>
            <p:nvPr/>
          </p:nvSpPr>
          <p:spPr bwMode="auto">
            <a:xfrm>
              <a:off x="3304097" y="4410763"/>
              <a:ext cx="4762" cy="5953"/>
            </a:xfrm>
            <a:custGeom>
              <a:avLst/>
              <a:gdLst>
                <a:gd name="T0" fmla="*/ 1 w 15"/>
                <a:gd name="T1" fmla="*/ 6 h 20"/>
                <a:gd name="T2" fmla="*/ 3 w 15"/>
                <a:gd name="T3" fmla="*/ 10 h 20"/>
                <a:gd name="T4" fmla="*/ 9 w 15"/>
                <a:gd name="T5" fmla="*/ 19 h 20"/>
                <a:gd name="T6" fmla="*/ 13 w 15"/>
                <a:gd name="T7" fmla="*/ 12 h 20"/>
                <a:gd name="T8" fmla="*/ 9 w 15"/>
                <a:gd name="T9" fmla="*/ 6 h 20"/>
                <a:gd name="T10" fmla="*/ 1 w 15"/>
                <a:gd name="T11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0">
                  <a:moveTo>
                    <a:pt x="1" y="6"/>
                  </a:moveTo>
                  <a:cubicBezTo>
                    <a:pt x="1" y="9"/>
                    <a:pt x="1" y="5"/>
                    <a:pt x="3" y="10"/>
                  </a:cubicBezTo>
                  <a:cubicBezTo>
                    <a:pt x="5" y="16"/>
                    <a:pt x="6" y="20"/>
                    <a:pt x="9" y="19"/>
                  </a:cubicBezTo>
                  <a:cubicBezTo>
                    <a:pt x="11" y="18"/>
                    <a:pt x="15" y="15"/>
                    <a:pt x="13" y="12"/>
                  </a:cubicBezTo>
                  <a:cubicBezTo>
                    <a:pt x="11" y="9"/>
                    <a:pt x="10" y="8"/>
                    <a:pt x="9" y="6"/>
                  </a:cubicBezTo>
                  <a:cubicBezTo>
                    <a:pt x="7" y="3"/>
                    <a:pt x="0" y="0"/>
                    <a:pt x="1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0" name="Freeform 64"/>
            <p:cNvSpPr>
              <a:spLocks/>
            </p:cNvSpPr>
            <p:nvPr/>
          </p:nvSpPr>
          <p:spPr bwMode="auto">
            <a:xfrm>
              <a:off x="3274331" y="4409572"/>
              <a:ext cx="4762" cy="4763"/>
            </a:xfrm>
            <a:custGeom>
              <a:avLst/>
              <a:gdLst>
                <a:gd name="T0" fmla="*/ 10 w 18"/>
                <a:gd name="T1" fmla="*/ 1 h 15"/>
                <a:gd name="T2" fmla="*/ 2 w 18"/>
                <a:gd name="T3" fmla="*/ 10 h 15"/>
                <a:gd name="T4" fmla="*/ 15 w 18"/>
                <a:gd name="T5" fmla="*/ 12 h 15"/>
                <a:gd name="T6" fmla="*/ 10 w 18"/>
                <a:gd name="T7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0" y="1"/>
                  </a:moveTo>
                  <a:cubicBezTo>
                    <a:pt x="7" y="3"/>
                    <a:pt x="0" y="6"/>
                    <a:pt x="2" y="10"/>
                  </a:cubicBezTo>
                  <a:cubicBezTo>
                    <a:pt x="5" y="14"/>
                    <a:pt x="12" y="15"/>
                    <a:pt x="15" y="12"/>
                  </a:cubicBezTo>
                  <a:cubicBezTo>
                    <a:pt x="18" y="9"/>
                    <a:pt x="15" y="0"/>
                    <a:pt x="10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1" name="Freeform 65"/>
            <p:cNvSpPr>
              <a:spLocks/>
            </p:cNvSpPr>
            <p:nvPr/>
          </p:nvSpPr>
          <p:spPr bwMode="auto">
            <a:xfrm>
              <a:off x="3277903" y="4397666"/>
              <a:ext cx="3572" cy="7144"/>
            </a:xfrm>
            <a:custGeom>
              <a:avLst/>
              <a:gdLst>
                <a:gd name="T0" fmla="*/ 8 w 13"/>
                <a:gd name="T1" fmla="*/ 1 h 26"/>
                <a:gd name="T2" fmla="*/ 4 w 13"/>
                <a:gd name="T3" fmla="*/ 10 h 26"/>
                <a:gd name="T4" fmla="*/ 2 w 13"/>
                <a:gd name="T5" fmla="*/ 16 h 26"/>
                <a:gd name="T6" fmla="*/ 9 w 13"/>
                <a:gd name="T7" fmla="*/ 20 h 26"/>
                <a:gd name="T8" fmla="*/ 12 w 13"/>
                <a:gd name="T9" fmla="*/ 9 h 26"/>
                <a:gd name="T10" fmla="*/ 8 w 13"/>
                <a:gd name="T11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6">
                  <a:moveTo>
                    <a:pt x="8" y="1"/>
                  </a:moveTo>
                  <a:cubicBezTo>
                    <a:pt x="4" y="5"/>
                    <a:pt x="5" y="9"/>
                    <a:pt x="4" y="10"/>
                  </a:cubicBezTo>
                  <a:cubicBezTo>
                    <a:pt x="3" y="11"/>
                    <a:pt x="0" y="12"/>
                    <a:pt x="2" y="16"/>
                  </a:cubicBezTo>
                  <a:cubicBezTo>
                    <a:pt x="5" y="19"/>
                    <a:pt x="7" y="26"/>
                    <a:pt x="9" y="20"/>
                  </a:cubicBezTo>
                  <a:cubicBezTo>
                    <a:pt x="11" y="15"/>
                    <a:pt x="13" y="16"/>
                    <a:pt x="12" y="9"/>
                  </a:cubicBezTo>
                  <a:cubicBezTo>
                    <a:pt x="11" y="3"/>
                    <a:pt x="10" y="0"/>
                    <a:pt x="8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" name="Freeform 66"/>
            <p:cNvSpPr>
              <a:spLocks/>
            </p:cNvSpPr>
            <p:nvPr/>
          </p:nvSpPr>
          <p:spPr bwMode="auto">
            <a:xfrm>
              <a:off x="3275522" y="4382188"/>
              <a:ext cx="7144" cy="9525"/>
            </a:xfrm>
            <a:custGeom>
              <a:avLst/>
              <a:gdLst>
                <a:gd name="T0" fmla="*/ 2 w 26"/>
                <a:gd name="T1" fmla="*/ 6 h 32"/>
                <a:gd name="T2" fmla="*/ 5 w 26"/>
                <a:gd name="T3" fmla="*/ 17 h 32"/>
                <a:gd name="T4" fmla="*/ 15 w 26"/>
                <a:gd name="T5" fmla="*/ 27 h 32"/>
                <a:gd name="T6" fmla="*/ 23 w 26"/>
                <a:gd name="T7" fmla="*/ 28 h 32"/>
                <a:gd name="T8" fmla="*/ 21 w 26"/>
                <a:gd name="T9" fmla="*/ 19 h 32"/>
                <a:gd name="T10" fmla="*/ 14 w 26"/>
                <a:gd name="T11" fmla="*/ 7 h 32"/>
                <a:gd name="T12" fmla="*/ 2 w 26"/>
                <a:gd name="T13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2">
                  <a:moveTo>
                    <a:pt x="2" y="6"/>
                  </a:moveTo>
                  <a:cubicBezTo>
                    <a:pt x="1" y="9"/>
                    <a:pt x="0" y="14"/>
                    <a:pt x="5" y="17"/>
                  </a:cubicBezTo>
                  <a:cubicBezTo>
                    <a:pt x="11" y="21"/>
                    <a:pt x="11" y="23"/>
                    <a:pt x="15" y="27"/>
                  </a:cubicBezTo>
                  <a:cubicBezTo>
                    <a:pt x="19" y="30"/>
                    <a:pt x="22" y="32"/>
                    <a:pt x="23" y="28"/>
                  </a:cubicBezTo>
                  <a:cubicBezTo>
                    <a:pt x="25" y="25"/>
                    <a:pt x="26" y="23"/>
                    <a:pt x="21" y="19"/>
                  </a:cubicBezTo>
                  <a:cubicBezTo>
                    <a:pt x="17" y="14"/>
                    <a:pt x="17" y="10"/>
                    <a:pt x="14" y="7"/>
                  </a:cubicBezTo>
                  <a:cubicBezTo>
                    <a:pt x="11" y="4"/>
                    <a:pt x="6" y="0"/>
                    <a:pt x="2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" name="Freeform 67"/>
            <p:cNvSpPr>
              <a:spLocks/>
            </p:cNvSpPr>
            <p:nvPr/>
          </p:nvSpPr>
          <p:spPr bwMode="auto">
            <a:xfrm>
              <a:off x="3270759" y="4367900"/>
              <a:ext cx="5953" cy="10716"/>
            </a:xfrm>
            <a:custGeom>
              <a:avLst/>
              <a:gdLst>
                <a:gd name="T0" fmla="*/ 2 w 21"/>
                <a:gd name="T1" fmla="*/ 4 h 35"/>
                <a:gd name="T2" fmla="*/ 4 w 21"/>
                <a:gd name="T3" fmla="*/ 17 h 35"/>
                <a:gd name="T4" fmla="*/ 11 w 21"/>
                <a:gd name="T5" fmla="*/ 29 h 35"/>
                <a:gd name="T6" fmla="*/ 17 w 21"/>
                <a:gd name="T7" fmla="*/ 10 h 35"/>
                <a:gd name="T8" fmla="*/ 2 w 21"/>
                <a:gd name="T9" fmla="*/ 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35">
                  <a:moveTo>
                    <a:pt x="2" y="4"/>
                  </a:moveTo>
                  <a:cubicBezTo>
                    <a:pt x="0" y="9"/>
                    <a:pt x="0" y="11"/>
                    <a:pt x="4" y="17"/>
                  </a:cubicBezTo>
                  <a:cubicBezTo>
                    <a:pt x="8" y="23"/>
                    <a:pt x="5" y="35"/>
                    <a:pt x="11" y="29"/>
                  </a:cubicBezTo>
                  <a:cubicBezTo>
                    <a:pt x="17" y="22"/>
                    <a:pt x="21" y="16"/>
                    <a:pt x="17" y="10"/>
                  </a:cubicBezTo>
                  <a:cubicBezTo>
                    <a:pt x="13" y="5"/>
                    <a:pt x="5" y="0"/>
                    <a:pt x="2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" name="Freeform 68"/>
            <p:cNvSpPr>
              <a:spLocks/>
            </p:cNvSpPr>
            <p:nvPr/>
          </p:nvSpPr>
          <p:spPr bwMode="auto">
            <a:xfrm>
              <a:off x="3270759" y="4353613"/>
              <a:ext cx="5953" cy="5953"/>
            </a:xfrm>
            <a:custGeom>
              <a:avLst/>
              <a:gdLst>
                <a:gd name="T0" fmla="*/ 7 w 21"/>
                <a:gd name="T1" fmla="*/ 1 h 19"/>
                <a:gd name="T2" fmla="*/ 3 w 21"/>
                <a:gd name="T3" fmla="*/ 8 h 19"/>
                <a:gd name="T4" fmla="*/ 14 w 21"/>
                <a:gd name="T5" fmla="*/ 15 h 19"/>
                <a:gd name="T6" fmla="*/ 19 w 21"/>
                <a:gd name="T7" fmla="*/ 13 h 19"/>
                <a:gd name="T8" fmla="*/ 12 w 21"/>
                <a:gd name="T9" fmla="*/ 4 h 19"/>
                <a:gd name="T10" fmla="*/ 7 w 21"/>
                <a:gd name="T11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9">
                  <a:moveTo>
                    <a:pt x="7" y="1"/>
                  </a:moveTo>
                  <a:cubicBezTo>
                    <a:pt x="5" y="5"/>
                    <a:pt x="0" y="3"/>
                    <a:pt x="3" y="8"/>
                  </a:cubicBezTo>
                  <a:cubicBezTo>
                    <a:pt x="6" y="14"/>
                    <a:pt x="10" y="15"/>
                    <a:pt x="14" y="15"/>
                  </a:cubicBezTo>
                  <a:cubicBezTo>
                    <a:pt x="17" y="15"/>
                    <a:pt x="21" y="19"/>
                    <a:pt x="19" y="13"/>
                  </a:cubicBezTo>
                  <a:cubicBezTo>
                    <a:pt x="16" y="7"/>
                    <a:pt x="12" y="6"/>
                    <a:pt x="12" y="4"/>
                  </a:cubicBezTo>
                  <a:cubicBezTo>
                    <a:pt x="12" y="1"/>
                    <a:pt x="9" y="0"/>
                    <a:pt x="7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" name="Freeform 69"/>
            <p:cNvSpPr>
              <a:spLocks/>
            </p:cNvSpPr>
            <p:nvPr/>
          </p:nvSpPr>
          <p:spPr bwMode="auto">
            <a:xfrm>
              <a:off x="3264806" y="4357185"/>
              <a:ext cx="5953" cy="8334"/>
            </a:xfrm>
            <a:custGeom>
              <a:avLst/>
              <a:gdLst>
                <a:gd name="T0" fmla="*/ 4 w 19"/>
                <a:gd name="T1" fmla="*/ 2 h 28"/>
                <a:gd name="T2" fmla="*/ 4 w 19"/>
                <a:gd name="T3" fmla="*/ 15 h 28"/>
                <a:gd name="T4" fmla="*/ 12 w 19"/>
                <a:gd name="T5" fmla="*/ 24 h 28"/>
                <a:gd name="T6" fmla="*/ 17 w 19"/>
                <a:gd name="T7" fmla="*/ 10 h 28"/>
                <a:gd name="T8" fmla="*/ 16 w 19"/>
                <a:gd name="T9" fmla="*/ 4 h 28"/>
                <a:gd name="T10" fmla="*/ 4 w 19"/>
                <a:gd name="T1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4" y="2"/>
                  </a:moveTo>
                  <a:cubicBezTo>
                    <a:pt x="3" y="6"/>
                    <a:pt x="0" y="8"/>
                    <a:pt x="4" y="15"/>
                  </a:cubicBezTo>
                  <a:cubicBezTo>
                    <a:pt x="7" y="22"/>
                    <a:pt x="9" y="28"/>
                    <a:pt x="12" y="24"/>
                  </a:cubicBezTo>
                  <a:cubicBezTo>
                    <a:pt x="15" y="19"/>
                    <a:pt x="16" y="14"/>
                    <a:pt x="17" y="10"/>
                  </a:cubicBezTo>
                  <a:cubicBezTo>
                    <a:pt x="18" y="6"/>
                    <a:pt x="19" y="7"/>
                    <a:pt x="16" y="4"/>
                  </a:cubicBezTo>
                  <a:cubicBezTo>
                    <a:pt x="13" y="1"/>
                    <a:pt x="5" y="0"/>
                    <a:pt x="4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" name="Freeform 70"/>
            <p:cNvSpPr>
              <a:spLocks/>
            </p:cNvSpPr>
            <p:nvPr/>
          </p:nvSpPr>
          <p:spPr bwMode="auto">
            <a:xfrm>
              <a:off x="3245756" y="4335753"/>
              <a:ext cx="5953" cy="4763"/>
            </a:xfrm>
            <a:custGeom>
              <a:avLst/>
              <a:gdLst>
                <a:gd name="T0" fmla="*/ 2 w 19"/>
                <a:gd name="T1" fmla="*/ 2 h 17"/>
                <a:gd name="T2" fmla="*/ 4 w 19"/>
                <a:gd name="T3" fmla="*/ 9 h 17"/>
                <a:gd name="T4" fmla="*/ 13 w 19"/>
                <a:gd name="T5" fmla="*/ 16 h 17"/>
                <a:gd name="T6" fmla="*/ 18 w 19"/>
                <a:gd name="T7" fmla="*/ 12 h 17"/>
                <a:gd name="T8" fmla="*/ 9 w 19"/>
                <a:gd name="T9" fmla="*/ 5 h 17"/>
                <a:gd name="T10" fmla="*/ 2 w 19"/>
                <a:gd name="T11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7">
                  <a:moveTo>
                    <a:pt x="2" y="2"/>
                  </a:moveTo>
                  <a:cubicBezTo>
                    <a:pt x="0" y="4"/>
                    <a:pt x="0" y="7"/>
                    <a:pt x="4" y="9"/>
                  </a:cubicBezTo>
                  <a:cubicBezTo>
                    <a:pt x="8" y="10"/>
                    <a:pt x="9" y="15"/>
                    <a:pt x="13" y="16"/>
                  </a:cubicBezTo>
                  <a:cubicBezTo>
                    <a:pt x="16" y="17"/>
                    <a:pt x="19" y="17"/>
                    <a:pt x="18" y="12"/>
                  </a:cubicBezTo>
                  <a:cubicBezTo>
                    <a:pt x="18" y="7"/>
                    <a:pt x="10" y="8"/>
                    <a:pt x="9" y="5"/>
                  </a:cubicBezTo>
                  <a:cubicBezTo>
                    <a:pt x="7" y="2"/>
                    <a:pt x="6" y="0"/>
                    <a:pt x="2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" name="Freeform 71"/>
            <p:cNvSpPr>
              <a:spLocks/>
            </p:cNvSpPr>
            <p:nvPr/>
          </p:nvSpPr>
          <p:spPr bwMode="auto">
            <a:xfrm>
              <a:off x="3239803" y="4320275"/>
              <a:ext cx="4762" cy="5953"/>
            </a:xfrm>
            <a:custGeom>
              <a:avLst/>
              <a:gdLst>
                <a:gd name="T0" fmla="*/ 4 w 14"/>
                <a:gd name="T1" fmla="*/ 4 h 19"/>
                <a:gd name="T2" fmla="*/ 1 w 14"/>
                <a:gd name="T3" fmla="*/ 14 h 19"/>
                <a:gd name="T4" fmla="*/ 8 w 14"/>
                <a:gd name="T5" fmla="*/ 18 h 19"/>
                <a:gd name="T6" fmla="*/ 13 w 14"/>
                <a:gd name="T7" fmla="*/ 14 h 19"/>
                <a:gd name="T8" fmla="*/ 10 w 14"/>
                <a:gd name="T9" fmla="*/ 8 h 19"/>
                <a:gd name="T10" fmla="*/ 13 w 14"/>
                <a:gd name="T11" fmla="*/ 3 h 19"/>
                <a:gd name="T12" fmla="*/ 4 w 14"/>
                <a:gd name="T13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9">
                  <a:moveTo>
                    <a:pt x="4" y="4"/>
                  </a:moveTo>
                  <a:cubicBezTo>
                    <a:pt x="1" y="7"/>
                    <a:pt x="0" y="10"/>
                    <a:pt x="1" y="14"/>
                  </a:cubicBezTo>
                  <a:cubicBezTo>
                    <a:pt x="3" y="17"/>
                    <a:pt x="5" y="19"/>
                    <a:pt x="8" y="18"/>
                  </a:cubicBezTo>
                  <a:cubicBezTo>
                    <a:pt x="12" y="18"/>
                    <a:pt x="14" y="17"/>
                    <a:pt x="13" y="14"/>
                  </a:cubicBezTo>
                  <a:cubicBezTo>
                    <a:pt x="13" y="11"/>
                    <a:pt x="9" y="11"/>
                    <a:pt x="10" y="8"/>
                  </a:cubicBezTo>
                  <a:cubicBezTo>
                    <a:pt x="11" y="5"/>
                    <a:pt x="13" y="6"/>
                    <a:pt x="13" y="3"/>
                  </a:cubicBezTo>
                  <a:cubicBezTo>
                    <a:pt x="12" y="1"/>
                    <a:pt x="7" y="0"/>
                    <a:pt x="4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" name="Freeform 72"/>
            <p:cNvSpPr>
              <a:spLocks/>
            </p:cNvSpPr>
            <p:nvPr/>
          </p:nvSpPr>
          <p:spPr bwMode="auto">
            <a:xfrm>
              <a:off x="3210038" y="4327419"/>
              <a:ext cx="7144" cy="4763"/>
            </a:xfrm>
            <a:custGeom>
              <a:avLst/>
              <a:gdLst>
                <a:gd name="T0" fmla="*/ 13 w 27"/>
                <a:gd name="T1" fmla="*/ 4 h 17"/>
                <a:gd name="T2" fmla="*/ 1 w 27"/>
                <a:gd name="T3" fmla="*/ 9 h 17"/>
                <a:gd name="T4" fmla="*/ 11 w 27"/>
                <a:gd name="T5" fmla="*/ 15 h 17"/>
                <a:gd name="T6" fmla="*/ 27 w 27"/>
                <a:gd name="T7" fmla="*/ 7 h 17"/>
                <a:gd name="T8" fmla="*/ 13 w 27"/>
                <a:gd name="T9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7">
                  <a:moveTo>
                    <a:pt x="13" y="4"/>
                  </a:moveTo>
                  <a:cubicBezTo>
                    <a:pt x="5" y="7"/>
                    <a:pt x="0" y="3"/>
                    <a:pt x="1" y="9"/>
                  </a:cubicBezTo>
                  <a:cubicBezTo>
                    <a:pt x="2" y="15"/>
                    <a:pt x="3" y="17"/>
                    <a:pt x="11" y="15"/>
                  </a:cubicBezTo>
                  <a:cubicBezTo>
                    <a:pt x="19" y="13"/>
                    <a:pt x="27" y="14"/>
                    <a:pt x="27" y="7"/>
                  </a:cubicBezTo>
                  <a:cubicBezTo>
                    <a:pt x="27" y="0"/>
                    <a:pt x="20" y="0"/>
                    <a:pt x="13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" name="Freeform 73"/>
            <p:cNvSpPr>
              <a:spLocks/>
            </p:cNvSpPr>
            <p:nvPr/>
          </p:nvSpPr>
          <p:spPr bwMode="auto">
            <a:xfrm>
              <a:off x="3218372" y="4309560"/>
              <a:ext cx="4762" cy="4763"/>
            </a:xfrm>
            <a:custGeom>
              <a:avLst/>
              <a:gdLst>
                <a:gd name="T0" fmla="*/ 3 w 17"/>
                <a:gd name="T1" fmla="*/ 7 h 16"/>
                <a:gd name="T2" fmla="*/ 6 w 17"/>
                <a:gd name="T3" fmla="*/ 15 h 16"/>
                <a:gd name="T4" fmla="*/ 16 w 17"/>
                <a:gd name="T5" fmla="*/ 11 h 16"/>
                <a:gd name="T6" fmla="*/ 3 w 17"/>
                <a:gd name="T7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6">
                  <a:moveTo>
                    <a:pt x="3" y="7"/>
                  </a:moveTo>
                  <a:cubicBezTo>
                    <a:pt x="0" y="11"/>
                    <a:pt x="1" y="15"/>
                    <a:pt x="6" y="15"/>
                  </a:cubicBezTo>
                  <a:cubicBezTo>
                    <a:pt x="12" y="16"/>
                    <a:pt x="17" y="16"/>
                    <a:pt x="16" y="11"/>
                  </a:cubicBezTo>
                  <a:cubicBezTo>
                    <a:pt x="15" y="6"/>
                    <a:pt x="8" y="0"/>
                    <a:pt x="3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" name="Freeform 74"/>
            <p:cNvSpPr>
              <a:spLocks/>
            </p:cNvSpPr>
            <p:nvPr/>
          </p:nvSpPr>
          <p:spPr bwMode="auto">
            <a:xfrm>
              <a:off x="3206466" y="4314322"/>
              <a:ext cx="10716" cy="5953"/>
            </a:xfrm>
            <a:custGeom>
              <a:avLst/>
              <a:gdLst>
                <a:gd name="T0" fmla="*/ 17 w 35"/>
                <a:gd name="T1" fmla="*/ 12 h 20"/>
                <a:gd name="T2" fmla="*/ 5 w 35"/>
                <a:gd name="T3" fmla="*/ 18 h 20"/>
                <a:gd name="T4" fmla="*/ 28 w 35"/>
                <a:gd name="T5" fmla="*/ 18 h 20"/>
                <a:gd name="T6" fmla="*/ 35 w 35"/>
                <a:gd name="T7" fmla="*/ 8 h 20"/>
                <a:gd name="T8" fmla="*/ 17 w 35"/>
                <a:gd name="T9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17" y="12"/>
                  </a:moveTo>
                  <a:cubicBezTo>
                    <a:pt x="7" y="13"/>
                    <a:pt x="0" y="17"/>
                    <a:pt x="5" y="18"/>
                  </a:cubicBezTo>
                  <a:cubicBezTo>
                    <a:pt x="10" y="20"/>
                    <a:pt x="25" y="20"/>
                    <a:pt x="28" y="18"/>
                  </a:cubicBezTo>
                  <a:cubicBezTo>
                    <a:pt x="32" y="16"/>
                    <a:pt x="35" y="16"/>
                    <a:pt x="35" y="8"/>
                  </a:cubicBezTo>
                  <a:cubicBezTo>
                    <a:pt x="35" y="0"/>
                    <a:pt x="24" y="12"/>
                    <a:pt x="17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" name="Freeform 75"/>
            <p:cNvSpPr>
              <a:spLocks/>
            </p:cNvSpPr>
            <p:nvPr/>
          </p:nvSpPr>
          <p:spPr bwMode="auto">
            <a:xfrm>
              <a:off x="3198131" y="4322657"/>
              <a:ext cx="7144" cy="1191"/>
            </a:xfrm>
            <a:custGeom>
              <a:avLst/>
              <a:gdLst>
                <a:gd name="T0" fmla="*/ 7 w 24"/>
                <a:gd name="T1" fmla="*/ 3 h 8"/>
                <a:gd name="T2" fmla="*/ 0 w 24"/>
                <a:gd name="T3" fmla="*/ 6 h 8"/>
                <a:gd name="T4" fmla="*/ 23 w 24"/>
                <a:gd name="T5" fmla="*/ 5 h 8"/>
                <a:gd name="T6" fmla="*/ 7 w 24"/>
                <a:gd name="T7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8">
                  <a:moveTo>
                    <a:pt x="7" y="3"/>
                  </a:moveTo>
                  <a:cubicBezTo>
                    <a:pt x="5" y="3"/>
                    <a:pt x="0" y="4"/>
                    <a:pt x="0" y="6"/>
                  </a:cubicBezTo>
                  <a:cubicBezTo>
                    <a:pt x="1" y="8"/>
                    <a:pt x="24" y="7"/>
                    <a:pt x="23" y="5"/>
                  </a:cubicBezTo>
                  <a:cubicBezTo>
                    <a:pt x="23" y="2"/>
                    <a:pt x="13" y="0"/>
                    <a:pt x="7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" name="Freeform 76"/>
            <p:cNvSpPr>
              <a:spLocks/>
            </p:cNvSpPr>
            <p:nvPr/>
          </p:nvSpPr>
          <p:spPr bwMode="auto">
            <a:xfrm>
              <a:off x="3148125" y="4427432"/>
              <a:ext cx="4762" cy="9525"/>
            </a:xfrm>
            <a:custGeom>
              <a:avLst/>
              <a:gdLst>
                <a:gd name="T0" fmla="*/ 1 w 16"/>
                <a:gd name="T1" fmla="*/ 6 h 33"/>
                <a:gd name="T2" fmla="*/ 15 w 16"/>
                <a:gd name="T3" fmla="*/ 10 h 33"/>
                <a:gd name="T4" fmla="*/ 15 w 16"/>
                <a:gd name="T5" fmla="*/ 26 h 33"/>
                <a:gd name="T6" fmla="*/ 6 w 16"/>
                <a:gd name="T7" fmla="*/ 18 h 33"/>
                <a:gd name="T8" fmla="*/ 1 w 16"/>
                <a:gd name="T9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33">
                  <a:moveTo>
                    <a:pt x="1" y="6"/>
                  </a:moveTo>
                  <a:cubicBezTo>
                    <a:pt x="1" y="0"/>
                    <a:pt x="13" y="5"/>
                    <a:pt x="15" y="10"/>
                  </a:cubicBezTo>
                  <a:cubicBezTo>
                    <a:pt x="16" y="16"/>
                    <a:pt x="16" y="18"/>
                    <a:pt x="15" y="26"/>
                  </a:cubicBezTo>
                  <a:cubicBezTo>
                    <a:pt x="15" y="33"/>
                    <a:pt x="7" y="24"/>
                    <a:pt x="6" y="18"/>
                  </a:cubicBezTo>
                  <a:cubicBezTo>
                    <a:pt x="5" y="13"/>
                    <a:pt x="0" y="11"/>
                    <a:pt x="1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" name="Freeform 77"/>
            <p:cNvSpPr>
              <a:spLocks/>
            </p:cNvSpPr>
            <p:nvPr/>
          </p:nvSpPr>
          <p:spPr bwMode="auto">
            <a:xfrm>
              <a:off x="3135028" y="4425050"/>
              <a:ext cx="7144" cy="10716"/>
            </a:xfrm>
            <a:custGeom>
              <a:avLst/>
              <a:gdLst>
                <a:gd name="T0" fmla="*/ 0 w 25"/>
                <a:gd name="T1" fmla="*/ 7 h 35"/>
                <a:gd name="T2" fmla="*/ 10 w 25"/>
                <a:gd name="T3" fmla="*/ 9 h 35"/>
                <a:gd name="T4" fmla="*/ 17 w 25"/>
                <a:gd name="T5" fmla="*/ 19 h 35"/>
                <a:gd name="T6" fmla="*/ 25 w 25"/>
                <a:gd name="T7" fmla="*/ 30 h 35"/>
                <a:gd name="T8" fmla="*/ 17 w 25"/>
                <a:gd name="T9" fmla="*/ 26 h 35"/>
                <a:gd name="T10" fmla="*/ 7 w 25"/>
                <a:gd name="T11" fmla="*/ 17 h 35"/>
                <a:gd name="T12" fmla="*/ 0 w 25"/>
                <a:gd name="T13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35">
                  <a:moveTo>
                    <a:pt x="0" y="7"/>
                  </a:moveTo>
                  <a:cubicBezTo>
                    <a:pt x="1" y="0"/>
                    <a:pt x="7" y="6"/>
                    <a:pt x="10" y="9"/>
                  </a:cubicBezTo>
                  <a:cubicBezTo>
                    <a:pt x="13" y="12"/>
                    <a:pt x="15" y="14"/>
                    <a:pt x="17" y="19"/>
                  </a:cubicBezTo>
                  <a:cubicBezTo>
                    <a:pt x="20" y="24"/>
                    <a:pt x="25" y="25"/>
                    <a:pt x="25" y="30"/>
                  </a:cubicBezTo>
                  <a:cubicBezTo>
                    <a:pt x="24" y="35"/>
                    <a:pt x="20" y="31"/>
                    <a:pt x="17" y="26"/>
                  </a:cubicBezTo>
                  <a:cubicBezTo>
                    <a:pt x="14" y="21"/>
                    <a:pt x="12" y="21"/>
                    <a:pt x="7" y="17"/>
                  </a:cubicBezTo>
                  <a:cubicBezTo>
                    <a:pt x="2" y="13"/>
                    <a:pt x="0" y="12"/>
                    <a:pt x="0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" name="Freeform 78"/>
            <p:cNvSpPr>
              <a:spLocks/>
            </p:cNvSpPr>
            <p:nvPr/>
          </p:nvSpPr>
          <p:spPr bwMode="auto">
            <a:xfrm>
              <a:off x="3117169" y="4422669"/>
              <a:ext cx="4762" cy="4763"/>
            </a:xfrm>
            <a:custGeom>
              <a:avLst/>
              <a:gdLst>
                <a:gd name="T0" fmla="*/ 4 w 17"/>
                <a:gd name="T1" fmla="*/ 5 h 20"/>
                <a:gd name="T2" fmla="*/ 15 w 17"/>
                <a:gd name="T3" fmla="*/ 11 h 20"/>
                <a:gd name="T4" fmla="*/ 9 w 17"/>
                <a:gd name="T5" fmla="*/ 16 h 20"/>
                <a:gd name="T6" fmla="*/ 4 w 17"/>
                <a:gd name="T7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0">
                  <a:moveTo>
                    <a:pt x="4" y="5"/>
                  </a:moveTo>
                  <a:cubicBezTo>
                    <a:pt x="5" y="0"/>
                    <a:pt x="13" y="4"/>
                    <a:pt x="15" y="11"/>
                  </a:cubicBezTo>
                  <a:cubicBezTo>
                    <a:pt x="17" y="19"/>
                    <a:pt x="17" y="20"/>
                    <a:pt x="9" y="16"/>
                  </a:cubicBezTo>
                  <a:cubicBezTo>
                    <a:pt x="0" y="12"/>
                    <a:pt x="5" y="11"/>
                    <a:pt x="4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" name="Freeform 79"/>
            <p:cNvSpPr>
              <a:spLocks/>
            </p:cNvSpPr>
            <p:nvPr/>
          </p:nvSpPr>
          <p:spPr bwMode="auto">
            <a:xfrm>
              <a:off x="2971913" y="4316703"/>
              <a:ext cx="38100" cy="14288"/>
            </a:xfrm>
            <a:custGeom>
              <a:avLst/>
              <a:gdLst>
                <a:gd name="T0" fmla="*/ 50 w 134"/>
                <a:gd name="T1" fmla="*/ 0 h 51"/>
                <a:gd name="T2" fmla="*/ 86 w 134"/>
                <a:gd name="T3" fmla="*/ 8 h 51"/>
                <a:gd name="T4" fmla="*/ 108 w 134"/>
                <a:gd name="T5" fmla="*/ 19 h 51"/>
                <a:gd name="T6" fmla="*/ 133 w 134"/>
                <a:gd name="T7" fmla="*/ 33 h 51"/>
                <a:gd name="T8" fmla="*/ 124 w 134"/>
                <a:gd name="T9" fmla="*/ 39 h 51"/>
                <a:gd name="T10" fmla="*/ 96 w 134"/>
                <a:gd name="T11" fmla="*/ 35 h 51"/>
                <a:gd name="T12" fmla="*/ 78 w 134"/>
                <a:gd name="T13" fmla="*/ 37 h 51"/>
                <a:gd name="T14" fmla="*/ 75 w 134"/>
                <a:gd name="T15" fmla="*/ 49 h 51"/>
                <a:gd name="T16" fmla="*/ 62 w 134"/>
                <a:gd name="T17" fmla="*/ 42 h 51"/>
                <a:gd name="T18" fmla="*/ 44 w 134"/>
                <a:gd name="T19" fmla="*/ 39 h 51"/>
                <a:gd name="T20" fmla="*/ 22 w 134"/>
                <a:gd name="T21" fmla="*/ 25 h 51"/>
                <a:gd name="T22" fmla="*/ 2 w 134"/>
                <a:gd name="T23" fmla="*/ 14 h 51"/>
                <a:gd name="T24" fmla="*/ 23 w 134"/>
                <a:gd name="T25" fmla="*/ 4 h 51"/>
                <a:gd name="T26" fmla="*/ 50 w 134"/>
                <a:gd name="T2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4" h="51">
                  <a:moveTo>
                    <a:pt x="50" y="0"/>
                  </a:moveTo>
                  <a:cubicBezTo>
                    <a:pt x="65" y="0"/>
                    <a:pt x="77" y="3"/>
                    <a:pt x="86" y="8"/>
                  </a:cubicBezTo>
                  <a:cubicBezTo>
                    <a:pt x="96" y="13"/>
                    <a:pt x="97" y="14"/>
                    <a:pt x="108" y="19"/>
                  </a:cubicBezTo>
                  <a:cubicBezTo>
                    <a:pt x="120" y="24"/>
                    <a:pt x="132" y="28"/>
                    <a:pt x="133" y="33"/>
                  </a:cubicBezTo>
                  <a:cubicBezTo>
                    <a:pt x="134" y="39"/>
                    <a:pt x="134" y="40"/>
                    <a:pt x="124" y="39"/>
                  </a:cubicBezTo>
                  <a:cubicBezTo>
                    <a:pt x="114" y="38"/>
                    <a:pt x="104" y="35"/>
                    <a:pt x="96" y="35"/>
                  </a:cubicBezTo>
                  <a:cubicBezTo>
                    <a:pt x="89" y="35"/>
                    <a:pt x="81" y="31"/>
                    <a:pt x="78" y="37"/>
                  </a:cubicBezTo>
                  <a:cubicBezTo>
                    <a:pt x="76" y="43"/>
                    <a:pt x="78" y="48"/>
                    <a:pt x="75" y="49"/>
                  </a:cubicBezTo>
                  <a:cubicBezTo>
                    <a:pt x="73" y="51"/>
                    <a:pt x="69" y="45"/>
                    <a:pt x="62" y="42"/>
                  </a:cubicBezTo>
                  <a:cubicBezTo>
                    <a:pt x="54" y="40"/>
                    <a:pt x="52" y="41"/>
                    <a:pt x="44" y="39"/>
                  </a:cubicBezTo>
                  <a:cubicBezTo>
                    <a:pt x="36" y="37"/>
                    <a:pt x="32" y="33"/>
                    <a:pt x="22" y="25"/>
                  </a:cubicBezTo>
                  <a:cubicBezTo>
                    <a:pt x="12" y="18"/>
                    <a:pt x="0" y="20"/>
                    <a:pt x="2" y="14"/>
                  </a:cubicBezTo>
                  <a:cubicBezTo>
                    <a:pt x="4" y="8"/>
                    <a:pt x="16" y="5"/>
                    <a:pt x="23" y="4"/>
                  </a:cubicBezTo>
                  <a:cubicBezTo>
                    <a:pt x="29" y="3"/>
                    <a:pt x="40" y="0"/>
                    <a:pt x="50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" name="Freeform 80"/>
            <p:cNvSpPr>
              <a:spLocks/>
            </p:cNvSpPr>
            <p:nvPr/>
          </p:nvSpPr>
          <p:spPr bwMode="auto">
            <a:xfrm>
              <a:off x="2836181" y="4351232"/>
              <a:ext cx="3572" cy="4763"/>
            </a:xfrm>
            <a:custGeom>
              <a:avLst/>
              <a:gdLst>
                <a:gd name="T0" fmla="*/ 1 w 9"/>
                <a:gd name="T1" fmla="*/ 7 h 19"/>
                <a:gd name="T2" fmla="*/ 3 w 9"/>
                <a:gd name="T3" fmla="*/ 17 h 19"/>
                <a:gd name="T4" fmla="*/ 9 w 9"/>
                <a:gd name="T5" fmla="*/ 8 h 19"/>
                <a:gd name="T6" fmla="*/ 1 w 9"/>
                <a:gd name="T7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9">
                  <a:moveTo>
                    <a:pt x="1" y="7"/>
                  </a:moveTo>
                  <a:cubicBezTo>
                    <a:pt x="0" y="13"/>
                    <a:pt x="1" y="19"/>
                    <a:pt x="3" y="17"/>
                  </a:cubicBezTo>
                  <a:cubicBezTo>
                    <a:pt x="6" y="14"/>
                    <a:pt x="8" y="14"/>
                    <a:pt x="9" y="8"/>
                  </a:cubicBezTo>
                  <a:cubicBezTo>
                    <a:pt x="9" y="2"/>
                    <a:pt x="2" y="0"/>
                    <a:pt x="1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" name="Freeform 81"/>
            <p:cNvSpPr>
              <a:spLocks/>
            </p:cNvSpPr>
            <p:nvPr/>
          </p:nvSpPr>
          <p:spPr bwMode="auto">
            <a:xfrm>
              <a:off x="2824275" y="4354803"/>
              <a:ext cx="8334" cy="3572"/>
            </a:xfrm>
            <a:custGeom>
              <a:avLst/>
              <a:gdLst>
                <a:gd name="T0" fmla="*/ 11 w 27"/>
                <a:gd name="T1" fmla="*/ 4 h 15"/>
                <a:gd name="T2" fmla="*/ 0 w 27"/>
                <a:gd name="T3" fmla="*/ 12 h 15"/>
                <a:gd name="T4" fmla="*/ 16 w 27"/>
                <a:gd name="T5" fmla="*/ 7 h 15"/>
                <a:gd name="T6" fmla="*/ 26 w 27"/>
                <a:gd name="T7" fmla="*/ 5 h 15"/>
                <a:gd name="T8" fmla="*/ 11 w 27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5">
                  <a:moveTo>
                    <a:pt x="11" y="4"/>
                  </a:moveTo>
                  <a:cubicBezTo>
                    <a:pt x="7" y="5"/>
                    <a:pt x="0" y="8"/>
                    <a:pt x="0" y="12"/>
                  </a:cubicBezTo>
                  <a:cubicBezTo>
                    <a:pt x="0" y="15"/>
                    <a:pt x="12" y="9"/>
                    <a:pt x="16" y="7"/>
                  </a:cubicBezTo>
                  <a:cubicBezTo>
                    <a:pt x="21" y="6"/>
                    <a:pt x="25" y="9"/>
                    <a:pt x="26" y="5"/>
                  </a:cubicBezTo>
                  <a:cubicBezTo>
                    <a:pt x="27" y="0"/>
                    <a:pt x="19" y="3"/>
                    <a:pt x="11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" name="Freeform 82"/>
            <p:cNvSpPr>
              <a:spLocks/>
            </p:cNvSpPr>
            <p:nvPr/>
          </p:nvSpPr>
          <p:spPr bwMode="auto">
            <a:xfrm>
              <a:off x="2817131" y="4276222"/>
              <a:ext cx="8334" cy="8334"/>
            </a:xfrm>
            <a:custGeom>
              <a:avLst/>
              <a:gdLst>
                <a:gd name="T0" fmla="*/ 9 w 29"/>
                <a:gd name="T1" fmla="*/ 13 h 29"/>
                <a:gd name="T2" fmla="*/ 27 w 29"/>
                <a:gd name="T3" fmla="*/ 8 h 29"/>
                <a:gd name="T4" fmla="*/ 17 w 29"/>
                <a:gd name="T5" fmla="*/ 17 h 29"/>
                <a:gd name="T6" fmla="*/ 7 w 29"/>
                <a:gd name="T7" fmla="*/ 27 h 29"/>
                <a:gd name="T8" fmla="*/ 9 w 29"/>
                <a:gd name="T9" fmla="*/ 1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9" y="13"/>
                  </a:moveTo>
                  <a:cubicBezTo>
                    <a:pt x="14" y="0"/>
                    <a:pt x="25" y="3"/>
                    <a:pt x="27" y="8"/>
                  </a:cubicBezTo>
                  <a:cubicBezTo>
                    <a:pt x="29" y="12"/>
                    <a:pt x="22" y="12"/>
                    <a:pt x="17" y="17"/>
                  </a:cubicBezTo>
                  <a:cubicBezTo>
                    <a:pt x="11" y="23"/>
                    <a:pt x="14" y="29"/>
                    <a:pt x="7" y="27"/>
                  </a:cubicBezTo>
                  <a:cubicBezTo>
                    <a:pt x="0" y="24"/>
                    <a:pt x="8" y="21"/>
                    <a:pt x="9" y="1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9" name="Freeform 83"/>
            <p:cNvSpPr>
              <a:spLocks/>
            </p:cNvSpPr>
            <p:nvPr/>
          </p:nvSpPr>
          <p:spPr bwMode="auto">
            <a:xfrm>
              <a:off x="2969531" y="4276222"/>
              <a:ext cx="4762" cy="3572"/>
            </a:xfrm>
            <a:custGeom>
              <a:avLst/>
              <a:gdLst>
                <a:gd name="T0" fmla="*/ 2 w 17"/>
                <a:gd name="T1" fmla="*/ 2 h 11"/>
                <a:gd name="T2" fmla="*/ 6 w 17"/>
                <a:gd name="T3" fmla="*/ 8 h 11"/>
                <a:gd name="T4" fmla="*/ 16 w 17"/>
                <a:gd name="T5" fmla="*/ 8 h 11"/>
                <a:gd name="T6" fmla="*/ 2 w 17"/>
                <a:gd name="T7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1">
                  <a:moveTo>
                    <a:pt x="2" y="2"/>
                  </a:moveTo>
                  <a:cubicBezTo>
                    <a:pt x="0" y="5"/>
                    <a:pt x="2" y="6"/>
                    <a:pt x="6" y="8"/>
                  </a:cubicBezTo>
                  <a:cubicBezTo>
                    <a:pt x="10" y="9"/>
                    <a:pt x="17" y="11"/>
                    <a:pt x="16" y="8"/>
                  </a:cubicBezTo>
                  <a:cubicBezTo>
                    <a:pt x="14" y="5"/>
                    <a:pt x="7" y="0"/>
                    <a:pt x="2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" name="Freeform 84"/>
            <p:cNvSpPr>
              <a:spLocks/>
            </p:cNvSpPr>
            <p:nvPr/>
          </p:nvSpPr>
          <p:spPr bwMode="auto">
            <a:xfrm>
              <a:off x="2954053" y="4267888"/>
              <a:ext cx="5953" cy="5953"/>
            </a:xfrm>
            <a:custGeom>
              <a:avLst/>
              <a:gdLst>
                <a:gd name="T0" fmla="*/ 0 w 23"/>
                <a:gd name="T1" fmla="*/ 6 h 22"/>
                <a:gd name="T2" fmla="*/ 7 w 23"/>
                <a:gd name="T3" fmla="*/ 13 h 22"/>
                <a:gd name="T4" fmla="*/ 19 w 23"/>
                <a:gd name="T5" fmla="*/ 20 h 22"/>
                <a:gd name="T6" fmla="*/ 15 w 23"/>
                <a:gd name="T7" fmla="*/ 12 h 22"/>
                <a:gd name="T8" fmla="*/ 0 w 23"/>
                <a:gd name="T9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0" y="6"/>
                  </a:moveTo>
                  <a:cubicBezTo>
                    <a:pt x="0" y="11"/>
                    <a:pt x="3" y="12"/>
                    <a:pt x="7" y="13"/>
                  </a:cubicBezTo>
                  <a:cubicBezTo>
                    <a:pt x="11" y="15"/>
                    <a:pt x="14" y="22"/>
                    <a:pt x="19" y="20"/>
                  </a:cubicBezTo>
                  <a:cubicBezTo>
                    <a:pt x="23" y="18"/>
                    <a:pt x="18" y="17"/>
                    <a:pt x="15" y="12"/>
                  </a:cubicBezTo>
                  <a:cubicBezTo>
                    <a:pt x="13" y="8"/>
                    <a:pt x="0" y="0"/>
                    <a:pt x="0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" name="Freeform 85"/>
            <p:cNvSpPr>
              <a:spLocks/>
            </p:cNvSpPr>
            <p:nvPr/>
          </p:nvSpPr>
          <p:spPr bwMode="auto">
            <a:xfrm>
              <a:off x="2915953" y="4300035"/>
              <a:ext cx="8334" cy="3572"/>
            </a:xfrm>
            <a:custGeom>
              <a:avLst/>
              <a:gdLst>
                <a:gd name="T0" fmla="*/ 9 w 28"/>
                <a:gd name="T1" fmla="*/ 1 h 14"/>
                <a:gd name="T2" fmla="*/ 27 w 28"/>
                <a:gd name="T3" fmla="*/ 6 h 14"/>
                <a:gd name="T4" fmla="*/ 16 w 28"/>
                <a:gd name="T5" fmla="*/ 13 h 14"/>
                <a:gd name="T6" fmla="*/ 2 w 28"/>
                <a:gd name="T7" fmla="*/ 6 h 14"/>
                <a:gd name="T8" fmla="*/ 9 w 28"/>
                <a:gd name="T9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4">
                  <a:moveTo>
                    <a:pt x="9" y="1"/>
                  </a:moveTo>
                  <a:cubicBezTo>
                    <a:pt x="18" y="4"/>
                    <a:pt x="26" y="3"/>
                    <a:pt x="27" y="6"/>
                  </a:cubicBezTo>
                  <a:cubicBezTo>
                    <a:pt x="28" y="9"/>
                    <a:pt x="20" y="14"/>
                    <a:pt x="16" y="13"/>
                  </a:cubicBezTo>
                  <a:cubicBezTo>
                    <a:pt x="11" y="13"/>
                    <a:pt x="5" y="9"/>
                    <a:pt x="2" y="6"/>
                  </a:cubicBezTo>
                  <a:cubicBezTo>
                    <a:pt x="0" y="3"/>
                    <a:pt x="4" y="0"/>
                    <a:pt x="9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" name="Freeform 86"/>
            <p:cNvSpPr>
              <a:spLocks/>
            </p:cNvSpPr>
            <p:nvPr/>
          </p:nvSpPr>
          <p:spPr bwMode="auto">
            <a:xfrm>
              <a:off x="2914763" y="4254791"/>
              <a:ext cx="4762" cy="4763"/>
            </a:xfrm>
            <a:custGeom>
              <a:avLst/>
              <a:gdLst>
                <a:gd name="T0" fmla="*/ 7 w 20"/>
                <a:gd name="T1" fmla="*/ 12 h 19"/>
                <a:gd name="T2" fmla="*/ 5 w 20"/>
                <a:gd name="T3" fmla="*/ 19 h 19"/>
                <a:gd name="T4" fmla="*/ 16 w 20"/>
                <a:gd name="T5" fmla="*/ 13 h 19"/>
                <a:gd name="T6" fmla="*/ 7 w 20"/>
                <a:gd name="T7" fmla="*/ 1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9">
                  <a:moveTo>
                    <a:pt x="7" y="12"/>
                  </a:moveTo>
                  <a:cubicBezTo>
                    <a:pt x="3" y="15"/>
                    <a:pt x="0" y="18"/>
                    <a:pt x="5" y="19"/>
                  </a:cubicBezTo>
                  <a:cubicBezTo>
                    <a:pt x="11" y="19"/>
                    <a:pt x="12" y="18"/>
                    <a:pt x="16" y="13"/>
                  </a:cubicBezTo>
                  <a:cubicBezTo>
                    <a:pt x="20" y="9"/>
                    <a:pt x="18" y="0"/>
                    <a:pt x="7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" name="Freeform 88"/>
            <p:cNvSpPr>
              <a:spLocks/>
            </p:cNvSpPr>
            <p:nvPr/>
          </p:nvSpPr>
          <p:spPr bwMode="auto">
            <a:xfrm>
              <a:off x="3039778" y="4285747"/>
              <a:ext cx="47625" cy="40481"/>
            </a:xfrm>
            <a:custGeom>
              <a:avLst/>
              <a:gdLst>
                <a:gd name="T0" fmla="*/ 137 w 167"/>
                <a:gd name="T1" fmla="*/ 29 h 140"/>
                <a:gd name="T2" fmla="*/ 160 w 167"/>
                <a:gd name="T3" fmla="*/ 30 h 140"/>
                <a:gd name="T4" fmla="*/ 163 w 167"/>
                <a:gd name="T5" fmla="*/ 29 h 140"/>
                <a:gd name="T6" fmla="*/ 165 w 167"/>
                <a:gd name="T7" fmla="*/ 59 h 140"/>
                <a:gd name="T8" fmla="*/ 166 w 167"/>
                <a:gd name="T9" fmla="*/ 72 h 140"/>
                <a:gd name="T10" fmla="*/ 165 w 167"/>
                <a:gd name="T11" fmla="*/ 83 h 140"/>
                <a:gd name="T12" fmla="*/ 162 w 167"/>
                <a:gd name="T13" fmla="*/ 89 h 140"/>
                <a:gd name="T14" fmla="*/ 153 w 167"/>
                <a:gd name="T15" fmla="*/ 98 h 140"/>
                <a:gd name="T16" fmla="*/ 159 w 167"/>
                <a:gd name="T17" fmla="*/ 118 h 140"/>
                <a:gd name="T18" fmla="*/ 166 w 167"/>
                <a:gd name="T19" fmla="*/ 127 h 140"/>
                <a:gd name="T20" fmla="*/ 167 w 167"/>
                <a:gd name="T21" fmla="*/ 131 h 140"/>
                <a:gd name="T22" fmla="*/ 141 w 167"/>
                <a:gd name="T23" fmla="*/ 127 h 140"/>
                <a:gd name="T24" fmla="*/ 116 w 167"/>
                <a:gd name="T25" fmla="*/ 128 h 140"/>
                <a:gd name="T26" fmla="*/ 93 w 167"/>
                <a:gd name="T27" fmla="*/ 127 h 140"/>
                <a:gd name="T28" fmla="*/ 71 w 167"/>
                <a:gd name="T29" fmla="*/ 125 h 140"/>
                <a:gd name="T30" fmla="*/ 48 w 167"/>
                <a:gd name="T31" fmla="*/ 123 h 140"/>
                <a:gd name="T32" fmla="*/ 53 w 167"/>
                <a:gd name="T33" fmla="*/ 136 h 140"/>
                <a:gd name="T34" fmla="*/ 43 w 167"/>
                <a:gd name="T35" fmla="*/ 134 h 140"/>
                <a:gd name="T36" fmla="*/ 30 w 167"/>
                <a:gd name="T37" fmla="*/ 135 h 140"/>
                <a:gd name="T38" fmla="*/ 27 w 167"/>
                <a:gd name="T39" fmla="*/ 125 h 140"/>
                <a:gd name="T40" fmla="*/ 7 w 167"/>
                <a:gd name="T41" fmla="*/ 121 h 140"/>
                <a:gd name="T42" fmla="*/ 1 w 167"/>
                <a:gd name="T43" fmla="*/ 113 h 140"/>
                <a:gd name="T44" fmla="*/ 8 w 167"/>
                <a:gd name="T45" fmla="*/ 99 h 140"/>
                <a:gd name="T46" fmla="*/ 39 w 167"/>
                <a:gd name="T47" fmla="*/ 103 h 140"/>
                <a:gd name="T48" fmla="*/ 64 w 167"/>
                <a:gd name="T49" fmla="*/ 108 h 140"/>
                <a:gd name="T50" fmla="*/ 90 w 167"/>
                <a:gd name="T51" fmla="*/ 109 h 140"/>
                <a:gd name="T52" fmla="*/ 110 w 167"/>
                <a:gd name="T53" fmla="*/ 111 h 140"/>
                <a:gd name="T54" fmla="*/ 124 w 167"/>
                <a:gd name="T55" fmla="*/ 103 h 140"/>
                <a:gd name="T56" fmla="*/ 137 w 167"/>
                <a:gd name="T57" fmla="*/ 99 h 140"/>
                <a:gd name="T58" fmla="*/ 126 w 167"/>
                <a:gd name="T59" fmla="*/ 90 h 140"/>
                <a:gd name="T60" fmla="*/ 113 w 167"/>
                <a:gd name="T61" fmla="*/ 77 h 140"/>
                <a:gd name="T62" fmla="*/ 108 w 167"/>
                <a:gd name="T63" fmla="*/ 65 h 140"/>
                <a:gd name="T64" fmla="*/ 112 w 167"/>
                <a:gd name="T65" fmla="*/ 50 h 140"/>
                <a:gd name="T66" fmla="*/ 92 w 167"/>
                <a:gd name="T67" fmla="*/ 37 h 140"/>
                <a:gd name="T68" fmla="*/ 71 w 167"/>
                <a:gd name="T69" fmla="*/ 36 h 140"/>
                <a:gd name="T70" fmla="*/ 69 w 167"/>
                <a:gd name="T71" fmla="*/ 24 h 140"/>
                <a:gd name="T72" fmla="*/ 87 w 167"/>
                <a:gd name="T73" fmla="*/ 19 h 140"/>
                <a:gd name="T74" fmla="*/ 100 w 167"/>
                <a:gd name="T75" fmla="*/ 13 h 140"/>
                <a:gd name="T76" fmla="*/ 97 w 167"/>
                <a:gd name="T77" fmla="*/ 6 h 140"/>
                <a:gd name="T78" fmla="*/ 110 w 167"/>
                <a:gd name="T79" fmla="*/ 5 h 140"/>
                <a:gd name="T80" fmla="*/ 126 w 167"/>
                <a:gd name="T81" fmla="*/ 16 h 140"/>
                <a:gd name="T82" fmla="*/ 137 w 167"/>
                <a:gd name="T83" fmla="*/ 2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7" h="140">
                  <a:moveTo>
                    <a:pt x="137" y="29"/>
                  </a:moveTo>
                  <a:cubicBezTo>
                    <a:pt x="149" y="32"/>
                    <a:pt x="147" y="34"/>
                    <a:pt x="160" y="30"/>
                  </a:cubicBezTo>
                  <a:cubicBezTo>
                    <a:pt x="161" y="30"/>
                    <a:pt x="162" y="29"/>
                    <a:pt x="163" y="29"/>
                  </a:cubicBezTo>
                  <a:cubicBezTo>
                    <a:pt x="165" y="40"/>
                    <a:pt x="166" y="52"/>
                    <a:pt x="165" y="59"/>
                  </a:cubicBezTo>
                  <a:cubicBezTo>
                    <a:pt x="164" y="66"/>
                    <a:pt x="165" y="69"/>
                    <a:pt x="166" y="72"/>
                  </a:cubicBezTo>
                  <a:cubicBezTo>
                    <a:pt x="166" y="75"/>
                    <a:pt x="167" y="77"/>
                    <a:pt x="165" y="83"/>
                  </a:cubicBezTo>
                  <a:cubicBezTo>
                    <a:pt x="164" y="88"/>
                    <a:pt x="163" y="88"/>
                    <a:pt x="162" y="89"/>
                  </a:cubicBezTo>
                  <a:cubicBezTo>
                    <a:pt x="160" y="90"/>
                    <a:pt x="157" y="91"/>
                    <a:pt x="153" y="98"/>
                  </a:cubicBezTo>
                  <a:cubicBezTo>
                    <a:pt x="148" y="109"/>
                    <a:pt x="153" y="113"/>
                    <a:pt x="159" y="118"/>
                  </a:cubicBezTo>
                  <a:cubicBezTo>
                    <a:pt x="162" y="121"/>
                    <a:pt x="165" y="123"/>
                    <a:pt x="166" y="127"/>
                  </a:cubicBezTo>
                  <a:cubicBezTo>
                    <a:pt x="167" y="128"/>
                    <a:pt x="167" y="130"/>
                    <a:pt x="167" y="131"/>
                  </a:cubicBezTo>
                  <a:cubicBezTo>
                    <a:pt x="157" y="128"/>
                    <a:pt x="150" y="129"/>
                    <a:pt x="141" y="127"/>
                  </a:cubicBezTo>
                  <a:cubicBezTo>
                    <a:pt x="131" y="126"/>
                    <a:pt x="125" y="124"/>
                    <a:pt x="116" y="128"/>
                  </a:cubicBezTo>
                  <a:cubicBezTo>
                    <a:pt x="107" y="133"/>
                    <a:pt x="98" y="128"/>
                    <a:pt x="93" y="127"/>
                  </a:cubicBezTo>
                  <a:cubicBezTo>
                    <a:pt x="87" y="126"/>
                    <a:pt x="79" y="128"/>
                    <a:pt x="71" y="125"/>
                  </a:cubicBezTo>
                  <a:cubicBezTo>
                    <a:pt x="64" y="122"/>
                    <a:pt x="48" y="116"/>
                    <a:pt x="48" y="123"/>
                  </a:cubicBezTo>
                  <a:cubicBezTo>
                    <a:pt x="48" y="129"/>
                    <a:pt x="55" y="134"/>
                    <a:pt x="53" y="136"/>
                  </a:cubicBezTo>
                  <a:cubicBezTo>
                    <a:pt x="51" y="138"/>
                    <a:pt x="46" y="132"/>
                    <a:pt x="43" y="134"/>
                  </a:cubicBezTo>
                  <a:cubicBezTo>
                    <a:pt x="41" y="136"/>
                    <a:pt x="31" y="140"/>
                    <a:pt x="30" y="135"/>
                  </a:cubicBezTo>
                  <a:cubicBezTo>
                    <a:pt x="28" y="130"/>
                    <a:pt x="36" y="128"/>
                    <a:pt x="27" y="125"/>
                  </a:cubicBezTo>
                  <a:cubicBezTo>
                    <a:pt x="18" y="122"/>
                    <a:pt x="11" y="122"/>
                    <a:pt x="7" y="121"/>
                  </a:cubicBezTo>
                  <a:cubicBezTo>
                    <a:pt x="3" y="119"/>
                    <a:pt x="0" y="119"/>
                    <a:pt x="1" y="113"/>
                  </a:cubicBezTo>
                  <a:cubicBezTo>
                    <a:pt x="2" y="106"/>
                    <a:pt x="0" y="99"/>
                    <a:pt x="8" y="99"/>
                  </a:cubicBezTo>
                  <a:cubicBezTo>
                    <a:pt x="16" y="99"/>
                    <a:pt x="31" y="98"/>
                    <a:pt x="39" y="103"/>
                  </a:cubicBezTo>
                  <a:cubicBezTo>
                    <a:pt x="47" y="108"/>
                    <a:pt x="58" y="108"/>
                    <a:pt x="64" y="108"/>
                  </a:cubicBezTo>
                  <a:cubicBezTo>
                    <a:pt x="71" y="109"/>
                    <a:pt x="82" y="106"/>
                    <a:pt x="90" y="109"/>
                  </a:cubicBezTo>
                  <a:cubicBezTo>
                    <a:pt x="98" y="112"/>
                    <a:pt x="102" y="113"/>
                    <a:pt x="110" y="111"/>
                  </a:cubicBezTo>
                  <a:cubicBezTo>
                    <a:pt x="119" y="109"/>
                    <a:pt x="117" y="103"/>
                    <a:pt x="124" y="103"/>
                  </a:cubicBezTo>
                  <a:cubicBezTo>
                    <a:pt x="131" y="103"/>
                    <a:pt x="137" y="104"/>
                    <a:pt x="137" y="99"/>
                  </a:cubicBezTo>
                  <a:cubicBezTo>
                    <a:pt x="136" y="94"/>
                    <a:pt x="137" y="94"/>
                    <a:pt x="126" y="90"/>
                  </a:cubicBezTo>
                  <a:cubicBezTo>
                    <a:pt x="114" y="86"/>
                    <a:pt x="113" y="81"/>
                    <a:pt x="113" y="77"/>
                  </a:cubicBezTo>
                  <a:cubicBezTo>
                    <a:pt x="112" y="72"/>
                    <a:pt x="105" y="71"/>
                    <a:pt x="108" y="65"/>
                  </a:cubicBezTo>
                  <a:cubicBezTo>
                    <a:pt x="110" y="58"/>
                    <a:pt x="115" y="58"/>
                    <a:pt x="112" y="50"/>
                  </a:cubicBezTo>
                  <a:cubicBezTo>
                    <a:pt x="109" y="43"/>
                    <a:pt x="98" y="37"/>
                    <a:pt x="92" y="37"/>
                  </a:cubicBezTo>
                  <a:cubicBezTo>
                    <a:pt x="86" y="37"/>
                    <a:pt x="74" y="40"/>
                    <a:pt x="71" y="36"/>
                  </a:cubicBezTo>
                  <a:cubicBezTo>
                    <a:pt x="68" y="31"/>
                    <a:pt x="61" y="28"/>
                    <a:pt x="69" y="24"/>
                  </a:cubicBezTo>
                  <a:cubicBezTo>
                    <a:pt x="77" y="20"/>
                    <a:pt x="78" y="22"/>
                    <a:pt x="87" y="19"/>
                  </a:cubicBezTo>
                  <a:cubicBezTo>
                    <a:pt x="97" y="15"/>
                    <a:pt x="103" y="17"/>
                    <a:pt x="100" y="13"/>
                  </a:cubicBezTo>
                  <a:cubicBezTo>
                    <a:pt x="98" y="8"/>
                    <a:pt x="92" y="8"/>
                    <a:pt x="97" y="6"/>
                  </a:cubicBezTo>
                  <a:cubicBezTo>
                    <a:pt x="101" y="4"/>
                    <a:pt x="103" y="0"/>
                    <a:pt x="110" y="5"/>
                  </a:cubicBezTo>
                  <a:cubicBezTo>
                    <a:pt x="117" y="11"/>
                    <a:pt x="119" y="11"/>
                    <a:pt x="126" y="16"/>
                  </a:cubicBezTo>
                  <a:cubicBezTo>
                    <a:pt x="133" y="21"/>
                    <a:pt x="128" y="30"/>
                    <a:pt x="137" y="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" name="Freeform 90"/>
            <p:cNvSpPr>
              <a:spLocks/>
            </p:cNvSpPr>
            <p:nvPr/>
          </p:nvSpPr>
          <p:spPr bwMode="auto">
            <a:xfrm>
              <a:off x="3055256" y="4260744"/>
              <a:ext cx="11906" cy="11906"/>
            </a:xfrm>
            <a:custGeom>
              <a:avLst/>
              <a:gdLst>
                <a:gd name="T0" fmla="*/ 12 w 44"/>
                <a:gd name="T1" fmla="*/ 20 h 39"/>
                <a:gd name="T2" fmla="*/ 25 w 44"/>
                <a:gd name="T3" fmla="*/ 18 h 39"/>
                <a:gd name="T4" fmla="*/ 32 w 44"/>
                <a:gd name="T5" fmla="*/ 19 h 39"/>
                <a:gd name="T6" fmla="*/ 35 w 44"/>
                <a:gd name="T7" fmla="*/ 7 h 39"/>
                <a:gd name="T8" fmla="*/ 39 w 44"/>
                <a:gd name="T9" fmla="*/ 0 h 39"/>
                <a:gd name="T10" fmla="*/ 41 w 44"/>
                <a:gd name="T11" fmla="*/ 4 h 39"/>
                <a:gd name="T12" fmla="*/ 37 w 44"/>
                <a:gd name="T13" fmla="*/ 11 h 39"/>
                <a:gd name="T14" fmla="*/ 36 w 44"/>
                <a:gd name="T15" fmla="*/ 23 h 39"/>
                <a:gd name="T16" fmla="*/ 31 w 44"/>
                <a:gd name="T17" fmla="*/ 35 h 39"/>
                <a:gd name="T18" fmla="*/ 20 w 44"/>
                <a:gd name="T19" fmla="*/ 37 h 39"/>
                <a:gd name="T20" fmla="*/ 5 w 44"/>
                <a:gd name="T21" fmla="*/ 36 h 39"/>
                <a:gd name="T22" fmla="*/ 0 w 44"/>
                <a:gd name="T23" fmla="*/ 30 h 39"/>
                <a:gd name="T24" fmla="*/ 12 w 44"/>
                <a:gd name="T25" fmla="*/ 2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39">
                  <a:moveTo>
                    <a:pt x="12" y="20"/>
                  </a:moveTo>
                  <a:cubicBezTo>
                    <a:pt x="18" y="16"/>
                    <a:pt x="23" y="16"/>
                    <a:pt x="25" y="18"/>
                  </a:cubicBezTo>
                  <a:cubicBezTo>
                    <a:pt x="28" y="20"/>
                    <a:pt x="30" y="24"/>
                    <a:pt x="32" y="19"/>
                  </a:cubicBezTo>
                  <a:cubicBezTo>
                    <a:pt x="34" y="15"/>
                    <a:pt x="33" y="9"/>
                    <a:pt x="35" y="7"/>
                  </a:cubicBezTo>
                  <a:cubicBezTo>
                    <a:pt x="36" y="5"/>
                    <a:pt x="37" y="0"/>
                    <a:pt x="39" y="0"/>
                  </a:cubicBezTo>
                  <a:cubicBezTo>
                    <a:pt x="41" y="0"/>
                    <a:pt x="44" y="1"/>
                    <a:pt x="41" y="4"/>
                  </a:cubicBezTo>
                  <a:cubicBezTo>
                    <a:pt x="39" y="7"/>
                    <a:pt x="37" y="7"/>
                    <a:pt x="37" y="11"/>
                  </a:cubicBezTo>
                  <a:cubicBezTo>
                    <a:pt x="36" y="16"/>
                    <a:pt x="35" y="20"/>
                    <a:pt x="36" y="23"/>
                  </a:cubicBezTo>
                  <a:cubicBezTo>
                    <a:pt x="36" y="25"/>
                    <a:pt x="32" y="33"/>
                    <a:pt x="31" y="35"/>
                  </a:cubicBezTo>
                  <a:cubicBezTo>
                    <a:pt x="29" y="36"/>
                    <a:pt x="25" y="37"/>
                    <a:pt x="20" y="37"/>
                  </a:cubicBezTo>
                  <a:cubicBezTo>
                    <a:pt x="15" y="38"/>
                    <a:pt x="7" y="39"/>
                    <a:pt x="5" y="36"/>
                  </a:cubicBezTo>
                  <a:cubicBezTo>
                    <a:pt x="3" y="34"/>
                    <a:pt x="0" y="35"/>
                    <a:pt x="0" y="30"/>
                  </a:cubicBezTo>
                  <a:cubicBezTo>
                    <a:pt x="1" y="26"/>
                    <a:pt x="6" y="21"/>
                    <a:pt x="12" y="2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5" name="Freeform 91"/>
            <p:cNvSpPr>
              <a:spLocks/>
            </p:cNvSpPr>
            <p:nvPr/>
          </p:nvSpPr>
          <p:spPr bwMode="auto">
            <a:xfrm>
              <a:off x="3083831" y="4251219"/>
              <a:ext cx="7144" cy="7144"/>
            </a:xfrm>
            <a:custGeom>
              <a:avLst/>
              <a:gdLst>
                <a:gd name="T0" fmla="*/ 1 w 24"/>
                <a:gd name="T1" fmla="*/ 4 h 22"/>
                <a:gd name="T2" fmla="*/ 6 w 24"/>
                <a:gd name="T3" fmla="*/ 13 h 22"/>
                <a:gd name="T4" fmla="*/ 10 w 24"/>
                <a:gd name="T5" fmla="*/ 17 h 22"/>
                <a:gd name="T6" fmla="*/ 19 w 24"/>
                <a:gd name="T7" fmla="*/ 20 h 22"/>
                <a:gd name="T8" fmla="*/ 22 w 24"/>
                <a:gd name="T9" fmla="*/ 13 h 22"/>
                <a:gd name="T10" fmla="*/ 12 w 24"/>
                <a:gd name="T11" fmla="*/ 11 h 22"/>
                <a:gd name="T12" fmla="*/ 7 w 24"/>
                <a:gd name="T13" fmla="*/ 6 h 22"/>
                <a:gd name="T14" fmla="*/ 1 w 24"/>
                <a:gd name="T15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2">
                  <a:moveTo>
                    <a:pt x="1" y="4"/>
                  </a:moveTo>
                  <a:cubicBezTo>
                    <a:pt x="0" y="10"/>
                    <a:pt x="3" y="11"/>
                    <a:pt x="6" y="13"/>
                  </a:cubicBezTo>
                  <a:cubicBezTo>
                    <a:pt x="8" y="14"/>
                    <a:pt x="8" y="16"/>
                    <a:pt x="10" y="17"/>
                  </a:cubicBezTo>
                  <a:cubicBezTo>
                    <a:pt x="11" y="19"/>
                    <a:pt x="17" y="22"/>
                    <a:pt x="19" y="20"/>
                  </a:cubicBezTo>
                  <a:cubicBezTo>
                    <a:pt x="21" y="18"/>
                    <a:pt x="24" y="14"/>
                    <a:pt x="22" y="13"/>
                  </a:cubicBezTo>
                  <a:cubicBezTo>
                    <a:pt x="20" y="11"/>
                    <a:pt x="15" y="12"/>
                    <a:pt x="12" y="11"/>
                  </a:cubicBezTo>
                  <a:cubicBezTo>
                    <a:pt x="10" y="10"/>
                    <a:pt x="8" y="8"/>
                    <a:pt x="7" y="6"/>
                  </a:cubicBezTo>
                  <a:cubicBezTo>
                    <a:pt x="6" y="4"/>
                    <a:pt x="2" y="0"/>
                    <a:pt x="1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6" name="Freeform 92"/>
            <p:cNvSpPr>
              <a:spLocks/>
            </p:cNvSpPr>
            <p:nvPr/>
          </p:nvSpPr>
          <p:spPr bwMode="auto">
            <a:xfrm>
              <a:off x="3077878" y="4254791"/>
              <a:ext cx="3572" cy="3572"/>
            </a:xfrm>
            <a:custGeom>
              <a:avLst/>
              <a:gdLst>
                <a:gd name="T0" fmla="*/ 6 w 14"/>
                <a:gd name="T1" fmla="*/ 1 h 9"/>
                <a:gd name="T2" fmla="*/ 3 w 14"/>
                <a:gd name="T3" fmla="*/ 6 h 9"/>
                <a:gd name="T4" fmla="*/ 11 w 14"/>
                <a:gd name="T5" fmla="*/ 5 h 9"/>
                <a:gd name="T6" fmla="*/ 6 w 14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9">
                  <a:moveTo>
                    <a:pt x="6" y="1"/>
                  </a:moveTo>
                  <a:cubicBezTo>
                    <a:pt x="2" y="3"/>
                    <a:pt x="0" y="4"/>
                    <a:pt x="3" y="6"/>
                  </a:cubicBezTo>
                  <a:cubicBezTo>
                    <a:pt x="7" y="7"/>
                    <a:pt x="8" y="9"/>
                    <a:pt x="11" y="5"/>
                  </a:cubicBezTo>
                  <a:cubicBezTo>
                    <a:pt x="14" y="2"/>
                    <a:pt x="11" y="0"/>
                    <a:pt x="6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7" name="Freeform 93"/>
            <p:cNvSpPr>
              <a:spLocks/>
            </p:cNvSpPr>
            <p:nvPr/>
          </p:nvSpPr>
          <p:spPr bwMode="auto">
            <a:xfrm>
              <a:off x="3062400" y="4242885"/>
              <a:ext cx="9525" cy="4763"/>
            </a:xfrm>
            <a:custGeom>
              <a:avLst/>
              <a:gdLst>
                <a:gd name="T0" fmla="*/ 6 w 33"/>
                <a:gd name="T1" fmla="*/ 3 h 18"/>
                <a:gd name="T2" fmla="*/ 4 w 33"/>
                <a:gd name="T3" fmla="*/ 9 h 18"/>
                <a:gd name="T4" fmla="*/ 15 w 33"/>
                <a:gd name="T5" fmla="*/ 11 h 18"/>
                <a:gd name="T6" fmla="*/ 31 w 33"/>
                <a:gd name="T7" fmla="*/ 14 h 18"/>
                <a:gd name="T8" fmla="*/ 21 w 33"/>
                <a:gd name="T9" fmla="*/ 8 h 18"/>
                <a:gd name="T10" fmla="*/ 6 w 33"/>
                <a:gd name="T11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18">
                  <a:moveTo>
                    <a:pt x="6" y="3"/>
                  </a:moveTo>
                  <a:cubicBezTo>
                    <a:pt x="3" y="5"/>
                    <a:pt x="0" y="7"/>
                    <a:pt x="4" y="9"/>
                  </a:cubicBezTo>
                  <a:cubicBezTo>
                    <a:pt x="8" y="10"/>
                    <a:pt x="7" y="7"/>
                    <a:pt x="15" y="11"/>
                  </a:cubicBezTo>
                  <a:cubicBezTo>
                    <a:pt x="23" y="15"/>
                    <a:pt x="30" y="18"/>
                    <a:pt x="31" y="14"/>
                  </a:cubicBezTo>
                  <a:cubicBezTo>
                    <a:pt x="33" y="10"/>
                    <a:pt x="25" y="13"/>
                    <a:pt x="21" y="8"/>
                  </a:cubicBezTo>
                  <a:cubicBezTo>
                    <a:pt x="17" y="3"/>
                    <a:pt x="10" y="0"/>
                    <a:pt x="6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8" name="Freeform 94"/>
            <p:cNvSpPr>
              <a:spLocks/>
            </p:cNvSpPr>
            <p:nvPr/>
          </p:nvSpPr>
          <p:spPr bwMode="auto">
            <a:xfrm>
              <a:off x="3045731" y="4239313"/>
              <a:ext cx="7144" cy="9525"/>
            </a:xfrm>
            <a:custGeom>
              <a:avLst/>
              <a:gdLst>
                <a:gd name="T0" fmla="*/ 16 w 27"/>
                <a:gd name="T1" fmla="*/ 3 h 33"/>
                <a:gd name="T2" fmla="*/ 15 w 27"/>
                <a:gd name="T3" fmla="*/ 12 h 33"/>
                <a:gd name="T4" fmla="*/ 12 w 27"/>
                <a:gd name="T5" fmla="*/ 19 h 33"/>
                <a:gd name="T6" fmla="*/ 0 w 27"/>
                <a:gd name="T7" fmla="*/ 30 h 33"/>
                <a:gd name="T8" fmla="*/ 7 w 27"/>
                <a:gd name="T9" fmla="*/ 27 h 33"/>
                <a:gd name="T10" fmla="*/ 15 w 27"/>
                <a:gd name="T11" fmla="*/ 21 h 33"/>
                <a:gd name="T12" fmla="*/ 27 w 27"/>
                <a:gd name="T13" fmla="*/ 12 h 33"/>
                <a:gd name="T14" fmla="*/ 25 w 27"/>
                <a:gd name="T15" fmla="*/ 6 h 33"/>
                <a:gd name="T16" fmla="*/ 16 w 27"/>
                <a:gd name="T17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33">
                  <a:moveTo>
                    <a:pt x="16" y="3"/>
                  </a:moveTo>
                  <a:cubicBezTo>
                    <a:pt x="13" y="8"/>
                    <a:pt x="13" y="7"/>
                    <a:pt x="15" y="12"/>
                  </a:cubicBezTo>
                  <a:cubicBezTo>
                    <a:pt x="16" y="16"/>
                    <a:pt x="15" y="18"/>
                    <a:pt x="12" y="19"/>
                  </a:cubicBezTo>
                  <a:cubicBezTo>
                    <a:pt x="10" y="21"/>
                    <a:pt x="0" y="27"/>
                    <a:pt x="0" y="30"/>
                  </a:cubicBezTo>
                  <a:cubicBezTo>
                    <a:pt x="0" y="33"/>
                    <a:pt x="4" y="31"/>
                    <a:pt x="7" y="27"/>
                  </a:cubicBezTo>
                  <a:cubicBezTo>
                    <a:pt x="11" y="23"/>
                    <a:pt x="11" y="23"/>
                    <a:pt x="15" y="21"/>
                  </a:cubicBezTo>
                  <a:cubicBezTo>
                    <a:pt x="20" y="19"/>
                    <a:pt x="26" y="15"/>
                    <a:pt x="27" y="12"/>
                  </a:cubicBezTo>
                  <a:cubicBezTo>
                    <a:pt x="27" y="10"/>
                    <a:pt x="25" y="12"/>
                    <a:pt x="25" y="6"/>
                  </a:cubicBezTo>
                  <a:cubicBezTo>
                    <a:pt x="24" y="0"/>
                    <a:pt x="19" y="0"/>
                    <a:pt x="16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9" name="Freeform 95"/>
            <p:cNvSpPr>
              <a:spLocks/>
            </p:cNvSpPr>
            <p:nvPr/>
          </p:nvSpPr>
          <p:spPr bwMode="auto">
            <a:xfrm>
              <a:off x="3040969" y="4235741"/>
              <a:ext cx="5953" cy="5953"/>
            </a:xfrm>
            <a:custGeom>
              <a:avLst/>
              <a:gdLst>
                <a:gd name="T0" fmla="*/ 6 w 21"/>
                <a:gd name="T1" fmla="*/ 3 h 20"/>
                <a:gd name="T2" fmla="*/ 20 w 21"/>
                <a:gd name="T3" fmla="*/ 7 h 20"/>
                <a:gd name="T4" fmla="*/ 14 w 21"/>
                <a:gd name="T5" fmla="*/ 13 h 20"/>
                <a:gd name="T6" fmla="*/ 3 w 21"/>
                <a:gd name="T7" fmla="*/ 19 h 20"/>
                <a:gd name="T8" fmla="*/ 5 w 21"/>
                <a:gd name="T9" fmla="*/ 11 h 20"/>
                <a:gd name="T10" fmla="*/ 6 w 21"/>
                <a:gd name="T11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0">
                  <a:moveTo>
                    <a:pt x="6" y="3"/>
                  </a:moveTo>
                  <a:cubicBezTo>
                    <a:pt x="11" y="0"/>
                    <a:pt x="21" y="3"/>
                    <a:pt x="20" y="7"/>
                  </a:cubicBezTo>
                  <a:cubicBezTo>
                    <a:pt x="19" y="10"/>
                    <a:pt x="15" y="9"/>
                    <a:pt x="14" y="13"/>
                  </a:cubicBezTo>
                  <a:cubicBezTo>
                    <a:pt x="12" y="18"/>
                    <a:pt x="7" y="20"/>
                    <a:pt x="3" y="19"/>
                  </a:cubicBezTo>
                  <a:cubicBezTo>
                    <a:pt x="0" y="18"/>
                    <a:pt x="4" y="15"/>
                    <a:pt x="5" y="11"/>
                  </a:cubicBezTo>
                  <a:cubicBezTo>
                    <a:pt x="6" y="7"/>
                    <a:pt x="4" y="6"/>
                    <a:pt x="6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0" name="Freeform 96"/>
            <p:cNvSpPr>
              <a:spLocks/>
            </p:cNvSpPr>
            <p:nvPr/>
          </p:nvSpPr>
          <p:spPr bwMode="auto">
            <a:xfrm>
              <a:off x="3026681" y="4229788"/>
              <a:ext cx="5953" cy="4763"/>
            </a:xfrm>
            <a:custGeom>
              <a:avLst/>
              <a:gdLst>
                <a:gd name="T0" fmla="*/ 2 w 24"/>
                <a:gd name="T1" fmla="*/ 3 h 17"/>
                <a:gd name="T2" fmla="*/ 6 w 24"/>
                <a:gd name="T3" fmla="*/ 9 h 17"/>
                <a:gd name="T4" fmla="*/ 17 w 24"/>
                <a:gd name="T5" fmla="*/ 16 h 17"/>
                <a:gd name="T6" fmla="*/ 23 w 24"/>
                <a:gd name="T7" fmla="*/ 12 h 17"/>
                <a:gd name="T8" fmla="*/ 13 w 24"/>
                <a:gd name="T9" fmla="*/ 6 h 17"/>
                <a:gd name="T10" fmla="*/ 2 w 24"/>
                <a:gd name="T11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17">
                  <a:moveTo>
                    <a:pt x="2" y="3"/>
                  </a:moveTo>
                  <a:cubicBezTo>
                    <a:pt x="2" y="5"/>
                    <a:pt x="0" y="7"/>
                    <a:pt x="6" y="9"/>
                  </a:cubicBezTo>
                  <a:cubicBezTo>
                    <a:pt x="12" y="10"/>
                    <a:pt x="14" y="14"/>
                    <a:pt x="17" y="16"/>
                  </a:cubicBezTo>
                  <a:cubicBezTo>
                    <a:pt x="20" y="17"/>
                    <a:pt x="24" y="15"/>
                    <a:pt x="23" y="12"/>
                  </a:cubicBezTo>
                  <a:cubicBezTo>
                    <a:pt x="21" y="9"/>
                    <a:pt x="16" y="8"/>
                    <a:pt x="13" y="6"/>
                  </a:cubicBezTo>
                  <a:cubicBezTo>
                    <a:pt x="10" y="5"/>
                    <a:pt x="2" y="0"/>
                    <a:pt x="2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1" name="Freeform 98"/>
            <p:cNvSpPr>
              <a:spLocks/>
            </p:cNvSpPr>
            <p:nvPr/>
          </p:nvSpPr>
          <p:spPr bwMode="auto">
            <a:xfrm>
              <a:off x="2855231" y="4228597"/>
              <a:ext cx="191691" cy="64294"/>
            </a:xfrm>
            <a:custGeom>
              <a:avLst/>
              <a:gdLst>
                <a:gd name="T0" fmla="*/ 82 w 666"/>
                <a:gd name="T1" fmla="*/ 27 h 224"/>
                <a:gd name="T2" fmla="*/ 162 w 666"/>
                <a:gd name="T3" fmla="*/ 11 h 224"/>
                <a:gd name="T4" fmla="*/ 227 w 666"/>
                <a:gd name="T5" fmla="*/ 12 h 224"/>
                <a:gd name="T6" fmla="*/ 296 w 666"/>
                <a:gd name="T7" fmla="*/ 27 h 224"/>
                <a:gd name="T8" fmla="*/ 355 w 666"/>
                <a:gd name="T9" fmla="*/ 60 h 224"/>
                <a:gd name="T10" fmla="*/ 427 w 666"/>
                <a:gd name="T11" fmla="*/ 80 h 224"/>
                <a:gd name="T12" fmla="*/ 477 w 666"/>
                <a:gd name="T13" fmla="*/ 104 h 224"/>
                <a:gd name="T14" fmla="*/ 517 w 666"/>
                <a:gd name="T15" fmla="*/ 125 h 224"/>
                <a:gd name="T16" fmla="*/ 562 w 666"/>
                <a:gd name="T17" fmla="*/ 138 h 224"/>
                <a:gd name="T18" fmla="*/ 587 w 666"/>
                <a:gd name="T19" fmla="*/ 161 h 224"/>
                <a:gd name="T20" fmla="*/ 651 w 666"/>
                <a:gd name="T21" fmla="*/ 186 h 224"/>
                <a:gd name="T22" fmla="*/ 645 w 666"/>
                <a:gd name="T23" fmla="*/ 210 h 224"/>
                <a:gd name="T24" fmla="*/ 573 w 666"/>
                <a:gd name="T25" fmla="*/ 220 h 224"/>
                <a:gd name="T26" fmla="*/ 517 w 666"/>
                <a:gd name="T27" fmla="*/ 218 h 224"/>
                <a:gd name="T28" fmla="*/ 452 w 666"/>
                <a:gd name="T29" fmla="*/ 219 h 224"/>
                <a:gd name="T30" fmla="*/ 472 w 666"/>
                <a:gd name="T31" fmla="*/ 192 h 224"/>
                <a:gd name="T32" fmla="*/ 471 w 666"/>
                <a:gd name="T33" fmla="*/ 170 h 224"/>
                <a:gd name="T34" fmla="*/ 416 w 666"/>
                <a:gd name="T35" fmla="*/ 161 h 224"/>
                <a:gd name="T36" fmla="*/ 397 w 666"/>
                <a:gd name="T37" fmla="*/ 126 h 224"/>
                <a:gd name="T38" fmla="*/ 362 w 666"/>
                <a:gd name="T39" fmla="*/ 108 h 224"/>
                <a:gd name="T40" fmla="*/ 306 w 666"/>
                <a:gd name="T41" fmla="*/ 97 h 224"/>
                <a:gd name="T42" fmla="*/ 253 w 666"/>
                <a:gd name="T43" fmla="*/ 80 h 224"/>
                <a:gd name="T44" fmla="*/ 222 w 666"/>
                <a:gd name="T45" fmla="*/ 67 h 224"/>
                <a:gd name="T46" fmla="*/ 180 w 666"/>
                <a:gd name="T47" fmla="*/ 63 h 224"/>
                <a:gd name="T48" fmla="*/ 199 w 666"/>
                <a:gd name="T49" fmla="*/ 49 h 224"/>
                <a:gd name="T50" fmla="*/ 151 w 666"/>
                <a:gd name="T51" fmla="*/ 36 h 224"/>
                <a:gd name="T52" fmla="*/ 108 w 666"/>
                <a:gd name="T53" fmla="*/ 57 h 224"/>
                <a:gd name="T54" fmla="*/ 64 w 666"/>
                <a:gd name="T55" fmla="*/ 71 h 224"/>
                <a:gd name="T56" fmla="*/ 36 w 666"/>
                <a:gd name="T57" fmla="*/ 93 h 224"/>
                <a:gd name="T58" fmla="*/ 8 w 666"/>
                <a:gd name="T59" fmla="*/ 95 h 224"/>
                <a:gd name="T60" fmla="*/ 25 w 666"/>
                <a:gd name="T61" fmla="*/ 81 h 224"/>
                <a:gd name="T62" fmla="*/ 55 w 666"/>
                <a:gd name="T63" fmla="*/ 4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66" h="224">
                  <a:moveTo>
                    <a:pt x="55" y="41"/>
                  </a:moveTo>
                  <a:cubicBezTo>
                    <a:pt x="65" y="35"/>
                    <a:pt x="70" y="30"/>
                    <a:pt x="82" y="27"/>
                  </a:cubicBezTo>
                  <a:cubicBezTo>
                    <a:pt x="94" y="25"/>
                    <a:pt x="104" y="27"/>
                    <a:pt x="120" y="23"/>
                  </a:cubicBezTo>
                  <a:cubicBezTo>
                    <a:pt x="136" y="18"/>
                    <a:pt x="151" y="16"/>
                    <a:pt x="162" y="11"/>
                  </a:cubicBezTo>
                  <a:cubicBezTo>
                    <a:pt x="173" y="6"/>
                    <a:pt x="181" y="0"/>
                    <a:pt x="195" y="5"/>
                  </a:cubicBezTo>
                  <a:cubicBezTo>
                    <a:pt x="209" y="9"/>
                    <a:pt x="217" y="12"/>
                    <a:pt x="227" y="12"/>
                  </a:cubicBezTo>
                  <a:cubicBezTo>
                    <a:pt x="238" y="12"/>
                    <a:pt x="259" y="8"/>
                    <a:pt x="272" y="14"/>
                  </a:cubicBezTo>
                  <a:cubicBezTo>
                    <a:pt x="286" y="20"/>
                    <a:pt x="279" y="24"/>
                    <a:pt x="296" y="27"/>
                  </a:cubicBezTo>
                  <a:cubicBezTo>
                    <a:pt x="313" y="30"/>
                    <a:pt x="313" y="23"/>
                    <a:pt x="322" y="32"/>
                  </a:cubicBezTo>
                  <a:cubicBezTo>
                    <a:pt x="330" y="40"/>
                    <a:pt x="342" y="59"/>
                    <a:pt x="355" y="60"/>
                  </a:cubicBezTo>
                  <a:cubicBezTo>
                    <a:pt x="367" y="62"/>
                    <a:pt x="376" y="56"/>
                    <a:pt x="393" y="63"/>
                  </a:cubicBezTo>
                  <a:cubicBezTo>
                    <a:pt x="409" y="70"/>
                    <a:pt x="417" y="71"/>
                    <a:pt x="427" y="80"/>
                  </a:cubicBezTo>
                  <a:cubicBezTo>
                    <a:pt x="436" y="88"/>
                    <a:pt x="447" y="100"/>
                    <a:pt x="457" y="101"/>
                  </a:cubicBezTo>
                  <a:cubicBezTo>
                    <a:pt x="467" y="102"/>
                    <a:pt x="468" y="101"/>
                    <a:pt x="477" y="104"/>
                  </a:cubicBezTo>
                  <a:cubicBezTo>
                    <a:pt x="485" y="107"/>
                    <a:pt x="495" y="114"/>
                    <a:pt x="498" y="117"/>
                  </a:cubicBezTo>
                  <a:cubicBezTo>
                    <a:pt x="502" y="120"/>
                    <a:pt x="511" y="124"/>
                    <a:pt x="517" y="125"/>
                  </a:cubicBezTo>
                  <a:cubicBezTo>
                    <a:pt x="523" y="126"/>
                    <a:pt x="536" y="127"/>
                    <a:pt x="540" y="133"/>
                  </a:cubicBezTo>
                  <a:cubicBezTo>
                    <a:pt x="544" y="138"/>
                    <a:pt x="556" y="139"/>
                    <a:pt x="562" y="138"/>
                  </a:cubicBezTo>
                  <a:cubicBezTo>
                    <a:pt x="568" y="138"/>
                    <a:pt x="574" y="139"/>
                    <a:pt x="578" y="145"/>
                  </a:cubicBezTo>
                  <a:cubicBezTo>
                    <a:pt x="581" y="151"/>
                    <a:pt x="573" y="158"/>
                    <a:pt x="587" y="161"/>
                  </a:cubicBezTo>
                  <a:cubicBezTo>
                    <a:pt x="600" y="164"/>
                    <a:pt x="611" y="161"/>
                    <a:pt x="620" y="166"/>
                  </a:cubicBezTo>
                  <a:cubicBezTo>
                    <a:pt x="629" y="172"/>
                    <a:pt x="643" y="178"/>
                    <a:pt x="651" y="186"/>
                  </a:cubicBezTo>
                  <a:cubicBezTo>
                    <a:pt x="658" y="194"/>
                    <a:pt x="666" y="194"/>
                    <a:pt x="664" y="200"/>
                  </a:cubicBezTo>
                  <a:cubicBezTo>
                    <a:pt x="663" y="206"/>
                    <a:pt x="662" y="210"/>
                    <a:pt x="645" y="210"/>
                  </a:cubicBezTo>
                  <a:cubicBezTo>
                    <a:pt x="628" y="210"/>
                    <a:pt x="611" y="206"/>
                    <a:pt x="602" y="213"/>
                  </a:cubicBezTo>
                  <a:cubicBezTo>
                    <a:pt x="593" y="221"/>
                    <a:pt x="584" y="224"/>
                    <a:pt x="573" y="220"/>
                  </a:cubicBezTo>
                  <a:cubicBezTo>
                    <a:pt x="563" y="216"/>
                    <a:pt x="553" y="214"/>
                    <a:pt x="544" y="215"/>
                  </a:cubicBezTo>
                  <a:cubicBezTo>
                    <a:pt x="536" y="217"/>
                    <a:pt x="524" y="217"/>
                    <a:pt x="517" y="218"/>
                  </a:cubicBezTo>
                  <a:cubicBezTo>
                    <a:pt x="510" y="219"/>
                    <a:pt x="468" y="215"/>
                    <a:pt x="468" y="215"/>
                  </a:cubicBezTo>
                  <a:cubicBezTo>
                    <a:pt x="468" y="215"/>
                    <a:pt x="457" y="218"/>
                    <a:pt x="452" y="219"/>
                  </a:cubicBezTo>
                  <a:cubicBezTo>
                    <a:pt x="446" y="220"/>
                    <a:pt x="442" y="215"/>
                    <a:pt x="450" y="209"/>
                  </a:cubicBezTo>
                  <a:cubicBezTo>
                    <a:pt x="458" y="202"/>
                    <a:pt x="468" y="197"/>
                    <a:pt x="472" y="192"/>
                  </a:cubicBezTo>
                  <a:cubicBezTo>
                    <a:pt x="476" y="187"/>
                    <a:pt x="480" y="185"/>
                    <a:pt x="477" y="179"/>
                  </a:cubicBezTo>
                  <a:cubicBezTo>
                    <a:pt x="474" y="173"/>
                    <a:pt x="480" y="174"/>
                    <a:pt x="471" y="170"/>
                  </a:cubicBezTo>
                  <a:cubicBezTo>
                    <a:pt x="461" y="167"/>
                    <a:pt x="458" y="166"/>
                    <a:pt x="445" y="165"/>
                  </a:cubicBezTo>
                  <a:cubicBezTo>
                    <a:pt x="433" y="164"/>
                    <a:pt x="419" y="166"/>
                    <a:pt x="416" y="161"/>
                  </a:cubicBezTo>
                  <a:cubicBezTo>
                    <a:pt x="413" y="155"/>
                    <a:pt x="408" y="151"/>
                    <a:pt x="403" y="144"/>
                  </a:cubicBezTo>
                  <a:cubicBezTo>
                    <a:pt x="399" y="137"/>
                    <a:pt x="398" y="131"/>
                    <a:pt x="397" y="126"/>
                  </a:cubicBezTo>
                  <a:cubicBezTo>
                    <a:pt x="395" y="121"/>
                    <a:pt x="396" y="113"/>
                    <a:pt x="387" y="111"/>
                  </a:cubicBezTo>
                  <a:cubicBezTo>
                    <a:pt x="378" y="109"/>
                    <a:pt x="367" y="109"/>
                    <a:pt x="362" y="108"/>
                  </a:cubicBezTo>
                  <a:cubicBezTo>
                    <a:pt x="357" y="108"/>
                    <a:pt x="334" y="106"/>
                    <a:pt x="329" y="104"/>
                  </a:cubicBezTo>
                  <a:cubicBezTo>
                    <a:pt x="324" y="103"/>
                    <a:pt x="314" y="102"/>
                    <a:pt x="306" y="97"/>
                  </a:cubicBezTo>
                  <a:cubicBezTo>
                    <a:pt x="298" y="92"/>
                    <a:pt x="292" y="80"/>
                    <a:pt x="281" y="80"/>
                  </a:cubicBezTo>
                  <a:cubicBezTo>
                    <a:pt x="270" y="80"/>
                    <a:pt x="262" y="82"/>
                    <a:pt x="253" y="80"/>
                  </a:cubicBezTo>
                  <a:cubicBezTo>
                    <a:pt x="244" y="77"/>
                    <a:pt x="240" y="76"/>
                    <a:pt x="237" y="72"/>
                  </a:cubicBezTo>
                  <a:cubicBezTo>
                    <a:pt x="234" y="68"/>
                    <a:pt x="232" y="65"/>
                    <a:pt x="222" y="67"/>
                  </a:cubicBezTo>
                  <a:cubicBezTo>
                    <a:pt x="211" y="68"/>
                    <a:pt x="200" y="71"/>
                    <a:pt x="195" y="70"/>
                  </a:cubicBezTo>
                  <a:cubicBezTo>
                    <a:pt x="189" y="68"/>
                    <a:pt x="181" y="66"/>
                    <a:pt x="180" y="63"/>
                  </a:cubicBezTo>
                  <a:cubicBezTo>
                    <a:pt x="178" y="60"/>
                    <a:pt x="184" y="56"/>
                    <a:pt x="187" y="56"/>
                  </a:cubicBezTo>
                  <a:cubicBezTo>
                    <a:pt x="190" y="56"/>
                    <a:pt x="199" y="55"/>
                    <a:pt x="199" y="49"/>
                  </a:cubicBezTo>
                  <a:cubicBezTo>
                    <a:pt x="199" y="43"/>
                    <a:pt x="196" y="42"/>
                    <a:pt x="186" y="40"/>
                  </a:cubicBezTo>
                  <a:cubicBezTo>
                    <a:pt x="176" y="38"/>
                    <a:pt x="162" y="35"/>
                    <a:pt x="151" y="36"/>
                  </a:cubicBezTo>
                  <a:cubicBezTo>
                    <a:pt x="141" y="37"/>
                    <a:pt x="130" y="40"/>
                    <a:pt x="125" y="45"/>
                  </a:cubicBezTo>
                  <a:cubicBezTo>
                    <a:pt x="120" y="51"/>
                    <a:pt x="118" y="51"/>
                    <a:pt x="108" y="57"/>
                  </a:cubicBezTo>
                  <a:cubicBezTo>
                    <a:pt x="97" y="62"/>
                    <a:pt x="106" y="70"/>
                    <a:pt x="91" y="71"/>
                  </a:cubicBezTo>
                  <a:cubicBezTo>
                    <a:pt x="75" y="71"/>
                    <a:pt x="71" y="65"/>
                    <a:pt x="64" y="71"/>
                  </a:cubicBezTo>
                  <a:cubicBezTo>
                    <a:pt x="56" y="77"/>
                    <a:pt x="56" y="80"/>
                    <a:pt x="53" y="86"/>
                  </a:cubicBezTo>
                  <a:cubicBezTo>
                    <a:pt x="50" y="92"/>
                    <a:pt x="40" y="90"/>
                    <a:pt x="36" y="93"/>
                  </a:cubicBezTo>
                  <a:cubicBezTo>
                    <a:pt x="32" y="96"/>
                    <a:pt x="29" y="102"/>
                    <a:pt x="26" y="101"/>
                  </a:cubicBezTo>
                  <a:cubicBezTo>
                    <a:pt x="23" y="99"/>
                    <a:pt x="16" y="96"/>
                    <a:pt x="8" y="95"/>
                  </a:cubicBezTo>
                  <a:cubicBezTo>
                    <a:pt x="0" y="95"/>
                    <a:pt x="0" y="84"/>
                    <a:pt x="6" y="84"/>
                  </a:cubicBezTo>
                  <a:cubicBezTo>
                    <a:pt x="12" y="84"/>
                    <a:pt x="19" y="82"/>
                    <a:pt x="25" y="81"/>
                  </a:cubicBezTo>
                  <a:cubicBezTo>
                    <a:pt x="32" y="80"/>
                    <a:pt x="40" y="76"/>
                    <a:pt x="37" y="68"/>
                  </a:cubicBezTo>
                  <a:cubicBezTo>
                    <a:pt x="34" y="60"/>
                    <a:pt x="46" y="45"/>
                    <a:pt x="55" y="4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2" name="Freeform 99"/>
            <p:cNvSpPr>
              <a:spLocks/>
            </p:cNvSpPr>
            <p:nvPr/>
          </p:nvSpPr>
          <p:spPr bwMode="auto">
            <a:xfrm>
              <a:off x="1593169" y="4745328"/>
              <a:ext cx="5953" cy="3572"/>
            </a:xfrm>
            <a:custGeom>
              <a:avLst/>
              <a:gdLst>
                <a:gd name="T0" fmla="*/ 5 w 22"/>
                <a:gd name="T1" fmla="*/ 6 h 14"/>
                <a:gd name="T2" fmla="*/ 11 w 22"/>
                <a:gd name="T3" fmla="*/ 12 h 14"/>
                <a:gd name="T4" fmla="*/ 13 w 22"/>
                <a:gd name="T5" fmla="*/ 6 h 14"/>
                <a:gd name="T6" fmla="*/ 5 w 22"/>
                <a:gd name="T7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4">
                  <a:moveTo>
                    <a:pt x="5" y="6"/>
                  </a:moveTo>
                  <a:cubicBezTo>
                    <a:pt x="5" y="6"/>
                    <a:pt x="0" y="14"/>
                    <a:pt x="11" y="12"/>
                  </a:cubicBezTo>
                  <a:cubicBezTo>
                    <a:pt x="22" y="10"/>
                    <a:pt x="15" y="7"/>
                    <a:pt x="13" y="6"/>
                  </a:cubicBezTo>
                  <a:cubicBezTo>
                    <a:pt x="11" y="4"/>
                    <a:pt x="5" y="0"/>
                    <a:pt x="5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3" name="Freeform 100"/>
            <p:cNvSpPr>
              <a:spLocks/>
            </p:cNvSpPr>
            <p:nvPr/>
          </p:nvSpPr>
          <p:spPr bwMode="auto">
            <a:xfrm>
              <a:off x="1609838" y="4716753"/>
              <a:ext cx="7144" cy="5953"/>
            </a:xfrm>
            <a:custGeom>
              <a:avLst/>
              <a:gdLst>
                <a:gd name="T0" fmla="*/ 3 w 24"/>
                <a:gd name="T1" fmla="*/ 13 h 23"/>
                <a:gd name="T2" fmla="*/ 7 w 24"/>
                <a:gd name="T3" fmla="*/ 23 h 23"/>
                <a:gd name="T4" fmla="*/ 22 w 24"/>
                <a:gd name="T5" fmla="*/ 15 h 23"/>
                <a:gd name="T6" fmla="*/ 3 w 24"/>
                <a:gd name="T7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3">
                  <a:moveTo>
                    <a:pt x="3" y="13"/>
                  </a:moveTo>
                  <a:cubicBezTo>
                    <a:pt x="0" y="18"/>
                    <a:pt x="1" y="23"/>
                    <a:pt x="7" y="23"/>
                  </a:cubicBezTo>
                  <a:cubicBezTo>
                    <a:pt x="12" y="23"/>
                    <a:pt x="20" y="20"/>
                    <a:pt x="22" y="15"/>
                  </a:cubicBezTo>
                  <a:cubicBezTo>
                    <a:pt x="24" y="10"/>
                    <a:pt x="5" y="0"/>
                    <a:pt x="3" y="1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4" name="Freeform 101"/>
            <p:cNvSpPr>
              <a:spLocks/>
            </p:cNvSpPr>
            <p:nvPr/>
          </p:nvSpPr>
          <p:spPr bwMode="auto">
            <a:xfrm>
              <a:off x="1532447" y="4578641"/>
              <a:ext cx="5953" cy="4763"/>
            </a:xfrm>
            <a:custGeom>
              <a:avLst/>
              <a:gdLst>
                <a:gd name="T0" fmla="*/ 11 w 21"/>
                <a:gd name="T1" fmla="*/ 2 h 14"/>
                <a:gd name="T2" fmla="*/ 0 w 21"/>
                <a:gd name="T3" fmla="*/ 7 h 14"/>
                <a:gd name="T4" fmla="*/ 8 w 21"/>
                <a:gd name="T5" fmla="*/ 10 h 14"/>
                <a:gd name="T6" fmla="*/ 20 w 21"/>
                <a:gd name="T7" fmla="*/ 9 h 14"/>
                <a:gd name="T8" fmla="*/ 11 w 21"/>
                <a:gd name="T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4">
                  <a:moveTo>
                    <a:pt x="11" y="2"/>
                  </a:moveTo>
                  <a:cubicBezTo>
                    <a:pt x="3" y="3"/>
                    <a:pt x="0" y="6"/>
                    <a:pt x="0" y="7"/>
                  </a:cubicBezTo>
                  <a:cubicBezTo>
                    <a:pt x="0" y="8"/>
                    <a:pt x="3" y="11"/>
                    <a:pt x="8" y="10"/>
                  </a:cubicBezTo>
                  <a:cubicBezTo>
                    <a:pt x="13" y="10"/>
                    <a:pt x="19" y="14"/>
                    <a:pt x="20" y="9"/>
                  </a:cubicBezTo>
                  <a:cubicBezTo>
                    <a:pt x="21" y="4"/>
                    <a:pt x="17" y="0"/>
                    <a:pt x="11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5" name="Freeform 102"/>
            <p:cNvSpPr>
              <a:spLocks/>
            </p:cNvSpPr>
            <p:nvPr/>
          </p:nvSpPr>
          <p:spPr bwMode="auto">
            <a:xfrm>
              <a:off x="1565785" y="4610788"/>
              <a:ext cx="8334" cy="8334"/>
            </a:xfrm>
            <a:custGeom>
              <a:avLst/>
              <a:gdLst>
                <a:gd name="T0" fmla="*/ 4 w 29"/>
                <a:gd name="T1" fmla="*/ 5 h 31"/>
                <a:gd name="T2" fmla="*/ 2 w 29"/>
                <a:gd name="T3" fmla="*/ 14 h 31"/>
                <a:gd name="T4" fmla="*/ 8 w 29"/>
                <a:gd name="T5" fmla="*/ 22 h 31"/>
                <a:gd name="T6" fmla="*/ 16 w 29"/>
                <a:gd name="T7" fmla="*/ 24 h 31"/>
                <a:gd name="T8" fmla="*/ 25 w 29"/>
                <a:gd name="T9" fmla="*/ 29 h 31"/>
                <a:gd name="T10" fmla="*/ 26 w 29"/>
                <a:gd name="T11" fmla="*/ 22 h 31"/>
                <a:gd name="T12" fmla="*/ 17 w 29"/>
                <a:gd name="T13" fmla="*/ 15 h 31"/>
                <a:gd name="T14" fmla="*/ 17 w 29"/>
                <a:gd name="T15" fmla="*/ 7 h 31"/>
                <a:gd name="T16" fmla="*/ 4 w 29"/>
                <a:gd name="T17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4" y="5"/>
                  </a:moveTo>
                  <a:cubicBezTo>
                    <a:pt x="2" y="8"/>
                    <a:pt x="0" y="8"/>
                    <a:pt x="2" y="14"/>
                  </a:cubicBezTo>
                  <a:cubicBezTo>
                    <a:pt x="3" y="20"/>
                    <a:pt x="4" y="22"/>
                    <a:pt x="8" y="22"/>
                  </a:cubicBezTo>
                  <a:cubicBezTo>
                    <a:pt x="11" y="22"/>
                    <a:pt x="13" y="20"/>
                    <a:pt x="16" y="24"/>
                  </a:cubicBezTo>
                  <a:cubicBezTo>
                    <a:pt x="19" y="27"/>
                    <a:pt x="23" y="31"/>
                    <a:pt x="25" y="29"/>
                  </a:cubicBezTo>
                  <a:cubicBezTo>
                    <a:pt x="27" y="27"/>
                    <a:pt x="29" y="25"/>
                    <a:pt x="26" y="22"/>
                  </a:cubicBezTo>
                  <a:cubicBezTo>
                    <a:pt x="23" y="19"/>
                    <a:pt x="18" y="20"/>
                    <a:pt x="17" y="15"/>
                  </a:cubicBezTo>
                  <a:cubicBezTo>
                    <a:pt x="17" y="11"/>
                    <a:pt x="18" y="8"/>
                    <a:pt x="17" y="7"/>
                  </a:cubicBezTo>
                  <a:cubicBezTo>
                    <a:pt x="15" y="6"/>
                    <a:pt x="9" y="0"/>
                    <a:pt x="4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6" name="Freeform 103"/>
            <p:cNvSpPr>
              <a:spLocks/>
            </p:cNvSpPr>
            <p:nvPr/>
          </p:nvSpPr>
          <p:spPr bwMode="auto">
            <a:xfrm>
              <a:off x="1537210" y="4994169"/>
              <a:ext cx="5953" cy="3572"/>
            </a:xfrm>
            <a:custGeom>
              <a:avLst/>
              <a:gdLst>
                <a:gd name="T0" fmla="*/ 7 w 22"/>
                <a:gd name="T1" fmla="*/ 0 h 13"/>
                <a:gd name="T2" fmla="*/ 19 w 22"/>
                <a:gd name="T3" fmla="*/ 1 h 13"/>
                <a:gd name="T4" fmla="*/ 20 w 22"/>
                <a:gd name="T5" fmla="*/ 6 h 13"/>
                <a:gd name="T6" fmla="*/ 9 w 22"/>
                <a:gd name="T7" fmla="*/ 11 h 13"/>
                <a:gd name="T8" fmla="*/ 7 w 22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3">
                  <a:moveTo>
                    <a:pt x="7" y="0"/>
                  </a:moveTo>
                  <a:cubicBezTo>
                    <a:pt x="11" y="0"/>
                    <a:pt x="18" y="0"/>
                    <a:pt x="19" y="1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8" y="7"/>
                    <a:pt x="9" y="9"/>
                    <a:pt x="9" y="11"/>
                  </a:cubicBezTo>
                  <a:cubicBezTo>
                    <a:pt x="8" y="13"/>
                    <a:pt x="0" y="1"/>
                    <a:pt x="7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7" name="Freeform 104"/>
            <p:cNvSpPr>
              <a:spLocks/>
            </p:cNvSpPr>
            <p:nvPr/>
          </p:nvSpPr>
          <p:spPr bwMode="auto">
            <a:xfrm>
              <a:off x="1525303" y="4987025"/>
              <a:ext cx="2381" cy="2381"/>
            </a:xfrm>
            <a:custGeom>
              <a:avLst/>
              <a:gdLst>
                <a:gd name="T0" fmla="*/ 1 w 11"/>
                <a:gd name="T1" fmla="*/ 3 h 10"/>
                <a:gd name="T2" fmla="*/ 3 w 11"/>
                <a:gd name="T3" fmla="*/ 8 h 10"/>
                <a:gd name="T4" fmla="*/ 11 w 11"/>
                <a:gd name="T5" fmla="*/ 7 h 10"/>
                <a:gd name="T6" fmla="*/ 1 w 11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0">
                  <a:moveTo>
                    <a:pt x="1" y="3"/>
                  </a:moveTo>
                  <a:cubicBezTo>
                    <a:pt x="0" y="5"/>
                    <a:pt x="0" y="8"/>
                    <a:pt x="3" y="8"/>
                  </a:cubicBezTo>
                  <a:cubicBezTo>
                    <a:pt x="7" y="9"/>
                    <a:pt x="11" y="10"/>
                    <a:pt x="11" y="7"/>
                  </a:cubicBezTo>
                  <a:cubicBezTo>
                    <a:pt x="11" y="3"/>
                    <a:pt x="4" y="0"/>
                    <a:pt x="1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8" name="Freeform 105"/>
            <p:cNvSpPr>
              <a:spLocks/>
            </p:cNvSpPr>
            <p:nvPr/>
          </p:nvSpPr>
          <p:spPr bwMode="auto">
            <a:xfrm>
              <a:off x="1462200" y="4970357"/>
              <a:ext cx="5953" cy="4763"/>
            </a:xfrm>
            <a:custGeom>
              <a:avLst/>
              <a:gdLst>
                <a:gd name="T0" fmla="*/ 8 w 20"/>
                <a:gd name="T1" fmla="*/ 2 h 15"/>
                <a:gd name="T2" fmla="*/ 5 w 20"/>
                <a:gd name="T3" fmla="*/ 12 h 15"/>
                <a:gd name="T4" fmla="*/ 18 w 20"/>
                <a:gd name="T5" fmla="*/ 10 h 15"/>
                <a:gd name="T6" fmla="*/ 8 w 20"/>
                <a:gd name="T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5">
                  <a:moveTo>
                    <a:pt x="8" y="2"/>
                  </a:moveTo>
                  <a:cubicBezTo>
                    <a:pt x="0" y="7"/>
                    <a:pt x="2" y="11"/>
                    <a:pt x="5" y="12"/>
                  </a:cubicBezTo>
                  <a:cubicBezTo>
                    <a:pt x="8" y="12"/>
                    <a:pt x="16" y="15"/>
                    <a:pt x="18" y="10"/>
                  </a:cubicBezTo>
                  <a:cubicBezTo>
                    <a:pt x="20" y="5"/>
                    <a:pt x="17" y="0"/>
                    <a:pt x="8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9" name="Freeform 106"/>
            <p:cNvSpPr>
              <a:spLocks/>
            </p:cNvSpPr>
            <p:nvPr/>
          </p:nvSpPr>
          <p:spPr bwMode="auto">
            <a:xfrm>
              <a:off x="1418147" y="4840578"/>
              <a:ext cx="3572" cy="3572"/>
            </a:xfrm>
            <a:custGeom>
              <a:avLst/>
              <a:gdLst>
                <a:gd name="T0" fmla="*/ 4 w 9"/>
                <a:gd name="T1" fmla="*/ 5 h 14"/>
                <a:gd name="T2" fmla="*/ 3 w 9"/>
                <a:gd name="T3" fmla="*/ 13 h 14"/>
                <a:gd name="T4" fmla="*/ 8 w 9"/>
                <a:gd name="T5" fmla="*/ 10 h 14"/>
                <a:gd name="T6" fmla="*/ 4 w 9"/>
                <a:gd name="T7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4">
                  <a:moveTo>
                    <a:pt x="4" y="5"/>
                  </a:moveTo>
                  <a:cubicBezTo>
                    <a:pt x="3" y="8"/>
                    <a:pt x="0" y="14"/>
                    <a:pt x="3" y="13"/>
                  </a:cubicBezTo>
                  <a:cubicBezTo>
                    <a:pt x="6" y="13"/>
                    <a:pt x="8" y="14"/>
                    <a:pt x="8" y="10"/>
                  </a:cubicBezTo>
                  <a:cubicBezTo>
                    <a:pt x="9" y="5"/>
                    <a:pt x="5" y="0"/>
                    <a:pt x="4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0" name="Freeform 107"/>
            <p:cNvSpPr>
              <a:spLocks/>
            </p:cNvSpPr>
            <p:nvPr/>
          </p:nvSpPr>
          <p:spPr bwMode="auto">
            <a:xfrm>
              <a:off x="1422910" y="4854866"/>
              <a:ext cx="5953" cy="2381"/>
            </a:xfrm>
            <a:custGeom>
              <a:avLst/>
              <a:gdLst>
                <a:gd name="T0" fmla="*/ 8 w 19"/>
                <a:gd name="T1" fmla="*/ 3 h 9"/>
                <a:gd name="T2" fmla="*/ 4 w 19"/>
                <a:gd name="T3" fmla="*/ 8 h 9"/>
                <a:gd name="T4" fmla="*/ 15 w 19"/>
                <a:gd name="T5" fmla="*/ 8 h 9"/>
                <a:gd name="T6" fmla="*/ 8 w 19"/>
                <a:gd name="T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9">
                  <a:moveTo>
                    <a:pt x="8" y="3"/>
                  </a:moveTo>
                  <a:cubicBezTo>
                    <a:pt x="4" y="3"/>
                    <a:pt x="0" y="7"/>
                    <a:pt x="4" y="8"/>
                  </a:cubicBezTo>
                  <a:cubicBezTo>
                    <a:pt x="7" y="9"/>
                    <a:pt x="11" y="9"/>
                    <a:pt x="15" y="8"/>
                  </a:cubicBezTo>
                  <a:cubicBezTo>
                    <a:pt x="19" y="6"/>
                    <a:pt x="18" y="0"/>
                    <a:pt x="8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1" name="Freeform 108"/>
            <p:cNvSpPr>
              <a:spLocks/>
            </p:cNvSpPr>
            <p:nvPr/>
          </p:nvSpPr>
          <p:spPr bwMode="auto">
            <a:xfrm>
              <a:off x="1466963" y="4882250"/>
              <a:ext cx="3572" cy="4763"/>
            </a:xfrm>
            <a:custGeom>
              <a:avLst/>
              <a:gdLst>
                <a:gd name="T0" fmla="*/ 1 w 14"/>
                <a:gd name="T1" fmla="*/ 6 h 19"/>
                <a:gd name="T2" fmla="*/ 3 w 14"/>
                <a:gd name="T3" fmla="*/ 17 h 19"/>
                <a:gd name="T4" fmla="*/ 12 w 14"/>
                <a:gd name="T5" fmla="*/ 17 h 19"/>
                <a:gd name="T6" fmla="*/ 1 w 14"/>
                <a:gd name="T7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9">
                  <a:moveTo>
                    <a:pt x="1" y="6"/>
                  </a:moveTo>
                  <a:cubicBezTo>
                    <a:pt x="0" y="9"/>
                    <a:pt x="1" y="16"/>
                    <a:pt x="3" y="17"/>
                  </a:cubicBezTo>
                  <a:cubicBezTo>
                    <a:pt x="5" y="18"/>
                    <a:pt x="11" y="19"/>
                    <a:pt x="12" y="17"/>
                  </a:cubicBezTo>
                  <a:cubicBezTo>
                    <a:pt x="12" y="14"/>
                    <a:pt x="14" y="0"/>
                    <a:pt x="1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2" name="Freeform 109"/>
            <p:cNvSpPr>
              <a:spLocks/>
            </p:cNvSpPr>
            <p:nvPr/>
          </p:nvSpPr>
          <p:spPr bwMode="auto">
            <a:xfrm>
              <a:off x="1670560" y="4947735"/>
              <a:ext cx="7144" cy="4763"/>
            </a:xfrm>
            <a:custGeom>
              <a:avLst/>
              <a:gdLst>
                <a:gd name="T0" fmla="*/ 8 w 24"/>
                <a:gd name="T1" fmla="*/ 3 h 18"/>
                <a:gd name="T2" fmla="*/ 5 w 24"/>
                <a:gd name="T3" fmla="*/ 8 h 18"/>
                <a:gd name="T4" fmla="*/ 12 w 24"/>
                <a:gd name="T5" fmla="*/ 13 h 18"/>
                <a:gd name="T6" fmla="*/ 21 w 24"/>
                <a:gd name="T7" fmla="*/ 14 h 18"/>
                <a:gd name="T8" fmla="*/ 21 w 24"/>
                <a:gd name="T9" fmla="*/ 4 h 18"/>
                <a:gd name="T10" fmla="*/ 8 w 24"/>
                <a:gd name="T11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18">
                  <a:moveTo>
                    <a:pt x="8" y="3"/>
                  </a:moveTo>
                  <a:cubicBezTo>
                    <a:pt x="3" y="4"/>
                    <a:pt x="0" y="5"/>
                    <a:pt x="5" y="8"/>
                  </a:cubicBezTo>
                  <a:cubicBezTo>
                    <a:pt x="9" y="10"/>
                    <a:pt x="8" y="7"/>
                    <a:pt x="12" y="13"/>
                  </a:cubicBezTo>
                  <a:cubicBezTo>
                    <a:pt x="16" y="18"/>
                    <a:pt x="19" y="17"/>
                    <a:pt x="21" y="14"/>
                  </a:cubicBezTo>
                  <a:cubicBezTo>
                    <a:pt x="23" y="10"/>
                    <a:pt x="24" y="5"/>
                    <a:pt x="21" y="4"/>
                  </a:cubicBezTo>
                  <a:cubicBezTo>
                    <a:pt x="17" y="3"/>
                    <a:pt x="15" y="0"/>
                    <a:pt x="8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3" name="Freeform 110"/>
            <p:cNvSpPr>
              <a:spLocks/>
            </p:cNvSpPr>
            <p:nvPr/>
          </p:nvSpPr>
          <p:spPr bwMode="auto">
            <a:xfrm>
              <a:off x="1700325" y="4960832"/>
              <a:ext cx="3572" cy="2381"/>
            </a:xfrm>
            <a:custGeom>
              <a:avLst/>
              <a:gdLst>
                <a:gd name="T0" fmla="*/ 3 w 11"/>
                <a:gd name="T1" fmla="*/ 3 h 11"/>
                <a:gd name="T2" fmla="*/ 4 w 11"/>
                <a:gd name="T3" fmla="*/ 8 h 11"/>
                <a:gd name="T4" fmla="*/ 10 w 11"/>
                <a:gd name="T5" fmla="*/ 9 h 11"/>
                <a:gd name="T6" fmla="*/ 10 w 11"/>
                <a:gd name="T7" fmla="*/ 4 h 11"/>
                <a:gd name="T8" fmla="*/ 3 w 11"/>
                <a:gd name="T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3" y="3"/>
                  </a:moveTo>
                  <a:cubicBezTo>
                    <a:pt x="2" y="6"/>
                    <a:pt x="0" y="6"/>
                    <a:pt x="4" y="8"/>
                  </a:cubicBezTo>
                  <a:cubicBezTo>
                    <a:pt x="7" y="10"/>
                    <a:pt x="10" y="11"/>
                    <a:pt x="10" y="9"/>
                  </a:cubicBezTo>
                  <a:cubicBezTo>
                    <a:pt x="11" y="7"/>
                    <a:pt x="10" y="6"/>
                    <a:pt x="10" y="4"/>
                  </a:cubicBezTo>
                  <a:cubicBezTo>
                    <a:pt x="9" y="1"/>
                    <a:pt x="5" y="0"/>
                    <a:pt x="3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4" name="Freeform 111"/>
            <p:cNvSpPr>
              <a:spLocks/>
            </p:cNvSpPr>
            <p:nvPr/>
          </p:nvSpPr>
          <p:spPr bwMode="auto">
            <a:xfrm>
              <a:off x="1706278" y="4962022"/>
              <a:ext cx="9525" cy="7144"/>
            </a:xfrm>
            <a:custGeom>
              <a:avLst/>
              <a:gdLst>
                <a:gd name="T0" fmla="*/ 7 w 32"/>
                <a:gd name="T1" fmla="*/ 3 h 24"/>
                <a:gd name="T2" fmla="*/ 4 w 32"/>
                <a:gd name="T3" fmla="*/ 11 h 24"/>
                <a:gd name="T4" fmla="*/ 15 w 32"/>
                <a:gd name="T5" fmla="*/ 17 h 24"/>
                <a:gd name="T6" fmla="*/ 24 w 32"/>
                <a:gd name="T7" fmla="*/ 23 h 24"/>
                <a:gd name="T8" fmla="*/ 28 w 32"/>
                <a:gd name="T9" fmla="*/ 19 h 24"/>
                <a:gd name="T10" fmla="*/ 19 w 32"/>
                <a:gd name="T11" fmla="*/ 9 h 24"/>
                <a:gd name="T12" fmla="*/ 7 w 32"/>
                <a:gd name="T13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4">
                  <a:moveTo>
                    <a:pt x="7" y="3"/>
                  </a:moveTo>
                  <a:cubicBezTo>
                    <a:pt x="1" y="7"/>
                    <a:pt x="0" y="6"/>
                    <a:pt x="4" y="11"/>
                  </a:cubicBezTo>
                  <a:cubicBezTo>
                    <a:pt x="8" y="15"/>
                    <a:pt x="12" y="13"/>
                    <a:pt x="15" y="17"/>
                  </a:cubicBezTo>
                  <a:cubicBezTo>
                    <a:pt x="19" y="21"/>
                    <a:pt x="18" y="24"/>
                    <a:pt x="24" y="23"/>
                  </a:cubicBezTo>
                  <a:cubicBezTo>
                    <a:pt x="29" y="22"/>
                    <a:pt x="32" y="23"/>
                    <a:pt x="28" y="19"/>
                  </a:cubicBezTo>
                  <a:cubicBezTo>
                    <a:pt x="24" y="16"/>
                    <a:pt x="20" y="13"/>
                    <a:pt x="19" y="9"/>
                  </a:cubicBezTo>
                  <a:cubicBezTo>
                    <a:pt x="19" y="6"/>
                    <a:pt x="14" y="0"/>
                    <a:pt x="7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5" name="Freeform 112"/>
            <p:cNvSpPr>
              <a:spLocks/>
            </p:cNvSpPr>
            <p:nvPr/>
          </p:nvSpPr>
          <p:spPr bwMode="auto">
            <a:xfrm>
              <a:off x="1775335" y="4933447"/>
              <a:ext cx="5953" cy="8334"/>
            </a:xfrm>
            <a:custGeom>
              <a:avLst/>
              <a:gdLst>
                <a:gd name="T0" fmla="*/ 2 w 19"/>
                <a:gd name="T1" fmla="*/ 9 h 30"/>
                <a:gd name="T2" fmla="*/ 9 w 19"/>
                <a:gd name="T3" fmla="*/ 18 h 30"/>
                <a:gd name="T4" fmla="*/ 11 w 19"/>
                <a:gd name="T5" fmla="*/ 29 h 30"/>
                <a:gd name="T6" fmla="*/ 17 w 19"/>
                <a:gd name="T7" fmla="*/ 24 h 30"/>
                <a:gd name="T8" fmla="*/ 13 w 19"/>
                <a:gd name="T9" fmla="*/ 13 h 30"/>
                <a:gd name="T10" fmla="*/ 8 w 19"/>
                <a:gd name="T11" fmla="*/ 7 h 30"/>
                <a:gd name="T12" fmla="*/ 2 w 19"/>
                <a:gd name="T13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0">
                  <a:moveTo>
                    <a:pt x="2" y="9"/>
                  </a:moveTo>
                  <a:cubicBezTo>
                    <a:pt x="3" y="13"/>
                    <a:pt x="8" y="14"/>
                    <a:pt x="9" y="18"/>
                  </a:cubicBezTo>
                  <a:cubicBezTo>
                    <a:pt x="10" y="22"/>
                    <a:pt x="8" y="28"/>
                    <a:pt x="11" y="29"/>
                  </a:cubicBezTo>
                  <a:cubicBezTo>
                    <a:pt x="14" y="30"/>
                    <a:pt x="19" y="29"/>
                    <a:pt x="17" y="24"/>
                  </a:cubicBezTo>
                  <a:cubicBezTo>
                    <a:pt x="16" y="20"/>
                    <a:pt x="15" y="14"/>
                    <a:pt x="13" y="13"/>
                  </a:cubicBezTo>
                  <a:cubicBezTo>
                    <a:pt x="10" y="12"/>
                    <a:pt x="8" y="7"/>
                    <a:pt x="8" y="7"/>
                  </a:cubicBezTo>
                  <a:cubicBezTo>
                    <a:pt x="8" y="7"/>
                    <a:pt x="0" y="0"/>
                    <a:pt x="2" y="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6" name="Freeform 113"/>
            <p:cNvSpPr>
              <a:spLocks/>
            </p:cNvSpPr>
            <p:nvPr/>
          </p:nvSpPr>
          <p:spPr bwMode="auto">
            <a:xfrm>
              <a:off x="1784860" y="4928685"/>
              <a:ext cx="4762" cy="7144"/>
            </a:xfrm>
            <a:custGeom>
              <a:avLst/>
              <a:gdLst>
                <a:gd name="T0" fmla="*/ 1 w 15"/>
                <a:gd name="T1" fmla="*/ 9 h 26"/>
                <a:gd name="T2" fmla="*/ 5 w 15"/>
                <a:gd name="T3" fmla="*/ 17 h 26"/>
                <a:gd name="T4" fmla="*/ 11 w 15"/>
                <a:gd name="T5" fmla="*/ 23 h 26"/>
                <a:gd name="T6" fmla="*/ 14 w 15"/>
                <a:gd name="T7" fmla="*/ 11 h 26"/>
                <a:gd name="T8" fmla="*/ 1 w 15"/>
                <a:gd name="T9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6">
                  <a:moveTo>
                    <a:pt x="1" y="9"/>
                  </a:moveTo>
                  <a:cubicBezTo>
                    <a:pt x="0" y="13"/>
                    <a:pt x="2" y="12"/>
                    <a:pt x="5" y="17"/>
                  </a:cubicBezTo>
                  <a:cubicBezTo>
                    <a:pt x="8" y="21"/>
                    <a:pt x="7" y="26"/>
                    <a:pt x="11" y="23"/>
                  </a:cubicBezTo>
                  <a:cubicBezTo>
                    <a:pt x="14" y="21"/>
                    <a:pt x="15" y="13"/>
                    <a:pt x="14" y="11"/>
                  </a:cubicBezTo>
                  <a:cubicBezTo>
                    <a:pt x="12" y="9"/>
                    <a:pt x="3" y="0"/>
                    <a:pt x="1" y="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7" name="Freeform 114"/>
            <p:cNvSpPr>
              <a:spLocks/>
            </p:cNvSpPr>
            <p:nvPr/>
          </p:nvSpPr>
          <p:spPr bwMode="auto">
            <a:xfrm>
              <a:off x="1830103" y="4934638"/>
              <a:ext cx="4762" cy="4763"/>
            </a:xfrm>
            <a:custGeom>
              <a:avLst/>
              <a:gdLst>
                <a:gd name="T0" fmla="*/ 8 w 15"/>
                <a:gd name="T1" fmla="*/ 3 h 20"/>
                <a:gd name="T2" fmla="*/ 4 w 15"/>
                <a:gd name="T3" fmla="*/ 11 h 20"/>
                <a:gd name="T4" fmla="*/ 4 w 15"/>
                <a:gd name="T5" fmla="*/ 19 h 20"/>
                <a:gd name="T6" fmla="*/ 10 w 15"/>
                <a:gd name="T7" fmla="*/ 14 h 20"/>
                <a:gd name="T8" fmla="*/ 15 w 15"/>
                <a:gd name="T9" fmla="*/ 6 h 20"/>
                <a:gd name="T10" fmla="*/ 8 w 15"/>
                <a:gd name="T11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4" y="8"/>
                    <a:pt x="5" y="8"/>
                    <a:pt x="4" y="11"/>
                  </a:cubicBezTo>
                  <a:cubicBezTo>
                    <a:pt x="4" y="15"/>
                    <a:pt x="0" y="18"/>
                    <a:pt x="4" y="19"/>
                  </a:cubicBezTo>
                  <a:cubicBezTo>
                    <a:pt x="8" y="20"/>
                    <a:pt x="8" y="18"/>
                    <a:pt x="10" y="14"/>
                  </a:cubicBezTo>
                  <a:cubicBezTo>
                    <a:pt x="12" y="10"/>
                    <a:pt x="15" y="10"/>
                    <a:pt x="15" y="6"/>
                  </a:cubicBezTo>
                  <a:cubicBezTo>
                    <a:pt x="15" y="3"/>
                    <a:pt x="10" y="0"/>
                    <a:pt x="8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8" name="Freeform 115"/>
            <p:cNvSpPr>
              <a:spLocks/>
            </p:cNvSpPr>
            <p:nvPr/>
          </p:nvSpPr>
          <p:spPr bwMode="auto">
            <a:xfrm>
              <a:off x="1809863" y="4945353"/>
              <a:ext cx="5953" cy="2381"/>
            </a:xfrm>
            <a:custGeom>
              <a:avLst/>
              <a:gdLst>
                <a:gd name="T0" fmla="*/ 7 w 20"/>
                <a:gd name="T1" fmla="*/ 0 h 9"/>
                <a:gd name="T2" fmla="*/ 15 w 20"/>
                <a:gd name="T3" fmla="*/ 3 h 9"/>
                <a:gd name="T4" fmla="*/ 16 w 20"/>
                <a:gd name="T5" fmla="*/ 8 h 9"/>
                <a:gd name="T6" fmla="*/ 5 w 20"/>
                <a:gd name="T7" fmla="*/ 7 h 9"/>
                <a:gd name="T8" fmla="*/ 7 w 20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9">
                  <a:moveTo>
                    <a:pt x="7" y="0"/>
                  </a:moveTo>
                  <a:cubicBezTo>
                    <a:pt x="11" y="0"/>
                    <a:pt x="14" y="0"/>
                    <a:pt x="15" y="3"/>
                  </a:cubicBezTo>
                  <a:cubicBezTo>
                    <a:pt x="16" y="6"/>
                    <a:pt x="20" y="7"/>
                    <a:pt x="16" y="8"/>
                  </a:cubicBezTo>
                  <a:cubicBezTo>
                    <a:pt x="11" y="9"/>
                    <a:pt x="10" y="7"/>
                    <a:pt x="5" y="7"/>
                  </a:cubicBezTo>
                  <a:cubicBezTo>
                    <a:pt x="0" y="7"/>
                    <a:pt x="3" y="1"/>
                    <a:pt x="7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9" name="Freeform 116"/>
            <p:cNvSpPr>
              <a:spLocks/>
            </p:cNvSpPr>
            <p:nvPr/>
          </p:nvSpPr>
          <p:spPr bwMode="auto">
            <a:xfrm>
              <a:off x="1862250" y="4977500"/>
              <a:ext cx="5953" cy="3572"/>
            </a:xfrm>
            <a:custGeom>
              <a:avLst/>
              <a:gdLst>
                <a:gd name="T0" fmla="*/ 7 w 17"/>
                <a:gd name="T1" fmla="*/ 1 h 10"/>
                <a:gd name="T2" fmla="*/ 11 w 17"/>
                <a:gd name="T3" fmla="*/ 4 h 10"/>
                <a:gd name="T4" fmla="*/ 15 w 17"/>
                <a:gd name="T5" fmla="*/ 9 h 10"/>
                <a:gd name="T6" fmla="*/ 3 w 17"/>
                <a:gd name="T7" fmla="*/ 9 h 10"/>
                <a:gd name="T8" fmla="*/ 7 w 17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0">
                  <a:moveTo>
                    <a:pt x="7" y="1"/>
                  </a:moveTo>
                  <a:cubicBezTo>
                    <a:pt x="10" y="0"/>
                    <a:pt x="9" y="1"/>
                    <a:pt x="11" y="4"/>
                  </a:cubicBezTo>
                  <a:cubicBezTo>
                    <a:pt x="14" y="7"/>
                    <a:pt x="17" y="8"/>
                    <a:pt x="15" y="9"/>
                  </a:cubicBezTo>
                  <a:cubicBezTo>
                    <a:pt x="13" y="10"/>
                    <a:pt x="5" y="10"/>
                    <a:pt x="3" y="9"/>
                  </a:cubicBezTo>
                  <a:cubicBezTo>
                    <a:pt x="1" y="8"/>
                    <a:pt x="0" y="1"/>
                    <a:pt x="7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0" name="Freeform 117"/>
            <p:cNvSpPr>
              <a:spLocks/>
            </p:cNvSpPr>
            <p:nvPr/>
          </p:nvSpPr>
          <p:spPr bwMode="auto">
            <a:xfrm>
              <a:off x="1858678" y="4971547"/>
              <a:ext cx="4762" cy="3572"/>
            </a:xfrm>
            <a:custGeom>
              <a:avLst/>
              <a:gdLst>
                <a:gd name="T0" fmla="*/ 5 w 15"/>
                <a:gd name="T1" fmla="*/ 1 h 14"/>
                <a:gd name="T2" fmla="*/ 10 w 15"/>
                <a:gd name="T3" fmla="*/ 4 h 14"/>
                <a:gd name="T4" fmla="*/ 14 w 15"/>
                <a:gd name="T5" fmla="*/ 10 h 14"/>
                <a:gd name="T6" fmla="*/ 10 w 15"/>
                <a:gd name="T7" fmla="*/ 12 h 14"/>
                <a:gd name="T8" fmla="*/ 5 w 15"/>
                <a:gd name="T9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5" y="1"/>
                  </a:moveTo>
                  <a:cubicBezTo>
                    <a:pt x="8" y="1"/>
                    <a:pt x="8" y="0"/>
                    <a:pt x="10" y="4"/>
                  </a:cubicBezTo>
                  <a:cubicBezTo>
                    <a:pt x="12" y="8"/>
                    <a:pt x="14" y="8"/>
                    <a:pt x="14" y="10"/>
                  </a:cubicBezTo>
                  <a:cubicBezTo>
                    <a:pt x="15" y="12"/>
                    <a:pt x="12" y="14"/>
                    <a:pt x="10" y="12"/>
                  </a:cubicBezTo>
                  <a:cubicBezTo>
                    <a:pt x="8" y="11"/>
                    <a:pt x="0" y="3"/>
                    <a:pt x="5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1" name="Freeform 118"/>
            <p:cNvSpPr>
              <a:spLocks/>
            </p:cNvSpPr>
            <p:nvPr/>
          </p:nvSpPr>
          <p:spPr bwMode="auto">
            <a:xfrm>
              <a:off x="1862250" y="4964403"/>
              <a:ext cx="5953" cy="5953"/>
            </a:xfrm>
            <a:custGeom>
              <a:avLst/>
              <a:gdLst>
                <a:gd name="T0" fmla="*/ 6 w 19"/>
                <a:gd name="T1" fmla="*/ 6 h 18"/>
                <a:gd name="T2" fmla="*/ 13 w 19"/>
                <a:gd name="T3" fmla="*/ 0 h 18"/>
                <a:gd name="T4" fmla="*/ 18 w 19"/>
                <a:gd name="T5" fmla="*/ 3 h 18"/>
                <a:gd name="T6" fmla="*/ 14 w 19"/>
                <a:gd name="T7" fmla="*/ 9 h 18"/>
                <a:gd name="T8" fmla="*/ 7 w 19"/>
                <a:gd name="T9" fmla="*/ 16 h 18"/>
                <a:gd name="T10" fmla="*/ 0 w 19"/>
                <a:gd name="T11" fmla="*/ 15 h 18"/>
                <a:gd name="T12" fmla="*/ 6 w 19"/>
                <a:gd name="T1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8">
                  <a:moveTo>
                    <a:pt x="6" y="6"/>
                  </a:moveTo>
                  <a:cubicBezTo>
                    <a:pt x="11" y="3"/>
                    <a:pt x="11" y="1"/>
                    <a:pt x="13" y="0"/>
                  </a:cubicBezTo>
                  <a:cubicBezTo>
                    <a:pt x="16" y="0"/>
                    <a:pt x="19" y="1"/>
                    <a:pt x="18" y="3"/>
                  </a:cubicBezTo>
                  <a:cubicBezTo>
                    <a:pt x="18" y="6"/>
                    <a:pt x="17" y="5"/>
                    <a:pt x="14" y="9"/>
                  </a:cubicBezTo>
                  <a:cubicBezTo>
                    <a:pt x="11" y="12"/>
                    <a:pt x="10" y="15"/>
                    <a:pt x="7" y="16"/>
                  </a:cubicBezTo>
                  <a:cubicBezTo>
                    <a:pt x="4" y="17"/>
                    <a:pt x="0" y="18"/>
                    <a:pt x="0" y="15"/>
                  </a:cubicBezTo>
                  <a:cubicBezTo>
                    <a:pt x="1" y="12"/>
                    <a:pt x="2" y="9"/>
                    <a:pt x="6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2" name="Freeform 119"/>
            <p:cNvSpPr>
              <a:spLocks/>
            </p:cNvSpPr>
            <p:nvPr/>
          </p:nvSpPr>
          <p:spPr bwMode="auto">
            <a:xfrm>
              <a:off x="1927735" y="4975119"/>
              <a:ext cx="4762" cy="4763"/>
            </a:xfrm>
            <a:custGeom>
              <a:avLst/>
              <a:gdLst>
                <a:gd name="T0" fmla="*/ 2 w 14"/>
                <a:gd name="T1" fmla="*/ 3 h 17"/>
                <a:gd name="T2" fmla="*/ 4 w 14"/>
                <a:gd name="T3" fmla="*/ 9 h 17"/>
                <a:gd name="T4" fmla="*/ 10 w 14"/>
                <a:gd name="T5" fmla="*/ 14 h 17"/>
                <a:gd name="T6" fmla="*/ 12 w 14"/>
                <a:gd name="T7" fmla="*/ 8 h 17"/>
                <a:gd name="T8" fmla="*/ 2 w 14"/>
                <a:gd name="T9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7">
                  <a:moveTo>
                    <a:pt x="2" y="3"/>
                  </a:moveTo>
                  <a:cubicBezTo>
                    <a:pt x="2" y="6"/>
                    <a:pt x="0" y="6"/>
                    <a:pt x="4" y="9"/>
                  </a:cubicBezTo>
                  <a:cubicBezTo>
                    <a:pt x="7" y="11"/>
                    <a:pt x="7" y="17"/>
                    <a:pt x="10" y="14"/>
                  </a:cubicBezTo>
                  <a:cubicBezTo>
                    <a:pt x="12" y="11"/>
                    <a:pt x="14" y="10"/>
                    <a:pt x="12" y="8"/>
                  </a:cubicBezTo>
                  <a:cubicBezTo>
                    <a:pt x="10" y="5"/>
                    <a:pt x="3" y="0"/>
                    <a:pt x="2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3" name="Freeform 120"/>
            <p:cNvSpPr>
              <a:spLocks/>
            </p:cNvSpPr>
            <p:nvPr/>
          </p:nvSpPr>
          <p:spPr bwMode="auto">
            <a:xfrm>
              <a:off x="1938450" y="4979882"/>
              <a:ext cx="4762" cy="3572"/>
            </a:xfrm>
            <a:custGeom>
              <a:avLst/>
              <a:gdLst>
                <a:gd name="T0" fmla="*/ 6 w 17"/>
                <a:gd name="T1" fmla="*/ 1 h 16"/>
                <a:gd name="T2" fmla="*/ 3 w 17"/>
                <a:gd name="T3" fmla="*/ 6 h 16"/>
                <a:gd name="T4" fmla="*/ 10 w 17"/>
                <a:gd name="T5" fmla="*/ 10 h 16"/>
                <a:gd name="T6" fmla="*/ 17 w 17"/>
                <a:gd name="T7" fmla="*/ 12 h 16"/>
                <a:gd name="T8" fmla="*/ 13 w 17"/>
                <a:gd name="T9" fmla="*/ 4 h 16"/>
                <a:gd name="T10" fmla="*/ 6 w 17"/>
                <a:gd name="T11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6" y="1"/>
                  </a:moveTo>
                  <a:cubicBezTo>
                    <a:pt x="3" y="3"/>
                    <a:pt x="0" y="5"/>
                    <a:pt x="3" y="6"/>
                  </a:cubicBezTo>
                  <a:cubicBezTo>
                    <a:pt x="6" y="7"/>
                    <a:pt x="9" y="5"/>
                    <a:pt x="10" y="10"/>
                  </a:cubicBezTo>
                  <a:cubicBezTo>
                    <a:pt x="12" y="14"/>
                    <a:pt x="16" y="16"/>
                    <a:pt x="17" y="12"/>
                  </a:cubicBezTo>
                  <a:cubicBezTo>
                    <a:pt x="17" y="8"/>
                    <a:pt x="14" y="8"/>
                    <a:pt x="13" y="4"/>
                  </a:cubicBezTo>
                  <a:cubicBezTo>
                    <a:pt x="13" y="1"/>
                    <a:pt x="8" y="0"/>
                    <a:pt x="6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4" name="Freeform 121"/>
            <p:cNvSpPr>
              <a:spLocks/>
            </p:cNvSpPr>
            <p:nvPr/>
          </p:nvSpPr>
          <p:spPr bwMode="auto">
            <a:xfrm>
              <a:off x="1862250" y="4789382"/>
              <a:ext cx="4762" cy="3572"/>
            </a:xfrm>
            <a:custGeom>
              <a:avLst/>
              <a:gdLst>
                <a:gd name="T0" fmla="*/ 8 w 15"/>
                <a:gd name="T1" fmla="*/ 5 h 14"/>
                <a:gd name="T2" fmla="*/ 3 w 15"/>
                <a:gd name="T3" fmla="*/ 11 h 14"/>
                <a:gd name="T4" fmla="*/ 10 w 15"/>
                <a:gd name="T5" fmla="*/ 11 h 14"/>
                <a:gd name="T6" fmla="*/ 15 w 15"/>
                <a:gd name="T7" fmla="*/ 5 h 14"/>
                <a:gd name="T8" fmla="*/ 8 w 15"/>
                <a:gd name="T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8" y="5"/>
                  </a:moveTo>
                  <a:cubicBezTo>
                    <a:pt x="5" y="9"/>
                    <a:pt x="0" y="9"/>
                    <a:pt x="3" y="11"/>
                  </a:cubicBezTo>
                  <a:cubicBezTo>
                    <a:pt x="5" y="14"/>
                    <a:pt x="7" y="14"/>
                    <a:pt x="10" y="11"/>
                  </a:cubicBezTo>
                  <a:cubicBezTo>
                    <a:pt x="14" y="9"/>
                    <a:pt x="15" y="8"/>
                    <a:pt x="15" y="5"/>
                  </a:cubicBezTo>
                  <a:cubicBezTo>
                    <a:pt x="15" y="3"/>
                    <a:pt x="13" y="0"/>
                    <a:pt x="8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5" name="Freeform 122"/>
            <p:cNvSpPr>
              <a:spLocks/>
            </p:cNvSpPr>
            <p:nvPr/>
          </p:nvSpPr>
          <p:spPr bwMode="auto">
            <a:xfrm>
              <a:off x="1872966" y="4804860"/>
              <a:ext cx="4762" cy="4763"/>
            </a:xfrm>
            <a:custGeom>
              <a:avLst/>
              <a:gdLst>
                <a:gd name="T0" fmla="*/ 5 w 19"/>
                <a:gd name="T1" fmla="*/ 5 h 19"/>
                <a:gd name="T2" fmla="*/ 3 w 19"/>
                <a:gd name="T3" fmla="*/ 14 h 19"/>
                <a:gd name="T4" fmla="*/ 10 w 19"/>
                <a:gd name="T5" fmla="*/ 16 h 19"/>
                <a:gd name="T6" fmla="*/ 17 w 19"/>
                <a:gd name="T7" fmla="*/ 10 h 19"/>
                <a:gd name="T8" fmla="*/ 5 w 19"/>
                <a:gd name="T9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5" y="5"/>
                  </a:moveTo>
                  <a:cubicBezTo>
                    <a:pt x="2" y="10"/>
                    <a:pt x="0" y="12"/>
                    <a:pt x="3" y="14"/>
                  </a:cubicBezTo>
                  <a:cubicBezTo>
                    <a:pt x="6" y="16"/>
                    <a:pt x="9" y="19"/>
                    <a:pt x="10" y="16"/>
                  </a:cubicBezTo>
                  <a:cubicBezTo>
                    <a:pt x="12" y="13"/>
                    <a:pt x="14" y="15"/>
                    <a:pt x="17" y="10"/>
                  </a:cubicBezTo>
                  <a:cubicBezTo>
                    <a:pt x="19" y="4"/>
                    <a:pt x="13" y="0"/>
                    <a:pt x="5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6" name="Freeform 123"/>
            <p:cNvSpPr>
              <a:spLocks/>
            </p:cNvSpPr>
            <p:nvPr/>
          </p:nvSpPr>
          <p:spPr bwMode="auto">
            <a:xfrm>
              <a:off x="1874156" y="4814385"/>
              <a:ext cx="3572" cy="4763"/>
            </a:xfrm>
            <a:custGeom>
              <a:avLst/>
              <a:gdLst>
                <a:gd name="T0" fmla="*/ 0 w 12"/>
                <a:gd name="T1" fmla="*/ 5 h 16"/>
                <a:gd name="T2" fmla="*/ 6 w 12"/>
                <a:gd name="T3" fmla="*/ 11 h 16"/>
                <a:gd name="T4" fmla="*/ 12 w 12"/>
                <a:gd name="T5" fmla="*/ 13 h 16"/>
                <a:gd name="T6" fmla="*/ 8 w 12"/>
                <a:gd name="T7" fmla="*/ 6 h 16"/>
                <a:gd name="T8" fmla="*/ 0 w 12"/>
                <a:gd name="T9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6">
                  <a:moveTo>
                    <a:pt x="0" y="5"/>
                  </a:moveTo>
                  <a:cubicBezTo>
                    <a:pt x="0" y="9"/>
                    <a:pt x="3" y="7"/>
                    <a:pt x="6" y="11"/>
                  </a:cubicBezTo>
                  <a:cubicBezTo>
                    <a:pt x="9" y="15"/>
                    <a:pt x="12" y="16"/>
                    <a:pt x="12" y="13"/>
                  </a:cubicBezTo>
                  <a:cubicBezTo>
                    <a:pt x="12" y="9"/>
                    <a:pt x="10" y="9"/>
                    <a:pt x="8" y="6"/>
                  </a:cubicBezTo>
                  <a:cubicBezTo>
                    <a:pt x="6" y="3"/>
                    <a:pt x="1" y="0"/>
                    <a:pt x="0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7" name="Freeform 124"/>
            <p:cNvSpPr>
              <a:spLocks/>
            </p:cNvSpPr>
            <p:nvPr/>
          </p:nvSpPr>
          <p:spPr bwMode="auto">
            <a:xfrm>
              <a:off x="1892016" y="4821528"/>
              <a:ext cx="7144" cy="7144"/>
            </a:xfrm>
            <a:custGeom>
              <a:avLst/>
              <a:gdLst>
                <a:gd name="T0" fmla="*/ 11 w 26"/>
                <a:gd name="T1" fmla="*/ 0 h 24"/>
                <a:gd name="T2" fmla="*/ 20 w 26"/>
                <a:gd name="T3" fmla="*/ 1 h 24"/>
                <a:gd name="T4" fmla="*/ 24 w 26"/>
                <a:gd name="T5" fmla="*/ 4 h 24"/>
                <a:gd name="T6" fmla="*/ 14 w 26"/>
                <a:gd name="T7" fmla="*/ 7 h 24"/>
                <a:gd name="T8" fmla="*/ 9 w 26"/>
                <a:gd name="T9" fmla="*/ 15 h 24"/>
                <a:gd name="T10" fmla="*/ 5 w 26"/>
                <a:gd name="T11" fmla="*/ 23 h 24"/>
                <a:gd name="T12" fmla="*/ 2 w 26"/>
                <a:gd name="T13" fmla="*/ 15 h 24"/>
                <a:gd name="T14" fmla="*/ 2 w 26"/>
                <a:gd name="T15" fmla="*/ 8 h 24"/>
                <a:gd name="T16" fmla="*/ 11 w 26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4">
                  <a:moveTo>
                    <a:pt x="11" y="0"/>
                  </a:moveTo>
                  <a:cubicBezTo>
                    <a:pt x="15" y="1"/>
                    <a:pt x="17" y="1"/>
                    <a:pt x="20" y="1"/>
                  </a:cubicBezTo>
                  <a:cubicBezTo>
                    <a:pt x="23" y="1"/>
                    <a:pt x="26" y="3"/>
                    <a:pt x="24" y="4"/>
                  </a:cubicBezTo>
                  <a:cubicBezTo>
                    <a:pt x="22" y="6"/>
                    <a:pt x="17" y="4"/>
                    <a:pt x="14" y="7"/>
                  </a:cubicBezTo>
                  <a:cubicBezTo>
                    <a:pt x="11" y="10"/>
                    <a:pt x="9" y="12"/>
                    <a:pt x="9" y="15"/>
                  </a:cubicBezTo>
                  <a:cubicBezTo>
                    <a:pt x="9" y="19"/>
                    <a:pt x="8" y="24"/>
                    <a:pt x="5" y="23"/>
                  </a:cubicBezTo>
                  <a:cubicBezTo>
                    <a:pt x="3" y="23"/>
                    <a:pt x="2" y="19"/>
                    <a:pt x="2" y="15"/>
                  </a:cubicBezTo>
                  <a:cubicBezTo>
                    <a:pt x="3" y="12"/>
                    <a:pt x="4" y="11"/>
                    <a:pt x="2" y="8"/>
                  </a:cubicBezTo>
                  <a:cubicBezTo>
                    <a:pt x="0" y="4"/>
                    <a:pt x="3" y="0"/>
                    <a:pt x="11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8" name="Freeform 125"/>
            <p:cNvSpPr>
              <a:spLocks/>
            </p:cNvSpPr>
            <p:nvPr/>
          </p:nvSpPr>
          <p:spPr bwMode="auto">
            <a:xfrm>
              <a:off x="2921906" y="4198832"/>
              <a:ext cx="4762" cy="3572"/>
            </a:xfrm>
            <a:custGeom>
              <a:avLst/>
              <a:gdLst>
                <a:gd name="T0" fmla="*/ 6 w 16"/>
                <a:gd name="T1" fmla="*/ 6 h 14"/>
                <a:gd name="T2" fmla="*/ 14 w 16"/>
                <a:gd name="T3" fmla="*/ 5 h 14"/>
                <a:gd name="T4" fmla="*/ 10 w 16"/>
                <a:gd name="T5" fmla="*/ 13 h 14"/>
                <a:gd name="T6" fmla="*/ 6 w 16"/>
                <a:gd name="T7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4">
                  <a:moveTo>
                    <a:pt x="6" y="6"/>
                  </a:moveTo>
                  <a:cubicBezTo>
                    <a:pt x="8" y="5"/>
                    <a:pt x="13" y="0"/>
                    <a:pt x="14" y="5"/>
                  </a:cubicBezTo>
                  <a:cubicBezTo>
                    <a:pt x="16" y="10"/>
                    <a:pt x="14" y="13"/>
                    <a:pt x="10" y="13"/>
                  </a:cubicBezTo>
                  <a:cubicBezTo>
                    <a:pt x="6" y="14"/>
                    <a:pt x="0" y="8"/>
                    <a:pt x="6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9" name="Freeform 126"/>
            <p:cNvSpPr>
              <a:spLocks/>
            </p:cNvSpPr>
            <p:nvPr/>
          </p:nvSpPr>
          <p:spPr bwMode="auto">
            <a:xfrm>
              <a:off x="2915953" y="4197641"/>
              <a:ext cx="3572" cy="7144"/>
            </a:xfrm>
            <a:custGeom>
              <a:avLst/>
              <a:gdLst>
                <a:gd name="T0" fmla="*/ 0 w 11"/>
                <a:gd name="T1" fmla="*/ 8 h 22"/>
                <a:gd name="T2" fmla="*/ 8 w 11"/>
                <a:gd name="T3" fmla="*/ 21 h 22"/>
                <a:gd name="T4" fmla="*/ 8 w 11"/>
                <a:gd name="T5" fmla="*/ 12 h 22"/>
                <a:gd name="T6" fmla="*/ 0 w 11"/>
                <a:gd name="T7" fmla="*/ 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2">
                  <a:moveTo>
                    <a:pt x="0" y="8"/>
                  </a:moveTo>
                  <a:cubicBezTo>
                    <a:pt x="2" y="15"/>
                    <a:pt x="6" y="22"/>
                    <a:pt x="8" y="21"/>
                  </a:cubicBezTo>
                  <a:cubicBezTo>
                    <a:pt x="11" y="19"/>
                    <a:pt x="8" y="14"/>
                    <a:pt x="8" y="12"/>
                  </a:cubicBezTo>
                  <a:cubicBezTo>
                    <a:pt x="8" y="10"/>
                    <a:pt x="3" y="0"/>
                    <a:pt x="0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0" name="Freeform 127"/>
            <p:cNvSpPr>
              <a:spLocks/>
            </p:cNvSpPr>
            <p:nvPr/>
          </p:nvSpPr>
          <p:spPr bwMode="auto">
            <a:xfrm>
              <a:off x="3050494" y="4229788"/>
              <a:ext cx="4762" cy="3572"/>
            </a:xfrm>
            <a:custGeom>
              <a:avLst/>
              <a:gdLst>
                <a:gd name="T0" fmla="*/ 5 w 16"/>
                <a:gd name="T1" fmla="*/ 2 h 10"/>
                <a:gd name="T2" fmla="*/ 4 w 16"/>
                <a:gd name="T3" fmla="*/ 8 h 10"/>
                <a:gd name="T4" fmla="*/ 13 w 16"/>
                <a:gd name="T5" fmla="*/ 8 h 10"/>
                <a:gd name="T6" fmla="*/ 5 w 1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0">
                  <a:moveTo>
                    <a:pt x="5" y="2"/>
                  </a:moveTo>
                  <a:cubicBezTo>
                    <a:pt x="0" y="6"/>
                    <a:pt x="1" y="8"/>
                    <a:pt x="4" y="8"/>
                  </a:cubicBezTo>
                  <a:cubicBezTo>
                    <a:pt x="8" y="9"/>
                    <a:pt x="9" y="10"/>
                    <a:pt x="13" y="8"/>
                  </a:cubicBezTo>
                  <a:cubicBezTo>
                    <a:pt x="16" y="6"/>
                    <a:pt x="12" y="0"/>
                    <a:pt x="5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1" name="Freeform 128"/>
            <p:cNvSpPr>
              <a:spLocks/>
            </p:cNvSpPr>
            <p:nvPr/>
          </p:nvSpPr>
          <p:spPr bwMode="auto">
            <a:xfrm>
              <a:off x="3024300" y="4220263"/>
              <a:ext cx="7144" cy="9525"/>
            </a:xfrm>
            <a:custGeom>
              <a:avLst/>
              <a:gdLst>
                <a:gd name="T0" fmla="*/ 1 w 24"/>
                <a:gd name="T1" fmla="*/ 3 h 32"/>
                <a:gd name="T2" fmla="*/ 7 w 24"/>
                <a:gd name="T3" fmla="*/ 14 h 32"/>
                <a:gd name="T4" fmla="*/ 13 w 24"/>
                <a:gd name="T5" fmla="*/ 25 h 32"/>
                <a:gd name="T6" fmla="*/ 17 w 24"/>
                <a:gd name="T7" fmla="*/ 30 h 32"/>
                <a:gd name="T8" fmla="*/ 20 w 24"/>
                <a:gd name="T9" fmla="*/ 24 h 32"/>
                <a:gd name="T10" fmla="*/ 13 w 24"/>
                <a:gd name="T11" fmla="*/ 14 h 32"/>
                <a:gd name="T12" fmla="*/ 9 w 24"/>
                <a:gd name="T13" fmla="*/ 8 h 32"/>
                <a:gd name="T14" fmla="*/ 1 w 24"/>
                <a:gd name="T15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2">
                  <a:moveTo>
                    <a:pt x="1" y="3"/>
                  </a:moveTo>
                  <a:cubicBezTo>
                    <a:pt x="0" y="8"/>
                    <a:pt x="4" y="9"/>
                    <a:pt x="7" y="14"/>
                  </a:cubicBezTo>
                  <a:cubicBezTo>
                    <a:pt x="10" y="19"/>
                    <a:pt x="12" y="22"/>
                    <a:pt x="13" y="25"/>
                  </a:cubicBezTo>
                  <a:cubicBezTo>
                    <a:pt x="13" y="28"/>
                    <a:pt x="14" y="32"/>
                    <a:pt x="17" y="30"/>
                  </a:cubicBezTo>
                  <a:cubicBezTo>
                    <a:pt x="20" y="29"/>
                    <a:pt x="24" y="29"/>
                    <a:pt x="20" y="24"/>
                  </a:cubicBezTo>
                  <a:cubicBezTo>
                    <a:pt x="16" y="20"/>
                    <a:pt x="14" y="18"/>
                    <a:pt x="13" y="14"/>
                  </a:cubicBezTo>
                  <a:cubicBezTo>
                    <a:pt x="12" y="10"/>
                    <a:pt x="11" y="11"/>
                    <a:pt x="9" y="8"/>
                  </a:cubicBezTo>
                  <a:cubicBezTo>
                    <a:pt x="6" y="5"/>
                    <a:pt x="3" y="0"/>
                    <a:pt x="1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2" name="Freeform 129"/>
            <p:cNvSpPr>
              <a:spLocks/>
            </p:cNvSpPr>
            <p:nvPr/>
          </p:nvSpPr>
          <p:spPr bwMode="auto">
            <a:xfrm>
              <a:off x="3013585" y="4220263"/>
              <a:ext cx="5953" cy="5953"/>
            </a:xfrm>
            <a:custGeom>
              <a:avLst/>
              <a:gdLst>
                <a:gd name="T0" fmla="*/ 2 w 21"/>
                <a:gd name="T1" fmla="*/ 7 h 18"/>
                <a:gd name="T2" fmla="*/ 8 w 21"/>
                <a:gd name="T3" fmla="*/ 10 h 18"/>
                <a:gd name="T4" fmla="*/ 16 w 21"/>
                <a:gd name="T5" fmla="*/ 17 h 18"/>
                <a:gd name="T6" fmla="*/ 18 w 21"/>
                <a:gd name="T7" fmla="*/ 12 h 18"/>
                <a:gd name="T8" fmla="*/ 12 w 21"/>
                <a:gd name="T9" fmla="*/ 7 h 18"/>
                <a:gd name="T10" fmla="*/ 2 w 21"/>
                <a:gd name="T11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8">
                  <a:moveTo>
                    <a:pt x="2" y="7"/>
                  </a:moveTo>
                  <a:cubicBezTo>
                    <a:pt x="5" y="10"/>
                    <a:pt x="5" y="5"/>
                    <a:pt x="8" y="10"/>
                  </a:cubicBezTo>
                  <a:cubicBezTo>
                    <a:pt x="11" y="16"/>
                    <a:pt x="13" y="18"/>
                    <a:pt x="16" y="17"/>
                  </a:cubicBezTo>
                  <a:cubicBezTo>
                    <a:pt x="19" y="15"/>
                    <a:pt x="21" y="15"/>
                    <a:pt x="18" y="12"/>
                  </a:cubicBezTo>
                  <a:cubicBezTo>
                    <a:pt x="15" y="10"/>
                    <a:pt x="14" y="11"/>
                    <a:pt x="12" y="7"/>
                  </a:cubicBezTo>
                  <a:cubicBezTo>
                    <a:pt x="11" y="3"/>
                    <a:pt x="0" y="0"/>
                    <a:pt x="2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3" name="Freeform 130"/>
            <p:cNvSpPr>
              <a:spLocks/>
            </p:cNvSpPr>
            <p:nvPr/>
          </p:nvSpPr>
          <p:spPr bwMode="auto">
            <a:xfrm>
              <a:off x="3018347" y="4200022"/>
              <a:ext cx="8334" cy="11906"/>
            </a:xfrm>
            <a:custGeom>
              <a:avLst/>
              <a:gdLst>
                <a:gd name="T0" fmla="*/ 0 w 28"/>
                <a:gd name="T1" fmla="*/ 4 h 42"/>
                <a:gd name="T2" fmla="*/ 4 w 28"/>
                <a:gd name="T3" fmla="*/ 13 h 42"/>
                <a:gd name="T4" fmla="*/ 14 w 28"/>
                <a:gd name="T5" fmla="*/ 21 h 42"/>
                <a:gd name="T6" fmla="*/ 17 w 28"/>
                <a:gd name="T7" fmla="*/ 30 h 42"/>
                <a:gd name="T8" fmla="*/ 16 w 28"/>
                <a:gd name="T9" fmla="*/ 39 h 42"/>
                <a:gd name="T10" fmla="*/ 24 w 28"/>
                <a:gd name="T11" fmla="*/ 36 h 42"/>
                <a:gd name="T12" fmla="*/ 24 w 28"/>
                <a:gd name="T13" fmla="*/ 27 h 42"/>
                <a:gd name="T14" fmla="*/ 16 w 28"/>
                <a:gd name="T15" fmla="*/ 16 h 42"/>
                <a:gd name="T16" fmla="*/ 7 w 28"/>
                <a:gd name="T17" fmla="*/ 10 h 42"/>
                <a:gd name="T18" fmla="*/ 3 w 28"/>
                <a:gd name="T19" fmla="*/ 3 h 42"/>
                <a:gd name="T20" fmla="*/ 0 w 28"/>
                <a:gd name="T21" fmla="*/ 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42">
                  <a:moveTo>
                    <a:pt x="0" y="4"/>
                  </a:moveTo>
                  <a:cubicBezTo>
                    <a:pt x="0" y="9"/>
                    <a:pt x="0" y="10"/>
                    <a:pt x="4" y="13"/>
                  </a:cubicBezTo>
                  <a:cubicBezTo>
                    <a:pt x="8" y="16"/>
                    <a:pt x="13" y="17"/>
                    <a:pt x="14" y="21"/>
                  </a:cubicBezTo>
                  <a:cubicBezTo>
                    <a:pt x="15" y="25"/>
                    <a:pt x="17" y="25"/>
                    <a:pt x="17" y="30"/>
                  </a:cubicBezTo>
                  <a:cubicBezTo>
                    <a:pt x="17" y="35"/>
                    <a:pt x="13" y="36"/>
                    <a:pt x="16" y="39"/>
                  </a:cubicBezTo>
                  <a:cubicBezTo>
                    <a:pt x="18" y="42"/>
                    <a:pt x="24" y="41"/>
                    <a:pt x="24" y="36"/>
                  </a:cubicBezTo>
                  <a:cubicBezTo>
                    <a:pt x="25" y="31"/>
                    <a:pt x="28" y="31"/>
                    <a:pt x="24" y="27"/>
                  </a:cubicBezTo>
                  <a:cubicBezTo>
                    <a:pt x="19" y="22"/>
                    <a:pt x="18" y="19"/>
                    <a:pt x="16" y="16"/>
                  </a:cubicBezTo>
                  <a:cubicBezTo>
                    <a:pt x="15" y="13"/>
                    <a:pt x="10" y="12"/>
                    <a:pt x="7" y="10"/>
                  </a:cubicBezTo>
                  <a:cubicBezTo>
                    <a:pt x="5" y="7"/>
                    <a:pt x="4" y="4"/>
                    <a:pt x="3" y="3"/>
                  </a:cubicBezTo>
                  <a:cubicBezTo>
                    <a:pt x="2" y="2"/>
                    <a:pt x="0" y="0"/>
                    <a:pt x="0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4" name="Freeform 131"/>
            <p:cNvSpPr>
              <a:spLocks/>
            </p:cNvSpPr>
            <p:nvPr/>
          </p:nvSpPr>
          <p:spPr bwMode="auto">
            <a:xfrm>
              <a:off x="3004060" y="4186925"/>
              <a:ext cx="8334" cy="16669"/>
            </a:xfrm>
            <a:custGeom>
              <a:avLst/>
              <a:gdLst>
                <a:gd name="T0" fmla="*/ 0 w 28"/>
                <a:gd name="T1" fmla="*/ 5 h 56"/>
                <a:gd name="T2" fmla="*/ 5 w 28"/>
                <a:gd name="T3" fmla="*/ 11 h 56"/>
                <a:gd name="T4" fmla="*/ 15 w 28"/>
                <a:gd name="T5" fmla="*/ 17 h 56"/>
                <a:gd name="T6" fmla="*/ 19 w 28"/>
                <a:gd name="T7" fmla="*/ 22 h 56"/>
                <a:gd name="T8" fmla="*/ 19 w 28"/>
                <a:gd name="T9" fmla="*/ 34 h 56"/>
                <a:gd name="T10" fmla="*/ 13 w 28"/>
                <a:gd name="T11" fmla="*/ 38 h 56"/>
                <a:gd name="T12" fmla="*/ 12 w 28"/>
                <a:gd name="T13" fmla="*/ 45 h 56"/>
                <a:gd name="T14" fmla="*/ 18 w 28"/>
                <a:gd name="T15" fmla="*/ 50 h 56"/>
                <a:gd name="T16" fmla="*/ 24 w 28"/>
                <a:gd name="T17" fmla="*/ 52 h 56"/>
                <a:gd name="T18" fmla="*/ 24 w 28"/>
                <a:gd name="T19" fmla="*/ 39 h 56"/>
                <a:gd name="T20" fmla="*/ 26 w 28"/>
                <a:gd name="T21" fmla="*/ 31 h 56"/>
                <a:gd name="T22" fmla="*/ 24 w 28"/>
                <a:gd name="T23" fmla="*/ 18 h 56"/>
                <a:gd name="T24" fmla="*/ 13 w 28"/>
                <a:gd name="T25" fmla="*/ 12 h 56"/>
                <a:gd name="T26" fmla="*/ 4 w 28"/>
                <a:gd name="T27" fmla="*/ 5 h 56"/>
                <a:gd name="T28" fmla="*/ 0 w 28"/>
                <a:gd name="T29" fmla="*/ 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56">
                  <a:moveTo>
                    <a:pt x="0" y="5"/>
                  </a:moveTo>
                  <a:cubicBezTo>
                    <a:pt x="0" y="8"/>
                    <a:pt x="1" y="9"/>
                    <a:pt x="5" y="11"/>
                  </a:cubicBezTo>
                  <a:cubicBezTo>
                    <a:pt x="10" y="14"/>
                    <a:pt x="13" y="14"/>
                    <a:pt x="15" y="17"/>
                  </a:cubicBezTo>
                  <a:cubicBezTo>
                    <a:pt x="17" y="19"/>
                    <a:pt x="18" y="17"/>
                    <a:pt x="19" y="22"/>
                  </a:cubicBezTo>
                  <a:cubicBezTo>
                    <a:pt x="20" y="28"/>
                    <a:pt x="20" y="31"/>
                    <a:pt x="19" y="34"/>
                  </a:cubicBezTo>
                  <a:cubicBezTo>
                    <a:pt x="18" y="36"/>
                    <a:pt x="15" y="34"/>
                    <a:pt x="13" y="38"/>
                  </a:cubicBezTo>
                  <a:cubicBezTo>
                    <a:pt x="10" y="41"/>
                    <a:pt x="8" y="43"/>
                    <a:pt x="12" y="45"/>
                  </a:cubicBezTo>
                  <a:cubicBezTo>
                    <a:pt x="16" y="47"/>
                    <a:pt x="16" y="47"/>
                    <a:pt x="18" y="50"/>
                  </a:cubicBezTo>
                  <a:cubicBezTo>
                    <a:pt x="20" y="53"/>
                    <a:pt x="23" y="56"/>
                    <a:pt x="24" y="52"/>
                  </a:cubicBezTo>
                  <a:cubicBezTo>
                    <a:pt x="25" y="47"/>
                    <a:pt x="24" y="42"/>
                    <a:pt x="24" y="39"/>
                  </a:cubicBezTo>
                  <a:cubicBezTo>
                    <a:pt x="24" y="36"/>
                    <a:pt x="25" y="38"/>
                    <a:pt x="26" y="31"/>
                  </a:cubicBezTo>
                  <a:cubicBezTo>
                    <a:pt x="27" y="24"/>
                    <a:pt x="28" y="21"/>
                    <a:pt x="24" y="18"/>
                  </a:cubicBezTo>
                  <a:cubicBezTo>
                    <a:pt x="19" y="15"/>
                    <a:pt x="18" y="15"/>
                    <a:pt x="13" y="12"/>
                  </a:cubicBezTo>
                  <a:cubicBezTo>
                    <a:pt x="8" y="9"/>
                    <a:pt x="4" y="8"/>
                    <a:pt x="4" y="5"/>
                  </a:cubicBezTo>
                  <a:cubicBezTo>
                    <a:pt x="3" y="3"/>
                    <a:pt x="0" y="0"/>
                    <a:pt x="0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5" name="Freeform 132"/>
            <p:cNvSpPr>
              <a:spLocks/>
            </p:cNvSpPr>
            <p:nvPr/>
          </p:nvSpPr>
          <p:spPr bwMode="auto">
            <a:xfrm>
              <a:off x="2988581" y="4172638"/>
              <a:ext cx="3572" cy="5953"/>
            </a:xfrm>
            <a:custGeom>
              <a:avLst/>
              <a:gdLst>
                <a:gd name="T0" fmla="*/ 2 w 10"/>
                <a:gd name="T1" fmla="*/ 4 h 19"/>
                <a:gd name="T2" fmla="*/ 2 w 10"/>
                <a:gd name="T3" fmla="*/ 11 h 19"/>
                <a:gd name="T4" fmla="*/ 8 w 10"/>
                <a:gd name="T5" fmla="*/ 15 h 19"/>
                <a:gd name="T6" fmla="*/ 9 w 10"/>
                <a:gd name="T7" fmla="*/ 4 h 19"/>
                <a:gd name="T8" fmla="*/ 2 w 10"/>
                <a:gd name="T9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9">
                  <a:moveTo>
                    <a:pt x="2" y="4"/>
                  </a:moveTo>
                  <a:cubicBezTo>
                    <a:pt x="1" y="7"/>
                    <a:pt x="0" y="9"/>
                    <a:pt x="2" y="11"/>
                  </a:cubicBezTo>
                  <a:cubicBezTo>
                    <a:pt x="4" y="14"/>
                    <a:pt x="6" y="19"/>
                    <a:pt x="8" y="15"/>
                  </a:cubicBezTo>
                  <a:cubicBezTo>
                    <a:pt x="10" y="12"/>
                    <a:pt x="9" y="8"/>
                    <a:pt x="9" y="4"/>
                  </a:cubicBezTo>
                  <a:cubicBezTo>
                    <a:pt x="9" y="0"/>
                    <a:pt x="4" y="1"/>
                    <a:pt x="2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6" name="Freeform 133"/>
            <p:cNvSpPr>
              <a:spLocks/>
            </p:cNvSpPr>
            <p:nvPr/>
          </p:nvSpPr>
          <p:spPr bwMode="auto">
            <a:xfrm>
              <a:off x="2987391" y="4160732"/>
              <a:ext cx="8334" cy="11906"/>
            </a:xfrm>
            <a:custGeom>
              <a:avLst/>
              <a:gdLst>
                <a:gd name="T0" fmla="*/ 1 w 27"/>
                <a:gd name="T1" fmla="*/ 4 h 42"/>
                <a:gd name="T2" fmla="*/ 9 w 27"/>
                <a:gd name="T3" fmla="*/ 12 h 42"/>
                <a:gd name="T4" fmla="*/ 16 w 27"/>
                <a:gd name="T5" fmla="*/ 18 h 42"/>
                <a:gd name="T6" fmla="*/ 17 w 27"/>
                <a:gd name="T7" fmla="*/ 23 h 42"/>
                <a:gd name="T8" fmla="*/ 14 w 27"/>
                <a:gd name="T9" fmla="*/ 31 h 42"/>
                <a:gd name="T10" fmla="*/ 16 w 27"/>
                <a:gd name="T11" fmla="*/ 41 h 42"/>
                <a:gd name="T12" fmla="*/ 23 w 27"/>
                <a:gd name="T13" fmla="*/ 40 h 42"/>
                <a:gd name="T14" fmla="*/ 25 w 27"/>
                <a:gd name="T15" fmla="*/ 32 h 42"/>
                <a:gd name="T16" fmla="*/ 25 w 27"/>
                <a:gd name="T17" fmla="*/ 25 h 42"/>
                <a:gd name="T18" fmla="*/ 22 w 27"/>
                <a:gd name="T19" fmla="*/ 19 h 42"/>
                <a:gd name="T20" fmla="*/ 18 w 27"/>
                <a:gd name="T21" fmla="*/ 15 h 42"/>
                <a:gd name="T22" fmla="*/ 11 w 27"/>
                <a:gd name="T23" fmla="*/ 11 h 42"/>
                <a:gd name="T24" fmla="*/ 4 w 27"/>
                <a:gd name="T25" fmla="*/ 5 h 42"/>
                <a:gd name="T26" fmla="*/ 1 w 27"/>
                <a:gd name="T27" fmla="*/ 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42">
                  <a:moveTo>
                    <a:pt x="1" y="4"/>
                  </a:moveTo>
                  <a:cubicBezTo>
                    <a:pt x="5" y="9"/>
                    <a:pt x="4" y="8"/>
                    <a:pt x="9" y="12"/>
                  </a:cubicBezTo>
                  <a:cubicBezTo>
                    <a:pt x="14" y="16"/>
                    <a:pt x="16" y="18"/>
                    <a:pt x="16" y="18"/>
                  </a:cubicBezTo>
                  <a:cubicBezTo>
                    <a:pt x="16" y="18"/>
                    <a:pt x="18" y="21"/>
                    <a:pt x="17" y="23"/>
                  </a:cubicBezTo>
                  <a:cubicBezTo>
                    <a:pt x="16" y="25"/>
                    <a:pt x="16" y="26"/>
                    <a:pt x="14" y="31"/>
                  </a:cubicBezTo>
                  <a:cubicBezTo>
                    <a:pt x="12" y="35"/>
                    <a:pt x="13" y="39"/>
                    <a:pt x="16" y="41"/>
                  </a:cubicBezTo>
                  <a:cubicBezTo>
                    <a:pt x="19" y="42"/>
                    <a:pt x="22" y="41"/>
                    <a:pt x="23" y="40"/>
                  </a:cubicBezTo>
                  <a:cubicBezTo>
                    <a:pt x="24" y="38"/>
                    <a:pt x="25" y="35"/>
                    <a:pt x="25" y="32"/>
                  </a:cubicBezTo>
                  <a:cubicBezTo>
                    <a:pt x="25" y="30"/>
                    <a:pt x="27" y="27"/>
                    <a:pt x="25" y="25"/>
                  </a:cubicBezTo>
                  <a:cubicBezTo>
                    <a:pt x="23" y="23"/>
                    <a:pt x="22" y="21"/>
                    <a:pt x="22" y="19"/>
                  </a:cubicBezTo>
                  <a:cubicBezTo>
                    <a:pt x="21" y="17"/>
                    <a:pt x="20" y="17"/>
                    <a:pt x="18" y="15"/>
                  </a:cubicBezTo>
                  <a:cubicBezTo>
                    <a:pt x="16" y="13"/>
                    <a:pt x="13" y="12"/>
                    <a:pt x="11" y="11"/>
                  </a:cubicBezTo>
                  <a:cubicBezTo>
                    <a:pt x="10" y="10"/>
                    <a:pt x="5" y="7"/>
                    <a:pt x="4" y="5"/>
                  </a:cubicBezTo>
                  <a:cubicBezTo>
                    <a:pt x="3" y="3"/>
                    <a:pt x="0" y="0"/>
                    <a:pt x="1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7" name="Freeform 134"/>
            <p:cNvSpPr>
              <a:spLocks/>
            </p:cNvSpPr>
            <p:nvPr/>
          </p:nvSpPr>
          <p:spPr bwMode="auto">
            <a:xfrm>
              <a:off x="2979056" y="4158350"/>
              <a:ext cx="4762" cy="2381"/>
            </a:xfrm>
            <a:custGeom>
              <a:avLst/>
              <a:gdLst>
                <a:gd name="T0" fmla="*/ 6 w 17"/>
                <a:gd name="T1" fmla="*/ 1 h 6"/>
                <a:gd name="T2" fmla="*/ 6 w 17"/>
                <a:gd name="T3" fmla="*/ 6 h 6"/>
                <a:gd name="T4" fmla="*/ 16 w 17"/>
                <a:gd name="T5" fmla="*/ 5 h 6"/>
                <a:gd name="T6" fmla="*/ 6 w 17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6">
                  <a:moveTo>
                    <a:pt x="6" y="1"/>
                  </a:moveTo>
                  <a:cubicBezTo>
                    <a:pt x="1" y="4"/>
                    <a:pt x="0" y="6"/>
                    <a:pt x="6" y="6"/>
                  </a:cubicBezTo>
                  <a:cubicBezTo>
                    <a:pt x="12" y="6"/>
                    <a:pt x="14" y="6"/>
                    <a:pt x="16" y="5"/>
                  </a:cubicBezTo>
                  <a:cubicBezTo>
                    <a:pt x="17" y="4"/>
                    <a:pt x="12" y="0"/>
                    <a:pt x="6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8" name="Freeform 135"/>
            <p:cNvSpPr>
              <a:spLocks/>
            </p:cNvSpPr>
            <p:nvPr/>
          </p:nvSpPr>
          <p:spPr bwMode="auto">
            <a:xfrm>
              <a:off x="2964769" y="4161922"/>
              <a:ext cx="15478" cy="5953"/>
            </a:xfrm>
            <a:custGeom>
              <a:avLst/>
              <a:gdLst>
                <a:gd name="T0" fmla="*/ 3 w 52"/>
                <a:gd name="T1" fmla="*/ 8 h 20"/>
                <a:gd name="T2" fmla="*/ 2 w 52"/>
                <a:gd name="T3" fmla="*/ 20 h 20"/>
                <a:gd name="T4" fmla="*/ 20 w 52"/>
                <a:gd name="T5" fmla="*/ 15 h 20"/>
                <a:gd name="T6" fmla="*/ 35 w 52"/>
                <a:gd name="T7" fmla="*/ 12 h 20"/>
                <a:gd name="T8" fmla="*/ 47 w 52"/>
                <a:gd name="T9" fmla="*/ 6 h 20"/>
                <a:gd name="T10" fmla="*/ 46 w 52"/>
                <a:gd name="T11" fmla="*/ 0 h 20"/>
                <a:gd name="T12" fmla="*/ 34 w 52"/>
                <a:gd name="T13" fmla="*/ 2 h 20"/>
                <a:gd name="T14" fmla="*/ 23 w 52"/>
                <a:gd name="T15" fmla="*/ 5 h 20"/>
                <a:gd name="T16" fmla="*/ 10 w 52"/>
                <a:gd name="T17" fmla="*/ 3 h 20"/>
                <a:gd name="T18" fmla="*/ 3 w 52"/>
                <a:gd name="T19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20">
                  <a:moveTo>
                    <a:pt x="3" y="8"/>
                  </a:moveTo>
                  <a:cubicBezTo>
                    <a:pt x="0" y="9"/>
                    <a:pt x="0" y="19"/>
                    <a:pt x="2" y="20"/>
                  </a:cubicBezTo>
                  <a:cubicBezTo>
                    <a:pt x="4" y="20"/>
                    <a:pt x="14" y="18"/>
                    <a:pt x="20" y="15"/>
                  </a:cubicBezTo>
                  <a:cubicBezTo>
                    <a:pt x="26" y="13"/>
                    <a:pt x="29" y="13"/>
                    <a:pt x="35" y="12"/>
                  </a:cubicBezTo>
                  <a:cubicBezTo>
                    <a:pt x="41" y="11"/>
                    <a:pt x="43" y="9"/>
                    <a:pt x="47" y="6"/>
                  </a:cubicBezTo>
                  <a:cubicBezTo>
                    <a:pt x="52" y="3"/>
                    <a:pt x="47" y="1"/>
                    <a:pt x="46" y="0"/>
                  </a:cubicBezTo>
                  <a:cubicBezTo>
                    <a:pt x="44" y="0"/>
                    <a:pt x="38" y="1"/>
                    <a:pt x="34" y="2"/>
                  </a:cubicBezTo>
                  <a:cubicBezTo>
                    <a:pt x="30" y="4"/>
                    <a:pt x="28" y="5"/>
                    <a:pt x="23" y="5"/>
                  </a:cubicBezTo>
                  <a:cubicBezTo>
                    <a:pt x="17" y="5"/>
                    <a:pt x="13" y="3"/>
                    <a:pt x="10" y="3"/>
                  </a:cubicBezTo>
                  <a:cubicBezTo>
                    <a:pt x="7" y="2"/>
                    <a:pt x="6" y="5"/>
                    <a:pt x="3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9" name="Freeform 136"/>
            <p:cNvSpPr>
              <a:spLocks/>
            </p:cNvSpPr>
            <p:nvPr/>
          </p:nvSpPr>
          <p:spPr bwMode="auto">
            <a:xfrm>
              <a:off x="2980247" y="4210738"/>
              <a:ext cx="4762" cy="9525"/>
            </a:xfrm>
            <a:custGeom>
              <a:avLst/>
              <a:gdLst>
                <a:gd name="T0" fmla="*/ 7 w 17"/>
                <a:gd name="T1" fmla="*/ 2 h 34"/>
                <a:gd name="T2" fmla="*/ 2 w 17"/>
                <a:gd name="T3" fmla="*/ 16 h 34"/>
                <a:gd name="T4" fmla="*/ 9 w 17"/>
                <a:gd name="T5" fmla="*/ 29 h 34"/>
                <a:gd name="T6" fmla="*/ 17 w 17"/>
                <a:gd name="T7" fmla="*/ 16 h 34"/>
                <a:gd name="T8" fmla="*/ 7 w 17"/>
                <a:gd name="T9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34">
                  <a:moveTo>
                    <a:pt x="7" y="2"/>
                  </a:moveTo>
                  <a:cubicBezTo>
                    <a:pt x="2" y="7"/>
                    <a:pt x="0" y="7"/>
                    <a:pt x="2" y="16"/>
                  </a:cubicBezTo>
                  <a:cubicBezTo>
                    <a:pt x="5" y="24"/>
                    <a:pt x="4" y="34"/>
                    <a:pt x="9" y="29"/>
                  </a:cubicBezTo>
                  <a:cubicBezTo>
                    <a:pt x="13" y="25"/>
                    <a:pt x="17" y="26"/>
                    <a:pt x="17" y="16"/>
                  </a:cubicBezTo>
                  <a:cubicBezTo>
                    <a:pt x="16" y="6"/>
                    <a:pt x="10" y="0"/>
                    <a:pt x="7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130" name="Gruppieren 129"/>
            <p:cNvGrpSpPr/>
            <p:nvPr/>
          </p:nvGrpSpPr>
          <p:grpSpPr>
            <a:xfrm>
              <a:off x="1383619" y="2653400"/>
              <a:ext cx="2362200" cy="3096816"/>
              <a:chOff x="1383619" y="2653400"/>
              <a:chExt cx="2362200" cy="3096816"/>
            </a:xfrm>
            <a:gradFill>
              <a:gsLst>
                <a:gs pos="0">
                  <a:srgbClr val="005591">
                    <a:shade val="30000"/>
                    <a:satMod val="115000"/>
                  </a:srgbClr>
                </a:gs>
                <a:gs pos="50000">
                  <a:srgbClr val="005591">
                    <a:shade val="67500"/>
                    <a:satMod val="115000"/>
                  </a:srgbClr>
                </a:gs>
                <a:gs pos="100000">
                  <a:srgbClr val="005591">
                    <a:shade val="100000"/>
                    <a:satMod val="115000"/>
                  </a:srgbClr>
                </a:gs>
              </a:gsLst>
              <a:lin ang="18900000" scaled="1"/>
            </a:gradFill>
          </p:grpSpPr>
          <p:sp>
            <p:nvSpPr>
              <p:cNvPr id="545" name="Freeform 52"/>
              <p:cNvSpPr>
                <a:spLocks/>
              </p:cNvSpPr>
              <p:nvPr/>
            </p:nvSpPr>
            <p:spPr bwMode="auto">
              <a:xfrm>
                <a:off x="3151697" y="5735928"/>
                <a:ext cx="20241" cy="9525"/>
              </a:xfrm>
              <a:custGeom>
                <a:avLst/>
                <a:gdLst>
                  <a:gd name="T0" fmla="*/ 1 w 71"/>
                  <a:gd name="T1" fmla="*/ 0 h 31"/>
                  <a:gd name="T2" fmla="*/ 1 w 71"/>
                  <a:gd name="T3" fmla="*/ 1 h 31"/>
                  <a:gd name="T4" fmla="*/ 4 w 71"/>
                  <a:gd name="T5" fmla="*/ 13 h 31"/>
                  <a:gd name="T6" fmla="*/ 6 w 71"/>
                  <a:gd name="T7" fmla="*/ 24 h 31"/>
                  <a:gd name="T8" fmla="*/ 29 w 71"/>
                  <a:gd name="T9" fmla="*/ 28 h 31"/>
                  <a:gd name="T10" fmla="*/ 38 w 71"/>
                  <a:gd name="T11" fmla="*/ 21 h 31"/>
                  <a:gd name="T12" fmla="*/ 51 w 71"/>
                  <a:gd name="T13" fmla="*/ 26 h 31"/>
                  <a:gd name="T14" fmla="*/ 64 w 71"/>
                  <a:gd name="T15" fmla="*/ 24 h 31"/>
                  <a:gd name="T16" fmla="*/ 68 w 71"/>
                  <a:gd name="T17" fmla="*/ 17 h 31"/>
                  <a:gd name="T18" fmla="*/ 60 w 71"/>
                  <a:gd name="T19" fmla="*/ 11 h 31"/>
                  <a:gd name="T20" fmla="*/ 54 w 71"/>
                  <a:gd name="T21" fmla="*/ 2 h 31"/>
                  <a:gd name="T22" fmla="*/ 54 w 71"/>
                  <a:gd name="T23" fmla="*/ 2 h 31"/>
                  <a:gd name="T24" fmla="*/ 1 w 71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1" h="31">
                    <a:moveTo>
                      <a:pt x="1" y="0"/>
                    </a:moveTo>
                    <a:cubicBezTo>
                      <a:pt x="1" y="0"/>
                      <a:pt x="1" y="1"/>
                      <a:pt x="1" y="1"/>
                    </a:cubicBezTo>
                    <a:cubicBezTo>
                      <a:pt x="3" y="5"/>
                      <a:pt x="3" y="8"/>
                      <a:pt x="4" y="13"/>
                    </a:cubicBezTo>
                    <a:cubicBezTo>
                      <a:pt x="5" y="17"/>
                      <a:pt x="0" y="21"/>
                      <a:pt x="6" y="24"/>
                    </a:cubicBezTo>
                    <a:cubicBezTo>
                      <a:pt x="13" y="27"/>
                      <a:pt x="24" y="31"/>
                      <a:pt x="29" y="28"/>
                    </a:cubicBezTo>
                    <a:cubicBezTo>
                      <a:pt x="34" y="25"/>
                      <a:pt x="30" y="22"/>
                      <a:pt x="38" y="21"/>
                    </a:cubicBezTo>
                    <a:cubicBezTo>
                      <a:pt x="45" y="21"/>
                      <a:pt x="43" y="25"/>
                      <a:pt x="51" y="26"/>
                    </a:cubicBezTo>
                    <a:cubicBezTo>
                      <a:pt x="58" y="27"/>
                      <a:pt x="60" y="28"/>
                      <a:pt x="64" y="24"/>
                    </a:cubicBezTo>
                    <a:cubicBezTo>
                      <a:pt x="69" y="21"/>
                      <a:pt x="71" y="20"/>
                      <a:pt x="68" y="17"/>
                    </a:cubicBezTo>
                    <a:cubicBezTo>
                      <a:pt x="66" y="14"/>
                      <a:pt x="65" y="16"/>
                      <a:pt x="60" y="11"/>
                    </a:cubicBezTo>
                    <a:cubicBezTo>
                      <a:pt x="56" y="6"/>
                      <a:pt x="54" y="6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51435" tIns="25717" rIns="51435" bIns="25717" numCol="1" anchor="t" anchorCtr="0" compatLnSpc="1">
                <a:prstTxWarp prst="textNoShape">
                  <a:avLst/>
                </a:prstTxWarp>
              </a:bodyPr>
              <a:lstStyle/>
              <a:p>
                <a:pPr defTabSz="51432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13" kern="0" dirty="0">
                  <a:solidFill>
                    <a:sysClr val="windowText" lastClr="000000"/>
                  </a:solidFill>
                </a:endParaRPr>
              </a:p>
            </p:txBody>
          </p:sp>
          <p:grpSp>
            <p:nvGrpSpPr>
              <p:cNvPr id="546" name="Gruppieren 545"/>
              <p:cNvGrpSpPr/>
              <p:nvPr/>
            </p:nvGrpSpPr>
            <p:grpSpPr>
              <a:xfrm>
                <a:off x="1383619" y="2653400"/>
                <a:ext cx="2362200" cy="3096816"/>
                <a:chOff x="1383619" y="2653400"/>
                <a:chExt cx="2362200" cy="3096816"/>
              </a:xfrm>
              <a:grpFill/>
            </p:grpSpPr>
            <p:sp>
              <p:nvSpPr>
                <p:cNvPr id="547" name="Freeform 51"/>
                <p:cNvSpPr>
                  <a:spLocks/>
                </p:cNvSpPr>
                <p:nvPr/>
              </p:nvSpPr>
              <p:spPr bwMode="auto">
                <a:xfrm>
                  <a:off x="3108835" y="5677588"/>
                  <a:ext cx="34528" cy="58341"/>
                </a:xfrm>
                <a:custGeom>
                  <a:avLst/>
                  <a:gdLst>
                    <a:gd name="T0" fmla="*/ 14 w 123"/>
                    <a:gd name="T1" fmla="*/ 168 h 203"/>
                    <a:gd name="T2" fmla="*/ 33 w 123"/>
                    <a:gd name="T3" fmla="*/ 175 h 203"/>
                    <a:gd name="T4" fmla="*/ 31 w 123"/>
                    <a:gd name="T5" fmla="*/ 163 h 203"/>
                    <a:gd name="T6" fmla="*/ 48 w 123"/>
                    <a:gd name="T7" fmla="*/ 170 h 203"/>
                    <a:gd name="T8" fmla="*/ 56 w 123"/>
                    <a:gd name="T9" fmla="*/ 170 h 203"/>
                    <a:gd name="T10" fmla="*/ 69 w 123"/>
                    <a:gd name="T11" fmla="*/ 164 h 203"/>
                    <a:gd name="T12" fmla="*/ 79 w 123"/>
                    <a:gd name="T13" fmla="*/ 177 h 203"/>
                    <a:gd name="T14" fmla="*/ 89 w 123"/>
                    <a:gd name="T15" fmla="*/ 181 h 203"/>
                    <a:gd name="T16" fmla="*/ 103 w 123"/>
                    <a:gd name="T17" fmla="*/ 161 h 203"/>
                    <a:gd name="T18" fmla="*/ 71 w 123"/>
                    <a:gd name="T19" fmla="*/ 148 h 203"/>
                    <a:gd name="T20" fmla="*/ 39 w 123"/>
                    <a:gd name="T21" fmla="*/ 135 h 203"/>
                    <a:gd name="T22" fmla="*/ 42 w 123"/>
                    <a:gd name="T23" fmla="*/ 103 h 203"/>
                    <a:gd name="T24" fmla="*/ 79 w 123"/>
                    <a:gd name="T25" fmla="*/ 87 h 203"/>
                    <a:gd name="T26" fmla="*/ 69 w 123"/>
                    <a:gd name="T27" fmla="*/ 72 h 203"/>
                    <a:gd name="T28" fmla="*/ 37 w 123"/>
                    <a:gd name="T29" fmla="*/ 74 h 203"/>
                    <a:gd name="T30" fmla="*/ 17 w 123"/>
                    <a:gd name="T31" fmla="*/ 73 h 203"/>
                    <a:gd name="T32" fmla="*/ 15 w 123"/>
                    <a:gd name="T33" fmla="*/ 43 h 203"/>
                    <a:gd name="T34" fmla="*/ 31 w 123"/>
                    <a:gd name="T35" fmla="*/ 38 h 203"/>
                    <a:gd name="T36" fmla="*/ 20 w 123"/>
                    <a:gd name="T37" fmla="*/ 25 h 203"/>
                    <a:gd name="T38" fmla="*/ 38 w 123"/>
                    <a:gd name="T39" fmla="*/ 26 h 203"/>
                    <a:gd name="T40" fmla="*/ 58 w 123"/>
                    <a:gd name="T41" fmla="*/ 16 h 203"/>
                    <a:gd name="T42" fmla="*/ 83 w 123"/>
                    <a:gd name="T43" fmla="*/ 5 h 203"/>
                    <a:gd name="T44" fmla="*/ 110 w 123"/>
                    <a:gd name="T45" fmla="*/ 12 h 203"/>
                    <a:gd name="T46" fmla="*/ 123 w 123"/>
                    <a:gd name="T47" fmla="*/ 12 h 203"/>
                    <a:gd name="T48" fmla="*/ 122 w 123"/>
                    <a:gd name="T49" fmla="*/ 104 h 203"/>
                    <a:gd name="T50" fmla="*/ 120 w 123"/>
                    <a:gd name="T51" fmla="*/ 198 h 203"/>
                    <a:gd name="T52" fmla="*/ 101 w 123"/>
                    <a:gd name="T53" fmla="*/ 198 h 203"/>
                    <a:gd name="T54" fmla="*/ 79 w 123"/>
                    <a:gd name="T55" fmla="*/ 200 h 203"/>
                    <a:gd name="T56" fmla="*/ 56 w 123"/>
                    <a:gd name="T57" fmla="*/ 186 h 203"/>
                    <a:gd name="T58" fmla="*/ 43 w 123"/>
                    <a:gd name="T59" fmla="*/ 183 h 203"/>
                    <a:gd name="T60" fmla="*/ 26 w 123"/>
                    <a:gd name="T61" fmla="*/ 193 h 203"/>
                    <a:gd name="T62" fmla="*/ 17 w 123"/>
                    <a:gd name="T63" fmla="*/ 187 h 203"/>
                    <a:gd name="T64" fmla="*/ 11 w 123"/>
                    <a:gd name="T65" fmla="*/ 183 h 203"/>
                    <a:gd name="T66" fmla="*/ 4 w 123"/>
                    <a:gd name="T67" fmla="*/ 174 h 2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23" h="203">
                      <a:moveTo>
                        <a:pt x="6" y="165"/>
                      </a:moveTo>
                      <a:cubicBezTo>
                        <a:pt x="8" y="162"/>
                        <a:pt x="12" y="166"/>
                        <a:pt x="14" y="168"/>
                      </a:cubicBezTo>
                      <a:cubicBezTo>
                        <a:pt x="15" y="170"/>
                        <a:pt x="19" y="169"/>
                        <a:pt x="22" y="172"/>
                      </a:cubicBezTo>
                      <a:cubicBezTo>
                        <a:pt x="24" y="176"/>
                        <a:pt x="29" y="175"/>
                        <a:pt x="33" y="175"/>
                      </a:cubicBezTo>
                      <a:cubicBezTo>
                        <a:pt x="37" y="175"/>
                        <a:pt x="33" y="173"/>
                        <a:pt x="31" y="171"/>
                      </a:cubicBezTo>
                      <a:cubicBezTo>
                        <a:pt x="29" y="168"/>
                        <a:pt x="29" y="166"/>
                        <a:pt x="31" y="163"/>
                      </a:cubicBezTo>
                      <a:cubicBezTo>
                        <a:pt x="33" y="160"/>
                        <a:pt x="39" y="160"/>
                        <a:pt x="42" y="160"/>
                      </a:cubicBezTo>
                      <a:cubicBezTo>
                        <a:pt x="45" y="160"/>
                        <a:pt x="47" y="165"/>
                        <a:pt x="48" y="170"/>
                      </a:cubicBezTo>
                      <a:cubicBezTo>
                        <a:pt x="49" y="175"/>
                        <a:pt x="52" y="175"/>
                        <a:pt x="54" y="175"/>
                      </a:cubicBezTo>
                      <a:cubicBezTo>
                        <a:pt x="56" y="176"/>
                        <a:pt x="57" y="174"/>
                        <a:pt x="56" y="170"/>
                      </a:cubicBezTo>
                      <a:cubicBezTo>
                        <a:pt x="56" y="166"/>
                        <a:pt x="56" y="164"/>
                        <a:pt x="58" y="162"/>
                      </a:cubicBezTo>
                      <a:cubicBezTo>
                        <a:pt x="61" y="160"/>
                        <a:pt x="65" y="164"/>
                        <a:pt x="69" y="164"/>
                      </a:cubicBezTo>
                      <a:cubicBezTo>
                        <a:pt x="73" y="163"/>
                        <a:pt x="80" y="162"/>
                        <a:pt x="83" y="167"/>
                      </a:cubicBezTo>
                      <a:cubicBezTo>
                        <a:pt x="86" y="172"/>
                        <a:pt x="83" y="173"/>
                        <a:pt x="79" y="177"/>
                      </a:cubicBezTo>
                      <a:cubicBezTo>
                        <a:pt x="75" y="181"/>
                        <a:pt x="79" y="183"/>
                        <a:pt x="80" y="187"/>
                      </a:cubicBezTo>
                      <a:cubicBezTo>
                        <a:pt x="81" y="190"/>
                        <a:pt x="86" y="185"/>
                        <a:pt x="89" y="181"/>
                      </a:cubicBezTo>
                      <a:cubicBezTo>
                        <a:pt x="92" y="177"/>
                        <a:pt x="95" y="175"/>
                        <a:pt x="99" y="171"/>
                      </a:cubicBezTo>
                      <a:cubicBezTo>
                        <a:pt x="104" y="167"/>
                        <a:pt x="105" y="164"/>
                        <a:pt x="103" y="161"/>
                      </a:cubicBezTo>
                      <a:cubicBezTo>
                        <a:pt x="101" y="158"/>
                        <a:pt x="94" y="158"/>
                        <a:pt x="85" y="156"/>
                      </a:cubicBezTo>
                      <a:cubicBezTo>
                        <a:pt x="76" y="154"/>
                        <a:pt x="77" y="152"/>
                        <a:pt x="71" y="148"/>
                      </a:cubicBezTo>
                      <a:cubicBezTo>
                        <a:pt x="65" y="145"/>
                        <a:pt x="66" y="145"/>
                        <a:pt x="57" y="142"/>
                      </a:cubicBezTo>
                      <a:cubicBezTo>
                        <a:pt x="48" y="139"/>
                        <a:pt x="45" y="138"/>
                        <a:pt x="39" y="135"/>
                      </a:cubicBezTo>
                      <a:cubicBezTo>
                        <a:pt x="33" y="132"/>
                        <a:pt x="33" y="120"/>
                        <a:pt x="32" y="115"/>
                      </a:cubicBezTo>
                      <a:cubicBezTo>
                        <a:pt x="30" y="110"/>
                        <a:pt x="37" y="105"/>
                        <a:pt x="42" y="103"/>
                      </a:cubicBezTo>
                      <a:cubicBezTo>
                        <a:pt x="46" y="100"/>
                        <a:pt x="52" y="97"/>
                        <a:pt x="54" y="95"/>
                      </a:cubicBezTo>
                      <a:cubicBezTo>
                        <a:pt x="56" y="92"/>
                        <a:pt x="77" y="87"/>
                        <a:pt x="79" y="87"/>
                      </a:cubicBezTo>
                      <a:cubicBezTo>
                        <a:pt x="81" y="86"/>
                        <a:pt x="87" y="76"/>
                        <a:pt x="86" y="74"/>
                      </a:cubicBezTo>
                      <a:cubicBezTo>
                        <a:pt x="84" y="71"/>
                        <a:pt x="79" y="72"/>
                        <a:pt x="69" y="72"/>
                      </a:cubicBezTo>
                      <a:cubicBezTo>
                        <a:pt x="60" y="72"/>
                        <a:pt x="57" y="72"/>
                        <a:pt x="49" y="71"/>
                      </a:cubicBezTo>
                      <a:cubicBezTo>
                        <a:pt x="40" y="70"/>
                        <a:pt x="40" y="71"/>
                        <a:pt x="37" y="74"/>
                      </a:cubicBezTo>
                      <a:cubicBezTo>
                        <a:pt x="35" y="78"/>
                        <a:pt x="32" y="77"/>
                        <a:pt x="28" y="79"/>
                      </a:cubicBezTo>
                      <a:cubicBezTo>
                        <a:pt x="25" y="81"/>
                        <a:pt x="22" y="78"/>
                        <a:pt x="17" y="73"/>
                      </a:cubicBezTo>
                      <a:cubicBezTo>
                        <a:pt x="13" y="69"/>
                        <a:pt x="14" y="65"/>
                        <a:pt x="11" y="56"/>
                      </a:cubicBezTo>
                      <a:cubicBezTo>
                        <a:pt x="8" y="47"/>
                        <a:pt x="12" y="47"/>
                        <a:pt x="15" y="43"/>
                      </a:cubicBezTo>
                      <a:cubicBezTo>
                        <a:pt x="18" y="39"/>
                        <a:pt x="20" y="45"/>
                        <a:pt x="24" y="45"/>
                      </a:cubicBezTo>
                      <a:cubicBezTo>
                        <a:pt x="28" y="45"/>
                        <a:pt x="31" y="41"/>
                        <a:pt x="31" y="38"/>
                      </a:cubicBezTo>
                      <a:cubicBezTo>
                        <a:pt x="32" y="34"/>
                        <a:pt x="29" y="30"/>
                        <a:pt x="25" y="29"/>
                      </a:cubicBezTo>
                      <a:cubicBezTo>
                        <a:pt x="20" y="27"/>
                        <a:pt x="22" y="28"/>
                        <a:pt x="20" y="25"/>
                      </a:cubicBezTo>
                      <a:cubicBezTo>
                        <a:pt x="18" y="23"/>
                        <a:pt x="23" y="21"/>
                        <a:pt x="27" y="20"/>
                      </a:cubicBezTo>
                      <a:cubicBezTo>
                        <a:pt x="30" y="20"/>
                        <a:pt x="34" y="21"/>
                        <a:pt x="38" y="26"/>
                      </a:cubicBezTo>
                      <a:cubicBezTo>
                        <a:pt x="43" y="30"/>
                        <a:pt x="43" y="29"/>
                        <a:pt x="49" y="28"/>
                      </a:cubicBezTo>
                      <a:cubicBezTo>
                        <a:pt x="55" y="28"/>
                        <a:pt x="55" y="23"/>
                        <a:pt x="58" y="16"/>
                      </a:cubicBezTo>
                      <a:cubicBezTo>
                        <a:pt x="61" y="9"/>
                        <a:pt x="63" y="7"/>
                        <a:pt x="69" y="4"/>
                      </a:cubicBezTo>
                      <a:cubicBezTo>
                        <a:pt x="74" y="0"/>
                        <a:pt x="78" y="4"/>
                        <a:pt x="83" y="5"/>
                      </a:cubicBezTo>
                      <a:cubicBezTo>
                        <a:pt x="87" y="6"/>
                        <a:pt x="91" y="9"/>
                        <a:pt x="100" y="13"/>
                      </a:cubicBezTo>
                      <a:cubicBezTo>
                        <a:pt x="108" y="17"/>
                        <a:pt x="105" y="14"/>
                        <a:pt x="110" y="12"/>
                      </a:cubicBezTo>
                      <a:cubicBezTo>
                        <a:pt x="115" y="10"/>
                        <a:pt x="118" y="11"/>
                        <a:pt x="122" y="12"/>
                      </a:cubicBezTo>
                      <a:cubicBezTo>
                        <a:pt x="123" y="12"/>
                        <a:pt x="123" y="12"/>
                        <a:pt x="123" y="12"/>
                      </a:cubicBezTo>
                      <a:cubicBezTo>
                        <a:pt x="122" y="104"/>
                        <a:pt x="122" y="104"/>
                        <a:pt x="122" y="104"/>
                      </a:cubicBezTo>
                      <a:cubicBezTo>
                        <a:pt x="122" y="104"/>
                        <a:pt x="122" y="104"/>
                        <a:pt x="122" y="104"/>
                      </a:cubicBezTo>
                      <a:cubicBezTo>
                        <a:pt x="122" y="199"/>
                        <a:pt x="122" y="199"/>
                        <a:pt x="122" y="199"/>
                      </a:cubicBezTo>
                      <a:cubicBezTo>
                        <a:pt x="121" y="199"/>
                        <a:pt x="121" y="198"/>
                        <a:pt x="120" y="198"/>
                      </a:cubicBezTo>
                      <a:cubicBezTo>
                        <a:pt x="118" y="195"/>
                        <a:pt x="113" y="193"/>
                        <a:pt x="108" y="193"/>
                      </a:cubicBezTo>
                      <a:cubicBezTo>
                        <a:pt x="103" y="192"/>
                        <a:pt x="103" y="195"/>
                        <a:pt x="101" y="198"/>
                      </a:cubicBezTo>
                      <a:cubicBezTo>
                        <a:pt x="98" y="202"/>
                        <a:pt x="94" y="202"/>
                        <a:pt x="89" y="203"/>
                      </a:cubicBezTo>
                      <a:cubicBezTo>
                        <a:pt x="84" y="203"/>
                        <a:pt x="83" y="203"/>
                        <a:pt x="79" y="200"/>
                      </a:cubicBezTo>
                      <a:cubicBezTo>
                        <a:pt x="75" y="198"/>
                        <a:pt x="69" y="197"/>
                        <a:pt x="66" y="193"/>
                      </a:cubicBezTo>
                      <a:cubicBezTo>
                        <a:pt x="62" y="190"/>
                        <a:pt x="60" y="185"/>
                        <a:pt x="56" y="186"/>
                      </a:cubicBezTo>
                      <a:cubicBezTo>
                        <a:pt x="52" y="186"/>
                        <a:pt x="50" y="193"/>
                        <a:pt x="46" y="191"/>
                      </a:cubicBezTo>
                      <a:cubicBezTo>
                        <a:pt x="43" y="189"/>
                        <a:pt x="47" y="186"/>
                        <a:pt x="43" y="183"/>
                      </a:cubicBezTo>
                      <a:cubicBezTo>
                        <a:pt x="38" y="180"/>
                        <a:pt x="37" y="186"/>
                        <a:pt x="34" y="191"/>
                      </a:cubicBezTo>
                      <a:cubicBezTo>
                        <a:pt x="30" y="195"/>
                        <a:pt x="30" y="194"/>
                        <a:pt x="26" y="193"/>
                      </a:cubicBezTo>
                      <a:cubicBezTo>
                        <a:pt x="23" y="191"/>
                        <a:pt x="26" y="190"/>
                        <a:pt x="26" y="186"/>
                      </a:cubicBezTo>
                      <a:cubicBezTo>
                        <a:pt x="25" y="181"/>
                        <a:pt x="21" y="185"/>
                        <a:pt x="17" y="187"/>
                      </a:cubicBezTo>
                      <a:cubicBezTo>
                        <a:pt x="14" y="189"/>
                        <a:pt x="12" y="191"/>
                        <a:pt x="8" y="189"/>
                      </a:cubicBezTo>
                      <a:cubicBezTo>
                        <a:pt x="3" y="187"/>
                        <a:pt x="8" y="185"/>
                        <a:pt x="11" y="183"/>
                      </a:cubicBezTo>
                      <a:cubicBezTo>
                        <a:pt x="13" y="181"/>
                        <a:pt x="13" y="180"/>
                        <a:pt x="11" y="178"/>
                      </a:cubicBezTo>
                      <a:cubicBezTo>
                        <a:pt x="9" y="175"/>
                        <a:pt x="7" y="175"/>
                        <a:pt x="4" y="174"/>
                      </a:cubicBezTo>
                      <a:cubicBezTo>
                        <a:pt x="0" y="172"/>
                        <a:pt x="4" y="169"/>
                        <a:pt x="6" y="165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548" name="Freeform 53"/>
                <p:cNvSpPr>
                  <a:spLocks/>
                </p:cNvSpPr>
                <p:nvPr/>
              </p:nvSpPr>
              <p:spPr bwMode="auto">
                <a:xfrm>
                  <a:off x="3145744" y="5694257"/>
                  <a:ext cx="60722" cy="48816"/>
                </a:xfrm>
                <a:custGeom>
                  <a:avLst/>
                  <a:gdLst>
                    <a:gd name="T0" fmla="*/ 86 w 211"/>
                    <a:gd name="T1" fmla="*/ 144 h 170"/>
                    <a:gd name="T2" fmla="*/ 84 w 211"/>
                    <a:gd name="T3" fmla="*/ 142 h 170"/>
                    <a:gd name="T4" fmla="*/ 83 w 211"/>
                    <a:gd name="T5" fmla="*/ 142 h 170"/>
                    <a:gd name="T6" fmla="*/ 82 w 211"/>
                    <a:gd name="T7" fmla="*/ 142 h 170"/>
                    <a:gd name="T8" fmla="*/ 0 w 211"/>
                    <a:gd name="T9" fmla="*/ 138 h 170"/>
                    <a:gd name="T10" fmla="*/ 0 w 211"/>
                    <a:gd name="T11" fmla="*/ 44 h 170"/>
                    <a:gd name="T12" fmla="*/ 1 w 211"/>
                    <a:gd name="T13" fmla="*/ 0 h 170"/>
                    <a:gd name="T14" fmla="*/ 2 w 211"/>
                    <a:gd name="T15" fmla="*/ 4 h 170"/>
                    <a:gd name="T16" fmla="*/ 23 w 211"/>
                    <a:gd name="T17" fmla="*/ 14 h 170"/>
                    <a:gd name="T18" fmla="*/ 36 w 211"/>
                    <a:gd name="T19" fmla="*/ 29 h 170"/>
                    <a:gd name="T20" fmla="*/ 53 w 211"/>
                    <a:gd name="T21" fmla="*/ 50 h 170"/>
                    <a:gd name="T22" fmla="*/ 97 w 211"/>
                    <a:gd name="T23" fmla="*/ 85 h 170"/>
                    <a:gd name="T24" fmla="*/ 138 w 211"/>
                    <a:gd name="T25" fmla="*/ 110 h 170"/>
                    <a:gd name="T26" fmla="*/ 164 w 211"/>
                    <a:gd name="T27" fmla="*/ 124 h 170"/>
                    <a:gd name="T28" fmla="*/ 195 w 211"/>
                    <a:gd name="T29" fmla="*/ 124 h 170"/>
                    <a:gd name="T30" fmla="*/ 210 w 211"/>
                    <a:gd name="T31" fmla="*/ 124 h 170"/>
                    <a:gd name="T32" fmla="*/ 207 w 211"/>
                    <a:gd name="T33" fmla="*/ 133 h 170"/>
                    <a:gd name="T34" fmla="*/ 201 w 211"/>
                    <a:gd name="T35" fmla="*/ 149 h 170"/>
                    <a:gd name="T36" fmla="*/ 174 w 211"/>
                    <a:gd name="T37" fmla="*/ 150 h 170"/>
                    <a:gd name="T38" fmla="*/ 161 w 211"/>
                    <a:gd name="T39" fmla="*/ 154 h 170"/>
                    <a:gd name="T40" fmla="*/ 150 w 211"/>
                    <a:gd name="T41" fmla="*/ 157 h 170"/>
                    <a:gd name="T42" fmla="*/ 138 w 211"/>
                    <a:gd name="T43" fmla="*/ 159 h 170"/>
                    <a:gd name="T44" fmla="*/ 131 w 211"/>
                    <a:gd name="T45" fmla="*/ 167 h 170"/>
                    <a:gd name="T46" fmla="*/ 125 w 211"/>
                    <a:gd name="T47" fmla="*/ 168 h 170"/>
                    <a:gd name="T48" fmla="*/ 125 w 211"/>
                    <a:gd name="T49" fmla="*/ 162 h 170"/>
                    <a:gd name="T50" fmla="*/ 121 w 211"/>
                    <a:gd name="T51" fmla="*/ 153 h 170"/>
                    <a:gd name="T52" fmla="*/ 101 w 211"/>
                    <a:gd name="T53" fmla="*/ 148 h 170"/>
                    <a:gd name="T54" fmla="*/ 86 w 211"/>
                    <a:gd name="T55" fmla="*/ 144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11" h="170">
                      <a:moveTo>
                        <a:pt x="86" y="144"/>
                      </a:moveTo>
                      <a:cubicBezTo>
                        <a:pt x="84" y="142"/>
                        <a:pt x="84" y="142"/>
                        <a:pt x="84" y="142"/>
                      </a:cubicBezTo>
                      <a:cubicBezTo>
                        <a:pt x="83" y="142"/>
                        <a:pt x="83" y="142"/>
                        <a:pt x="83" y="142"/>
                      </a:cubicBezTo>
                      <a:cubicBezTo>
                        <a:pt x="82" y="142"/>
                        <a:pt x="82" y="142"/>
                        <a:pt x="82" y="142"/>
                      </a:cubicBezTo>
                      <a:cubicBezTo>
                        <a:pt x="0" y="138"/>
                        <a:pt x="0" y="138"/>
                        <a:pt x="0" y="138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2" y="3"/>
                        <a:pt x="2" y="4"/>
                      </a:cubicBezTo>
                      <a:cubicBezTo>
                        <a:pt x="4" y="11"/>
                        <a:pt x="13" y="8"/>
                        <a:pt x="23" y="14"/>
                      </a:cubicBezTo>
                      <a:cubicBezTo>
                        <a:pt x="32" y="20"/>
                        <a:pt x="30" y="21"/>
                        <a:pt x="36" y="29"/>
                      </a:cubicBezTo>
                      <a:cubicBezTo>
                        <a:pt x="42" y="37"/>
                        <a:pt x="46" y="39"/>
                        <a:pt x="53" y="50"/>
                      </a:cubicBezTo>
                      <a:cubicBezTo>
                        <a:pt x="60" y="61"/>
                        <a:pt x="88" y="77"/>
                        <a:pt x="97" y="85"/>
                      </a:cubicBezTo>
                      <a:cubicBezTo>
                        <a:pt x="106" y="93"/>
                        <a:pt x="119" y="100"/>
                        <a:pt x="138" y="110"/>
                      </a:cubicBezTo>
                      <a:cubicBezTo>
                        <a:pt x="156" y="120"/>
                        <a:pt x="153" y="118"/>
                        <a:pt x="164" y="124"/>
                      </a:cubicBezTo>
                      <a:cubicBezTo>
                        <a:pt x="175" y="130"/>
                        <a:pt x="185" y="127"/>
                        <a:pt x="195" y="124"/>
                      </a:cubicBezTo>
                      <a:cubicBezTo>
                        <a:pt x="205" y="121"/>
                        <a:pt x="210" y="118"/>
                        <a:pt x="210" y="124"/>
                      </a:cubicBezTo>
                      <a:cubicBezTo>
                        <a:pt x="211" y="130"/>
                        <a:pt x="209" y="128"/>
                        <a:pt x="207" y="133"/>
                      </a:cubicBezTo>
                      <a:cubicBezTo>
                        <a:pt x="206" y="138"/>
                        <a:pt x="207" y="146"/>
                        <a:pt x="201" y="149"/>
                      </a:cubicBezTo>
                      <a:cubicBezTo>
                        <a:pt x="194" y="152"/>
                        <a:pt x="189" y="150"/>
                        <a:pt x="174" y="150"/>
                      </a:cubicBezTo>
                      <a:cubicBezTo>
                        <a:pt x="160" y="151"/>
                        <a:pt x="168" y="151"/>
                        <a:pt x="161" y="154"/>
                      </a:cubicBezTo>
                      <a:cubicBezTo>
                        <a:pt x="155" y="157"/>
                        <a:pt x="155" y="157"/>
                        <a:pt x="150" y="157"/>
                      </a:cubicBezTo>
                      <a:cubicBezTo>
                        <a:pt x="144" y="157"/>
                        <a:pt x="141" y="158"/>
                        <a:pt x="138" y="159"/>
                      </a:cubicBezTo>
                      <a:cubicBezTo>
                        <a:pt x="134" y="161"/>
                        <a:pt x="133" y="165"/>
                        <a:pt x="131" y="167"/>
                      </a:cubicBezTo>
                      <a:cubicBezTo>
                        <a:pt x="129" y="170"/>
                        <a:pt x="126" y="169"/>
                        <a:pt x="125" y="168"/>
                      </a:cubicBezTo>
                      <a:cubicBezTo>
                        <a:pt x="123" y="167"/>
                        <a:pt x="125" y="164"/>
                        <a:pt x="125" y="162"/>
                      </a:cubicBezTo>
                      <a:cubicBezTo>
                        <a:pt x="125" y="160"/>
                        <a:pt x="125" y="157"/>
                        <a:pt x="121" y="153"/>
                      </a:cubicBezTo>
                      <a:cubicBezTo>
                        <a:pt x="117" y="149"/>
                        <a:pt x="109" y="152"/>
                        <a:pt x="101" y="148"/>
                      </a:cubicBezTo>
                      <a:cubicBezTo>
                        <a:pt x="96" y="145"/>
                        <a:pt x="91" y="144"/>
                        <a:pt x="86" y="144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grpSp>
              <p:nvGrpSpPr>
                <p:cNvPr id="549" name="Gruppieren 548"/>
                <p:cNvGrpSpPr/>
                <p:nvPr/>
              </p:nvGrpSpPr>
              <p:grpSpPr>
                <a:xfrm>
                  <a:off x="1383619" y="2653400"/>
                  <a:ext cx="2362200" cy="3096816"/>
                  <a:chOff x="1383619" y="2653400"/>
                  <a:chExt cx="2362200" cy="3096816"/>
                </a:xfrm>
                <a:grpFill/>
              </p:grpSpPr>
              <p:sp>
                <p:nvSpPr>
                  <p:cNvPr id="550" name="Freeform 18"/>
                  <p:cNvSpPr>
                    <a:spLocks/>
                  </p:cNvSpPr>
                  <p:nvPr/>
                </p:nvSpPr>
                <p:spPr bwMode="auto">
                  <a:xfrm>
                    <a:off x="3060019" y="4431003"/>
                    <a:ext cx="240506" cy="205978"/>
                  </a:xfrm>
                  <a:custGeom>
                    <a:avLst/>
                    <a:gdLst>
                      <a:gd name="T0" fmla="*/ 66 w 836"/>
                      <a:gd name="T1" fmla="*/ 70 h 717"/>
                      <a:gd name="T2" fmla="*/ 43 w 836"/>
                      <a:gd name="T3" fmla="*/ 90 h 717"/>
                      <a:gd name="T4" fmla="*/ 13 w 836"/>
                      <a:gd name="T5" fmla="*/ 172 h 717"/>
                      <a:gd name="T6" fmla="*/ 30 w 836"/>
                      <a:gd name="T7" fmla="*/ 187 h 717"/>
                      <a:gd name="T8" fmla="*/ 67 w 836"/>
                      <a:gd name="T9" fmla="*/ 252 h 717"/>
                      <a:gd name="T10" fmla="*/ 61 w 836"/>
                      <a:gd name="T11" fmla="*/ 288 h 717"/>
                      <a:gd name="T12" fmla="*/ 85 w 836"/>
                      <a:gd name="T13" fmla="*/ 316 h 717"/>
                      <a:gd name="T14" fmla="*/ 151 w 836"/>
                      <a:gd name="T15" fmla="*/ 318 h 717"/>
                      <a:gd name="T16" fmla="*/ 244 w 836"/>
                      <a:gd name="T17" fmla="*/ 372 h 717"/>
                      <a:gd name="T18" fmla="*/ 344 w 836"/>
                      <a:gd name="T19" fmla="*/ 365 h 717"/>
                      <a:gd name="T20" fmla="*/ 369 w 836"/>
                      <a:gd name="T21" fmla="*/ 398 h 717"/>
                      <a:gd name="T22" fmla="*/ 343 w 836"/>
                      <a:gd name="T23" fmla="*/ 467 h 717"/>
                      <a:gd name="T24" fmla="*/ 362 w 836"/>
                      <a:gd name="T25" fmla="*/ 523 h 717"/>
                      <a:gd name="T26" fmla="*/ 353 w 836"/>
                      <a:gd name="T27" fmla="*/ 577 h 717"/>
                      <a:gd name="T28" fmla="*/ 376 w 836"/>
                      <a:gd name="T29" fmla="*/ 605 h 717"/>
                      <a:gd name="T30" fmla="*/ 408 w 836"/>
                      <a:gd name="T31" fmla="*/ 683 h 717"/>
                      <a:gd name="T32" fmla="*/ 461 w 836"/>
                      <a:gd name="T33" fmla="*/ 703 h 717"/>
                      <a:gd name="T34" fmla="*/ 487 w 836"/>
                      <a:gd name="T35" fmla="*/ 717 h 717"/>
                      <a:gd name="T36" fmla="*/ 552 w 836"/>
                      <a:gd name="T37" fmla="*/ 670 h 717"/>
                      <a:gd name="T38" fmla="*/ 583 w 836"/>
                      <a:gd name="T39" fmla="*/ 633 h 717"/>
                      <a:gd name="T40" fmla="*/ 606 w 836"/>
                      <a:gd name="T41" fmla="*/ 615 h 717"/>
                      <a:gd name="T42" fmla="*/ 575 w 836"/>
                      <a:gd name="T43" fmla="*/ 589 h 717"/>
                      <a:gd name="T44" fmla="*/ 537 w 836"/>
                      <a:gd name="T45" fmla="*/ 496 h 717"/>
                      <a:gd name="T46" fmla="*/ 569 w 836"/>
                      <a:gd name="T47" fmla="*/ 507 h 717"/>
                      <a:gd name="T48" fmla="*/ 645 w 836"/>
                      <a:gd name="T49" fmla="*/ 531 h 717"/>
                      <a:gd name="T50" fmla="*/ 665 w 836"/>
                      <a:gd name="T51" fmla="*/ 502 h 717"/>
                      <a:gd name="T52" fmla="*/ 737 w 836"/>
                      <a:gd name="T53" fmla="*/ 485 h 717"/>
                      <a:gd name="T54" fmla="*/ 773 w 836"/>
                      <a:gd name="T55" fmla="*/ 469 h 717"/>
                      <a:gd name="T56" fmla="*/ 764 w 836"/>
                      <a:gd name="T57" fmla="*/ 423 h 717"/>
                      <a:gd name="T58" fmla="*/ 753 w 836"/>
                      <a:gd name="T59" fmla="*/ 359 h 717"/>
                      <a:gd name="T60" fmla="*/ 785 w 836"/>
                      <a:gd name="T61" fmla="*/ 331 h 717"/>
                      <a:gd name="T62" fmla="*/ 801 w 836"/>
                      <a:gd name="T63" fmla="*/ 320 h 717"/>
                      <a:gd name="T64" fmla="*/ 788 w 836"/>
                      <a:gd name="T65" fmla="*/ 313 h 717"/>
                      <a:gd name="T66" fmla="*/ 801 w 836"/>
                      <a:gd name="T67" fmla="*/ 267 h 717"/>
                      <a:gd name="T68" fmla="*/ 836 w 836"/>
                      <a:gd name="T69" fmla="*/ 236 h 717"/>
                      <a:gd name="T70" fmla="*/ 764 w 836"/>
                      <a:gd name="T71" fmla="*/ 232 h 717"/>
                      <a:gd name="T72" fmla="*/ 757 w 836"/>
                      <a:gd name="T73" fmla="*/ 217 h 717"/>
                      <a:gd name="T74" fmla="*/ 749 w 836"/>
                      <a:gd name="T75" fmla="*/ 159 h 717"/>
                      <a:gd name="T76" fmla="*/ 704 w 836"/>
                      <a:gd name="T77" fmla="*/ 147 h 717"/>
                      <a:gd name="T78" fmla="*/ 677 w 836"/>
                      <a:gd name="T79" fmla="*/ 139 h 717"/>
                      <a:gd name="T80" fmla="*/ 657 w 836"/>
                      <a:gd name="T81" fmla="*/ 130 h 717"/>
                      <a:gd name="T82" fmla="*/ 664 w 836"/>
                      <a:gd name="T83" fmla="*/ 106 h 717"/>
                      <a:gd name="T84" fmla="*/ 659 w 836"/>
                      <a:gd name="T85" fmla="*/ 94 h 717"/>
                      <a:gd name="T86" fmla="*/ 577 w 836"/>
                      <a:gd name="T87" fmla="*/ 106 h 717"/>
                      <a:gd name="T88" fmla="*/ 488 w 836"/>
                      <a:gd name="T89" fmla="*/ 129 h 717"/>
                      <a:gd name="T90" fmla="*/ 397 w 836"/>
                      <a:gd name="T91" fmla="*/ 102 h 717"/>
                      <a:gd name="T92" fmla="*/ 323 w 836"/>
                      <a:gd name="T93" fmla="*/ 100 h 717"/>
                      <a:gd name="T94" fmla="*/ 256 w 836"/>
                      <a:gd name="T95" fmla="*/ 45 h 717"/>
                      <a:gd name="T96" fmla="*/ 212 w 836"/>
                      <a:gd name="T97" fmla="*/ 4 h 717"/>
                      <a:gd name="T98" fmla="*/ 194 w 836"/>
                      <a:gd name="T99" fmla="*/ 53 h 717"/>
                      <a:gd name="T100" fmla="*/ 117 w 836"/>
                      <a:gd name="T101" fmla="*/ 78 h 717"/>
                      <a:gd name="T102" fmla="*/ 140 w 836"/>
                      <a:gd name="T103" fmla="*/ 155 h 717"/>
                      <a:gd name="T104" fmla="*/ 103 w 836"/>
                      <a:gd name="T105" fmla="*/ 175 h 717"/>
                      <a:gd name="T106" fmla="*/ 98 w 836"/>
                      <a:gd name="T107" fmla="*/ 117 h 717"/>
                      <a:gd name="T108" fmla="*/ 94 w 836"/>
                      <a:gd name="T109" fmla="*/ 53 h 7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</a:cxnLst>
                    <a:rect l="0" t="0" r="r" b="b"/>
                    <a:pathLst>
                      <a:path w="836" h="717">
                        <a:moveTo>
                          <a:pt x="90" y="39"/>
                        </a:moveTo>
                        <a:cubicBezTo>
                          <a:pt x="87" y="39"/>
                          <a:pt x="86" y="40"/>
                          <a:pt x="85" y="41"/>
                        </a:cubicBezTo>
                        <a:cubicBezTo>
                          <a:pt x="80" y="44"/>
                          <a:pt x="75" y="53"/>
                          <a:pt x="72" y="60"/>
                        </a:cubicBezTo>
                        <a:cubicBezTo>
                          <a:pt x="69" y="64"/>
                          <a:pt x="67" y="67"/>
                          <a:pt x="66" y="70"/>
                        </a:cubicBezTo>
                        <a:cubicBezTo>
                          <a:pt x="63" y="73"/>
                          <a:pt x="60" y="74"/>
                          <a:pt x="57" y="75"/>
                        </a:cubicBezTo>
                        <a:cubicBezTo>
                          <a:pt x="57" y="75"/>
                          <a:pt x="57" y="75"/>
                          <a:pt x="57" y="75"/>
                        </a:cubicBezTo>
                        <a:cubicBezTo>
                          <a:pt x="56" y="75"/>
                          <a:pt x="54" y="75"/>
                          <a:pt x="52" y="77"/>
                        </a:cubicBezTo>
                        <a:cubicBezTo>
                          <a:pt x="50" y="79"/>
                          <a:pt x="46" y="84"/>
                          <a:pt x="43" y="90"/>
                        </a:cubicBezTo>
                        <a:cubicBezTo>
                          <a:pt x="39" y="98"/>
                          <a:pt x="34" y="106"/>
                          <a:pt x="33" y="111"/>
                        </a:cubicBezTo>
                        <a:cubicBezTo>
                          <a:pt x="31" y="114"/>
                          <a:pt x="30" y="123"/>
                          <a:pt x="29" y="133"/>
                        </a:cubicBezTo>
                        <a:cubicBezTo>
                          <a:pt x="28" y="142"/>
                          <a:pt x="26" y="152"/>
                          <a:pt x="25" y="157"/>
                        </a:cubicBezTo>
                        <a:cubicBezTo>
                          <a:pt x="23" y="160"/>
                          <a:pt x="18" y="166"/>
                          <a:pt x="13" y="172"/>
                        </a:cubicBezTo>
                        <a:cubicBezTo>
                          <a:pt x="7" y="178"/>
                          <a:pt x="0" y="185"/>
                          <a:pt x="0" y="187"/>
                        </a:cubicBezTo>
                        <a:cubicBezTo>
                          <a:pt x="1" y="187"/>
                          <a:pt x="5" y="186"/>
                          <a:pt x="10" y="185"/>
                        </a:cubicBezTo>
                        <a:cubicBezTo>
                          <a:pt x="13" y="184"/>
                          <a:pt x="17" y="184"/>
                          <a:pt x="20" y="184"/>
                        </a:cubicBezTo>
                        <a:cubicBezTo>
                          <a:pt x="24" y="184"/>
                          <a:pt x="27" y="185"/>
                          <a:pt x="30" y="187"/>
                        </a:cubicBezTo>
                        <a:cubicBezTo>
                          <a:pt x="32" y="188"/>
                          <a:pt x="35" y="191"/>
                          <a:pt x="39" y="196"/>
                        </a:cubicBezTo>
                        <a:cubicBezTo>
                          <a:pt x="43" y="201"/>
                          <a:pt x="47" y="209"/>
                          <a:pt x="52" y="218"/>
                        </a:cubicBezTo>
                        <a:cubicBezTo>
                          <a:pt x="55" y="224"/>
                          <a:pt x="58" y="231"/>
                          <a:pt x="61" y="236"/>
                        </a:cubicBezTo>
                        <a:cubicBezTo>
                          <a:pt x="65" y="242"/>
                          <a:pt x="67" y="247"/>
                          <a:pt x="67" y="252"/>
                        </a:cubicBezTo>
                        <a:cubicBezTo>
                          <a:pt x="67" y="257"/>
                          <a:pt x="66" y="261"/>
                          <a:pt x="64" y="265"/>
                        </a:cubicBezTo>
                        <a:cubicBezTo>
                          <a:pt x="62" y="269"/>
                          <a:pt x="61" y="274"/>
                          <a:pt x="60" y="278"/>
                        </a:cubicBezTo>
                        <a:cubicBezTo>
                          <a:pt x="60" y="278"/>
                          <a:pt x="60" y="278"/>
                          <a:pt x="60" y="278"/>
                        </a:cubicBezTo>
                        <a:cubicBezTo>
                          <a:pt x="60" y="282"/>
                          <a:pt x="60" y="285"/>
                          <a:pt x="61" y="288"/>
                        </a:cubicBezTo>
                        <a:cubicBezTo>
                          <a:pt x="63" y="291"/>
                          <a:pt x="63" y="293"/>
                          <a:pt x="64" y="294"/>
                        </a:cubicBezTo>
                        <a:cubicBezTo>
                          <a:pt x="66" y="296"/>
                          <a:pt x="67" y="297"/>
                          <a:pt x="70" y="298"/>
                        </a:cubicBezTo>
                        <a:cubicBezTo>
                          <a:pt x="74" y="299"/>
                          <a:pt x="77" y="302"/>
                          <a:pt x="79" y="305"/>
                        </a:cubicBezTo>
                        <a:cubicBezTo>
                          <a:pt x="82" y="309"/>
                          <a:pt x="84" y="314"/>
                          <a:pt x="85" y="316"/>
                        </a:cubicBezTo>
                        <a:cubicBezTo>
                          <a:pt x="95" y="318"/>
                          <a:pt x="95" y="318"/>
                          <a:pt x="95" y="318"/>
                        </a:cubicBezTo>
                        <a:cubicBezTo>
                          <a:pt x="102" y="319"/>
                          <a:pt x="110" y="321"/>
                          <a:pt x="119" y="321"/>
                        </a:cubicBezTo>
                        <a:cubicBezTo>
                          <a:pt x="121" y="321"/>
                          <a:pt x="121" y="321"/>
                          <a:pt x="121" y="321"/>
                        </a:cubicBezTo>
                        <a:cubicBezTo>
                          <a:pt x="137" y="322"/>
                          <a:pt x="138" y="322"/>
                          <a:pt x="151" y="318"/>
                        </a:cubicBezTo>
                        <a:cubicBezTo>
                          <a:pt x="158" y="315"/>
                          <a:pt x="167" y="315"/>
                          <a:pt x="176" y="316"/>
                        </a:cubicBezTo>
                        <a:cubicBezTo>
                          <a:pt x="187" y="317"/>
                          <a:pt x="198" y="320"/>
                          <a:pt x="202" y="323"/>
                        </a:cubicBezTo>
                        <a:cubicBezTo>
                          <a:pt x="206" y="326"/>
                          <a:pt x="212" y="334"/>
                          <a:pt x="218" y="343"/>
                        </a:cubicBezTo>
                        <a:cubicBezTo>
                          <a:pt x="227" y="354"/>
                          <a:pt x="237" y="368"/>
                          <a:pt x="244" y="372"/>
                        </a:cubicBezTo>
                        <a:cubicBezTo>
                          <a:pt x="249" y="375"/>
                          <a:pt x="255" y="376"/>
                          <a:pt x="260" y="376"/>
                        </a:cubicBezTo>
                        <a:cubicBezTo>
                          <a:pt x="270" y="376"/>
                          <a:pt x="279" y="373"/>
                          <a:pt x="282" y="372"/>
                        </a:cubicBezTo>
                        <a:cubicBezTo>
                          <a:pt x="284" y="370"/>
                          <a:pt x="298" y="369"/>
                          <a:pt x="311" y="367"/>
                        </a:cubicBezTo>
                        <a:cubicBezTo>
                          <a:pt x="325" y="366"/>
                          <a:pt x="340" y="365"/>
                          <a:pt x="344" y="365"/>
                        </a:cubicBezTo>
                        <a:cubicBezTo>
                          <a:pt x="344" y="365"/>
                          <a:pt x="345" y="365"/>
                          <a:pt x="346" y="366"/>
                        </a:cubicBezTo>
                        <a:cubicBezTo>
                          <a:pt x="352" y="366"/>
                          <a:pt x="357" y="367"/>
                          <a:pt x="363" y="372"/>
                        </a:cubicBezTo>
                        <a:cubicBezTo>
                          <a:pt x="366" y="376"/>
                          <a:pt x="369" y="380"/>
                          <a:pt x="371" y="385"/>
                        </a:cubicBezTo>
                        <a:cubicBezTo>
                          <a:pt x="372" y="389"/>
                          <a:pt x="371" y="393"/>
                          <a:pt x="369" y="398"/>
                        </a:cubicBezTo>
                        <a:cubicBezTo>
                          <a:pt x="367" y="401"/>
                          <a:pt x="363" y="406"/>
                          <a:pt x="358" y="412"/>
                        </a:cubicBezTo>
                        <a:cubicBezTo>
                          <a:pt x="353" y="418"/>
                          <a:pt x="347" y="424"/>
                          <a:pt x="347" y="427"/>
                        </a:cubicBezTo>
                        <a:cubicBezTo>
                          <a:pt x="346" y="430"/>
                          <a:pt x="344" y="439"/>
                          <a:pt x="343" y="448"/>
                        </a:cubicBezTo>
                        <a:cubicBezTo>
                          <a:pt x="343" y="455"/>
                          <a:pt x="343" y="462"/>
                          <a:pt x="343" y="467"/>
                        </a:cubicBezTo>
                        <a:cubicBezTo>
                          <a:pt x="344" y="474"/>
                          <a:pt x="346" y="485"/>
                          <a:pt x="349" y="495"/>
                        </a:cubicBezTo>
                        <a:cubicBezTo>
                          <a:pt x="351" y="504"/>
                          <a:pt x="354" y="511"/>
                          <a:pt x="355" y="514"/>
                        </a:cubicBezTo>
                        <a:cubicBezTo>
                          <a:pt x="357" y="516"/>
                          <a:pt x="359" y="519"/>
                          <a:pt x="362" y="523"/>
                        </a:cubicBezTo>
                        <a:cubicBezTo>
                          <a:pt x="362" y="523"/>
                          <a:pt x="362" y="523"/>
                          <a:pt x="362" y="523"/>
                        </a:cubicBezTo>
                        <a:cubicBezTo>
                          <a:pt x="368" y="529"/>
                          <a:pt x="375" y="537"/>
                          <a:pt x="377" y="544"/>
                        </a:cubicBezTo>
                        <a:cubicBezTo>
                          <a:pt x="380" y="554"/>
                          <a:pt x="372" y="561"/>
                          <a:pt x="364" y="569"/>
                        </a:cubicBezTo>
                        <a:cubicBezTo>
                          <a:pt x="363" y="569"/>
                          <a:pt x="363" y="569"/>
                          <a:pt x="361" y="571"/>
                        </a:cubicBezTo>
                        <a:cubicBezTo>
                          <a:pt x="359" y="573"/>
                          <a:pt x="356" y="575"/>
                          <a:pt x="353" y="577"/>
                        </a:cubicBezTo>
                        <a:cubicBezTo>
                          <a:pt x="350" y="579"/>
                          <a:pt x="347" y="581"/>
                          <a:pt x="348" y="582"/>
                        </a:cubicBezTo>
                        <a:cubicBezTo>
                          <a:pt x="348" y="584"/>
                          <a:pt x="350" y="584"/>
                          <a:pt x="351" y="585"/>
                        </a:cubicBezTo>
                        <a:cubicBezTo>
                          <a:pt x="355" y="586"/>
                          <a:pt x="359" y="587"/>
                          <a:pt x="364" y="591"/>
                        </a:cubicBezTo>
                        <a:cubicBezTo>
                          <a:pt x="369" y="596"/>
                          <a:pt x="373" y="600"/>
                          <a:pt x="376" y="605"/>
                        </a:cubicBezTo>
                        <a:cubicBezTo>
                          <a:pt x="379" y="610"/>
                          <a:pt x="382" y="615"/>
                          <a:pt x="384" y="621"/>
                        </a:cubicBezTo>
                        <a:cubicBezTo>
                          <a:pt x="387" y="627"/>
                          <a:pt x="390" y="638"/>
                          <a:pt x="394" y="649"/>
                        </a:cubicBezTo>
                        <a:cubicBezTo>
                          <a:pt x="396" y="656"/>
                          <a:pt x="398" y="663"/>
                          <a:pt x="400" y="669"/>
                        </a:cubicBezTo>
                        <a:cubicBezTo>
                          <a:pt x="403" y="675"/>
                          <a:pt x="405" y="679"/>
                          <a:pt x="408" y="683"/>
                        </a:cubicBezTo>
                        <a:cubicBezTo>
                          <a:pt x="411" y="687"/>
                          <a:pt x="415" y="691"/>
                          <a:pt x="421" y="696"/>
                        </a:cubicBezTo>
                        <a:cubicBezTo>
                          <a:pt x="425" y="699"/>
                          <a:pt x="428" y="702"/>
                          <a:pt x="430" y="704"/>
                        </a:cubicBezTo>
                        <a:cubicBezTo>
                          <a:pt x="434" y="707"/>
                          <a:pt x="434" y="708"/>
                          <a:pt x="438" y="708"/>
                        </a:cubicBezTo>
                        <a:cubicBezTo>
                          <a:pt x="442" y="708"/>
                          <a:pt x="452" y="705"/>
                          <a:pt x="461" y="703"/>
                        </a:cubicBezTo>
                        <a:cubicBezTo>
                          <a:pt x="468" y="701"/>
                          <a:pt x="474" y="699"/>
                          <a:pt x="478" y="699"/>
                        </a:cubicBezTo>
                        <a:cubicBezTo>
                          <a:pt x="484" y="698"/>
                          <a:pt x="486" y="701"/>
                          <a:pt x="486" y="706"/>
                        </a:cubicBezTo>
                        <a:cubicBezTo>
                          <a:pt x="487" y="707"/>
                          <a:pt x="486" y="709"/>
                          <a:pt x="486" y="711"/>
                        </a:cubicBezTo>
                        <a:cubicBezTo>
                          <a:pt x="486" y="714"/>
                          <a:pt x="486" y="717"/>
                          <a:pt x="487" y="717"/>
                        </a:cubicBezTo>
                        <a:cubicBezTo>
                          <a:pt x="488" y="717"/>
                          <a:pt x="492" y="713"/>
                          <a:pt x="497" y="708"/>
                        </a:cubicBezTo>
                        <a:cubicBezTo>
                          <a:pt x="500" y="703"/>
                          <a:pt x="504" y="698"/>
                          <a:pt x="509" y="695"/>
                        </a:cubicBezTo>
                        <a:cubicBezTo>
                          <a:pt x="511" y="694"/>
                          <a:pt x="512" y="692"/>
                          <a:pt x="515" y="690"/>
                        </a:cubicBezTo>
                        <a:cubicBezTo>
                          <a:pt x="526" y="682"/>
                          <a:pt x="541" y="670"/>
                          <a:pt x="552" y="670"/>
                        </a:cubicBezTo>
                        <a:cubicBezTo>
                          <a:pt x="558" y="670"/>
                          <a:pt x="561" y="664"/>
                          <a:pt x="563" y="658"/>
                        </a:cubicBezTo>
                        <a:cubicBezTo>
                          <a:pt x="563" y="657"/>
                          <a:pt x="564" y="656"/>
                          <a:pt x="564" y="655"/>
                        </a:cubicBezTo>
                        <a:cubicBezTo>
                          <a:pt x="565" y="653"/>
                          <a:pt x="565" y="652"/>
                          <a:pt x="565" y="650"/>
                        </a:cubicBezTo>
                        <a:cubicBezTo>
                          <a:pt x="566" y="644"/>
                          <a:pt x="567" y="639"/>
                          <a:pt x="583" y="633"/>
                        </a:cubicBezTo>
                        <a:cubicBezTo>
                          <a:pt x="588" y="632"/>
                          <a:pt x="593" y="630"/>
                          <a:pt x="597" y="629"/>
                        </a:cubicBezTo>
                        <a:cubicBezTo>
                          <a:pt x="607" y="626"/>
                          <a:pt x="613" y="624"/>
                          <a:pt x="613" y="619"/>
                        </a:cubicBezTo>
                        <a:cubicBezTo>
                          <a:pt x="614" y="617"/>
                          <a:pt x="613" y="616"/>
                          <a:pt x="611" y="616"/>
                        </a:cubicBezTo>
                        <a:cubicBezTo>
                          <a:pt x="609" y="616"/>
                          <a:pt x="607" y="616"/>
                          <a:pt x="606" y="615"/>
                        </a:cubicBezTo>
                        <a:cubicBezTo>
                          <a:pt x="604" y="615"/>
                          <a:pt x="602" y="615"/>
                          <a:pt x="600" y="615"/>
                        </a:cubicBezTo>
                        <a:cubicBezTo>
                          <a:pt x="598" y="615"/>
                          <a:pt x="596" y="615"/>
                          <a:pt x="593" y="615"/>
                        </a:cubicBezTo>
                        <a:cubicBezTo>
                          <a:pt x="586" y="616"/>
                          <a:pt x="579" y="617"/>
                          <a:pt x="577" y="606"/>
                        </a:cubicBezTo>
                        <a:cubicBezTo>
                          <a:pt x="576" y="603"/>
                          <a:pt x="576" y="596"/>
                          <a:pt x="575" y="589"/>
                        </a:cubicBezTo>
                        <a:cubicBezTo>
                          <a:pt x="574" y="573"/>
                          <a:pt x="572" y="551"/>
                          <a:pt x="569" y="546"/>
                        </a:cubicBezTo>
                        <a:cubicBezTo>
                          <a:pt x="567" y="542"/>
                          <a:pt x="560" y="537"/>
                          <a:pt x="554" y="532"/>
                        </a:cubicBezTo>
                        <a:cubicBezTo>
                          <a:pt x="546" y="525"/>
                          <a:pt x="538" y="518"/>
                          <a:pt x="535" y="512"/>
                        </a:cubicBezTo>
                        <a:cubicBezTo>
                          <a:pt x="530" y="502"/>
                          <a:pt x="533" y="498"/>
                          <a:pt x="537" y="496"/>
                        </a:cubicBezTo>
                        <a:cubicBezTo>
                          <a:pt x="539" y="495"/>
                          <a:pt x="541" y="495"/>
                          <a:pt x="542" y="495"/>
                        </a:cubicBezTo>
                        <a:cubicBezTo>
                          <a:pt x="543" y="495"/>
                          <a:pt x="543" y="495"/>
                          <a:pt x="543" y="495"/>
                        </a:cubicBezTo>
                        <a:cubicBezTo>
                          <a:pt x="545" y="495"/>
                          <a:pt x="549" y="496"/>
                          <a:pt x="554" y="498"/>
                        </a:cubicBezTo>
                        <a:cubicBezTo>
                          <a:pt x="558" y="500"/>
                          <a:pt x="563" y="503"/>
                          <a:pt x="569" y="507"/>
                        </a:cubicBezTo>
                        <a:cubicBezTo>
                          <a:pt x="576" y="511"/>
                          <a:pt x="587" y="511"/>
                          <a:pt x="597" y="510"/>
                        </a:cubicBezTo>
                        <a:cubicBezTo>
                          <a:pt x="603" y="509"/>
                          <a:pt x="608" y="509"/>
                          <a:pt x="612" y="510"/>
                        </a:cubicBezTo>
                        <a:cubicBezTo>
                          <a:pt x="619" y="512"/>
                          <a:pt x="627" y="518"/>
                          <a:pt x="635" y="524"/>
                        </a:cubicBezTo>
                        <a:cubicBezTo>
                          <a:pt x="639" y="527"/>
                          <a:pt x="643" y="530"/>
                          <a:pt x="645" y="531"/>
                        </a:cubicBezTo>
                        <a:cubicBezTo>
                          <a:pt x="645" y="531"/>
                          <a:pt x="645" y="530"/>
                          <a:pt x="646" y="530"/>
                        </a:cubicBezTo>
                        <a:cubicBezTo>
                          <a:pt x="647" y="528"/>
                          <a:pt x="648" y="526"/>
                          <a:pt x="650" y="523"/>
                        </a:cubicBezTo>
                        <a:cubicBezTo>
                          <a:pt x="651" y="519"/>
                          <a:pt x="652" y="515"/>
                          <a:pt x="653" y="512"/>
                        </a:cubicBezTo>
                        <a:cubicBezTo>
                          <a:pt x="654" y="508"/>
                          <a:pt x="659" y="505"/>
                          <a:pt x="665" y="502"/>
                        </a:cubicBezTo>
                        <a:cubicBezTo>
                          <a:pt x="671" y="500"/>
                          <a:pt x="680" y="499"/>
                          <a:pt x="687" y="499"/>
                        </a:cubicBezTo>
                        <a:cubicBezTo>
                          <a:pt x="693" y="498"/>
                          <a:pt x="703" y="497"/>
                          <a:pt x="711" y="496"/>
                        </a:cubicBezTo>
                        <a:cubicBezTo>
                          <a:pt x="717" y="495"/>
                          <a:pt x="722" y="494"/>
                          <a:pt x="726" y="492"/>
                        </a:cubicBezTo>
                        <a:cubicBezTo>
                          <a:pt x="730" y="490"/>
                          <a:pt x="734" y="487"/>
                          <a:pt x="737" y="485"/>
                        </a:cubicBezTo>
                        <a:cubicBezTo>
                          <a:pt x="740" y="483"/>
                          <a:pt x="743" y="481"/>
                          <a:pt x="746" y="480"/>
                        </a:cubicBezTo>
                        <a:cubicBezTo>
                          <a:pt x="749" y="478"/>
                          <a:pt x="753" y="477"/>
                          <a:pt x="757" y="477"/>
                        </a:cubicBezTo>
                        <a:cubicBezTo>
                          <a:pt x="760" y="476"/>
                          <a:pt x="763" y="476"/>
                          <a:pt x="765" y="475"/>
                        </a:cubicBezTo>
                        <a:cubicBezTo>
                          <a:pt x="768" y="474"/>
                          <a:pt x="770" y="472"/>
                          <a:pt x="773" y="469"/>
                        </a:cubicBezTo>
                        <a:cubicBezTo>
                          <a:pt x="776" y="465"/>
                          <a:pt x="779" y="461"/>
                          <a:pt x="780" y="457"/>
                        </a:cubicBezTo>
                        <a:cubicBezTo>
                          <a:pt x="782" y="453"/>
                          <a:pt x="782" y="449"/>
                          <a:pt x="782" y="445"/>
                        </a:cubicBezTo>
                        <a:cubicBezTo>
                          <a:pt x="781" y="441"/>
                          <a:pt x="779" y="438"/>
                          <a:pt x="776" y="434"/>
                        </a:cubicBezTo>
                        <a:cubicBezTo>
                          <a:pt x="773" y="431"/>
                          <a:pt x="768" y="427"/>
                          <a:pt x="764" y="423"/>
                        </a:cubicBezTo>
                        <a:cubicBezTo>
                          <a:pt x="753" y="414"/>
                          <a:pt x="742" y="403"/>
                          <a:pt x="741" y="399"/>
                        </a:cubicBezTo>
                        <a:cubicBezTo>
                          <a:pt x="740" y="396"/>
                          <a:pt x="740" y="392"/>
                          <a:pt x="742" y="388"/>
                        </a:cubicBezTo>
                        <a:cubicBezTo>
                          <a:pt x="744" y="384"/>
                          <a:pt x="746" y="381"/>
                          <a:pt x="749" y="378"/>
                        </a:cubicBezTo>
                        <a:cubicBezTo>
                          <a:pt x="751" y="377"/>
                          <a:pt x="752" y="367"/>
                          <a:pt x="753" y="359"/>
                        </a:cubicBezTo>
                        <a:cubicBezTo>
                          <a:pt x="753" y="353"/>
                          <a:pt x="753" y="348"/>
                          <a:pt x="755" y="345"/>
                        </a:cubicBezTo>
                        <a:cubicBezTo>
                          <a:pt x="757" y="340"/>
                          <a:pt x="760" y="339"/>
                          <a:pt x="767" y="337"/>
                        </a:cubicBezTo>
                        <a:cubicBezTo>
                          <a:pt x="768" y="337"/>
                          <a:pt x="770" y="336"/>
                          <a:pt x="772" y="336"/>
                        </a:cubicBezTo>
                        <a:cubicBezTo>
                          <a:pt x="776" y="334"/>
                          <a:pt x="781" y="333"/>
                          <a:pt x="785" y="331"/>
                        </a:cubicBezTo>
                        <a:cubicBezTo>
                          <a:pt x="790" y="329"/>
                          <a:pt x="796" y="327"/>
                          <a:pt x="798" y="326"/>
                        </a:cubicBezTo>
                        <a:cubicBezTo>
                          <a:pt x="798" y="326"/>
                          <a:pt x="798" y="326"/>
                          <a:pt x="799" y="326"/>
                        </a:cubicBezTo>
                        <a:cubicBezTo>
                          <a:pt x="800" y="325"/>
                          <a:pt x="800" y="324"/>
                          <a:pt x="801" y="323"/>
                        </a:cubicBezTo>
                        <a:cubicBezTo>
                          <a:pt x="801" y="322"/>
                          <a:pt x="801" y="321"/>
                          <a:pt x="801" y="320"/>
                        </a:cubicBezTo>
                        <a:cubicBezTo>
                          <a:pt x="801" y="320"/>
                          <a:pt x="800" y="320"/>
                          <a:pt x="800" y="320"/>
                        </a:cubicBezTo>
                        <a:cubicBezTo>
                          <a:pt x="800" y="320"/>
                          <a:pt x="800" y="320"/>
                          <a:pt x="800" y="320"/>
                        </a:cubicBezTo>
                        <a:cubicBezTo>
                          <a:pt x="800" y="319"/>
                          <a:pt x="798" y="318"/>
                          <a:pt x="797" y="318"/>
                        </a:cubicBezTo>
                        <a:cubicBezTo>
                          <a:pt x="794" y="317"/>
                          <a:pt x="791" y="316"/>
                          <a:pt x="788" y="313"/>
                        </a:cubicBezTo>
                        <a:cubicBezTo>
                          <a:pt x="786" y="310"/>
                          <a:pt x="783" y="307"/>
                          <a:pt x="782" y="303"/>
                        </a:cubicBezTo>
                        <a:cubicBezTo>
                          <a:pt x="780" y="299"/>
                          <a:pt x="780" y="295"/>
                          <a:pt x="783" y="289"/>
                        </a:cubicBezTo>
                        <a:cubicBezTo>
                          <a:pt x="784" y="288"/>
                          <a:pt x="784" y="286"/>
                          <a:pt x="785" y="285"/>
                        </a:cubicBezTo>
                        <a:cubicBezTo>
                          <a:pt x="787" y="278"/>
                          <a:pt x="789" y="273"/>
                          <a:pt x="801" y="267"/>
                        </a:cubicBezTo>
                        <a:cubicBezTo>
                          <a:pt x="806" y="265"/>
                          <a:pt x="810" y="264"/>
                          <a:pt x="814" y="263"/>
                        </a:cubicBezTo>
                        <a:cubicBezTo>
                          <a:pt x="819" y="261"/>
                          <a:pt x="823" y="260"/>
                          <a:pt x="826" y="255"/>
                        </a:cubicBezTo>
                        <a:cubicBezTo>
                          <a:pt x="827" y="253"/>
                          <a:pt x="828" y="251"/>
                          <a:pt x="829" y="250"/>
                        </a:cubicBezTo>
                        <a:cubicBezTo>
                          <a:pt x="832" y="245"/>
                          <a:pt x="834" y="241"/>
                          <a:pt x="836" y="236"/>
                        </a:cubicBezTo>
                        <a:cubicBezTo>
                          <a:pt x="835" y="236"/>
                          <a:pt x="835" y="235"/>
                          <a:pt x="834" y="235"/>
                        </a:cubicBezTo>
                        <a:cubicBezTo>
                          <a:pt x="827" y="226"/>
                          <a:pt x="818" y="223"/>
                          <a:pt x="807" y="224"/>
                        </a:cubicBezTo>
                        <a:cubicBezTo>
                          <a:pt x="796" y="225"/>
                          <a:pt x="792" y="226"/>
                          <a:pt x="783" y="226"/>
                        </a:cubicBezTo>
                        <a:cubicBezTo>
                          <a:pt x="774" y="226"/>
                          <a:pt x="772" y="228"/>
                          <a:pt x="764" y="232"/>
                        </a:cubicBezTo>
                        <a:cubicBezTo>
                          <a:pt x="755" y="235"/>
                          <a:pt x="750" y="236"/>
                          <a:pt x="741" y="235"/>
                        </a:cubicBezTo>
                        <a:cubicBezTo>
                          <a:pt x="732" y="235"/>
                          <a:pt x="733" y="230"/>
                          <a:pt x="730" y="225"/>
                        </a:cubicBezTo>
                        <a:cubicBezTo>
                          <a:pt x="728" y="220"/>
                          <a:pt x="738" y="225"/>
                          <a:pt x="743" y="225"/>
                        </a:cubicBezTo>
                        <a:cubicBezTo>
                          <a:pt x="747" y="225"/>
                          <a:pt x="755" y="224"/>
                          <a:pt x="757" y="217"/>
                        </a:cubicBezTo>
                        <a:cubicBezTo>
                          <a:pt x="760" y="210"/>
                          <a:pt x="758" y="210"/>
                          <a:pt x="758" y="199"/>
                        </a:cubicBezTo>
                        <a:cubicBezTo>
                          <a:pt x="758" y="189"/>
                          <a:pt x="767" y="193"/>
                          <a:pt x="772" y="187"/>
                        </a:cubicBezTo>
                        <a:cubicBezTo>
                          <a:pt x="777" y="181"/>
                          <a:pt x="779" y="175"/>
                          <a:pt x="774" y="171"/>
                        </a:cubicBezTo>
                        <a:cubicBezTo>
                          <a:pt x="769" y="166"/>
                          <a:pt x="759" y="164"/>
                          <a:pt x="749" y="159"/>
                        </a:cubicBezTo>
                        <a:cubicBezTo>
                          <a:pt x="738" y="154"/>
                          <a:pt x="743" y="156"/>
                          <a:pt x="740" y="151"/>
                        </a:cubicBezTo>
                        <a:cubicBezTo>
                          <a:pt x="737" y="145"/>
                          <a:pt x="731" y="147"/>
                          <a:pt x="727" y="150"/>
                        </a:cubicBezTo>
                        <a:cubicBezTo>
                          <a:pt x="723" y="153"/>
                          <a:pt x="719" y="156"/>
                          <a:pt x="714" y="156"/>
                        </a:cubicBezTo>
                        <a:cubicBezTo>
                          <a:pt x="710" y="156"/>
                          <a:pt x="707" y="151"/>
                          <a:pt x="704" y="147"/>
                        </a:cubicBezTo>
                        <a:cubicBezTo>
                          <a:pt x="701" y="142"/>
                          <a:pt x="700" y="142"/>
                          <a:pt x="694" y="140"/>
                        </a:cubicBezTo>
                        <a:cubicBezTo>
                          <a:pt x="689" y="137"/>
                          <a:pt x="690" y="147"/>
                          <a:pt x="689" y="152"/>
                        </a:cubicBezTo>
                        <a:cubicBezTo>
                          <a:pt x="688" y="158"/>
                          <a:pt x="685" y="154"/>
                          <a:pt x="681" y="151"/>
                        </a:cubicBezTo>
                        <a:cubicBezTo>
                          <a:pt x="676" y="149"/>
                          <a:pt x="678" y="144"/>
                          <a:pt x="677" y="139"/>
                        </a:cubicBezTo>
                        <a:cubicBezTo>
                          <a:pt x="676" y="135"/>
                          <a:pt x="673" y="132"/>
                          <a:pt x="668" y="132"/>
                        </a:cubicBezTo>
                        <a:cubicBezTo>
                          <a:pt x="664" y="131"/>
                          <a:pt x="658" y="139"/>
                          <a:pt x="652" y="140"/>
                        </a:cubicBezTo>
                        <a:cubicBezTo>
                          <a:pt x="647" y="140"/>
                          <a:pt x="648" y="138"/>
                          <a:pt x="648" y="133"/>
                        </a:cubicBezTo>
                        <a:cubicBezTo>
                          <a:pt x="648" y="128"/>
                          <a:pt x="654" y="132"/>
                          <a:pt x="657" y="130"/>
                        </a:cubicBezTo>
                        <a:cubicBezTo>
                          <a:pt x="659" y="127"/>
                          <a:pt x="660" y="126"/>
                          <a:pt x="657" y="122"/>
                        </a:cubicBezTo>
                        <a:cubicBezTo>
                          <a:pt x="654" y="118"/>
                          <a:pt x="647" y="121"/>
                          <a:pt x="648" y="117"/>
                        </a:cubicBezTo>
                        <a:cubicBezTo>
                          <a:pt x="648" y="113"/>
                          <a:pt x="645" y="114"/>
                          <a:pt x="644" y="108"/>
                        </a:cubicBezTo>
                        <a:cubicBezTo>
                          <a:pt x="643" y="102"/>
                          <a:pt x="653" y="106"/>
                          <a:pt x="664" y="106"/>
                        </a:cubicBezTo>
                        <a:cubicBezTo>
                          <a:pt x="675" y="106"/>
                          <a:pt x="678" y="106"/>
                          <a:pt x="685" y="102"/>
                        </a:cubicBezTo>
                        <a:cubicBezTo>
                          <a:pt x="693" y="99"/>
                          <a:pt x="691" y="100"/>
                          <a:pt x="698" y="99"/>
                        </a:cubicBezTo>
                        <a:cubicBezTo>
                          <a:pt x="705" y="98"/>
                          <a:pt x="699" y="92"/>
                          <a:pt x="689" y="92"/>
                        </a:cubicBezTo>
                        <a:cubicBezTo>
                          <a:pt x="679" y="92"/>
                          <a:pt x="671" y="94"/>
                          <a:pt x="659" y="94"/>
                        </a:cubicBezTo>
                        <a:cubicBezTo>
                          <a:pt x="648" y="94"/>
                          <a:pt x="645" y="94"/>
                          <a:pt x="631" y="97"/>
                        </a:cubicBezTo>
                        <a:cubicBezTo>
                          <a:pt x="617" y="100"/>
                          <a:pt x="620" y="98"/>
                          <a:pt x="608" y="98"/>
                        </a:cubicBezTo>
                        <a:cubicBezTo>
                          <a:pt x="596" y="98"/>
                          <a:pt x="591" y="98"/>
                          <a:pt x="583" y="98"/>
                        </a:cubicBezTo>
                        <a:cubicBezTo>
                          <a:pt x="575" y="98"/>
                          <a:pt x="573" y="103"/>
                          <a:pt x="577" y="106"/>
                        </a:cubicBezTo>
                        <a:cubicBezTo>
                          <a:pt x="581" y="110"/>
                          <a:pt x="587" y="109"/>
                          <a:pt x="584" y="111"/>
                        </a:cubicBezTo>
                        <a:cubicBezTo>
                          <a:pt x="581" y="113"/>
                          <a:pt x="567" y="114"/>
                          <a:pt x="557" y="118"/>
                        </a:cubicBezTo>
                        <a:cubicBezTo>
                          <a:pt x="547" y="122"/>
                          <a:pt x="536" y="131"/>
                          <a:pt x="520" y="132"/>
                        </a:cubicBezTo>
                        <a:cubicBezTo>
                          <a:pt x="505" y="133"/>
                          <a:pt x="500" y="133"/>
                          <a:pt x="488" y="129"/>
                        </a:cubicBezTo>
                        <a:cubicBezTo>
                          <a:pt x="475" y="125"/>
                          <a:pt x="476" y="124"/>
                          <a:pt x="464" y="117"/>
                        </a:cubicBezTo>
                        <a:cubicBezTo>
                          <a:pt x="451" y="109"/>
                          <a:pt x="451" y="107"/>
                          <a:pt x="444" y="103"/>
                        </a:cubicBezTo>
                        <a:cubicBezTo>
                          <a:pt x="437" y="100"/>
                          <a:pt x="434" y="100"/>
                          <a:pt x="425" y="101"/>
                        </a:cubicBezTo>
                        <a:cubicBezTo>
                          <a:pt x="416" y="102"/>
                          <a:pt x="405" y="102"/>
                          <a:pt x="397" y="102"/>
                        </a:cubicBezTo>
                        <a:cubicBezTo>
                          <a:pt x="388" y="102"/>
                          <a:pt x="387" y="102"/>
                          <a:pt x="377" y="102"/>
                        </a:cubicBezTo>
                        <a:cubicBezTo>
                          <a:pt x="367" y="102"/>
                          <a:pt x="362" y="106"/>
                          <a:pt x="356" y="107"/>
                        </a:cubicBezTo>
                        <a:cubicBezTo>
                          <a:pt x="350" y="108"/>
                          <a:pt x="342" y="108"/>
                          <a:pt x="335" y="107"/>
                        </a:cubicBezTo>
                        <a:cubicBezTo>
                          <a:pt x="328" y="106"/>
                          <a:pt x="327" y="103"/>
                          <a:pt x="323" y="100"/>
                        </a:cubicBezTo>
                        <a:cubicBezTo>
                          <a:pt x="318" y="97"/>
                          <a:pt x="316" y="89"/>
                          <a:pt x="315" y="80"/>
                        </a:cubicBezTo>
                        <a:cubicBezTo>
                          <a:pt x="314" y="71"/>
                          <a:pt x="299" y="61"/>
                          <a:pt x="297" y="58"/>
                        </a:cubicBezTo>
                        <a:cubicBezTo>
                          <a:pt x="294" y="54"/>
                          <a:pt x="283" y="52"/>
                          <a:pt x="275" y="50"/>
                        </a:cubicBezTo>
                        <a:cubicBezTo>
                          <a:pt x="268" y="48"/>
                          <a:pt x="263" y="47"/>
                          <a:pt x="256" y="45"/>
                        </a:cubicBezTo>
                        <a:cubicBezTo>
                          <a:pt x="248" y="42"/>
                          <a:pt x="244" y="44"/>
                          <a:pt x="238" y="44"/>
                        </a:cubicBezTo>
                        <a:cubicBezTo>
                          <a:pt x="232" y="43"/>
                          <a:pt x="229" y="43"/>
                          <a:pt x="224" y="36"/>
                        </a:cubicBezTo>
                        <a:cubicBezTo>
                          <a:pt x="220" y="30"/>
                          <a:pt x="224" y="28"/>
                          <a:pt x="224" y="18"/>
                        </a:cubicBezTo>
                        <a:cubicBezTo>
                          <a:pt x="223" y="8"/>
                          <a:pt x="221" y="8"/>
                          <a:pt x="212" y="4"/>
                        </a:cubicBezTo>
                        <a:cubicBezTo>
                          <a:pt x="203" y="0"/>
                          <a:pt x="205" y="4"/>
                          <a:pt x="201" y="5"/>
                        </a:cubicBezTo>
                        <a:cubicBezTo>
                          <a:pt x="197" y="5"/>
                          <a:pt x="193" y="19"/>
                          <a:pt x="194" y="24"/>
                        </a:cubicBezTo>
                        <a:cubicBezTo>
                          <a:pt x="196" y="29"/>
                          <a:pt x="205" y="37"/>
                          <a:pt x="205" y="45"/>
                        </a:cubicBezTo>
                        <a:cubicBezTo>
                          <a:pt x="205" y="53"/>
                          <a:pt x="201" y="48"/>
                          <a:pt x="194" y="53"/>
                        </a:cubicBezTo>
                        <a:cubicBezTo>
                          <a:pt x="186" y="58"/>
                          <a:pt x="183" y="56"/>
                          <a:pt x="176" y="56"/>
                        </a:cubicBezTo>
                        <a:cubicBezTo>
                          <a:pt x="170" y="56"/>
                          <a:pt x="163" y="58"/>
                          <a:pt x="157" y="64"/>
                        </a:cubicBezTo>
                        <a:cubicBezTo>
                          <a:pt x="150" y="70"/>
                          <a:pt x="142" y="74"/>
                          <a:pt x="134" y="75"/>
                        </a:cubicBezTo>
                        <a:cubicBezTo>
                          <a:pt x="127" y="76"/>
                          <a:pt x="122" y="77"/>
                          <a:pt x="117" y="78"/>
                        </a:cubicBezTo>
                        <a:cubicBezTo>
                          <a:pt x="112" y="79"/>
                          <a:pt x="115" y="85"/>
                          <a:pt x="115" y="91"/>
                        </a:cubicBezTo>
                        <a:cubicBezTo>
                          <a:pt x="115" y="97"/>
                          <a:pt x="119" y="106"/>
                          <a:pt x="119" y="112"/>
                        </a:cubicBezTo>
                        <a:cubicBezTo>
                          <a:pt x="120" y="117"/>
                          <a:pt x="125" y="124"/>
                          <a:pt x="129" y="132"/>
                        </a:cubicBezTo>
                        <a:cubicBezTo>
                          <a:pt x="133" y="140"/>
                          <a:pt x="137" y="146"/>
                          <a:pt x="140" y="155"/>
                        </a:cubicBezTo>
                        <a:cubicBezTo>
                          <a:pt x="144" y="165"/>
                          <a:pt x="140" y="169"/>
                          <a:pt x="138" y="178"/>
                        </a:cubicBezTo>
                        <a:cubicBezTo>
                          <a:pt x="136" y="187"/>
                          <a:pt x="128" y="189"/>
                          <a:pt x="125" y="191"/>
                        </a:cubicBezTo>
                        <a:cubicBezTo>
                          <a:pt x="121" y="193"/>
                          <a:pt x="111" y="198"/>
                          <a:pt x="107" y="196"/>
                        </a:cubicBezTo>
                        <a:cubicBezTo>
                          <a:pt x="102" y="194"/>
                          <a:pt x="104" y="182"/>
                          <a:pt x="103" y="175"/>
                        </a:cubicBezTo>
                        <a:cubicBezTo>
                          <a:pt x="102" y="168"/>
                          <a:pt x="95" y="170"/>
                          <a:pt x="90" y="167"/>
                        </a:cubicBezTo>
                        <a:cubicBezTo>
                          <a:pt x="85" y="165"/>
                          <a:pt x="85" y="160"/>
                          <a:pt x="82" y="152"/>
                        </a:cubicBezTo>
                        <a:cubicBezTo>
                          <a:pt x="80" y="145"/>
                          <a:pt x="83" y="143"/>
                          <a:pt x="85" y="135"/>
                        </a:cubicBezTo>
                        <a:cubicBezTo>
                          <a:pt x="87" y="128"/>
                          <a:pt x="92" y="123"/>
                          <a:pt x="98" y="117"/>
                        </a:cubicBezTo>
                        <a:cubicBezTo>
                          <a:pt x="103" y="112"/>
                          <a:pt x="105" y="108"/>
                          <a:pt x="105" y="103"/>
                        </a:cubicBezTo>
                        <a:cubicBezTo>
                          <a:pt x="105" y="97"/>
                          <a:pt x="106" y="88"/>
                          <a:pt x="104" y="79"/>
                        </a:cubicBezTo>
                        <a:cubicBezTo>
                          <a:pt x="102" y="70"/>
                          <a:pt x="103" y="71"/>
                          <a:pt x="102" y="65"/>
                        </a:cubicBezTo>
                        <a:cubicBezTo>
                          <a:pt x="100" y="59"/>
                          <a:pt x="97" y="58"/>
                          <a:pt x="94" y="53"/>
                        </a:cubicBezTo>
                        <a:cubicBezTo>
                          <a:pt x="92" y="49"/>
                          <a:pt x="90" y="45"/>
                          <a:pt x="90" y="39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51" name="Freeform 21"/>
                  <p:cNvSpPr>
                    <a:spLocks/>
                  </p:cNvSpPr>
                  <p:nvPr/>
                </p:nvSpPr>
                <p:spPr bwMode="auto">
                  <a:xfrm>
                    <a:off x="3395775" y="4546494"/>
                    <a:ext cx="48816" cy="63103"/>
                  </a:xfrm>
                  <a:custGeom>
                    <a:avLst/>
                    <a:gdLst>
                      <a:gd name="T0" fmla="*/ 37 w 173"/>
                      <a:gd name="T1" fmla="*/ 0 h 218"/>
                      <a:gd name="T2" fmla="*/ 28 w 173"/>
                      <a:gd name="T3" fmla="*/ 19 h 218"/>
                      <a:gd name="T4" fmla="*/ 28 w 173"/>
                      <a:gd name="T5" fmla="*/ 20 h 218"/>
                      <a:gd name="T6" fmla="*/ 21 w 173"/>
                      <a:gd name="T7" fmla="*/ 30 h 218"/>
                      <a:gd name="T8" fmla="*/ 10 w 173"/>
                      <a:gd name="T9" fmla="*/ 59 h 218"/>
                      <a:gd name="T10" fmla="*/ 17 w 173"/>
                      <a:gd name="T11" fmla="*/ 95 h 218"/>
                      <a:gd name="T12" fmla="*/ 19 w 173"/>
                      <a:gd name="T13" fmla="*/ 99 h 218"/>
                      <a:gd name="T14" fmla="*/ 19 w 173"/>
                      <a:gd name="T15" fmla="*/ 99 h 218"/>
                      <a:gd name="T16" fmla="*/ 26 w 173"/>
                      <a:gd name="T17" fmla="*/ 130 h 218"/>
                      <a:gd name="T18" fmla="*/ 28 w 173"/>
                      <a:gd name="T19" fmla="*/ 160 h 218"/>
                      <a:gd name="T20" fmla="*/ 19 w 173"/>
                      <a:gd name="T21" fmla="*/ 187 h 218"/>
                      <a:gd name="T22" fmla="*/ 0 w 173"/>
                      <a:gd name="T23" fmla="*/ 208 h 218"/>
                      <a:gd name="T24" fmla="*/ 1 w 173"/>
                      <a:gd name="T25" fmla="*/ 208 h 218"/>
                      <a:gd name="T26" fmla="*/ 19 w 173"/>
                      <a:gd name="T27" fmla="*/ 216 h 218"/>
                      <a:gd name="T28" fmla="*/ 35 w 173"/>
                      <a:gd name="T29" fmla="*/ 216 h 218"/>
                      <a:gd name="T30" fmla="*/ 36 w 173"/>
                      <a:gd name="T31" fmla="*/ 216 h 218"/>
                      <a:gd name="T32" fmla="*/ 68 w 173"/>
                      <a:gd name="T33" fmla="*/ 209 h 218"/>
                      <a:gd name="T34" fmla="*/ 71 w 173"/>
                      <a:gd name="T35" fmla="*/ 210 h 218"/>
                      <a:gd name="T36" fmla="*/ 88 w 173"/>
                      <a:gd name="T37" fmla="*/ 214 h 218"/>
                      <a:gd name="T38" fmla="*/ 104 w 173"/>
                      <a:gd name="T39" fmla="*/ 206 h 218"/>
                      <a:gd name="T40" fmla="*/ 115 w 173"/>
                      <a:gd name="T41" fmla="*/ 192 h 218"/>
                      <a:gd name="T42" fmla="*/ 123 w 173"/>
                      <a:gd name="T43" fmla="*/ 169 h 218"/>
                      <a:gd name="T44" fmla="*/ 129 w 173"/>
                      <a:gd name="T45" fmla="*/ 154 h 218"/>
                      <a:gd name="T46" fmla="*/ 144 w 173"/>
                      <a:gd name="T47" fmla="*/ 132 h 218"/>
                      <a:gd name="T48" fmla="*/ 170 w 173"/>
                      <a:gd name="T49" fmla="*/ 103 h 218"/>
                      <a:gd name="T50" fmla="*/ 173 w 173"/>
                      <a:gd name="T51" fmla="*/ 93 h 218"/>
                      <a:gd name="T52" fmla="*/ 169 w 173"/>
                      <a:gd name="T53" fmla="*/ 90 h 218"/>
                      <a:gd name="T54" fmla="*/ 164 w 173"/>
                      <a:gd name="T55" fmla="*/ 75 h 218"/>
                      <a:gd name="T56" fmla="*/ 153 w 173"/>
                      <a:gd name="T57" fmla="*/ 81 h 218"/>
                      <a:gd name="T58" fmla="*/ 144 w 173"/>
                      <a:gd name="T59" fmla="*/ 59 h 218"/>
                      <a:gd name="T60" fmla="*/ 130 w 173"/>
                      <a:gd name="T61" fmla="*/ 52 h 218"/>
                      <a:gd name="T62" fmla="*/ 124 w 173"/>
                      <a:gd name="T63" fmla="*/ 40 h 218"/>
                      <a:gd name="T64" fmla="*/ 96 w 173"/>
                      <a:gd name="T65" fmla="*/ 21 h 218"/>
                      <a:gd name="T66" fmla="*/ 62 w 173"/>
                      <a:gd name="T67" fmla="*/ 7 h 218"/>
                      <a:gd name="T68" fmla="*/ 37 w 173"/>
                      <a:gd name="T69" fmla="*/ 0 h 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</a:cxnLst>
                    <a:rect l="0" t="0" r="r" b="b"/>
                    <a:pathLst>
                      <a:path w="173" h="218">
                        <a:moveTo>
                          <a:pt x="37" y="0"/>
                        </a:moveTo>
                        <a:cubicBezTo>
                          <a:pt x="35" y="6"/>
                          <a:pt x="32" y="12"/>
                          <a:pt x="28" y="19"/>
                        </a:cubicBezTo>
                        <a:cubicBezTo>
                          <a:pt x="28" y="20"/>
                          <a:pt x="28" y="20"/>
                          <a:pt x="28" y="20"/>
                        </a:cubicBezTo>
                        <a:cubicBezTo>
                          <a:pt x="26" y="23"/>
                          <a:pt x="24" y="27"/>
                          <a:pt x="21" y="30"/>
                        </a:cubicBezTo>
                        <a:cubicBezTo>
                          <a:pt x="16" y="39"/>
                          <a:pt x="10" y="48"/>
                          <a:pt x="10" y="59"/>
                        </a:cubicBezTo>
                        <a:cubicBezTo>
                          <a:pt x="10" y="74"/>
                          <a:pt x="12" y="80"/>
                          <a:pt x="17" y="95"/>
                        </a:cubicBezTo>
                        <a:cubicBezTo>
                          <a:pt x="19" y="99"/>
                          <a:pt x="19" y="99"/>
                          <a:pt x="19" y="99"/>
                        </a:cubicBezTo>
                        <a:cubicBezTo>
                          <a:pt x="19" y="99"/>
                          <a:pt x="19" y="99"/>
                          <a:pt x="19" y="99"/>
                        </a:cubicBezTo>
                        <a:cubicBezTo>
                          <a:pt x="22" y="109"/>
                          <a:pt x="24" y="119"/>
                          <a:pt x="26" y="130"/>
                        </a:cubicBezTo>
                        <a:cubicBezTo>
                          <a:pt x="28" y="140"/>
                          <a:pt x="28" y="150"/>
                          <a:pt x="28" y="160"/>
                        </a:cubicBezTo>
                        <a:cubicBezTo>
                          <a:pt x="28" y="169"/>
                          <a:pt x="24" y="178"/>
                          <a:pt x="19" y="187"/>
                        </a:cubicBezTo>
                        <a:cubicBezTo>
                          <a:pt x="13" y="196"/>
                          <a:pt x="6" y="203"/>
                          <a:pt x="0" y="208"/>
                        </a:cubicBezTo>
                        <a:cubicBezTo>
                          <a:pt x="1" y="208"/>
                          <a:pt x="1" y="208"/>
                          <a:pt x="1" y="208"/>
                        </a:cubicBezTo>
                        <a:cubicBezTo>
                          <a:pt x="6" y="212"/>
                          <a:pt x="12" y="215"/>
                          <a:pt x="19" y="216"/>
                        </a:cubicBezTo>
                        <a:cubicBezTo>
                          <a:pt x="25" y="218"/>
                          <a:pt x="32" y="218"/>
                          <a:pt x="35" y="216"/>
                        </a:cubicBezTo>
                        <a:cubicBezTo>
                          <a:pt x="36" y="216"/>
                          <a:pt x="36" y="216"/>
                          <a:pt x="36" y="216"/>
                        </a:cubicBezTo>
                        <a:cubicBezTo>
                          <a:pt x="44" y="212"/>
                          <a:pt x="60" y="206"/>
                          <a:pt x="68" y="209"/>
                        </a:cubicBezTo>
                        <a:cubicBezTo>
                          <a:pt x="70" y="210"/>
                          <a:pt x="70" y="210"/>
                          <a:pt x="71" y="210"/>
                        </a:cubicBezTo>
                        <a:cubicBezTo>
                          <a:pt x="76" y="213"/>
                          <a:pt x="79" y="214"/>
                          <a:pt x="88" y="214"/>
                        </a:cubicBezTo>
                        <a:cubicBezTo>
                          <a:pt x="93" y="214"/>
                          <a:pt x="99" y="210"/>
                          <a:pt x="104" y="206"/>
                        </a:cubicBezTo>
                        <a:cubicBezTo>
                          <a:pt x="109" y="202"/>
                          <a:pt x="113" y="196"/>
                          <a:pt x="115" y="192"/>
                        </a:cubicBezTo>
                        <a:cubicBezTo>
                          <a:pt x="116" y="184"/>
                          <a:pt x="119" y="178"/>
                          <a:pt x="123" y="169"/>
                        </a:cubicBezTo>
                        <a:cubicBezTo>
                          <a:pt x="125" y="164"/>
                          <a:pt x="127" y="159"/>
                          <a:pt x="129" y="154"/>
                        </a:cubicBezTo>
                        <a:cubicBezTo>
                          <a:pt x="132" y="148"/>
                          <a:pt x="137" y="140"/>
                          <a:pt x="144" y="132"/>
                        </a:cubicBezTo>
                        <a:cubicBezTo>
                          <a:pt x="154" y="119"/>
                          <a:pt x="166" y="107"/>
                          <a:pt x="170" y="103"/>
                        </a:cubicBezTo>
                        <a:cubicBezTo>
                          <a:pt x="172" y="101"/>
                          <a:pt x="173" y="97"/>
                          <a:pt x="173" y="93"/>
                        </a:cubicBezTo>
                        <a:cubicBezTo>
                          <a:pt x="172" y="93"/>
                          <a:pt x="171" y="92"/>
                          <a:pt x="169" y="90"/>
                        </a:cubicBezTo>
                        <a:cubicBezTo>
                          <a:pt x="162" y="82"/>
                          <a:pt x="168" y="81"/>
                          <a:pt x="164" y="75"/>
                        </a:cubicBezTo>
                        <a:cubicBezTo>
                          <a:pt x="159" y="69"/>
                          <a:pt x="158" y="82"/>
                          <a:pt x="153" y="81"/>
                        </a:cubicBezTo>
                        <a:cubicBezTo>
                          <a:pt x="148" y="79"/>
                          <a:pt x="153" y="65"/>
                          <a:pt x="144" y="59"/>
                        </a:cubicBezTo>
                        <a:cubicBezTo>
                          <a:pt x="136" y="52"/>
                          <a:pt x="138" y="58"/>
                          <a:pt x="130" y="52"/>
                        </a:cubicBezTo>
                        <a:cubicBezTo>
                          <a:pt x="121" y="46"/>
                          <a:pt x="127" y="44"/>
                          <a:pt x="124" y="40"/>
                        </a:cubicBezTo>
                        <a:cubicBezTo>
                          <a:pt x="121" y="37"/>
                          <a:pt x="108" y="28"/>
                          <a:pt x="96" y="21"/>
                        </a:cubicBezTo>
                        <a:cubicBezTo>
                          <a:pt x="85" y="13"/>
                          <a:pt x="76" y="9"/>
                          <a:pt x="62" y="7"/>
                        </a:cubicBezTo>
                        <a:cubicBezTo>
                          <a:pt x="55" y="7"/>
                          <a:pt x="45" y="3"/>
                          <a:pt x="37" y="0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52" name="Freeform 23"/>
                  <p:cNvSpPr>
                    <a:spLocks/>
                  </p:cNvSpPr>
                  <p:nvPr/>
                </p:nvSpPr>
                <p:spPr bwMode="auto">
                  <a:xfrm>
                    <a:off x="3325528" y="5201338"/>
                    <a:ext cx="88106" cy="94059"/>
                  </a:xfrm>
                  <a:custGeom>
                    <a:avLst/>
                    <a:gdLst>
                      <a:gd name="T0" fmla="*/ 307 w 307"/>
                      <a:gd name="T1" fmla="*/ 248 h 331"/>
                      <a:gd name="T2" fmla="*/ 299 w 307"/>
                      <a:gd name="T3" fmla="*/ 229 h 331"/>
                      <a:gd name="T4" fmla="*/ 299 w 307"/>
                      <a:gd name="T5" fmla="*/ 219 h 331"/>
                      <a:gd name="T6" fmla="*/ 298 w 307"/>
                      <a:gd name="T7" fmla="*/ 191 h 331"/>
                      <a:gd name="T8" fmla="*/ 296 w 307"/>
                      <a:gd name="T9" fmla="*/ 182 h 331"/>
                      <a:gd name="T10" fmla="*/ 282 w 307"/>
                      <a:gd name="T11" fmla="*/ 142 h 331"/>
                      <a:gd name="T12" fmla="*/ 260 w 307"/>
                      <a:gd name="T13" fmla="*/ 117 h 331"/>
                      <a:gd name="T14" fmla="*/ 248 w 307"/>
                      <a:gd name="T15" fmla="*/ 105 h 331"/>
                      <a:gd name="T16" fmla="*/ 233 w 307"/>
                      <a:gd name="T17" fmla="*/ 93 h 331"/>
                      <a:gd name="T18" fmla="*/ 215 w 307"/>
                      <a:gd name="T19" fmla="*/ 84 h 331"/>
                      <a:gd name="T20" fmla="*/ 195 w 307"/>
                      <a:gd name="T21" fmla="*/ 74 h 331"/>
                      <a:gd name="T22" fmla="*/ 183 w 307"/>
                      <a:gd name="T23" fmla="*/ 61 h 331"/>
                      <a:gd name="T24" fmla="*/ 182 w 307"/>
                      <a:gd name="T25" fmla="*/ 59 h 331"/>
                      <a:gd name="T26" fmla="*/ 177 w 307"/>
                      <a:gd name="T27" fmla="*/ 54 h 331"/>
                      <a:gd name="T28" fmla="*/ 177 w 307"/>
                      <a:gd name="T29" fmla="*/ 54 h 331"/>
                      <a:gd name="T30" fmla="*/ 173 w 307"/>
                      <a:gd name="T31" fmla="*/ 55 h 331"/>
                      <a:gd name="T32" fmla="*/ 173 w 307"/>
                      <a:gd name="T33" fmla="*/ 55 h 331"/>
                      <a:gd name="T34" fmla="*/ 171 w 307"/>
                      <a:gd name="T35" fmla="*/ 56 h 331"/>
                      <a:gd name="T36" fmla="*/ 158 w 307"/>
                      <a:gd name="T37" fmla="*/ 63 h 331"/>
                      <a:gd name="T38" fmla="*/ 143 w 307"/>
                      <a:gd name="T39" fmla="*/ 46 h 331"/>
                      <a:gd name="T40" fmla="*/ 142 w 307"/>
                      <a:gd name="T41" fmla="*/ 42 h 331"/>
                      <a:gd name="T42" fmla="*/ 142 w 307"/>
                      <a:gd name="T43" fmla="*/ 42 h 331"/>
                      <a:gd name="T44" fmla="*/ 130 w 307"/>
                      <a:gd name="T45" fmla="*/ 30 h 331"/>
                      <a:gd name="T46" fmla="*/ 118 w 307"/>
                      <a:gd name="T47" fmla="*/ 18 h 331"/>
                      <a:gd name="T48" fmla="*/ 105 w 307"/>
                      <a:gd name="T49" fmla="*/ 5 h 331"/>
                      <a:gd name="T50" fmla="*/ 95 w 307"/>
                      <a:gd name="T51" fmla="*/ 0 h 331"/>
                      <a:gd name="T52" fmla="*/ 91 w 307"/>
                      <a:gd name="T53" fmla="*/ 3 h 331"/>
                      <a:gd name="T54" fmla="*/ 73 w 307"/>
                      <a:gd name="T55" fmla="*/ 9 h 331"/>
                      <a:gd name="T56" fmla="*/ 54 w 307"/>
                      <a:gd name="T57" fmla="*/ 1 h 331"/>
                      <a:gd name="T58" fmla="*/ 47 w 307"/>
                      <a:gd name="T59" fmla="*/ 11 h 331"/>
                      <a:gd name="T60" fmla="*/ 40 w 307"/>
                      <a:gd name="T61" fmla="*/ 30 h 331"/>
                      <a:gd name="T62" fmla="*/ 34 w 307"/>
                      <a:gd name="T63" fmla="*/ 74 h 331"/>
                      <a:gd name="T64" fmla="*/ 34 w 307"/>
                      <a:gd name="T65" fmla="*/ 74 h 331"/>
                      <a:gd name="T66" fmla="*/ 34 w 307"/>
                      <a:gd name="T67" fmla="*/ 74 h 331"/>
                      <a:gd name="T68" fmla="*/ 34 w 307"/>
                      <a:gd name="T69" fmla="*/ 74 h 331"/>
                      <a:gd name="T70" fmla="*/ 30 w 307"/>
                      <a:gd name="T71" fmla="*/ 91 h 331"/>
                      <a:gd name="T72" fmla="*/ 21 w 307"/>
                      <a:gd name="T73" fmla="*/ 118 h 331"/>
                      <a:gd name="T74" fmla="*/ 19 w 307"/>
                      <a:gd name="T75" fmla="*/ 151 h 331"/>
                      <a:gd name="T76" fmla="*/ 20 w 307"/>
                      <a:gd name="T77" fmla="*/ 154 h 331"/>
                      <a:gd name="T78" fmla="*/ 20 w 307"/>
                      <a:gd name="T79" fmla="*/ 160 h 331"/>
                      <a:gd name="T80" fmla="*/ 20 w 307"/>
                      <a:gd name="T81" fmla="*/ 202 h 331"/>
                      <a:gd name="T82" fmla="*/ 14 w 307"/>
                      <a:gd name="T83" fmla="*/ 211 h 331"/>
                      <a:gd name="T84" fmla="*/ 7 w 307"/>
                      <a:gd name="T85" fmla="*/ 217 h 331"/>
                      <a:gd name="T86" fmla="*/ 3 w 307"/>
                      <a:gd name="T87" fmla="*/ 231 h 331"/>
                      <a:gd name="T88" fmla="*/ 3 w 307"/>
                      <a:gd name="T89" fmla="*/ 249 h 331"/>
                      <a:gd name="T90" fmla="*/ 14 w 307"/>
                      <a:gd name="T91" fmla="*/ 273 h 331"/>
                      <a:gd name="T92" fmla="*/ 33 w 307"/>
                      <a:gd name="T93" fmla="*/ 289 h 331"/>
                      <a:gd name="T94" fmla="*/ 44 w 307"/>
                      <a:gd name="T95" fmla="*/ 295 h 331"/>
                      <a:gd name="T96" fmla="*/ 68 w 307"/>
                      <a:gd name="T97" fmla="*/ 296 h 331"/>
                      <a:gd name="T98" fmla="*/ 97 w 307"/>
                      <a:gd name="T99" fmla="*/ 303 h 331"/>
                      <a:gd name="T100" fmla="*/ 131 w 307"/>
                      <a:gd name="T101" fmla="*/ 320 h 331"/>
                      <a:gd name="T102" fmla="*/ 162 w 307"/>
                      <a:gd name="T103" fmla="*/ 322 h 331"/>
                      <a:gd name="T104" fmla="*/ 184 w 307"/>
                      <a:gd name="T105" fmla="*/ 321 h 331"/>
                      <a:gd name="T106" fmla="*/ 201 w 307"/>
                      <a:gd name="T107" fmla="*/ 327 h 331"/>
                      <a:gd name="T108" fmla="*/ 225 w 307"/>
                      <a:gd name="T109" fmla="*/ 325 h 331"/>
                      <a:gd name="T110" fmla="*/ 252 w 307"/>
                      <a:gd name="T111" fmla="*/ 316 h 331"/>
                      <a:gd name="T112" fmla="*/ 255 w 307"/>
                      <a:gd name="T113" fmla="*/ 302 h 331"/>
                      <a:gd name="T114" fmla="*/ 265 w 307"/>
                      <a:gd name="T115" fmla="*/ 295 h 331"/>
                      <a:gd name="T116" fmla="*/ 290 w 307"/>
                      <a:gd name="T117" fmla="*/ 287 h 331"/>
                      <a:gd name="T118" fmla="*/ 300 w 307"/>
                      <a:gd name="T119" fmla="*/ 262 h 331"/>
                      <a:gd name="T120" fmla="*/ 307 w 307"/>
                      <a:gd name="T121" fmla="*/ 248 h 3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307" h="331">
                        <a:moveTo>
                          <a:pt x="307" y="248"/>
                        </a:moveTo>
                        <a:cubicBezTo>
                          <a:pt x="302" y="243"/>
                          <a:pt x="299" y="237"/>
                          <a:pt x="299" y="229"/>
                        </a:cubicBezTo>
                        <a:cubicBezTo>
                          <a:pt x="299" y="225"/>
                          <a:pt x="299" y="222"/>
                          <a:pt x="299" y="219"/>
                        </a:cubicBezTo>
                        <a:cubicBezTo>
                          <a:pt x="300" y="213"/>
                          <a:pt x="301" y="207"/>
                          <a:pt x="298" y="191"/>
                        </a:cubicBezTo>
                        <a:cubicBezTo>
                          <a:pt x="297" y="189"/>
                          <a:pt x="297" y="185"/>
                          <a:pt x="296" y="182"/>
                        </a:cubicBezTo>
                        <a:cubicBezTo>
                          <a:pt x="293" y="164"/>
                          <a:pt x="291" y="157"/>
                          <a:pt x="282" y="142"/>
                        </a:cubicBezTo>
                        <a:cubicBezTo>
                          <a:pt x="276" y="131"/>
                          <a:pt x="268" y="124"/>
                          <a:pt x="260" y="117"/>
                        </a:cubicBezTo>
                        <a:cubicBezTo>
                          <a:pt x="256" y="113"/>
                          <a:pt x="252" y="109"/>
                          <a:pt x="248" y="105"/>
                        </a:cubicBezTo>
                        <a:cubicBezTo>
                          <a:pt x="243" y="100"/>
                          <a:pt x="238" y="96"/>
                          <a:pt x="233" y="93"/>
                        </a:cubicBezTo>
                        <a:cubicBezTo>
                          <a:pt x="227" y="88"/>
                          <a:pt x="220" y="86"/>
                          <a:pt x="215" y="84"/>
                        </a:cubicBezTo>
                        <a:cubicBezTo>
                          <a:pt x="210" y="82"/>
                          <a:pt x="202" y="79"/>
                          <a:pt x="195" y="74"/>
                        </a:cubicBezTo>
                        <a:cubicBezTo>
                          <a:pt x="190" y="70"/>
                          <a:pt x="186" y="66"/>
                          <a:pt x="183" y="61"/>
                        </a:cubicBezTo>
                        <a:cubicBezTo>
                          <a:pt x="183" y="60"/>
                          <a:pt x="182" y="59"/>
                          <a:pt x="182" y="59"/>
                        </a:cubicBezTo>
                        <a:cubicBezTo>
                          <a:pt x="180" y="56"/>
                          <a:pt x="178" y="55"/>
                          <a:pt x="177" y="54"/>
                        </a:cubicBezTo>
                        <a:cubicBezTo>
                          <a:pt x="177" y="54"/>
                          <a:pt x="177" y="54"/>
                          <a:pt x="177" y="54"/>
                        </a:cubicBezTo>
                        <a:cubicBezTo>
                          <a:pt x="175" y="54"/>
                          <a:pt x="174" y="54"/>
                          <a:pt x="173" y="55"/>
                        </a:cubicBezTo>
                        <a:cubicBezTo>
                          <a:pt x="173" y="55"/>
                          <a:pt x="173" y="55"/>
                          <a:pt x="173" y="55"/>
                        </a:cubicBezTo>
                        <a:cubicBezTo>
                          <a:pt x="172" y="55"/>
                          <a:pt x="172" y="55"/>
                          <a:pt x="171" y="56"/>
                        </a:cubicBezTo>
                        <a:cubicBezTo>
                          <a:pt x="168" y="58"/>
                          <a:pt x="164" y="62"/>
                          <a:pt x="158" y="63"/>
                        </a:cubicBezTo>
                        <a:cubicBezTo>
                          <a:pt x="148" y="65"/>
                          <a:pt x="146" y="55"/>
                          <a:pt x="143" y="46"/>
                        </a:cubicBezTo>
                        <a:cubicBezTo>
                          <a:pt x="143" y="45"/>
                          <a:pt x="142" y="43"/>
                          <a:pt x="142" y="42"/>
                        </a:cubicBezTo>
                        <a:cubicBezTo>
                          <a:pt x="142" y="42"/>
                          <a:pt x="142" y="42"/>
                          <a:pt x="142" y="42"/>
                        </a:cubicBezTo>
                        <a:cubicBezTo>
                          <a:pt x="141" y="39"/>
                          <a:pt x="136" y="35"/>
                          <a:pt x="130" y="30"/>
                        </a:cubicBezTo>
                        <a:cubicBezTo>
                          <a:pt x="126" y="26"/>
                          <a:pt x="121" y="22"/>
                          <a:pt x="118" y="18"/>
                        </a:cubicBezTo>
                        <a:cubicBezTo>
                          <a:pt x="114" y="13"/>
                          <a:pt x="109" y="9"/>
                          <a:pt x="105" y="5"/>
                        </a:cubicBezTo>
                        <a:cubicBezTo>
                          <a:pt x="101" y="2"/>
                          <a:pt x="97" y="0"/>
                          <a:pt x="95" y="0"/>
                        </a:cubicBezTo>
                        <a:cubicBezTo>
                          <a:pt x="94" y="0"/>
                          <a:pt x="93" y="1"/>
                          <a:pt x="91" y="3"/>
                        </a:cubicBezTo>
                        <a:cubicBezTo>
                          <a:pt x="87" y="7"/>
                          <a:pt x="82" y="12"/>
                          <a:pt x="73" y="9"/>
                        </a:cubicBezTo>
                        <a:cubicBezTo>
                          <a:pt x="65" y="7"/>
                          <a:pt x="58" y="3"/>
                          <a:pt x="54" y="1"/>
                        </a:cubicBezTo>
                        <a:cubicBezTo>
                          <a:pt x="52" y="4"/>
                          <a:pt x="50" y="7"/>
                          <a:pt x="47" y="11"/>
                        </a:cubicBezTo>
                        <a:cubicBezTo>
                          <a:pt x="42" y="19"/>
                          <a:pt x="39" y="27"/>
                          <a:pt x="40" y="30"/>
                        </a:cubicBezTo>
                        <a:cubicBezTo>
                          <a:pt x="43" y="45"/>
                          <a:pt x="40" y="55"/>
                          <a:pt x="34" y="74"/>
                        </a:cubicBezTo>
                        <a:cubicBezTo>
                          <a:pt x="34" y="74"/>
                          <a:pt x="34" y="74"/>
                          <a:pt x="34" y="74"/>
                        </a:cubicBezTo>
                        <a:cubicBezTo>
                          <a:pt x="34" y="74"/>
                          <a:pt x="34" y="74"/>
                          <a:pt x="34" y="74"/>
                        </a:cubicBezTo>
                        <a:cubicBezTo>
                          <a:pt x="34" y="74"/>
                          <a:pt x="34" y="74"/>
                          <a:pt x="34" y="74"/>
                        </a:cubicBezTo>
                        <a:cubicBezTo>
                          <a:pt x="33" y="80"/>
                          <a:pt x="31" y="86"/>
                          <a:pt x="30" y="91"/>
                        </a:cubicBezTo>
                        <a:cubicBezTo>
                          <a:pt x="27" y="103"/>
                          <a:pt x="24" y="112"/>
                          <a:pt x="21" y="118"/>
                        </a:cubicBezTo>
                        <a:cubicBezTo>
                          <a:pt x="17" y="124"/>
                          <a:pt x="18" y="132"/>
                          <a:pt x="19" y="151"/>
                        </a:cubicBezTo>
                        <a:cubicBezTo>
                          <a:pt x="20" y="154"/>
                          <a:pt x="20" y="154"/>
                          <a:pt x="20" y="154"/>
                        </a:cubicBezTo>
                        <a:cubicBezTo>
                          <a:pt x="20" y="160"/>
                          <a:pt x="20" y="160"/>
                          <a:pt x="20" y="160"/>
                        </a:cubicBezTo>
                        <a:cubicBezTo>
                          <a:pt x="21" y="179"/>
                          <a:pt x="23" y="196"/>
                          <a:pt x="20" y="202"/>
                        </a:cubicBezTo>
                        <a:cubicBezTo>
                          <a:pt x="18" y="205"/>
                          <a:pt x="16" y="208"/>
                          <a:pt x="14" y="211"/>
                        </a:cubicBezTo>
                        <a:cubicBezTo>
                          <a:pt x="12" y="213"/>
                          <a:pt x="9" y="216"/>
                          <a:pt x="7" y="217"/>
                        </a:cubicBezTo>
                        <a:cubicBezTo>
                          <a:pt x="6" y="221"/>
                          <a:pt x="5" y="226"/>
                          <a:pt x="3" y="231"/>
                        </a:cubicBezTo>
                        <a:cubicBezTo>
                          <a:pt x="0" y="240"/>
                          <a:pt x="3" y="242"/>
                          <a:pt x="3" y="249"/>
                        </a:cubicBezTo>
                        <a:cubicBezTo>
                          <a:pt x="3" y="255"/>
                          <a:pt x="9" y="266"/>
                          <a:pt x="14" y="273"/>
                        </a:cubicBezTo>
                        <a:cubicBezTo>
                          <a:pt x="19" y="280"/>
                          <a:pt x="30" y="285"/>
                          <a:pt x="33" y="289"/>
                        </a:cubicBezTo>
                        <a:cubicBezTo>
                          <a:pt x="36" y="294"/>
                          <a:pt x="37" y="293"/>
                          <a:pt x="44" y="295"/>
                        </a:cubicBezTo>
                        <a:cubicBezTo>
                          <a:pt x="50" y="297"/>
                          <a:pt x="62" y="296"/>
                          <a:pt x="68" y="296"/>
                        </a:cubicBezTo>
                        <a:cubicBezTo>
                          <a:pt x="74" y="296"/>
                          <a:pt x="90" y="299"/>
                          <a:pt x="97" y="303"/>
                        </a:cubicBezTo>
                        <a:cubicBezTo>
                          <a:pt x="103" y="307"/>
                          <a:pt x="117" y="312"/>
                          <a:pt x="131" y="320"/>
                        </a:cubicBezTo>
                        <a:cubicBezTo>
                          <a:pt x="145" y="329"/>
                          <a:pt x="154" y="324"/>
                          <a:pt x="162" y="322"/>
                        </a:cubicBezTo>
                        <a:cubicBezTo>
                          <a:pt x="170" y="321"/>
                          <a:pt x="177" y="321"/>
                          <a:pt x="184" y="321"/>
                        </a:cubicBezTo>
                        <a:cubicBezTo>
                          <a:pt x="192" y="321"/>
                          <a:pt x="196" y="323"/>
                          <a:pt x="201" y="327"/>
                        </a:cubicBezTo>
                        <a:cubicBezTo>
                          <a:pt x="207" y="331"/>
                          <a:pt x="219" y="330"/>
                          <a:pt x="225" y="325"/>
                        </a:cubicBezTo>
                        <a:cubicBezTo>
                          <a:pt x="231" y="319"/>
                          <a:pt x="244" y="321"/>
                          <a:pt x="252" y="316"/>
                        </a:cubicBezTo>
                        <a:cubicBezTo>
                          <a:pt x="259" y="312"/>
                          <a:pt x="253" y="308"/>
                          <a:pt x="255" y="302"/>
                        </a:cubicBezTo>
                        <a:cubicBezTo>
                          <a:pt x="257" y="295"/>
                          <a:pt x="264" y="298"/>
                          <a:pt x="265" y="295"/>
                        </a:cubicBezTo>
                        <a:cubicBezTo>
                          <a:pt x="267" y="292"/>
                          <a:pt x="285" y="291"/>
                          <a:pt x="290" y="287"/>
                        </a:cubicBezTo>
                        <a:cubicBezTo>
                          <a:pt x="295" y="284"/>
                          <a:pt x="298" y="273"/>
                          <a:pt x="300" y="262"/>
                        </a:cubicBezTo>
                        <a:cubicBezTo>
                          <a:pt x="301" y="257"/>
                          <a:pt x="304" y="252"/>
                          <a:pt x="307" y="248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53" name="Freeform 24"/>
                  <p:cNvSpPr>
                    <a:spLocks noEditPoints="1"/>
                  </p:cNvSpPr>
                  <p:nvPr/>
                </p:nvSpPr>
                <p:spPr bwMode="auto">
                  <a:xfrm>
                    <a:off x="3058828" y="5042985"/>
                    <a:ext cx="350044" cy="628650"/>
                  </a:xfrm>
                  <a:custGeom>
                    <a:avLst/>
                    <a:gdLst>
                      <a:gd name="T0" fmla="*/ 968 w 1221"/>
                      <a:gd name="T1" fmla="*/ 873 h 2193"/>
                      <a:gd name="T2" fmla="*/ 1026 w 1221"/>
                      <a:gd name="T3" fmla="*/ 977 h 2193"/>
                      <a:gd name="T4" fmla="*/ 933 w 1221"/>
                      <a:gd name="T5" fmla="*/ 1129 h 2193"/>
                      <a:gd name="T6" fmla="*/ 700 w 1221"/>
                      <a:gd name="T7" fmla="*/ 1198 h 2193"/>
                      <a:gd name="T8" fmla="*/ 662 w 1221"/>
                      <a:gd name="T9" fmla="*/ 1316 h 2193"/>
                      <a:gd name="T10" fmla="*/ 519 w 1221"/>
                      <a:gd name="T11" fmla="*/ 1324 h 2193"/>
                      <a:gd name="T12" fmla="*/ 538 w 1221"/>
                      <a:gd name="T13" fmla="*/ 1453 h 2193"/>
                      <a:gd name="T14" fmla="*/ 509 w 1221"/>
                      <a:gd name="T15" fmla="*/ 1564 h 2193"/>
                      <a:gd name="T16" fmla="*/ 390 w 1221"/>
                      <a:gd name="T17" fmla="*/ 1647 h 2193"/>
                      <a:gd name="T18" fmla="*/ 449 w 1221"/>
                      <a:gd name="T19" fmla="*/ 1775 h 2193"/>
                      <a:gd name="T20" fmla="*/ 473 w 1221"/>
                      <a:gd name="T21" fmla="*/ 1842 h 2193"/>
                      <a:gd name="T22" fmla="*/ 357 w 1221"/>
                      <a:gd name="T23" fmla="*/ 1964 h 2193"/>
                      <a:gd name="T24" fmla="*/ 295 w 1221"/>
                      <a:gd name="T25" fmla="*/ 1999 h 2193"/>
                      <a:gd name="T26" fmla="*/ 273 w 1221"/>
                      <a:gd name="T27" fmla="*/ 2050 h 2193"/>
                      <a:gd name="T28" fmla="*/ 273 w 1221"/>
                      <a:gd name="T29" fmla="*/ 2133 h 2193"/>
                      <a:gd name="T30" fmla="*/ 306 w 1221"/>
                      <a:gd name="T31" fmla="*/ 2193 h 2193"/>
                      <a:gd name="T32" fmla="*/ 91 w 1221"/>
                      <a:gd name="T33" fmla="*/ 2156 h 2193"/>
                      <a:gd name="T34" fmla="*/ 70 w 1221"/>
                      <a:gd name="T35" fmla="*/ 2088 h 2193"/>
                      <a:gd name="T36" fmla="*/ 16 w 1221"/>
                      <a:gd name="T37" fmla="*/ 2059 h 2193"/>
                      <a:gd name="T38" fmla="*/ 10 w 1221"/>
                      <a:gd name="T39" fmla="*/ 1954 h 2193"/>
                      <a:gd name="T40" fmla="*/ 63 w 1221"/>
                      <a:gd name="T41" fmla="*/ 1883 h 2193"/>
                      <a:gd name="T42" fmla="*/ 85 w 1221"/>
                      <a:gd name="T43" fmla="*/ 1801 h 2193"/>
                      <a:gd name="T44" fmla="*/ 109 w 1221"/>
                      <a:gd name="T45" fmla="*/ 1733 h 2193"/>
                      <a:gd name="T46" fmla="*/ 114 w 1221"/>
                      <a:gd name="T47" fmla="*/ 1662 h 2193"/>
                      <a:gd name="T48" fmla="*/ 103 w 1221"/>
                      <a:gd name="T49" fmla="*/ 1611 h 2193"/>
                      <a:gd name="T50" fmla="*/ 145 w 1221"/>
                      <a:gd name="T51" fmla="*/ 1585 h 2193"/>
                      <a:gd name="T52" fmla="*/ 113 w 1221"/>
                      <a:gd name="T53" fmla="*/ 1532 h 2193"/>
                      <a:gd name="T54" fmla="*/ 101 w 1221"/>
                      <a:gd name="T55" fmla="*/ 1470 h 2193"/>
                      <a:gd name="T56" fmla="*/ 89 w 1221"/>
                      <a:gd name="T57" fmla="*/ 1409 h 2193"/>
                      <a:gd name="T58" fmla="*/ 102 w 1221"/>
                      <a:gd name="T59" fmla="*/ 1333 h 2193"/>
                      <a:gd name="T60" fmla="*/ 110 w 1221"/>
                      <a:gd name="T61" fmla="*/ 1246 h 2193"/>
                      <a:gd name="T62" fmla="*/ 133 w 1221"/>
                      <a:gd name="T63" fmla="*/ 1163 h 2193"/>
                      <a:gd name="T64" fmla="*/ 154 w 1221"/>
                      <a:gd name="T65" fmla="*/ 1000 h 2193"/>
                      <a:gd name="T66" fmla="*/ 192 w 1221"/>
                      <a:gd name="T67" fmla="*/ 934 h 2193"/>
                      <a:gd name="T68" fmla="*/ 209 w 1221"/>
                      <a:gd name="T69" fmla="*/ 848 h 2193"/>
                      <a:gd name="T70" fmla="*/ 228 w 1221"/>
                      <a:gd name="T71" fmla="*/ 772 h 2193"/>
                      <a:gd name="T72" fmla="*/ 198 w 1221"/>
                      <a:gd name="T73" fmla="*/ 692 h 2193"/>
                      <a:gd name="T74" fmla="*/ 187 w 1221"/>
                      <a:gd name="T75" fmla="*/ 626 h 2193"/>
                      <a:gd name="T76" fmla="*/ 214 w 1221"/>
                      <a:gd name="T77" fmla="*/ 567 h 2193"/>
                      <a:gd name="T78" fmla="*/ 218 w 1221"/>
                      <a:gd name="T79" fmla="*/ 488 h 2193"/>
                      <a:gd name="T80" fmla="*/ 299 w 1221"/>
                      <a:gd name="T81" fmla="*/ 350 h 2193"/>
                      <a:gd name="T82" fmla="*/ 312 w 1221"/>
                      <a:gd name="T83" fmla="*/ 218 h 2193"/>
                      <a:gd name="T84" fmla="*/ 374 w 1221"/>
                      <a:gd name="T85" fmla="*/ 148 h 2193"/>
                      <a:gd name="T86" fmla="*/ 441 w 1221"/>
                      <a:gd name="T87" fmla="*/ 21 h 2193"/>
                      <a:gd name="T88" fmla="*/ 512 w 1221"/>
                      <a:gd name="T89" fmla="*/ 22 h 2193"/>
                      <a:gd name="T90" fmla="*/ 654 w 1221"/>
                      <a:gd name="T91" fmla="*/ 14 h 2193"/>
                      <a:gd name="T92" fmla="*/ 827 w 1221"/>
                      <a:gd name="T93" fmla="*/ 146 h 2193"/>
                      <a:gd name="T94" fmla="*/ 959 w 1221"/>
                      <a:gd name="T95" fmla="*/ 268 h 2193"/>
                      <a:gd name="T96" fmla="*/ 972 w 1221"/>
                      <a:gd name="T97" fmla="*/ 362 h 2193"/>
                      <a:gd name="T98" fmla="*/ 1084 w 1221"/>
                      <a:gd name="T99" fmla="*/ 368 h 2193"/>
                      <a:gd name="T100" fmla="*/ 1170 w 1221"/>
                      <a:gd name="T101" fmla="*/ 268 h 2193"/>
                      <a:gd name="T102" fmla="*/ 1191 w 1221"/>
                      <a:gd name="T103" fmla="*/ 358 h 2193"/>
                      <a:gd name="T104" fmla="*/ 1092 w 1221"/>
                      <a:gd name="T105" fmla="*/ 426 h 2193"/>
                      <a:gd name="T106" fmla="*/ 957 w 1221"/>
                      <a:gd name="T107" fmla="*/ 624 h 2193"/>
                      <a:gd name="T108" fmla="*/ 942 w 1221"/>
                      <a:gd name="T109" fmla="*/ 713 h 2193"/>
                      <a:gd name="T110" fmla="*/ 572 w 1221"/>
                      <a:gd name="T111" fmla="*/ 1440 h 21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1221" h="2193">
                        <a:moveTo>
                          <a:pt x="938" y="758"/>
                        </a:moveTo>
                        <a:cubicBezTo>
                          <a:pt x="937" y="755"/>
                          <a:pt x="936" y="753"/>
                          <a:pt x="933" y="755"/>
                        </a:cubicBezTo>
                        <a:cubicBezTo>
                          <a:pt x="930" y="759"/>
                          <a:pt x="923" y="769"/>
                          <a:pt x="922" y="780"/>
                        </a:cubicBezTo>
                        <a:cubicBezTo>
                          <a:pt x="922" y="792"/>
                          <a:pt x="922" y="797"/>
                          <a:pt x="922" y="810"/>
                        </a:cubicBezTo>
                        <a:cubicBezTo>
                          <a:pt x="923" y="822"/>
                          <a:pt x="922" y="829"/>
                          <a:pt x="922" y="838"/>
                        </a:cubicBezTo>
                        <a:cubicBezTo>
                          <a:pt x="922" y="847"/>
                          <a:pt x="924" y="849"/>
                          <a:pt x="931" y="855"/>
                        </a:cubicBezTo>
                        <a:cubicBezTo>
                          <a:pt x="938" y="860"/>
                          <a:pt x="943" y="866"/>
                          <a:pt x="949" y="868"/>
                        </a:cubicBezTo>
                        <a:cubicBezTo>
                          <a:pt x="956" y="870"/>
                          <a:pt x="959" y="867"/>
                          <a:pt x="968" y="873"/>
                        </a:cubicBezTo>
                        <a:cubicBezTo>
                          <a:pt x="977" y="879"/>
                          <a:pt x="979" y="879"/>
                          <a:pt x="987" y="889"/>
                        </a:cubicBezTo>
                        <a:cubicBezTo>
                          <a:pt x="994" y="900"/>
                          <a:pt x="996" y="901"/>
                          <a:pt x="1005" y="908"/>
                        </a:cubicBezTo>
                        <a:cubicBezTo>
                          <a:pt x="1013" y="916"/>
                          <a:pt x="1005" y="922"/>
                          <a:pt x="1003" y="928"/>
                        </a:cubicBezTo>
                        <a:cubicBezTo>
                          <a:pt x="1000" y="933"/>
                          <a:pt x="999" y="932"/>
                          <a:pt x="999" y="939"/>
                        </a:cubicBezTo>
                        <a:cubicBezTo>
                          <a:pt x="999" y="946"/>
                          <a:pt x="1000" y="951"/>
                          <a:pt x="1002" y="956"/>
                        </a:cubicBezTo>
                        <a:cubicBezTo>
                          <a:pt x="1004" y="961"/>
                          <a:pt x="1001" y="962"/>
                          <a:pt x="1005" y="969"/>
                        </a:cubicBezTo>
                        <a:cubicBezTo>
                          <a:pt x="1010" y="975"/>
                          <a:pt x="1009" y="974"/>
                          <a:pt x="1014" y="975"/>
                        </a:cubicBezTo>
                        <a:cubicBezTo>
                          <a:pt x="1020" y="976"/>
                          <a:pt x="1021" y="973"/>
                          <a:pt x="1026" y="977"/>
                        </a:cubicBezTo>
                        <a:cubicBezTo>
                          <a:pt x="1031" y="981"/>
                          <a:pt x="1034" y="983"/>
                          <a:pt x="1035" y="987"/>
                        </a:cubicBezTo>
                        <a:cubicBezTo>
                          <a:pt x="1036" y="991"/>
                          <a:pt x="1034" y="993"/>
                          <a:pt x="1036" y="1000"/>
                        </a:cubicBezTo>
                        <a:cubicBezTo>
                          <a:pt x="1039" y="1007"/>
                          <a:pt x="1036" y="1015"/>
                          <a:pt x="1035" y="1021"/>
                        </a:cubicBezTo>
                        <a:cubicBezTo>
                          <a:pt x="1034" y="1027"/>
                          <a:pt x="1031" y="1034"/>
                          <a:pt x="1025" y="1041"/>
                        </a:cubicBezTo>
                        <a:cubicBezTo>
                          <a:pt x="1019" y="1048"/>
                          <a:pt x="1010" y="1058"/>
                          <a:pt x="1003" y="1070"/>
                        </a:cubicBezTo>
                        <a:cubicBezTo>
                          <a:pt x="996" y="1082"/>
                          <a:pt x="990" y="1087"/>
                          <a:pt x="985" y="1096"/>
                        </a:cubicBezTo>
                        <a:cubicBezTo>
                          <a:pt x="979" y="1105"/>
                          <a:pt x="972" y="1112"/>
                          <a:pt x="965" y="1117"/>
                        </a:cubicBezTo>
                        <a:cubicBezTo>
                          <a:pt x="958" y="1122"/>
                          <a:pt x="943" y="1127"/>
                          <a:pt x="933" y="1129"/>
                        </a:cubicBezTo>
                        <a:cubicBezTo>
                          <a:pt x="924" y="1132"/>
                          <a:pt x="890" y="1142"/>
                          <a:pt x="881" y="1145"/>
                        </a:cubicBezTo>
                        <a:cubicBezTo>
                          <a:pt x="872" y="1149"/>
                          <a:pt x="844" y="1157"/>
                          <a:pt x="832" y="1159"/>
                        </a:cubicBezTo>
                        <a:cubicBezTo>
                          <a:pt x="820" y="1160"/>
                          <a:pt x="783" y="1167"/>
                          <a:pt x="770" y="1167"/>
                        </a:cubicBezTo>
                        <a:cubicBezTo>
                          <a:pt x="758" y="1166"/>
                          <a:pt x="741" y="1167"/>
                          <a:pt x="734" y="1164"/>
                        </a:cubicBezTo>
                        <a:cubicBezTo>
                          <a:pt x="727" y="1160"/>
                          <a:pt x="713" y="1159"/>
                          <a:pt x="701" y="1157"/>
                        </a:cubicBezTo>
                        <a:cubicBezTo>
                          <a:pt x="690" y="1154"/>
                          <a:pt x="687" y="1150"/>
                          <a:pt x="687" y="1159"/>
                        </a:cubicBezTo>
                        <a:cubicBezTo>
                          <a:pt x="686" y="1167"/>
                          <a:pt x="688" y="1174"/>
                          <a:pt x="691" y="1182"/>
                        </a:cubicBezTo>
                        <a:cubicBezTo>
                          <a:pt x="694" y="1189"/>
                          <a:pt x="695" y="1191"/>
                          <a:pt x="700" y="1198"/>
                        </a:cubicBezTo>
                        <a:cubicBezTo>
                          <a:pt x="705" y="1205"/>
                          <a:pt x="706" y="1205"/>
                          <a:pt x="704" y="1209"/>
                        </a:cubicBezTo>
                        <a:cubicBezTo>
                          <a:pt x="703" y="1214"/>
                          <a:pt x="694" y="1220"/>
                          <a:pt x="690" y="1226"/>
                        </a:cubicBezTo>
                        <a:cubicBezTo>
                          <a:pt x="687" y="1232"/>
                          <a:pt x="688" y="1239"/>
                          <a:pt x="684" y="1246"/>
                        </a:cubicBezTo>
                        <a:cubicBezTo>
                          <a:pt x="681" y="1252"/>
                          <a:pt x="676" y="1256"/>
                          <a:pt x="677" y="1261"/>
                        </a:cubicBezTo>
                        <a:cubicBezTo>
                          <a:pt x="677" y="1266"/>
                          <a:pt x="678" y="1268"/>
                          <a:pt x="685" y="1274"/>
                        </a:cubicBezTo>
                        <a:cubicBezTo>
                          <a:pt x="692" y="1281"/>
                          <a:pt x="698" y="1282"/>
                          <a:pt x="698" y="1288"/>
                        </a:cubicBezTo>
                        <a:cubicBezTo>
                          <a:pt x="699" y="1293"/>
                          <a:pt x="693" y="1299"/>
                          <a:pt x="689" y="1303"/>
                        </a:cubicBezTo>
                        <a:cubicBezTo>
                          <a:pt x="685" y="1307"/>
                          <a:pt x="669" y="1313"/>
                          <a:pt x="662" y="1316"/>
                        </a:cubicBezTo>
                        <a:cubicBezTo>
                          <a:pt x="654" y="1319"/>
                          <a:pt x="642" y="1325"/>
                          <a:pt x="637" y="1326"/>
                        </a:cubicBezTo>
                        <a:cubicBezTo>
                          <a:pt x="631" y="1326"/>
                          <a:pt x="605" y="1328"/>
                          <a:pt x="600" y="1326"/>
                        </a:cubicBezTo>
                        <a:cubicBezTo>
                          <a:pt x="595" y="1324"/>
                          <a:pt x="586" y="1321"/>
                          <a:pt x="580" y="1318"/>
                        </a:cubicBezTo>
                        <a:cubicBezTo>
                          <a:pt x="573" y="1315"/>
                          <a:pt x="567" y="1311"/>
                          <a:pt x="555" y="1307"/>
                        </a:cubicBezTo>
                        <a:cubicBezTo>
                          <a:pt x="543" y="1303"/>
                          <a:pt x="538" y="1302"/>
                          <a:pt x="534" y="1298"/>
                        </a:cubicBezTo>
                        <a:cubicBezTo>
                          <a:pt x="531" y="1294"/>
                          <a:pt x="527" y="1294"/>
                          <a:pt x="523" y="1297"/>
                        </a:cubicBezTo>
                        <a:cubicBezTo>
                          <a:pt x="520" y="1300"/>
                          <a:pt x="516" y="1304"/>
                          <a:pt x="516" y="1307"/>
                        </a:cubicBezTo>
                        <a:cubicBezTo>
                          <a:pt x="516" y="1310"/>
                          <a:pt x="517" y="1317"/>
                          <a:pt x="519" y="1324"/>
                        </a:cubicBezTo>
                        <a:cubicBezTo>
                          <a:pt x="521" y="1331"/>
                          <a:pt x="524" y="1347"/>
                          <a:pt x="524" y="1358"/>
                        </a:cubicBezTo>
                        <a:cubicBezTo>
                          <a:pt x="523" y="1369"/>
                          <a:pt x="518" y="1375"/>
                          <a:pt x="518" y="1380"/>
                        </a:cubicBezTo>
                        <a:cubicBezTo>
                          <a:pt x="518" y="1385"/>
                          <a:pt x="517" y="1388"/>
                          <a:pt x="523" y="1394"/>
                        </a:cubicBezTo>
                        <a:cubicBezTo>
                          <a:pt x="529" y="1400"/>
                          <a:pt x="537" y="1405"/>
                          <a:pt x="542" y="1412"/>
                        </a:cubicBezTo>
                        <a:cubicBezTo>
                          <a:pt x="547" y="1420"/>
                          <a:pt x="549" y="1421"/>
                          <a:pt x="549" y="1426"/>
                        </a:cubicBezTo>
                        <a:cubicBezTo>
                          <a:pt x="549" y="1430"/>
                          <a:pt x="546" y="1433"/>
                          <a:pt x="539" y="1436"/>
                        </a:cubicBezTo>
                        <a:cubicBezTo>
                          <a:pt x="532" y="1438"/>
                          <a:pt x="524" y="1440"/>
                          <a:pt x="524" y="1443"/>
                        </a:cubicBezTo>
                        <a:cubicBezTo>
                          <a:pt x="524" y="1446"/>
                          <a:pt x="531" y="1449"/>
                          <a:pt x="538" y="1453"/>
                        </a:cubicBezTo>
                        <a:cubicBezTo>
                          <a:pt x="544" y="1457"/>
                          <a:pt x="555" y="1460"/>
                          <a:pt x="558" y="1461"/>
                        </a:cubicBezTo>
                        <a:cubicBezTo>
                          <a:pt x="561" y="1463"/>
                          <a:pt x="561" y="1467"/>
                          <a:pt x="553" y="1471"/>
                        </a:cubicBezTo>
                        <a:cubicBezTo>
                          <a:pt x="546" y="1475"/>
                          <a:pt x="531" y="1477"/>
                          <a:pt x="526" y="1482"/>
                        </a:cubicBezTo>
                        <a:cubicBezTo>
                          <a:pt x="522" y="1487"/>
                          <a:pt x="520" y="1494"/>
                          <a:pt x="517" y="1501"/>
                        </a:cubicBezTo>
                        <a:cubicBezTo>
                          <a:pt x="514" y="1509"/>
                          <a:pt x="508" y="1508"/>
                          <a:pt x="506" y="1514"/>
                        </a:cubicBezTo>
                        <a:cubicBezTo>
                          <a:pt x="504" y="1521"/>
                          <a:pt x="506" y="1529"/>
                          <a:pt x="508" y="1533"/>
                        </a:cubicBezTo>
                        <a:cubicBezTo>
                          <a:pt x="510" y="1536"/>
                          <a:pt x="511" y="1538"/>
                          <a:pt x="511" y="1546"/>
                        </a:cubicBezTo>
                        <a:cubicBezTo>
                          <a:pt x="510" y="1554"/>
                          <a:pt x="513" y="1556"/>
                          <a:pt x="509" y="1564"/>
                        </a:cubicBezTo>
                        <a:cubicBezTo>
                          <a:pt x="505" y="1571"/>
                          <a:pt x="494" y="1575"/>
                          <a:pt x="491" y="1579"/>
                        </a:cubicBezTo>
                        <a:cubicBezTo>
                          <a:pt x="488" y="1583"/>
                          <a:pt x="483" y="1585"/>
                          <a:pt x="484" y="1593"/>
                        </a:cubicBezTo>
                        <a:cubicBezTo>
                          <a:pt x="484" y="1601"/>
                          <a:pt x="489" y="1603"/>
                          <a:pt x="488" y="1610"/>
                        </a:cubicBezTo>
                        <a:cubicBezTo>
                          <a:pt x="487" y="1616"/>
                          <a:pt x="486" y="1619"/>
                          <a:pt x="481" y="1619"/>
                        </a:cubicBezTo>
                        <a:cubicBezTo>
                          <a:pt x="476" y="1619"/>
                          <a:pt x="466" y="1613"/>
                          <a:pt x="458" y="1613"/>
                        </a:cubicBezTo>
                        <a:cubicBezTo>
                          <a:pt x="451" y="1613"/>
                          <a:pt x="449" y="1611"/>
                          <a:pt x="439" y="1618"/>
                        </a:cubicBezTo>
                        <a:cubicBezTo>
                          <a:pt x="429" y="1625"/>
                          <a:pt x="426" y="1626"/>
                          <a:pt x="414" y="1630"/>
                        </a:cubicBezTo>
                        <a:cubicBezTo>
                          <a:pt x="402" y="1635"/>
                          <a:pt x="393" y="1641"/>
                          <a:pt x="390" y="1647"/>
                        </a:cubicBezTo>
                        <a:cubicBezTo>
                          <a:pt x="387" y="1654"/>
                          <a:pt x="392" y="1655"/>
                          <a:pt x="382" y="1667"/>
                        </a:cubicBezTo>
                        <a:cubicBezTo>
                          <a:pt x="372" y="1678"/>
                          <a:pt x="373" y="1679"/>
                          <a:pt x="370" y="1688"/>
                        </a:cubicBezTo>
                        <a:cubicBezTo>
                          <a:pt x="367" y="1697"/>
                          <a:pt x="366" y="1696"/>
                          <a:pt x="367" y="1705"/>
                        </a:cubicBezTo>
                        <a:cubicBezTo>
                          <a:pt x="367" y="1714"/>
                          <a:pt x="366" y="1718"/>
                          <a:pt x="369" y="1724"/>
                        </a:cubicBezTo>
                        <a:cubicBezTo>
                          <a:pt x="371" y="1731"/>
                          <a:pt x="376" y="1733"/>
                          <a:pt x="381" y="1739"/>
                        </a:cubicBezTo>
                        <a:cubicBezTo>
                          <a:pt x="386" y="1746"/>
                          <a:pt x="391" y="1749"/>
                          <a:pt x="397" y="1753"/>
                        </a:cubicBezTo>
                        <a:cubicBezTo>
                          <a:pt x="404" y="1758"/>
                          <a:pt x="408" y="1764"/>
                          <a:pt x="419" y="1769"/>
                        </a:cubicBezTo>
                        <a:cubicBezTo>
                          <a:pt x="430" y="1774"/>
                          <a:pt x="436" y="1772"/>
                          <a:pt x="449" y="1775"/>
                        </a:cubicBezTo>
                        <a:cubicBezTo>
                          <a:pt x="462" y="1779"/>
                          <a:pt x="470" y="1778"/>
                          <a:pt x="473" y="1785"/>
                        </a:cubicBezTo>
                        <a:cubicBezTo>
                          <a:pt x="477" y="1792"/>
                          <a:pt x="478" y="1797"/>
                          <a:pt x="478" y="1803"/>
                        </a:cubicBezTo>
                        <a:cubicBezTo>
                          <a:pt x="478" y="1809"/>
                          <a:pt x="477" y="1812"/>
                          <a:pt x="474" y="1816"/>
                        </a:cubicBezTo>
                        <a:cubicBezTo>
                          <a:pt x="471" y="1820"/>
                          <a:pt x="468" y="1823"/>
                          <a:pt x="463" y="1825"/>
                        </a:cubicBezTo>
                        <a:cubicBezTo>
                          <a:pt x="457" y="1826"/>
                          <a:pt x="444" y="1828"/>
                          <a:pt x="444" y="1829"/>
                        </a:cubicBezTo>
                        <a:cubicBezTo>
                          <a:pt x="443" y="1831"/>
                          <a:pt x="442" y="1834"/>
                          <a:pt x="445" y="1835"/>
                        </a:cubicBezTo>
                        <a:cubicBezTo>
                          <a:pt x="448" y="1836"/>
                          <a:pt x="448" y="1834"/>
                          <a:pt x="458" y="1836"/>
                        </a:cubicBezTo>
                        <a:cubicBezTo>
                          <a:pt x="468" y="1838"/>
                          <a:pt x="472" y="1838"/>
                          <a:pt x="473" y="1842"/>
                        </a:cubicBezTo>
                        <a:cubicBezTo>
                          <a:pt x="474" y="1846"/>
                          <a:pt x="473" y="1845"/>
                          <a:pt x="472" y="1850"/>
                        </a:cubicBezTo>
                        <a:cubicBezTo>
                          <a:pt x="471" y="1856"/>
                          <a:pt x="461" y="1866"/>
                          <a:pt x="454" y="1869"/>
                        </a:cubicBezTo>
                        <a:cubicBezTo>
                          <a:pt x="447" y="1872"/>
                          <a:pt x="429" y="1877"/>
                          <a:pt x="421" y="1883"/>
                        </a:cubicBezTo>
                        <a:cubicBezTo>
                          <a:pt x="413" y="1888"/>
                          <a:pt x="395" y="1901"/>
                          <a:pt x="390" y="1905"/>
                        </a:cubicBezTo>
                        <a:cubicBezTo>
                          <a:pt x="385" y="1910"/>
                          <a:pt x="371" y="1917"/>
                          <a:pt x="366" y="1926"/>
                        </a:cubicBezTo>
                        <a:cubicBezTo>
                          <a:pt x="361" y="1934"/>
                          <a:pt x="352" y="1944"/>
                          <a:pt x="350" y="1950"/>
                        </a:cubicBezTo>
                        <a:cubicBezTo>
                          <a:pt x="348" y="1956"/>
                          <a:pt x="350" y="1956"/>
                          <a:pt x="352" y="1957"/>
                        </a:cubicBezTo>
                        <a:cubicBezTo>
                          <a:pt x="355" y="1958"/>
                          <a:pt x="357" y="1960"/>
                          <a:pt x="357" y="1964"/>
                        </a:cubicBezTo>
                        <a:cubicBezTo>
                          <a:pt x="357" y="1968"/>
                          <a:pt x="357" y="1976"/>
                          <a:pt x="355" y="1980"/>
                        </a:cubicBezTo>
                        <a:cubicBezTo>
                          <a:pt x="354" y="1984"/>
                          <a:pt x="353" y="1987"/>
                          <a:pt x="353" y="1992"/>
                        </a:cubicBezTo>
                        <a:cubicBezTo>
                          <a:pt x="352" y="1997"/>
                          <a:pt x="351" y="2003"/>
                          <a:pt x="343" y="2005"/>
                        </a:cubicBezTo>
                        <a:cubicBezTo>
                          <a:pt x="335" y="2007"/>
                          <a:pt x="330" y="2009"/>
                          <a:pt x="325" y="2012"/>
                        </a:cubicBezTo>
                        <a:cubicBezTo>
                          <a:pt x="319" y="2014"/>
                          <a:pt x="313" y="2014"/>
                          <a:pt x="312" y="2011"/>
                        </a:cubicBezTo>
                        <a:cubicBezTo>
                          <a:pt x="310" y="2008"/>
                          <a:pt x="310" y="2005"/>
                          <a:pt x="307" y="2000"/>
                        </a:cubicBezTo>
                        <a:cubicBezTo>
                          <a:pt x="303" y="1994"/>
                          <a:pt x="294" y="1984"/>
                          <a:pt x="293" y="1987"/>
                        </a:cubicBezTo>
                        <a:cubicBezTo>
                          <a:pt x="292" y="1990"/>
                          <a:pt x="295" y="1997"/>
                          <a:pt x="295" y="1999"/>
                        </a:cubicBezTo>
                        <a:cubicBezTo>
                          <a:pt x="296" y="2002"/>
                          <a:pt x="294" y="2003"/>
                          <a:pt x="291" y="2003"/>
                        </a:cubicBezTo>
                        <a:cubicBezTo>
                          <a:pt x="287" y="2003"/>
                          <a:pt x="279" y="2002"/>
                          <a:pt x="279" y="2005"/>
                        </a:cubicBezTo>
                        <a:cubicBezTo>
                          <a:pt x="279" y="2009"/>
                          <a:pt x="278" y="2011"/>
                          <a:pt x="283" y="2011"/>
                        </a:cubicBezTo>
                        <a:cubicBezTo>
                          <a:pt x="288" y="2011"/>
                          <a:pt x="291" y="2011"/>
                          <a:pt x="296" y="2011"/>
                        </a:cubicBezTo>
                        <a:cubicBezTo>
                          <a:pt x="301" y="2011"/>
                          <a:pt x="303" y="2011"/>
                          <a:pt x="305" y="2014"/>
                        </a:cubicBezTo>
                        <a:cubicBezTo>
                          <a:pt x="307" y="2017"/>
                          <a:pt x="306" y="2019"/>
                          <a:pt x="305" y="2021"/>
                        </a:cubicBezTo>
                        <a:cubicBezTo>
                          <a:pt x="304" y="2023"/>
                          <a:pt x="298" y="2020"/>
                          <a:pt x="292" y="2027"/>
                        </a:cubicBezTo>
                        <a:cubicBezTo>
                          <a:pt x="285" y="2033"/>
                          <a:pt x="279" y="2040"/>
                          <a:pt x="273" y="2050"/>
                        </a:cubicBezTo>
                        <a:cubicBezTo>
                          <a:pt x="268" y="2061"/>
                          <a:pt x="265" y="2065"/>
                          <a:pt x="265" y="2071"/>
                        </a:cubicBezTo>
                        <a:cubicBezTo>
                          <a:pt x="264" y="2076"/>
                          <a:pt x="263" y="2081"/>
                          <a:pt x="259" y="2083"/>
                        </a:cubicBezTo>
                        <a:cubicBezTo>
                          <a:pt x="255" y="2086"/>
                          <a:pt x="249" y="2085"/>
                          <a:pt x="249" y="2090"/>
                        </a:cubicBezTo>
                        <a:cubicBezTo>
                          <a:pt x="249" y="2094"/>
                          <a:pt x="248" y="2096"/>
                          <a:pt x="253" y="2095"/>
                        </a:cubicBezTo>
                        <a:cubicBezTo>
                          <a:pt x="258" y="2094"/>
                          <a:pt x="257" y="2089"/>
                          <a:pt x="261" y="2094"/>
                        </a:cubicBezTo>
                        <a:cubicBezTo>
                          <a:pt x="265" y="2098"/>
                          <a:pt x="269" y="2109"/>
                          <a:pt x="270" y="2113"/>
                        </a:cubicBezTo>
                        <a:cubicBezTo>
                          <a:pt x="270" y="2117"/>
                          <a:pt x="271" y="2119"/>
                          <a:pt x="273" y="2124"/>
                        </a:cubicBezTo>
                        <a:cubicBezTo>
                          <a:pt x="274" y="2128"/>
                          <a:pt x="275" y="2133"/>
                          <a:pt x="273" y="2133"/>
                        </a:cubicBezTo>
                        <a:cubicBezTo>
                          <a:pt x="270" y="2134"/>
                          <a:pt x="259" y="2134"/>
                          <a:pt x="258" y="2134"/>
                        </a:cubicBezTo>
                        <a:cubicBezTo>
                          <a:pt x="257" y="2134"/>
                          <a:pt x="249" y="2136"/>
                          <a:pt x="249" y="2137"/>
                        </a:cubicBezTo>
                        <a:cubicBezTo>
                          <a:pt x="249" y="2139"/>
                          <a:pt x="255" y="2142"/>
                          <a:pt x="259" y="2143"/>
                        </a:cubicBezTo>
                        <a:cubicBezTo>
                          <a:pt x="263" y="2143"/>
                          <a:pt x="271" y="2140"/>
                          <a:pt x="275" y="2142"/>
                        </a:cubicBezTo>
                        <a:cubicBezTo>
                          <a:pt x="279" y="2144"/>
                          <a:pt x="279" y="2145"/>
                          <a:pt x="281" y="2148"/>
                        </a:cubicBezTo>
                        <a:cubicBezTo>
                          <a:pt x="283" y="2150"/>
                          <a:pt x="285" y="2153"/>
                          <a:pt x="289" y="2163"/>
                        </a:cubicBezTo>
                        <a:cubicBezTo>
                          <a:pt x="294" y="2172"/>
                          <a:pt x="295" y="2178"/>
                          <a:pt x="299" y="2184"/>
                        </a:cubicBezTo>
                        <a:cubicBezTo>
                          <a:pt x="302" y="2188"/>
                          <a:pt x="304" y="2191"/>
                          <a:pt x="306" y="2193"/>
                        </a:cubicBezTo>
                        <a:cubicBezTo>
                          <a:pt x="289" y="2186"/>
                          <a:pt x="265" y="2176"/>
                          <a:pt x="258" y="2174"/>
                        </a:cubicBezTo>
                        <a:cubicBezTo>
                          <a:pt x="258" y="2174"/>
                          <a:pt x="255" y="2174"/>
                          <a:pt x="253" y="2173"/>
                        </a:cubicBezTo>
                        <a:cubicBezTo>
                          <a:pt x="242" y="2171"/>
                          <a:pt x="226" y="2168"/>
                          <a:pt x="211" y="2167"/>
                        </a:cubicBezTo>
                        <a:cubicBezTo>
                          <a:pt x="196" y="2165"/>
                          <a:pt x="177" y="2166"/>
                          <a:pt x="164" y="2166"/>
                        </a:cubicBezTo>
                        <a:cubicBezTo>
                          <a:pt x="160" y="2167"/>
                          <a:pt x="157" y="2167"/>
                          <a:pt x="154" y="2167"/>
                        </a:cubicBezTo>
                        <a:cubicBezTo>
                          <a:pt x="148" y="2167"/>
                          <a:pt x="127" y="2167"/>
                          <a:pt x="111" y="2165"/>
                        </a:cubicBezTo>
                        <a:cubicBezTo>
                          <a:pt x="103" y="2164"/>
                          <a:pt x="96" y="2163"/>
                          <a:pt x="95" y="2162"/>
                        </a:cubicBezTo>
                        <a:cubicBezTo>
                          <a:pt x="93" y="2160"/>
                          <a:pt x="92" y="2158"/>
                          <a:pt x="91" y="2156"/>
                        </a:cubicBezTo>
                        <a:cubicBezTo>
                          <a:pt x="88" y="2152"/>
                          <a:pt x="86" y="2148"/>
                          <a:pt x="79" y="2143"/>
                        </a:cubicBezTo>
                        <a:cubicBezTo>
                          <a:pt x="76" y="2140"/>
                          <a:pt x="74" y="2139"/>
                          <a:pt x="73" y="2137"/>
                        </a:cubicBezTo>
                        <a:cubicBezTo>
                          <a:pt x="72" y="2135"/>
                          <a:pt x="72" y="2133"/>
                          <a:pt x="73" y="2130"/>
                        </a:cubicBezTo>
                        <a:cubicBezTo>
                          <a:pt x="73" y="2127"/>
                          <a:pt x="74" y="2125"/>
                          <a:pt x="75" y="2123"/>
                        </a:cubicBezTo>
                        <a:cubicBezTo>
                          <a:pt x="76" y="2119"/>
                          <a:pt x="77" y="2116"/>
                          <a:pt x="76" y="2110"/>
                        </a:cubicBezTo>
                        <a:cubicBezTo>
                          <a:pt x="75" y="2105"/>
                          <a:pt x="74" y="2103"/>
                          <a:pt x="72" y="2102"/>
                        </a:cubicBezTo>
                        <a:cubicBezTo>
                          <a:pt x="71" y="2101"/>
                          <a:pt x="70" y="2099"/>
                          <a:pt x="68" y="2095"/>
                        </a:cubicBezTo>
                        <a:cubicBezTo>
                          <a:pt x="67" y="2092"/>
                          <a:pt x="69" y="2090"/>
                          <a:pt x="70" y="2088"/>
                        </a:cubicBezTo>
                        <a:cubicBezTo>
                          <a:pt x="73" y="2085"/>
                          <a:pt x="76" y="2081"/>
                          <a:pt x="76" y="2075"/>
                        </a:cubicBezTo>
                        <a:cubicBezTo>
                          <a:pt x="75" y="2069"/>
                          <a:pt x="74" y="2065"/>
                          <a:pt x="72" y="2062"/>
                        </a:cubicBezTo>
                        <a:cubicBezTo>
                          <a:pt x="69" y="2059"/>
                          <a:pt x="67" y="2057"/>
                          <a:pt x="63" y="2056"/>
                        </a:cubicBezTo>
                        <a:cubicBezTo>
                          <a:pt x="59" y="2054"/>
                          <a:pt x="55" y="2053"/>
                          <a:pt x="51" y="2053"/>
                        </a:cubicBezTo>
                        <a:cubicBezTo>
                          <a:pt x="47" y="2054"/>
                          <a:pt x="44" y="2055"/>
                          <a:pt x="40" y="2058"/>
                        </a:cubicBezTo>
                        <a:cubicBezTo>
                          <a:pt x="38" y="2059"/>
                          <a:pt x="32" y="2062"/>
                          <a:pt x="26" y="2063"/>
                        </a:cubicBezTo>
                        <a:cubicBezTo>
                          <a:pt x="22" y="2065"/>
                          <a:pt x="17" y="2066"/>
                          <a:pt x="16" y="2065"/>
                        </a:cubicBezTo>
                        <a:cubicBezTo>
                          <a:pt x="15" y="2065"/>
                          <a:pt x="16" y="2062"/>
                          <a:pt x="16" y="2059"/>
                        </a:cubicBezTo>
                        <a:cubicBezTo>
                          <a:pt x="17" y="2054"/>
                          <a:pt x="17" y="2048"/>
                          <a:pt x="16" y="2041"/>
                        </a:cubicBezTo>
                        <a:cubicBezTo>
                          <a:pt x="14" y="2029"/>
                          <a:pt x="11" y="2028"/>
                          <a:pt x="7" y="2026"/>
                        </a:cubicBezTo>
                        <a:cubicBezTo>
                          <a:pt x="6" y="2025"/>
                          <a:pt x="4" y="2024"/>
                          <a:pt x="3" y="2023"/>
                        </a:cubicBezTo>
                        <a:cubicBezTo>
                          <a:pt x="0" y="2020"/>
                          <a:pt x="0" y="2016"/>
                          <a:pt x="1" y="2008"/>
                        </a:cubicBezTo>
                        <a:cubicBezTo>
                          <a:pt x="1" y="2004"/>
                          <a:pt x="1" y="1999"/>
                          <a:pt x="1" y="1992"/>
                        </a:cubicBezTo>
                        <a:cubicBezTo>
                          <a:pt x="1" y="1975"/>
                          <a:pt x="3" y="1967"/>
                          <a:pt x="4" y="1962"/>
                        </a:cubicBezTo>
                        <a:cubicBezTo>
                          <a:pt x="5" y="1961"/>
                          <a:pt x="5" y="1959"/>
                          <a:pt x="5" y="1958"/>
                        </a:cubicBezTo>
                        <a:cubicBezTo>
                          <a:pt x="6" y="1956"/>
                          <a:pt x="7" y="1955"/>
                          <a:pt x="10" y="1954"/>
                        </a:cubicBezTo>
                        <a:cubicBezTo>
                          <a:pt x="11" y="1954"/>
                          <a:pt x="14" y="1953"/>
                          <a:pt x="16" y="1952"/>
                        </a:cubicBezTo>
                        <a:cubicBezTo>
                          <a:pt x="21" y="1950"/>
                          <a:pt x="24" y="1947"/>
                          <a:pt x="28" y="1944"/>
                        </a:cubicBezTo>
                        <a:cubicBezTo>
                          <a:pt x="32" y="1941"/>
                          <a:pt x="36" y="1937"/>
                          <a:pt x="40" y="1932"/>
                        </a:cubicBezTo>
                        <a:cubicBezTo>
                          <a:pt x="42" y="1931"/>
                          <a:pt x="43" y="1930"/>
                          <a:pt x="44" y="1928"/>
                        </a:cubicBezTo>
                        <a:cubicBezTo>
                          <a:pt x="52" y="1920"/>
                          <a:pt x="58" y="1914"/>
                          <a:pt x="57" y="1904"/>
                        </a:cubicBezTo>
                        <a:cubicBezTo>
                          <a:pt x="57" y="1900"/>
                          <a:pt x="58" y="1895"/>
                          <a:pt x="59" y="1892"/>
                        </a:cubicBezTo>
                        <a:cubicBezTo>
                          <a:pt x="59" y="1888"/>
                          <a:pt x="60" y="1885"/>
                          <a:pt x="60" y="1885"/>
                        </a:cubicBezTo>
                        <a:cubicBezTo>
                          <a:pt x="61" y="1884"/>
                          <a:pt x="61" y="1884"/>
                          <a:pt x="63" y="1883"/>
                        </a:cubicBezTo>
                        <a:cubicBezTo>
                          <a:pt x="67" y="1878"/>
                          <a:pt x="74" y="1870"/>
                          <a:pt x="74" y="1864"/>
                        </a:cubicBezTo>
                        <a:cubicBezTo>
                          <a:pt x="74" y="1860"/>
                          <a:pt x="71" y="1855"/>
                          <a:pt x="68" y="1848"/>
                        </a:cubicBezTo>
                        <a:cubicBezTo>
                          <a:pt x="67" y="1846"/>
                          <a:pt x="65" y="1843"/>
                          <a:pt x="64" y="1839"/>
                        </a:cubicBezTo>
                        <a:cubicBezTo>
                          <a:pt x="61" y="1834"/>
                          <a:pt x="62" y="1832"/>
                          <a:pt x="63" y="1829"/>
                        </a:cubicBezTo>
                        <a:cubicBezTo>
                          <a:pt x="64" y="1826"/>
                          <a:pt x="66" y="1823"/>
                          <a:pt x="66" y="1817"/>
                        </a:cubicBezTo>
                        <a:cubicBezTo>
                          <a:pt x="68" y="1809"/>
                          <a:pt x="69" y="1809"/>
                          <a:pt x="72" y="1808"/>
                        </a:cubicBezTo>
                        <a:cubicBezTo>
                          <a:pt x="74" y="1807"/>
                          <a:pt x="76" y="1806"/>
                          <a:pt x="79" y="1805"/>
                        </a:cubicBezTo>
                        <a:cubicBezTo>
                          <a:pt x="80" y="1804"/>
                          <a:pt x="82" y="1802"/>
                          <a:pt x="85" y="1801"/>
                        </a:cubicBezTo>
                        <a:cubicBezTo>
                          <a:pt x="85" y="1801"/>
                          <a:pt x="85" y="1801"/>
                          <a:pt x="85" y="1801"/>
                        </a:cubicBezTo>
                        <a:cubicBezTo>
                          <a:pt x="92" y="1797"/>
                          <a:pt x="99" y="1793"/>
                          <a:pt x="99" y="1787"/>
                        </a:cubicBezTo>
                        <a:cubicBezTo>
                          <a:pt x="99" y="1785"/>
                          <a:pt x="99" y="1782"/>
                          <a:pt x="98" y="1779"/>
                        </a:cubicBezTo>
                        <a:cubicBezTo>
                          <a:pt x="98" y="1775"/>
                          <a:pt x="97" y="1770"/>
                          <a:pt x="97" y="1767"/>
                        </a:cubicBezTo>
                        <a:cubicBezTo>
                          <a:pt x="97" y="1765"/>
                          <a:pt x="99" y="1764"/>
                          <a:pt x="101" y="1762"/>
                        </a:cubicBezTo>
                        <a:cubicBezTo>
                          <a:pt x="104" y="1760"/>
                          <a:pt x="107" y="1758"/>
                          <a:pt x="110" y="1754"/>
                        </a:cubicBezTo>
                        <a:cubicBezTo>
                          <a:pt x="115" y="1747"/>
                          <a:pt x="114" y="1745"/>
                          <a:pt x="111" y="1739"/>
                        </a:cubicBezTo>
                        <a:cubicBezTo>
                          <a:pt x="111" y="1737"/>
                          <a:pt x="110" y="1735"/>
                          <a:pt x="109" y="1733"/>
                        </a:cubicBezTo>
                        <a:cubicBezTo>
                          <a:pt x="106" y="1724"/>
                          <a:pt x="106" y="1717"/>
                          <a:pt x="106" y="1710"/>
                        </a:cubicBezTo>
                        <a:cubicBezTo>
                          <a:pt x="106" y="1709"/>
                          <a:pt x="106" y="1709"/>
                          <a:pt x="106" y="1709"/>
                        </a:cubicBezTo>
                        <a:cubicBezTo>
                          <a:pt x="106" y="1709"/>
                          <a:pt x="106" y="1709"/>
                          <a:pt x="106" y="1709"/>
                        </a:cubicBezTo>
                        <a:cubicBezTo>
                          <a:pt x="106" y="1706"/>
                          <a:pt x="107" y="1705"/>
                          <a:pt x="108" y="1703"/>
                        </a:cubicBezTo>
                        <a:cubicBezTo>
                          <a:pt x="110" y="1700"/>
                          <a:pt x="112" y="1698"/>
                          <a:pt x="114" y="1693"/>
                        </a:cubicBezTo>
                        <a:cubicBezTo>
                          <a:pt x="116" y="1687"/>
                          <a:pt x="114" y="1682"/>
                          <a:pt x="113" y="1677"/>
                        </a:cubicBezTo>
                        <a:cubicBezTo>
                          <a:pt x="112" y="1674"/>
                          <a:pt x="111" y="1671"/>
                          <a:pt x="110" y="1667"/>
                        </a:cubicBezTo>
                        <a:cubicBezTo>
                          <a:pt x="110" y="1664"/>
                          <a:pt x="112" y="1663"/>
                          <a:pt x="114" y="1662"/>
                        </a:cubicBezTo>
                        <a:cubicBezTo>
                          <a:pt x="117" y="1660"/>
                          <a:pt x="121" y="1659"/>
                          <a:pt x="124" y="1654"/>
                        </a:cubicBezTo>
                        <a:cubicBezTo>
                          <a:pt x="125" y="1653"/>
                          <a:pt x="125" y="1653"/>
                          <a:pt x="125" y="1653"/>
                        </a:cubicBezTo>
                        <a:cubicBezTo>
                          <a:pt x="132" y="1645"/>
                          <a:pt x="132" y="1644"/>
                          <a:pt x="130" y="1633"/>
                        </a:cubicBezTo>
                        <a:cubicBezTo>
                          <a:pt x="129" y="1622"/>
                          <a:pt x="115" y="1616"/>
                          <a:pt x="106" y="1612"/>
                        </a:cubicBezTo>
                        <a:cubicBezTo>
                          <a:pt x="105" y="1612"/>
                          <a:pt x="105" y="1612"/>
                          <a:pt x="105" y="1612"/>
                        </a:cubicBezTo>
                        <a:cubicBezTo>
                          <a:pt x="105" y="1612"/>
                          <a:pt x="105" y="1612"/>
                          <a:pt x="105" y="1612"/>
                        </a:cubicBezTo>
                        <a:cubicBezTo>
                          <a:pt x="104" y="1611"/>
                          <a:pt x="104" y="1611"/>
                          <a:pt x="103" y="1611"/>
                        </a:cubicBezTo>
                        <a:cubicBezTo>
                          <a:pt x="103" y="1611"/>
                          <a:pt x="103" y="1611"/>
                          <a:pt x="103" y="1611"/>
                        </a:cubicBezTo>
                        <a:cubicBezTo>
                          <a:pt x="100" y="1609"/>
                          <a:pt x="97" y="1606"/>
                          <a:pt x="94" y="1603"/>
                        </a:cubicBezTo>
                        <a:cubicBezTo>
                          <a:pt x="93" y="1601"/>
                          <a:pt x="91" y="1600"/>
                          <a:pt x="91" y="1599"/>
                        </a:cubicBezTo>
                        <a:cubicBezTo>
                          <a:pt x="92" y="1598"/>
                          <a:pt x="99" y="1600"/>
                          <a:pt x="107" y="1601"/>
                        </a:cubicBezTo>
                        <a:cubicBezTo>
                          <a:pt x="110" y="1602"/>
                          <a:pt x="112" y="1602"/>
                          <a:pt x="115" y="1603"/>
                        </a:cubicBezTo>
                        <a:cubicBezTo>
                          <a:pt x="126" y="1605"/>
                          <a:pt x="128" y="1604"/>
                          <a:pt x="131" y="1602"/>
                        </a:cubicBezTo>
                        <a:cubicBezTo>
                          <a:pt x="131" y="1601"/>
                          <a:pt x="132" y="1601"/>
                          <a:pt x="133" y="1600"/>
                        </a:cubicBezTo>
                        <a:cubicBezTo>
                          <a:pt x="139" y="1598"/>
                          <a:pt x="141" y="1593"/>
                          <a:pt x="144" y="1588"/>
                        </a:cubicBezTo>
                        <a:cubicBezTo>
                          <a:pt x="144" y="1587"/>
                          <a:pt x="145" y="1585"/>
                          <a:pt x="145" y="1585"/>
                        </a:cubicBezTo>
                        <a:cubicBezTo>
                          <a:pt x="147" y="1580"/>
                          <a:pt x="147" y="1576"/>
                          <a:pt x="144" y="1573"/>
                        </a:cubicBezTo>
                        <a:cubicBezTo>
                          <a:pt x="142" y="1570"/>
                          <a:pt x="138" y="1568"/>
                          <a:pt x="133" y="1566"/>
                        </a:cubicBezTo>
                        <a:cubicBezTo>
                          <a:pt x="127" y="1564"/>
                          <a:pt x="121" y="1565"/>
                          <a:pt x="116" y="1565"/>
                        </a:cubicBezTo>
                        <a:cubicBezTo>
                          <a:pt x="112" y="1565"/>
                          <a:pt x="109" y="1566"/>
                          <a:pt x="107" y="1565"/>
                        </a:cubicBezTo>
                        <a:cubicBezTo>
                          <a:pt x="105" y="1565"/>
                          <a:pt x="105" y="1563"/>
                          <a:pt x="106" y="1560"/>
                        </a:cubicBezTo>
                        <a:cubicBezTo>
                          <a:pt x="106" y="1558"/>
                          <a:pt x="107" y="1556"/>
                          <a:pt x="107" y="1553"/>
                        </a:cubicBezTo>
                        <a:cubicBezTo>
                          <a:pt x="107" y="1549"/>
                          <a:pt x="109" y="1546"/>
                          <a:pt x="110" y="1542"/>
                        </a:cubicBezTo>
                        <a:cubicBezTo>
                          <a:pt x="112" y="1538"/>
                          <a:pt x="113" y="1535"/>
                          <a:pt x="113" y="1532"/>
                        </a:cubicBezTo>
                        <a:cubicBezTo>
                          <a:pt x="113" y="1526"/>
                          <a:pt x="112" y="1522"/>
                          <a:pt x="109" y="1513"/>
                        </a:cubicBezTo>
                        <a:cubicBezTo>
                          <a:pt x="109" y="1511"/>
                          <a:pt x="109" y="1511"/>
                          <a:pt x="109" y="1511"/>
                        </a:cubicBezTo>
                        <a:cubicBezTo>
                          <a:pt x="107" y="1504"/>
                          <a:pt x="105" y="1501"/>
                          <a:pt x="103" y="1499"/>
                        </a:cubicBezTo>
                        <a:cubicBezTo>
                          <a:pt x="102" y="1498"/>
                          <a:pt x="101" y="1497"/>
                          <a:pt x="101" y="1495"/>
                        </a:cubicBezTo>
                        <a:cubicBezTo>
                          <a:pt x="100" y="1494"/>
                          <a:pt x="103" y="1491"/>
                          <a:pt x="105" y="1488"/>
                        </a:cubicBezTo>
                        <a:cubicBezTo>
                          <a:pt x="107" y="1486"/>
                          <a:pt x="109" y="1484"/>
                          <a:pt x="109" y="1482"/>
                        </a:cubicBezTo>
                        <a:cubicBezTo>
                          <a:pt x="111" y="1476"/>
                          <a:pt x="110" y="1475"/>
                          <a:pt x="101" y="1470"/>
                        </a:cubicBezTo>
                        <a:cubicBezTo>
                          <a:pt x="101" y="1470"/>
                          <a:pt x="101" y="1470"/>
                          <a:pt x="101" y="1470"/>
                        </a:cubicBezTo>
                        <a:cubicBezTo>
                          <a:pt x="99" y="1468"/>
                          <a:pt x="99" y="1468"/>
                          <a:pt x="99" y="1468"/>
                        </a:cubicBezTo>
                        <a:cubicBezTo>
                          <a:pt x="99" y="1468"/>
                          <a:pt x="99" y="1468"/>
                          <a:pt x="99" y="1468"/>
                        </a:cubicBezTo>
                        <a:cubicBezTo>
                          <a:pt x="96" y="1466"/>
                          <a:pt x="93" y="1464"/>
                          <a:pt x="92" y="1463"/>
                        </a:cubicBezTo>
                        <a:cubicBezTo>
                          <a:pt x="90" y="1461"/>
                          <a:pt x="90" y="1460"/>
                          <a:pt x="89" y="1459"/>
                        </a:cubicBezTo>
                        <a:cubicBezTo>
                          <a:pt x="89" y="1455"/>
                          <a:pt x="89" y="1448"/>
                          <a:pt x="89" y="1443"/>
                        </a:cubicBezTo>
                        <a:cubicBezTo>
                          <a:pt x="89" y="1440"/>
                          <a:pt x="89" y="1440"/>
                          <a:pt x="89" y="1439"/>
                        </a:cubicBezTo>
                        <a:cubicBezTo>
                          <a:pt x="89" y="1438"/>
                          <a:pt x="89" y="1436"/>
                          <a:pt x="89" y="1433"/>
                        </a:cubicBezTo>
                        <a:cubicBezTo>
                          <a:pt x="88" y="1426"/>
                          <a:pt x="87" y="1415"/>
                          <a:pt x="89" y="1409"/>
                        </a:cubicBezTo>
                        <a:cubicBezTo>
                          <a:pt x="90" y="1405"/>
                          <a:pt x="94" y="1404"/>
                          <a:pt x="97" y="1403"/>
                        </a:cubicBezTo>
                        <a:cubicBezTo>
                          <a:pt x="100" y="1402"/>
                          <a:pt x="103" y="1401"/>
                          <a:pt x="105" y="1398"/>
                        </a:cubicBezTo>
                        <a:cubicBezTo>
                          <a:pt x="109" y="1395"/>
                          <a:pt x="109" y="1391"/>
                          <a:pt x="108" y="1386"/>
                        </a:cubicBezTo>
                        <a:cubicBezTo>
                          <a:pt x="108" y="1386"/>
                          <a:pt x="108" y="1386"/>
                          <a:pt x="108" y="1386"/>
                        </a:cubicBezTo>
                        <a:cubicBezTo>
                          <a:pt x="106" y="1381"/>
                          <a:pt x="104" y="1376"/>
                          <a:pt x="101" y="1369"/>
                        </a:cubicBezTo>
                        <a:cubicBezTo>
                          <a:pt x="97" y="1362"/>
                          <a:pt x="98" y="1360"/>
                          <a:pt x="99" y="1357"/>
                        </a:cubicBezTo>
                        <a:cubicBezTo>
                          <a:pt x="100" y="1354"/>
                          <a:pt x="101" y="1351"/>
                          <a:pt x="101" y="1345"/>
                        </a:cubicBezTo>
                        <a:cubicBezTo>
                          <a:pt x="101" y="1340"/>
                          <a:pt x="101" y="1336"/>
                          <a:pt x="102" y="1333"/>
                        </a:cubicBezTo>
                        <a:cubicBezTo>
                          <a:pt x="102" y="1326"/>
                          <a:pt x="103" y="1321"/>
                          <a:pt x="102" y="1308"/>
                        </a:cubicBezTo>
                        <a:cubicBezTo>
                          <a:pt x="101" y="1294"/>
                          <a:pt x="101" y="1291"/>
                          <a:pt x="102" y="1288"/>
                        </a:cubicBezTo>
                        <a:cubicBezTo>
                          <a:pt x="102" y="1288"/>
                          <a:pt x="102" y="1287"/>
                          <a:pt x="102" y="1286"/>
                        </a:cubicBezTo>
                        <a:cubicBezTo>
                          <a:pt x="102" y="1286"/>
                          <a:pt x="104" y="1284"/>
                          <a:pt x="106" y="1282"/>
                        </a:cubicBezTo>
                        <a:cubicBezTo>
                          <a:pt x="109" y="1278"/>
                          <a:pt x="113" y="1275"/>
                          <a:pt x="113" y="1271"/>
                        </a:cubicBezTo>
                        <a:cubicBezTo>
                          <a:pt x="113" y="1268"/>
                          <a:pt x="112" y="1264"/>
                          <a:pt x="111" y="1260"/>
                        </a:cubicBezTo>
                        <a:cubicBezTo>
                          <a:pt x="109" y="1256"/>
                          <a:pt x="108" y="1252"/>
                          <a:pt x="108" y="1250"/>
                        </a:cubicBezTo>
                        <a:cubicBezTo>
                          <a:pt x="108" y="1248"/>
                          <a:pt x="109" y="1247"/>
                          <a:pt x="110" y="1246"/>
                        </a:cubicBezTo>
                        <a:cubicBezTo>
                          <a:pt x="110" y="1246"/>
                          <a:pt x="110" y="1246"/>
                          <a:pt x="110" y="1246"/>
                        </a:cubicBezTo>
                        <a:cubicBezTo>
                          <a:pt x="113" y="1244"/>
                          <a:pt x="115" y="1242"/>
                          <a:pt x="115" y="1237"/>
                        </a:cubicBezTo>
                        <a:cubicBezTo>
                          <a:pt x="115" y="1233"/>
                          <a:pt x="116" y="1229"/>
                          <a:pt x="116" y="1225"/>
                        </a:cubicBezTo>
                        <a:cubicBezTo>
                          <a:pt x="117" y="1222"/>
                          <a:pt x="118" y="1219"/>
                          <a:pt x="119" y="1218"/>
                        </a:cubicBezTo>
                        <a:cubicBezTo>
                          <a:pt x="119" y="1217"/>
                          <a:pt x="119" y="1216"/>
                          <a:pt x="120" y="1216"/>
                        </a:cubicBezTo>
                        <a:cubicBezTo>
                          <a:pt x="123" y="1211"/>
                          <a:pt x="127" y="1206"/>
                          <a:pt x="126" y="1193"/>
                        </a:cubicBezTo>
                        <a:cubicBezTo>
                          <a:pt x="126" y="1181"/>
                          <a:pt x="129" y="1173"/>
                          <a:pt x="132" y="1165"/>
                        </a:cubicBezTo>
                        <a:cubicBezTo>
                          <a:pt x="133" y="1163"/>
                          <a:pt x="133" y="1163"/>
                          <a:pt x="133" y="1163"/>
                        </a:cubicBezTo>
                        <a:cubicBezTo>
                          <a:pt x="133" y="1163"/>
                          <a:pt x="133" y="1163"/>
                          <a:pt x="133" y="1163"/>
                        </a:cubicBezTo>
                        <a:cubicBezTo>
                          <a:pt x="134" y="1160"/>
                          <a:pt x="140" y="1158"/>
                          <a:pt x="145" y="1156"/>
                        </a:cubicBezTo>
                        <a:cubicBezTo>
                          <a:pt x="154" y="1152"/>
                          <a:pt x="163" y="1149"/>
                          <a:pt x="162" y="1141"/>
                        </a:cubicBezTo>
                        <a:cubicBezTo>
                          <a:pt x="162" y="1133"/>
                          <a:pt x="158" y="1120"/>
                          <a:pt x="155" y="1107"/>
                        </a:cubicBezTo>
                        <a:cubicBezTo>
                          <a:pt x="154" y="1102"/>
                          <a:pt x="153" y="1098"/>
                          <a:pt x="152" y="1096"/>
                        </a:cubicBezTo>
                        <a:cubicBezTo>
                          <a:pt x="149" y="1083"/>
                          <a:pt x="148" y="1058"/>
                          <a:pt x="148" y="1043"/>
                        </a:cubicBezTo>
                        <a:cubicBezTo>
                          <a:pt x="148" y="1039"/>
                          <a:pt x="148" y="1036"/>
                          <a:pt x="147" y="1034"/>
                        </a:cubicBezTo>
                        <a:cubicBezTo>
                          <a:pt x="147" y="1027"/>
                          <a:pt x="151" y="1011"/>
                          <a:pt x="154" y="1000"/>
                        </a:cubicBezTo>
                        <a:cubicBezTo>
                          <a:pt x="154" y="998"/>
                          <a:pt x="155" y="996"/>
                          <a:pt x="155" y="994"/>
                        </a:cubicBezTo>
                        <a:cubicBezTo>
                          <a:pt x="156" y="991"/>
                          <a:pt x="160" y="991"/>
                          <a:pt x="164" y="990"/>
                        </a:cubicBezTo>
                        <a:cubicBezTo>
                          <a:pt x="167" y="990"/>
                          <a:pt x="169" y="990"/>
                          <a:pt x="171" y="989"/>
                        </a:cubicBezTo>
                        <a:cubicBezTo>
                          <a:pt x="176" y="987"/>
                          <a:pt x="177" y="983"/>
                          <a:pt x="178" y="978"/>
                        </a:cubicBezTo>
                        <a:cubicBezTo>
                          <a:pt x="178" y="976"/>
                          <a:pt x="179" y="974"/>
                          <a:pt x="180" y="973"/>
                        </a:cubicBezTo>
                        <a:cubicBezTo>
                          <a:pt x="180" y="972"/>
                          <a:pt x="181" y="972"/>
                          <a:pt x="182" y="971"/>
                        </a:cubicBezTo>
                        <a:cubicBezTo>
                          <a:pt x="186" y="968"/>
                          <a:pt x="191" y="965"/>
                          <a:pt x="192" y="954"/>
                        </a:cubicBezTo>
                        <a:cubicBezTo>
                          <a:pt x="192" y="947"/>
                          <a:pt x="193" y="940"/>
                          <a:pt x="192" y="934"/>
                        </a:cubicBezTo>
                        <a:cubicBezTo>
                          <a:pt x="192" y="928"/>
                          <a:pt x="191" y="923"/>
                          <a:pt x="189" y="918"/>
                        </a:cubicBezTo>
                        <a:cubicBezTo>
                          <a:pt x="188" y="915"/>
                          <a:pt x="187" y="910"/>
                          <a:pt x="187" y="906"/>
                        </a:cubicBezTo>
                        <a:cubicBezTo>
                          <a:pt x="188" y="902"/>
                          <a:pt x="189" y="898"/>
                          <a:pt x="191" y="895"/>
                        </a:cubicBezTo>
                        <a:cubicBezTo>
                          <a:pt x="191" y="895"/>
                          <a:pt x="191" y="895"/>
                          <a:pt x="191" y="895"/>
                        </a:cubicBezTo>
                        <a:cubicBezTo>
                          <a:pt x="191" y="894"/>
                          <a:pt x="191" y="894"/>
                          <a:pt x="191" y="894"/>
                        </a:cubicBezTo>
                        <a:cubicBezTo>
                          <a:pt x="191" y="894"/>
                          <a:pt x="191" y="894"/>
                          <a:pt x="191" y="894"/>
                        </a:cubicBezTo>
                        <a:cubicBezTo>
                          <a:pt x="196" y="886"/>
                          <a:pt x="199" y="881"/>
                          <a:pt x="200" y="868"/>
                        </a:cubicBezTo>
                        <a:cubicBezTo>
                          <a:pt x="201" y="859"/>
                          <a:pt x="205" y="853"/>
                          <a:pt x="209" y="848"/>
                        </a:cubicBezTo>
                        <a:cubicBezTo>
                          <a:pt x="209" y="848"/>
                          <a:pt x="209" y="848"/>
                          <a:pt x="209" y="848"/>
                        </a:cubicBezTo>
                        <a:cubicBezTo>
                          <a:pt x="211" y="846"/>
                          <a:pt x="212" y="844"/>
                          <a:pt x="213" y="842"/>
                        </a:cubicBezTo>
                        <a:cubicBezTo>
                          <a:pt x="215" y="839"/>
                          <a:pt x="217" y="839"/>
                          <a:pt x="219" y="838"/>
                        </a:cubicBezTo>
                        <a:cubicBezTo>
                          <a:pt x="223" y="837"/>
                          <a:pt x="225" y="836"/>
                          <a:pt x="226" y="831"/>
                        </a:cubicBezTo>
                        <a:cubicBezTo>
                          <a:pt x="227" y="828"/>
                          <a:pt x="227" y="826"/>
                          <a:pt x="226" y="823"/>
                        </a:cubicBezTo>
                        <a:cubicBezTo>
                          <a:pt x="226" y="820"/>
                          <a:pt x="225" y="815"/>
                          <a:pt x="227" y="807"/>
                        </a:cubicBezTo>
                        <a:cubicBezTo>
                          <a:pt x="229" y="800"/>
                          <a:pt x="229" y="793"/>
                          <a:pt x="230" y="787"/>
                        </a:cubicBezTo>
                        <a:cubicBezTo>
                          <a:pt x="230" y="781"/>
                          <a:pt x="229" y="776"/>
                          <a:pt x="228" y="772"/>
                        </a:cubicBezTo>
                        <a:cubicBezTo>
                          <a:pt x="226" y="768"/>
                          <a:pt x="224" y="766"/>
                          <a:pt x="221" y="762"/>
                        </a:cubicBezTo>
                        <a:cubicBezTo>
                          <a:pt x="220" y="760"/>
                          <a:pt x="217" y="758"/>
                          <a:pt x="214" y="753"/>
                        </a:cubicBezTo>
                        <a:cubicBezTo>
                          <a:pt x="211" y="749"/>
                          <a:pt x="211" y="748"/>
                          <a:pt x="212" y="745"/>
                        </a:cubicBezTo>
                        <a:cubicBezTo>
                          <a:pt x="213" y="742"/>
                          <a:pt x="214" y="737"/>
                          <a:pt x="214" y="728"/>
                        </a:cubicBezTo>
                        <a:cubicBezTo>
                          <a:pt x="213" y="710"/>
                          <a:pt x="204" y="701"/>
                          <a:pt x="201" y="697"/>
                        </a:cubicBezTo>
                        <a:cubicBezTo>
                          <a:pt x="200" y="697"/>
                          <a:pt x="200" y="696"/>
                          <a:pt x="200" y="696"/>
                        </a:cubicBezTo>
                        <a:cubicBezTo>
                          <a:pt x="199" y="696"/>
                          <a:pt x="198" y="694"/>
                          <a:pt x="198" y="692"/>
                        </a:cubicBezTo>
                        <a:cubicBezTo>
                          <a:pt x="198" y="692"/>
                          <a:pt x="198" y="692"/>
                          <a:pt x="198" y="692"/>
                        </a:cubicBezTo>
                        <a:cubicBezTo>
                          <a:pt x="197" y="689"/>
                          <a:pt x="196" y="686"/>
                          <a:pt x="195" y="683"/>
                        </a:cubicBezTo>
                        <a:cubicBezTo>
                          <a:pt x="195" y="683"/>
                          <a:pt x="196" y="681"/>
                          <a:pt x="197" y="680"/>
                        </a:cubicBezTo>
                        <a:cubicBezTo>
                          <a:pt x="197" y="680"/>
                          <a:pt x="197" y="680"/>
                          <a:pt x="197" y="680"/>
                        </a:cubicBezTo>
                        <a:cubicBezTo>
                          <a:pt x="199" y="677"/>
                          <a:pt x="201" y="675"/>
                          <a:pt x="201" y="670"/>
                        </a:cubicBezTo>
                        <a:cubicBezTo>
                          <a:pt x="202" y="664"/>
                          <a:pt x="197" y="659"/>
                          <a:pt x="193" y="652"/>
                        </a:cubicBezTo>
                        <a:cubicBezTo>
                          <a:pt x="190" y="649"/>
                          <a:pt x="187" y="645"/>
                          <a:pt x="185" y="642"/>
                        </a:cubicBezTo>
                        <a:cubicBezTo>
                          <a:pt x="182" y="635"/>
                          <a:pt x="183" y="633"/>
                          <a:pt x="185" y="629"/>
                        </a:cubicBezTo>
                        <a:cubicBezTo>
                          <a:pt x="186" y="629"/>
                          <a:pt x="186" y="628"/>
                          <a:pt x="187" y="626"/>
                        </a:cubicBezTo>
                        <a:cubicBezTo>
                          <a:pt x="189" y="623"/>
                          <a:pt x="191" y="620"/>
                          <a:pt x="193" y="618"/>
                        </a:cubicBezTo>
                        <a:cubicBezTo>
                          <a:pt x="193" y="618"/>
                          <a:pt x="193" y="618"/>
                          <a:pt x="193" y="618"/>
                        </a:cubicBezTo>
                        <a:cubicBezTo>
                          <a:pt x="195" y="615"/>
                          <a:pt x="197" y="614"/>
                          <a:pt x="199" y="612"/>
                        </a:cubicBezTo>
                        <a:cubicBezTo>
                          <a:pt x="203" y="609"/>
                          <a:pt x="202" y="605"/>
                          <a:pt x="202" y="597"/>
                        </a:cubicBezTo>
                        <a:cubicBezTo>
                          <a:pt x="201" y="594"/>
                          <a:pt x="201" y="590"/>
                          <a:pt x="201" y="586"/>
                        </a:cubicBezTo>
                        <a:cubicBezTo>
                          <a:pt x="201" y="579"/>
                          <a:pt x="202" y="578"/>
                          <a:pt x="205" y="576"/>
                        </a:cubicBezTo>
                        <a:cubicBezTo>
                          <a:pt x="206" y="575"/>
                          <a:pt x="208" y="574"/>
                          <a:pt x="209" y="572"/>
                        </a:cubicBezTo>
                        <a:cubicBezTo>
                          <a:pt x="211" y="571"/>
                          <a:pt x="213" y="569"/>
                          <a:pt x="214" y="567"/>
                        </a:cubicBezTo>
                        <a:cubicBezTo>
                          <a:pt x="220" y="561"/>
                          <a:pt x="227" y="555"/>
                          <a:pt x="226" y="550"/>
                        </a:cubicBezTo>
                        <a:cubicBezTo>
                          <a:pt x="226" y="548"/>
                          <a:pt x="225" y="546"/>
                          <a:pt x="224" y="543"/>
                        </a:cubicBezTo>
                        <a:cubicBezTo>
                          <a:pt x="223" y="541"/>
                          <a:pt x="222" y="538"/>
                          <a:pt x="222" y="535"/>
                        </a:cubicBezTo>
                        <a:cubicBezTo>
                          <a:pt x="222" y="533"/>
                          <a:pt x="222" y="532"/>
                          <a:pt x="222" y="530"/>
                        </a:cubicBezTo>
                        <a:cubicBezTo>
                          <a:pt x="222" y="524"/>
                          <a:pt x="222" y="517"/>
                          <a:pt x="220" y="509"/>
                        </a:cubicBezTo>
                        <a:cubicBezTo>
                          <a:pt x="220" y="509"/>
                          <a:pt x="220" y="509"/>
                          <a:pt x="220" y="509"/>
                        </a:cubicBezTo>
                        <a:cubicBezTo>
                          <a:pt x="219" y="504"/>
                          <a:pt x="218" y="500"/>
                          <a:pt x="217" y="496"/>
                        </a:cubicBezTo>
                        <a:cubicBezTo>
                          <a:pt x="217" y="493"/>
                          <a:pt x="217" y="490"/>
                          <a:pt x="218" y="488"/>
                        </a:cubicBezTo>
                        <a:cubicBezTo>
                          <a:pt x="218" y="487"/>
                          <a:pt x="219" y="485"/>
                          <a:pt x="220" y="483"/>
                        </a:cubicBezTo>
                        <a:cubicBezTo>
                          <a:pt x="224" y="470"/>
                          <a:pt x="235" y="439"/>
                          <a:pt x="240" y="431"/>
                        </a:cubicBezTo>
                        <a:cubicBezTo>
                          <a:pt x="243" y="427"/>
                          <a:pt x="246" y="423"/>
                          <a:pt x="250" y="419"/>
                        </a:cubicBezTo>
                        <a:cubicBezTo>
                          <a:pt x="255" y="414"/>
                          <a:pt x="261" y="408"/>
                          <a:pt x="268" y="398"/>
                        </a:cubicBezTo>
                        <a:cubicBezTo>
                          <a:pt x="268" y="398"/>
                          <a:pt x="268" y="398"/>
                          <a:pt x="268" y="398"/>
                        </a:cubicBezTo>
                        <a:cubicBezTo>
                          <a:pt x="272" y="390"/>
                          <a:pt x="275" y="384"/>
                          <a:pt x="277" y="378"/>
                        </a:cubicBezTo>
                        <a:cubicBezTo>
                          <a:pt x="279" y="371"/>
                          <a:pt x="282" y="364"/>
                          <a:pt x="289" y="356"/>
                        </a:cubicBezTo>
                        <a:cubicBezTo>
                          <a:pt x="296" y="349"/>
                          <a:pt x="297" y="349"/>
                          <a:pt x="299" y="350"/>
                        </a:cubicBezTo>
                        <a:cubicBezTo>
                          <a:pt x="301" y="351"/>
                          <a:pt x="303" y="351"/>
                          <a:pt x="307" y="350"/>
                        </a:cubicBezTo>
                        <a:cubicBezTo>
                          <a:pt x="311" y="348"/>
                          <a:pt x="314" y="346"/>
                          <a:pt x="316" y="343"/>
                        </a:cubicBezTo>
                        <a:cubicBezTo>
                          <a:pt x="318" y="340"/>
                          <a:pt x="318" y="338"/>
                          <a:pt x="319" y="334"/>
                        </a:cubicBezTo>
                        <a:cubicBezTo>
                          <a:pt x="319" y="330"/>
                          <a:pt x="316" y="324"/>
                          <a:pt x="313" y="317"/>
                        </a:cubicBezTo>
                        <a:cubicBezTo>
                          <a:pt x="310" y="312"/>
                          <a:pt x="307" y="306"/>
                          <a:pt x="306" y="302"/>
                        </a:cubicBezTo>
                        <a:cubicBezTo>
                          <a:pt x="306" y="298"/>
                          <a:pt x="306" y="282"/>
                          <a:pt x="306" y="265"/>
                        </a:cubicBezTo>
                        <a:cubicBezTo>
                          <a:pt x="306" y="248"/>
                          <a:pt x="307" y="230"/>
                          <a:pt x="308" y="224"/>
                        </a:cubicBezTo>
                        <a:cubicBezTo>
                          <a:pt x="309" y="220"/>
                          <a:pt x="311" y="219"/>
                          <a:pt x="312" y="218"/>
                        </a:cubicBezTo>
                        <a:cubicBezTo>
                          <a:pt x="316" y="215"/>
                          <a:pt x="318" y="214"/>
                          <a:pt x="315" y="208"/>
                        </a:cubicBezTo>
                        <a:cubicBezTo>
                          <a:pt x="314" y="205"/>
                          <a:pt x="313" y="202"/>
                          <a:pt x="312" y="199"/>
                        </a:cubicBezTo>
                        <a:cubicBezTo>
                          <a:pt x="311" y="196"/>
                          <a:pt x="310" y="193"/>
                          <a:pt x="310" y="191"/>
                        </a:cubicBezTo>
                        <a:cubicBezTo>
                          <a:pt x="310" y="188"/>
                          <a:pt x="311" y="185"/>
                          <a:pt x="314" y="181"/>
                        </a:cubicBezTo>
                        <a:cubicBezTo>
                          <a:pt x="315" y="179"/>
                          <a:pt x="317" y="176"/>
                          <a:pt x="320" y="175"/>
                        </a:cubicBezTo>
                        <a:cubicBezTo>
                          <a:pt x="324" y="173"/>
                          <a:pt x="329" y="170"/>
                          <a:pt x="335" y="167"/>
                        </a:cubicBezTo>
                        <a:cubicBezTo>
                          <a:pt x="343" y="162"/>
                          <a:pt x="351" y="157"/>
                          <a:pt x="355" y="156"/>
                        </a:cubicBezTo>
                        <a:cubicBezTo>
                          <a:pt x="360" y="155"/>
                          <a:pt x="368" y="151"/>
                          <a:pt x="374" y="148"/>
                        </a:cubicBezTo>
                        <a:cubicBezTo>
                          <a:pt x="379" y="146"/>
                          <a:pt x="383" y="143"/>
                          <a:pt x="383" y="140"/>
                        </a:cubicBezTo>
                        <a:cubicBezTo>
                          <a:pt x="383" y="139"/>
                          <a:pt x="384" y="134"/>
                          <a:pt x="386" y="126"/>
                        </a:cubicBezTo>
                        <a:cubicBezTo>
                          <a:pt x="391" y="108"/>
                          <a:pt x="399" y="78"/>
                          <a:pt x="398" y="71"/>
                        </a:cubicBezTo>
                        <a:cubicBezTo>
                          <a:pt x="398" y="70"/>
                          <a:pt x="398" y="70"/>
                          <a:pt x="398" y="70"/>
                        </a:cubicBezTo>
                        <a:cubicBezTo>
                          <a:pt x="398" y="70"/>
                          <a:pt x="398" y="70"/>
                          <a:pt x="398" y="70"/>
                        </a:cubicBezTo>
                        <a:cubicBezTo>
                          <a:pt x="397" y="64"/>
                          <a:pt x="396" y="60"/>
                          <a:pt x="399" y="55"/>
                        </a:cubicBezTo>
                        <a:cubicBezTo>
                          <a:pt x="401" y="52"/>
                          <a:pt x="408" y="46"/>
                          <a:pt x="415" y="40"/>
                        </a:cubicBezTo>
                        <a:cubicBezTo>
                          <a:pt x="425" y="32"/>
                          <a:pt x="437" y="23"/>
                          <a:pt x="441" y="21"/>
                        </a:cubicBezTo>
                        <a:cubicBezTo>
                          <a:pt x="447" y="18"/>
                          <a:pt x="448" y="13"/>
                          <a:pt x="449" y="8"/>
                        </a:cubicBezTo>
                        <a:cubicBezTo>
                          <a:pt x="449" y="5"/>
                          <a:pt x="450" y="3"/>
                          <a:pt x="451" y="0"/>
                        </a:cubicBezTo>
                        <a:cubicBezTo>
                          <a:pt x="451" y="0"/>
                          <a:pt x="451" y="0"/>
                          <a:pt x="451" y="0"/>
                        </a:cubicBezTo>
                        <a:cubicBezTo>
                          <a:pt x="451" y="0"/>
                          <a:pt x="452" y="1"/>
                          <a:pt x="453" y="2"/>
                        </a:cubicBezTo>
                        <a:cubicBezTo>
                          <a:pt x="457" y="4"/>
                          <a:pt x="461" y="8"/>
                          <a:pt x="465" y="12"/>
                        </a:cubicBezTo>
                        <a:cubicBezTo>
                          <a:pt x="469" y="15"/>
                          <a:pt x="472" y="18"/>
                          <a:pt x="475" y="20"/>
                        </a:cubicBezTo>
                        <a:cubicBezTo>
                          <a:pt x="482" y="25"/>
                          <a:pt x="483" y="25"/>
                          <a:pt x="490" y="24"/>
                        </a:cubicBezTo>
                        <a:cubicBezTo>
                          <a:pt x="494" y="23"/>
                          <a:pt x="500" y="22"/>
                          <a:pt x="512" y="22"/>
                        </a:cubicBezTo>
                        <a:cubicBezTo>
                          <a:pt x="533" y="22"/>
                          <a:pt x="534" y="23"/>
                          <a:pt x="539" y="27"/>
                        </a:cubicBezTo>
                        <a:cubicBezTo>
                          <a:pt x="541" y="28"/>
                          <a:pt x="542" y="29"/>
                          <a:pt x="545" y="31"/>
                        </a:cubicBezTo>
                        <a:cubicBezTo>
                          <a:pt x="550" y="35"/>
                          <a:pt x="553" y="43"/>
                          <a:pt x="556" y="50"/>
                        </a:cubicBezTo>
                        <a:cubicBezTo>
                          <a:pt x="559" y="58"/>
                          <a:pt x="561" y="64"/>
                          <a:pt x="567" y="65"/>
                        </a:cubicBezTo>
                        <a:cubicBezTo>
                          <a:pt x="575" y="66"/>
                          <a:pt x="581" y="49"/>
                          <a:pt x="586" y="34"/>
                        </a:cubicBezTo>
                        <a:cubicBezTo>
                          <a:pt x="590" y="24"/>
                          <a:pt x="593" y="15"/>
                          <a:pt x="594" y="14"/>
                        </a:cubicBezTo>
                        <a:cubicBezTo>
                          <a:pt x="598" y="11"/>
                          <a:pt x="634" y="13"/>
                          <a:pt x="650" y="14"/>
                        </a:cubicBezTo>
                        <a:cubicBezTo>
                          <a:pt x="654" y="14"/>
                          <a:pt x="654" y="14"/>
                          <a:pt x="654" y="14"/>
                        </a:cubicBezTo>
                        <a:cubicBezTo>
                          <a:pt x="662" y="15"/>
                          <a:pt x="667" y="21"/>
                          <a:pt x="673" y="30"/>
                        </a:cubicBezTo>
                        <a:cubicBezTo>
                          <a:pt x="676" y="34"/>
                          <a:pt x="679" y="39"/>
                          <a:pt x="684" y="44"/>
                        </a:cubicBezTo>
                        <a:cubicBezTo>
                          <a:pt x="690" y="51"/>
                          <a:pt x="698" y="60"/>
                          <a:pt x="706" y="68"/>
                        </a:cubicBezTo>
                        <a:cubicBezTo>
                          <a:pt x="713" y="77"/>
                          <a:pt x="720" y="85"/>
                          <a:pt x="724" y="91"/>
                        </a:cubicBezTo>
                        <a:cubicBezTo>
                          <a:pt x="729" y="98"/>
                          <a:pt x="739" y="108"/>
                          <a:pt x="749" y="116"/>
                        </a:cubicBezTo>
                        <a:cubicBezTo>
                          <a:pt x="756" y="123"/>
                          <a:pt x="765" y="130"/>
                          <a:pt x="772" y="133"/>
                        </a:cubicBezTo>
                        <a:cubicBezTo>
                          <a:pt x="781" y="137"/>
                          <a:pt x="790" y="139"/>
                          <a:pt x="800" y="141"/>
                        </a:cubicBezTo>
                        <a:cubicBezTo>
                          <a:pt x="808" y="142"/>
                          <a:pt x="817" y="143"/>
                          <a:pt x="827" y="146"/>
                        </a:cubicBezTo>
                        <a:cubicBezTo>
                          <a:pt x="839" y="150"/>
                          <a:pt x="843" y="153"/>
                          <a:pt x="849" y="159"/>
                        </a:cubicBezTo>
                        <a:cubicBezTo>
                          <a:pt x="855" y="164"/>
                          <a:pt x="862" y="170"/>
                          <a:pt x="876" y="179"/>
                        </a:cubicBezTo>
                        <a:cubicBezTo>
                          <a:pt x="900" y="194"/>
                          <a:pt x="917" y="202"/>
                          <a:pt x="931" y="208"/>
                        </a:cubicBezTo>
                        <a:cubicBezTo>
                          <a:pt x="936" y="210"/>
                          <a:pt x="941" y="212"/>
                          <a:pt x="945" y="214"/>
                        </a:cubicBezTo>
                        <a:cubicBezTo>
                          <a:pt x="953" y="218"/>
                          <a:pt x="961" y="223"/>
                          <a:pt x="966" y="228"/>
                        </a:cubicBezTo>
                        <a:cubicBezTo>
                          <a:pt x="971" y="233"/>
                          <a:pt x="974" y="238"/>
                          <a:pt x="975" y="242"/>
                        </a:cubicBezTo>
                        <a:cubicBezTo>
                          <a:pt x="976" y="249"/>
                          <a:pt x="972" y="253"/>
                          <a:pt x="965" y="261"/>
                        </a:cubicBezTo>
                        <a:cubicBezTo>
                          <a:pt x="963" y="263"/>
                          <a:pt x="961" y="265"/>
                          <a:pt x="959" y="268"/>
                        </a:cubicBezTo>
                        <a:cubicBezTo>
                          <a:pt x="956" y="271"/>
                          <a:pt x="954" y="273"/>
                          <a:pt x="952" y="275"/>
                        </a:cubicBezTo>
                        <a:cubicBezTo>
                          <a:pt x="945" y="284"/>
                          <a:pt x="941" y="287"/>
                          <a:pt x="938" y="301"/>
                        </a:cubicBezTo>
                        <a:cubicBezTo>
                          <a:pt x="937" y="310"/>
                          <a:pt x="934" y="313"/>
                          <a:pt x="932" y="316"/>
                        </a:cubicBezTo>
                        <a:cubicBezTo>
                          <a:pt x="929" y="319"/>
                          <a:pt x="927" y="323"/>
                          <a:pt x="924" y="329"/>
                        </a:cubicBezTo>
                        <a:cubicBezTo>
                          <a:pt x="923" y="333"/>
                          <a:pt x="921" y="336"/>
                          <a:pt x="920" y="339"/>
                        </a:cubicBezTo>
                        <a:cubicBezTo>
                          <a:pt x="915" y="348"/>
                          <a:pt x="912" y="354"/>
                          <a:pt x="920" y="360"/>
                        </a:cubicBezTo>
                        <a:cubicBezTo>
                          <a:pt x="925" y="363"/>
                          <a:pt x="929" y="363"/>
                          <a:pt x="936" y="362"/>
                        </a:cubicBezTo>
                        <a:cubicBezTo>
                          <a:pt x="944" y="361"/>
                          <a:pt x="954" y="360"/>
                          <a:pt x="972" y="362"/>
                        </a:cubicBezTo>
                        <a:cubicBezTo>
                          <a:pt x="990" y="363"/>
                          <a:pt x="990" y="362"/>
                          <a:pt x="990" y="362"/>
                        </a:cubicBezTo>
                        <a:cubicBezTo>
                          <a:pt x="989" y="365"/>
                          <a:pt x="989" y="368"/>
                          <a:pt x="996" y="371"/>
                        </a:cubicBezTo>
                        <a:cubicBezTo>
                          <a:pt x="1005" y="374"/>
                          <a:pt x="1012" y="373"/>
                          <a:pt x="1020" y="372"/>
                        </a:cubicBezTo>
                        <a:cubicBezTo>
                          <a:pt x="1024" y="372"/>
                          <a:pt x="1029" y="371"/>
                          <a:pt x="1035" y="371"/>
                        </a:cubicBezTo>
                        <a:cubicBezTo>
                          <a:pt x="1044" y="371"/>
                          <a:pt x="1048" y="373"/>
                          <a:pt x="1051" y="376"/>
                        </a:cubicBezTo>
                        <a:cubicBezTo>
                          <a:pt x="1053" y="377"/>
                          <a:pt x="1056" y="378"/>
                          <a:pt x="1059" y="379"/>
                        </a:cubicBezTo>
                        <a:cubicBezTo>
                          <a:pt x="1066" y="381"/>
                          <a:pt x="1072" y="377"/>
                          <a:pt x="1077" y="373"/>
                        </a:cubicBezTo>
                        <a:cubicBezTo>
                          <a:pt x="1080" y="371"/>
                          <a:pt x="1082" y="369"/>
                          <a:pt x="1084" y="368"/>
                        </a:cubicBezTo>
                        <a:cubicBezTo>
                          <a:pt x="1088" y="366"/>
                          <a:pt x="1091" y="366"/>
                          <a:pt x="1094" y="366"/>
                        </a:cubicBezTo>
                        <a:cubicBezTo>
                          <a:pt x="1097" y="367"/>
                          <a:pt x="1099" y="367"/>
                          <a:pt x="1103" y="365"/>
                        </a:cubicBezTo>
                        <a:cubicBezTo>
                          <a:pt x="1107" y="364"/>
                          <a:pt x="1110" y="361"/>
                          <a:pt x="1111" y="357"/>
                        </a:cubicBezTo>
                        <a:cubicBezTo>
                          <a:pt x="1112" y="354"/>
                          <a:pt x="1112" y="351"/>
                          <a:pt x="1112" y="348"/>
                        </a:cubicBezTo>
                        <a:cubicBezTo>
                          <a:pt x="1113" y="346"/>
                          <a:pt x="1139" y="326"/>
                          <a:pt x="1148" y="319"/>
                        </a:cubicBezTo>
                        <a:cubicBezTo>
                          <a:pt x="1150" y="317"/>
                          <a:pt x="1150" y="317"/>
                          <a:pt x="1150" y="317"/>
                        </a:cubicBezTo>
                        <a:cubicBezTo>
                          <a:pt x="1154" y="314"/>
                          <a:pt x="1159" y="309"/>
                          <a:pt x="1162" y="301"/>
                        </a:cubicBezTo>
                        <a:cubicBezTo>
                          <a:pt x="1165" y="294"/>
                          <a:pt x="1168" y="283"/>
                          <a:pt x="1170" y="268"/>
                        </a:cubicBezTo>
                        <a:cubicBezTo>
                          <a:pt x="1170" y="264"/>
                          <a:pt x="1170" y="261"/>
                          <a:pt x="1171" y="258"/>
                        </a:cubicBezTo>
                        <a:cubicBezTo>
                          <a:pt x="1178" y="255"/>
                          <a:pt x="1195" y="248"/>
                          <a:pt x="1202" y="254"/>
                        </a:cubicBezTo>
                        <a:cubicBezTo>
                          <a:pt x="1208" y="258"/>
                          <a:pt x="1211" y="262"/>
                          <a:pt x="1214" y="266"/>
                        </a:cubicBezTo>
                        <a:cubicBezTo>
                          <a:pt x="1216" y="270"/>
                          <a:pt x="1218" y="275"/>
                          <a:pt x="1219" y="281"/>
                        </a:cubicBezTo>
                        <a:cubicBezTo>
                          <a:pt x="1220" y="287"/>
                          <a:pt x="1221" y="294"/>
                          <a:pt x="1221" y="302"/>
                        </a:cubicBezTo>
                        <a:cubicBezTo>
                          <a:pt x="1221" y="302"/>
                          <a:pt x="1221" y="302"/>
                          <a:pt x="1221" y="302"/>
                        </a:cubicBezTo>
                        <a:cubicBezTo>
                          <a:pt x="1221" y="311"/>
                          <a:pt x="1220" y="321"/>
                          <a:pt x="1219" y="333"/>
                        </a:cubicBezTo>
                        <a:cubicBezTo>
                          <a:pt x="1216" y="348"/>
                          <a:pt x="1203" y="354"/>
                          <a:pt x="1191" y="358"/>
                        </a:cubicBezTo>
                        <a:cubicBezTo>
                          <a:pt x="1191" y="358"/>
                          <a:pt x="1191" y="358"/>
                          <a:pt x="1191" y="358"/>
                        </a:cubicBezTo>
                        <a:cubicBezTo>
                          <a:pt x="1186" y="360"/>
                          <a:pt x="1182" y="362"/>
                          <a:pt x="1178" y="364"/>
                        </a:cubicBezTo>
                        <a:cubicBezTo>
                          <a:pt x="1173" y="368"/>
                          <a:pt x="1168" y="369"/>
                          <a:pt x="1162" y="371"/>
                        </a:cubicBezTo>
                        <a:cubicBezTo>
                          <a:pt x="1162" y="371"/>
                          <a:pt x="1162" y="371"/>
                          <a:pt x="1162" y="371"/>
                        </a:cubicBezTo>
                        <a:cubicBezTo>
                          <a:pt x="1155" y="373"/>
                          <a:pt x="1148" y="376"/>
                          <a:pt x="1141" y="381"/>
                        </a:cubicBezTo>
                        <a:cubicBezTo>
                          <a:pt x="1134" y="387"/>
                          <a:pt x="1126" y="392"/>
                          <a:pt x="1119" y="396"/>
                        </a:cubicBezTo>
                        <a:cubicBezTo>
                          <a:pt x="1113" y="400"/>
                          <a:pt x="1107" y="404"/>
                          <a:pt x="1102" y="408"/>
                        </a:cubicBezTo>
                        <a:cubicBezTo>
                          <a:pt x="1094" y="414"/>
                          <a:pt x="1093" y="420"/>
                          <a:pt x="1092" y="426"/>
                        </a:cubicBezTo>
                        <a:cubicBezTo>
                          <a:pt x="1091" y="430"/>
                          <a:pt x="1090" y="435"/>
                          <a:pt x="1087" y="440"/>
                        </a:cubicBezTo>
                        <a:cubicBezTo>
                          <a:pt x="1082" y="448"/>
                          <a:pt x="1080" y="450"/>
                          <a:pt x="1073" y="455"/>
                        </a:cubicBezTo>
                        <a:cubicBezTo>
                          <a:pt x="1069" y="458"/>
                          <a:pt x="1065" y="461"/>
                          <a:pt x="1059" y="465"/>
                        </a:cubicBezTo>
                        <a:cubicBezTo>
                          <a:pt x="1045" y="476"/>
                          <a:pt x="1025" y="497"/>
                          <a:pt x="1011" y="511"/>
                        </a:cubicBezTo>
                        <a:cubicBezTo>
                          <a:pt x="1005" y="517"/>
                          <a:pt x="1000" y="522"/>
                          <a:pt x="998" y="524"/>
                        </a:cubicBezTo>
                        <a:cubicBezTo>
                          <a:pt x="994" y="527"/>
                          <a:pt x="980" y="544"/>
                          <a:pt x="971" y="559"/>
                        </a:cubicBezTo>
                        <a:cubicBezTo>
                          <a:pt x="965" y="568"/>
                          <a:pt x="960" y="578"/>
                          <a:pt x="962" y="584"/>
                        </a:cubicBezTo>
                        <a:cubicBezTo>
                          <a:pt x="965" y="596"/>
                          <a:pt x="962" y="606"/>
                          <a:pt x="957" y="624"/>
                        </a:cubicBezTo>
                        <a:cubicBezTo>
                          <a:pt x="957" y="624"/>
                          <a:pt x="957" y="624"/>
                          <a:pt x="957" y="624"/>
                        </a:cubicBezTo>
                        <a:cubicBezTo>
                          <a:pt x="957" y="624"/>
                          <a:pt x="957" y="624"/>
                          <a:pt x="957" y="624"/>
                        </a:cubicBezTo>
                        <a:cubicBezTo>
                          <a:pt x="957" y="624"/>
                          <a:pt x="957" y="624"/>
                          <a:pt x="957" y="624"/>
                        </a:cubicBezTo>
                        <a:cubicBezTo>
                          <a:pt x="955" y="630"/>
                          <a:pt x="953" y="636"/>
                          <a:pt x="952" y="641"/>
                        </a:cubicBezTo>
                        <a:cubicBezTo>
                          <a:pt x="949" y="652"/>
                          <a:pt x="947" y="661"/>
                          <a:pt x="944" y="666"/>
                        </a:cubicBezTo>
                        <a:cubicBezTo>
                          <a:pt x="939" y="674"/>
                          <a:pt x="940" y="683"/>
                          <a:pt x="941" y="703"/>
                        </a:cubicBezTo>
                        <a:cubicBezTo>
                          <a:pt x="942" y="706"/>
                          <a:pt x="942" y="706"/>
                          <a:pt x="942" y="706"/>
                        </a:cubicBezTo>
                        <a:cubicBezTo>
                          <a:pt x="942" y="713"/>
                          <a:pt x="942" y="713"/>
                          <a:pt x="942" y="713"/>
                        </a:cubicBezTo>
                        <a:cubicBezTo>
                          <a:pt x="943" y="731"/>
                          <a:pt x="945" y="747"/>
                          <a:pt x="943" y="751"/>
                        </a:cubicBezTo>
                        <a:cubicBezTo>
                          <a:pt x="942" y="753"/>
                          <a:pt x="940" y="756"/>
                          <a:pt x="938" y="758"/>
                        </a:cubicBezTo>
                        <a:close/>
                        <a:moveTo>
                          <a:pt x="592" y="1395"/>
                        </a:moveTo>
                        <a:cubicBezTo>
                          <a:pt x="583" y="1404"/>
                          <a:pt x="573" y="1400"/>
                          <a:pt x="572" y="1404"/>
                        </a:cubicBezTo>
                        <a:cubicBezTo>
                          <a:pt x="570" y="1408"/>
                          <a:pt x="572" y="1412"/>
                          <a:pt x="576" y="1415"/>
                        </a:cubicBezTo>
                        <a:cubicBezTo>
                          <a:pt x="580" y="1419"/>
                          <a:pt x="579" y="1423"/>
                          <a:pt x="576" y="1424"/>
                        </a:cubicBezTo>
                        <a:cubicBezTo>
                          <a:pt x="572" y="1424"/>
                          <a:pt x="565" y="1417"/>
                          <a:pt x="565" y="1426"/>
                        </a:cubicBezTo>
                        <a:cubicBezTo>
                          <a:pt x="564" y="1435"/>
                          <a:pt x="568" y="1438"/>
                          <a:pt x="572" y="1440"/>
                        </a:cubicBezTo>
                        <a:cubicBezTo>
                          <a:pt x="577" y="1442"/>
                          <a:pt x="587" y="1447"/>
                          <a:pt x="590" y="1446"/>
                        </a:cubicBezTo>
                        <a:cubicBezTo>
                          <a:pt x="592" y="1444"/>
                          <a:pt x="601" y="1444"/>
                          <a:pt x="605" y="1441"/>
                        </a:cubicBezTo>
                        <a:cubicBezTo>
                          <a:pt x="608" y="1437"/>
                          <a:pt x="608" y="1433"/>
                          <a:pt x="608" y="1425"/>
                        </a:cubicBezTo>
                        <a:cubicBezTo>
                          <a:pt x="608" y="1417"/>
                          <a:pt x="609" y="1417"/>
                          <a:pt x="609" y="1407"/>
                        </a:cubicBezTo>
                        <a:cubicBezTo>
                          <a:pt x="609" y="1398"/>
                          <a:pt x="605" y="1391"/>
                          <a:pt x="592" y="1395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54" name="Freeform 25"/>
                  <p:cNvSpPr>
                    <a:spLocks noEditPoints="1"/>
                  </p:cNvSpPr>
                  <p:nvPr/>
                </p:nvSpPr>
                <p:spPr bwMode="auto">
                  <a:xfrm>
                    <a:off x="2925478" y="4965594"/>
                    <a:ext cx="245269" cy="784622"/>
                  </a:xfrm>
                  <a:custGeom>
                    <a:avLst/>
                    <a:gdLst>
                      <a:gd name="T0" fmla="*/ 531 w 854"/>
                      <a:gd name="T1" fmla="*/ 2346 h 2736"/>
                      <a:gd name="T2" fmla="*/ 498 w 854"/>
                      <a:gd name="T3" fmla="*/ 2197 h 2736"/>
                      <a:gd name="T4" fmla="*/ 560 w 854"/>
                      <a:gd name="T5" fmla="*/ 2025 h 2736"/>
                      <a:gd name="T6" fmla="*/ 563 w 854"/>
                      <a:gd name="T7" fmla="*/ 1888 h 2736"/>
                      <a:gd name="T8" fmla="*/ 562 w 854"/>
                      <a:gd name="T9" fmla="*/ 1823 h 2736"/>
                      <a:gd name="T10" fmla="*/ 544 w 854"/>
                      <a:gd name="T11" fmla="*/ 1703 h 2736"/>
                      <a:gd name="T12" fmla="*/ 568 w 854"/>
                      <a:gd name="T13" fmla="*/ 1510 h 2736"/>
                      <a:gd name="T14" fmla="*/ 626 w 854"/>
                      <a:gd name="T15" fmla="*/ 1252 h 2736"/>
                      <a:gd name="T16" fmla="*/ 682 w 854"/>
                      <a:gd name="T17" fmla="*/ 1099 h 2736"/>
                      <a:gd name="T18" fmla="*/ 641 w 854"/>
                      <a:gd name="T19" fmla="*/ 915 h 2736"/>
                      <a:gd name="T20" fmla="*/ 673 w 854"/>
                      <a:gd name="T21" fmla="*/ 755 h 2736"/>
                      <a:gd name="T22" fmla="*/ 767 w 854"/>
                      <a:gd name="T23" fmla="*/ 471 h 2736"/>
                      <a:gd name="T24" fmla="*/ 787 w 854"/>
                      <a:gd name="T25" fmla="*/ 249 h 2736"/>
                      <a:gd name="T26" fmla="*/ 732 w 854"/>
                      <a:gd name="T27" fmla="*/ 52 h 2736"/>
                      <a:gd name="T28" fmla="*/ 671 w 854"/>
                      <a:gd name="T29" fmla="*/ 251 h 2736"/>
                      <a:gd name="T30" fmla="*/ 613 w 854"/>
                      <a:gd name="T31" fmla="*/ 656 h 2736"/>
                      <a:gd name="T32" fmla="*/ 578 w 854"/>
                      <a:gd name="T33" fmla="*/ 1006 h 2736"/>
                      <a:gd name="T34" fmla="*/ 480 w 854"/>
                      <a:gd name="T35" fmla="*/ 1279 h 2736"/>
                      <a:gd name="T36" fmla="*/ 463 w 854"/>
                      <a:gd name="T37" fmla="*/ 1503 h 2736"/>
                      <a:gd name="T38" fmla="*/ 485 w 854"/>
                      <a:gd name="T39" fmla="*/ 1624 h 2736"/>
                      <a:gd name="T40" fmla="*/ 521 w 854"/>
                      <a:gd name="T41" fmla="*/ 1658 h 2736"/>
                      <a:gd name="T42" fmla="*/ 504 w 854"/>
                      <a:gd name="T43" fmla="*/ 1714 h 2736"/>
                      <a:gd name="T44" fmla="*/ 505 w 854"/>
                      <a:gd name="T45" fmla="*/ 1871 h 2736"/>
                      <a:gd name="T46" fmla="*/ 465 w 854"/>
                      <a:gd name="T47" fmla="*/ 1946 h 2736"/>
                      <a:gd name="T48" fmla="*/ 417 w 854"/>
                      <a:gd name="T49" fmla="*/ 1972 h 2736"/>
                      <a:gd name="T50" fmla="*/ 401 w 854"/>
                      <a:gd name="T51" fmla="*/ 2015 h 2736"/>
                      <a:gd name="T52" fmla="*/ 445 w 854"/>
                      <a:gd name="T53" fmla="*/ 2093 h 2736"/>
                      <a:gd name="T54" fmla="*/ 424 w 854"/>
                      <a:gd name="T55" fmla="*/ 2145 h 2736"/>
                      <a:gd name="T56" fmla="*/ 424 w 854"/>
                      <a:gd name="T57" fmla="*/ 2196 h 2736"/>
                      <a:gd name="T58" fmla="*/ 433 w 854"/>
                      <a:gd name="T59" fmla="*/ 2267 h 2736"/>
                      <a:gd name="T60" fmla="*/ 426 w 854"/>
                      <a:gd name="T61" fmla="*/ 2308 h 2736"/>
                      <a:gd name="T62" fmla="*/ 449 w 854"/>
                      <a:gd name="T63" fmla="*/ 2380 h 2736"/>
                      <a:gd name="T64" fmla="*/ 479 w 854"/>
                      <a:gd name="T65" fmla="*/ 2394 h 2736"/>
                      <a:gd name="T66" fmla="*/ 587 w 854"/>
                      <a:gd name="T67" fmla="*/ 2493 h 2736"/>
                      <a:gd name="T68" fmla="*/ 568 w 854"/>
                      <a:gd name="T69" fmla="*/ 2525 h 2736"/>
                      <a:gd name="T70" fmla="*/ 589 w 854"/>
                      <a:gd name="T71" fmla="*/ 2594 h 2736"/>
                      <a:gd name="T72" fmla="*/ 134 w 854"/>
                      <a:gd name="T73" fmla="*/ 1064 h 2736"/>
                      <a:gd name="T74" fmla="*/ 457 w 854"/>
                      <a:gd name="T75" fmla="*/ 1718 h 2736"/>
                      <a:gd name="T76" fmla="*/ 489 w 854"/>
                      <a:gd name="T77" fmla="*/ 1865 h 2736"/>
                      <a:gd name="T78" fmla="*/ 430 w 854"/>
                      <a:gd name="T79" fmla="*/ 1832 h 2736"/>
                      <a:gd name="T80" fmla="*/ 452 w 854"/>
                      <a:gd name="T81" fmla="*/ 1924 h 2736"/>
                      <a:gd name="T82" fmla="*/ 375 w 854"/>
                      <a:gd name="T83" fmla="*/ 1947 h 2736"/>
                      <a:gd name="T84" fmla="*/ 345 w 854"/>
                      <a:gd name="T85" fmla="*/ 1995 h 2736"/>
                      <a:gd name="T86" fmla="*/ 403 w 854"/>
                      <a:gd name="T87" fmla="*/ 2131 h 2736"/>
                      <a:gd name="T88" fmla="*/ 337 w 854"/>
                      <a:gd name="T89" fmla="*/ 2124 h 2736"/>
                      <a:gd name="T90" fmla="*/ 393 w 854"/>
                      <a:gd name="T91" fmla="*/ 2236 h 2736"/>
                      <a:gd name="T92" fmla="*/ 363 w 854"/>
                      <a:gd name="T93" fmla="*/ 2232 h 2736"/>
                      <a:gd name="T94" fmla="*/ 335 w 854"/>
                      <a:gd name="T95" fmla="*/ 2191 h 2736"/>
                      <a:gd name="T96" fmla="*/ 424 w 854"/>
                      <a:gd name="T97" fmla="*/ 2326 h 2736"/>
                      <a:gd name="T98" fmla="*/ 366 w 854"/>
                      <a:gd name="T99" fmla="*/ 2297 h 2736"/>
                      <a:gd name="T100" fmla="*/ 385 w 854"/>
                      <a:gd name="T101" fmla="*/ 2389 h 2736"/>
                      <a:gd name="T102" fmla="*/ 463 w 854"/>
                      <a:gd name="T103" fmla="*/ 2480 h 2736"/>
                      <a:gd name="T104" fmla="*/ 430 w 854"/>
                      <a:gd name="T105" fmla="*/ 2462 h 2736"/>
                      <a:gd name="T106" fmla="*/ 469 w 854"/>
                      <a:gd name="T107" fmla="*/ 2512 h 2736"/>
                      <a:gd name="T108" fmla="*/ 397 w 854"/>
                      <a:gd name="T109" fmla="*/ 2507 h 2736"/>
                      <a:gd name="T110" fmla="*/ 484 w 854"/>
                      <a:gd name="T111" fmla="*/ 2561 h 2736"/>
                      <a:gd name="T112" fmla="*/ 472 w 854"/>
                      <a:gd name="T113" fmla="*/ 2600 h 2736"/>
                      <a:gd name="T114" fmla="*/ 464 w 854"/>
                      <a:gd name="T115" fmla="*/ 2616 h 2736"/>
                      <a:gd name="T116" fmla="*/ 553 w 854"/>
                      <a:gd name="T117" fmla="*/ 2602 h 2736"/>
                      <a:gd name="T118" fmla="*/ 633 w 854"/>
                      <a:gd name="T119" fmla="*/ 2588 h 2736"/>
                      <a:gd name="T120" fmla="*/ 614 w 854"/>
                      <a:gd name="T121" fmla="*/ 2662 h 2736"/>
                      <a:gd name="T122" fmla="*/ 717 w 854"/>
                      <a:gd name="T123" fmla="*/ 2696 h 2736"/>
                      <a:gd name="T124" fmla="*/ 691 w 854"/>
                      <a:gd name="T125" fmla="*/ 2697 h 27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854" h="2736">
                        <a:moveTo>
                          <a:pt x="762" y="2469"/>
                        </a:moveTo>
                        <a:cubicBezTo>
                          <a:pt x="746" y="2462"/>
                          <a:pt x="725" y="2453"/>
                          <a:pt x="720" y="2452"/>
                        </a:cubicBezTo>
                        <a:cubicBezTo>
                          <a:pt x="717" y="2452"/>
                          <a:pt x="716" y="2452"/>
                          <a:pt x="714" y="2451"/>
                        </a:cubicBezTo>
                        <a:cubicBezTo>
                          <a:pt x="704" y="2449"/>
                          <a:pt x="688" y="2446"/>
                          <a:pt x="673" y="2445"/>
                        </a:cubicBezTo>
                        <a:cubicBezTo>
                          <a:pt x="659" y="2443"/>
                          <a:pt x="640" y="2444"/>
                          <a:pt x="627" y="2444"/>
                        </a:cubicBezTo>
                        <a:cubicBezTo>
                          <a:pt x="623" y="2445"/>
                          <a:pt x="620" y="2445"/>
                          <a:pt x="617" y="2445"/>
                        </a:cubicBezTo>
                        <a:cubicBezTo>
                          <a:pt x="611" y="2445"/>
                          <a:pt x="589" y="2445"/>
                          <a:pt x="573" y="2443"/>
                        </a:cubicBezTo>
                        <a:cubicBezTo>
                          <a:pt x="563" y="2442"/>
                          <a:pt x="554" y="2440"/>
                          <a:pt x="552" y="2437"/>
                        </a:cubicBezTo>
                        <a:cubicBezTo>
                          <a:pt x="550" y="2434"/>
                          <a:pt x="548" y="2432"/>
                          <a:pt x="547" y="2430"/>
                        </a:cubicBezTo>
                        <a:cubicBezTo>
                          <a:pt x="545" y="2427"/>
                          <a:pt x="543" y="2424"/>
                          <a:pt x="538" y="2420"/>
                        </a:cubicBezTo>
                        <a:cubicBezTo>
                          <a:pt x="533" y="2416"/>
                          <a:pt x="530" y="2413"/>
                          <a:pt x="529" y="2410"/>
                        </a:cubicBezTo>
                        <a:cubicBezTo>
                          <a:pt x="527" y="2407"/>
                          <a:pt x="527" y="2404"/>
                          <a:pt x="528" y="2399"/>
                        </a:cubicBezTo>
                        <a:cubicBezTo>
                          <a:pt x="528" y="2395"/>
                          <a:pt x="529" y="2392"/>
                          <a:pt x="530" y="2390"/>
                        </a:cubicBezTo>
                        <a:cubicBezTo>
                          <a:pt x="531" y="2388"/>
                          <a:pt x="532" y="2385"/>
                          <a:pt x="531" y="2382"/>
                        </a:cubicBezTo>
                        <a:cubicBezTo>
                          <a:pt x="530" y="2378"/>
                          <a:pt x="530" y="2378"/>
                          <a:pt x="529" y="2377"/>
                        </a:cubicBezTo>
                        <a:cubicBezTo>
                          <a:pt x="528" y="2375"/>
                          <a:pt x="526" y="2373"/>
                          <a:pt x="524" y="2368"/>
                        </a:cubicBezTo>
                        <a:cubicBezTo>
                          <a:pt x="520" y="2360"/>
                          <a:pt x="524" y="2357"/>
                          <a:pt x="527" y="2353"/>
                        </a:cubicBezTo>
                        <a:cubicBezTo>
                          <a:pt x="529" y="2351"/>
                          <a:pt x="531" y="2349"/>
                          <a:pt x="531" y="2346"/>
                        </a:cubicBezTo>
                        <a:cubicBezTo>
                          <a:pt x="530" y="2341"/>
                          <a:pt x="530" y="2338"/>
                          <a:pt x="528" y="2337"/>
                        </a:cubicBezTo>
                        <a:cubicBezTo>
                          <a:pt x="527" y="2335"/>
                          <a:pt x="525" y="2334"/>
                          <a:pt x="522" y="2333"/>
                        </a:cubicBezTo>
                        <a:cubicBezTo>
                          <a:pt x="520" y="2332"/>
                          <a:pt x="517" y="2331"/>
                          <a:pt x="515" y="2331"/>
                        </a:cubicBezTo>
                        <a:cubicBezTo>
                          <a:pt x="513" y="2332"/>
                          <a:pt x="510" y="2333"/>
                          <a:pt x="508" y="2334"/>
                        </a:cubicBezTo>
                        <a:cubicBezTo>
                          <a:pt x="505" y="2336"/>
                          <a:pt x="498" y="2339"/>
                          <a:pt x="491" y="2341"/>
                        </a:cubicBezTo>
                        <a:cubicBezTo>
                          <a:pt x="486" y="2343"/>
                          <a:pt x="480" y="2344"/>
                          <a:pt x="477" y="2343"/>
                        </a:cubicBezTo>
                        <a:cubicBezTo>
                          <a:pt x="470" y="2341"/>
                          <a:pt x="471" y="2336"/>
                          <a:pt x="471" y="2328"/>
                        </a:cubicBezTo>
                        <a:cubicBezTo>
                          <a:pt x="472" y="2324"/>
                          <a:pt x="472" y="2318"/>
                          <a:pt x="471" y="2312"/>
                        </a:cubicBezTo>
                        <a:cubicBezTo>
                          <a:pt x="470" y="2305"/>
                          <a:pt x="469" y="2304"/>
                          <a:pt x="467" y="2303"/>
                        </a:cubicBezTo>
                        <a:cubicBezTo>
                          <a:pt x="465" y="2302"/>
                          <a:pt x="462" y="2301"/>
                          <a:pt x="460" y="2298"/>
                        </a:cubicBezTo>
                        <a:cubicBezTo>
                          <a:pt x="455" y="2292"/>
                          <a:pt x="455" y="2288"/>
                          <a:pt x="456" y="2278"/>
                        </a:cubicBezTo>
                        <a:cubicBezTo>
                          <a:pt x="456" y="2274"/>
                          <a:pt x="456" y="2269"/>
                          <a:pt x="456" y="2262"/>
                        </a:cubicBezTo>
                        <a:cubicBezTo>
                          <a:pt x="456" y="2244"/>
                          <a:pt x="458" y="2236"/>
                          <a:pt x="459" y="2230"/>
                        </a:cubicBezTo>
                        <a:cubicBezTo>
                          <a:pt x="460" y="2229"/>
                          <a:pt x="460" y="2228"/>
                          <a:pt x="460" y="2226"/>
                        </a:cubicBezTo>
                        <a:cubicBezTo>
                          <a:pt x="462" y="2220"/>
                          <a:pt x="465" y="2219"/>
                          <a:pt x="470" y="2217"/>
                        </a:cubicBezTo>
                        <a:cubicBezTo>
                          <a:pt x="472" y="2216"/>
                          <a:pt x="474" y="2216"/>
                          <a:pt x="476" y="2215"/>
                        </a:cubicBezTo>
                        <a:cubicBezTo>
                          <a:pt x="480" y="2213"/>
                          <a:pt x="483" y="2211"/>
                          <a:pt x="486" y="2208"/>
                        </a:cubicBezTo>
                        <a:cubicBezTo>
                          <a:pt x="490" y="2205"/>
                          <a:pt x="493" y="2201"/>
                          <a:pt x="498" y="2197"/>
                        </a:cubicBezTo>
                        <a:cubicBezTo>
                          <a:pt x="499" y="2195"/>
                          <a:pt x="500" y="2194"/>
                          <a:pt x="501" y="2193"/>
                        </a:cubicBezTo>
                        <a:cubicBezTo>
                          <a:pt x="508" y="2186"/>
                          <a:pt x="513" y="2181"/>
                          <a:pt x="512" y="2174"/>
                        </a:cubicBezTo>
                        <a:cubicBezTo>
                          <a:pt x="512" y="2169"/>
                          <a:pt x="513" y="2164"/>
                          <a:pt x="514" y="2160"/>
                        </a:cubicBezTo>
                        <a:cubicBezTo>
                          <a:pt x="515" y="2156"/>
                          <a:pt x="516" y="2153"/>
                          <a:pt x="516" y="2152"/>
                        </a:cubicBezTo>
                        <a:cubicBezTo>
                          <a:pt x="516" y="2151"/>
                          <a:pt x="518" y="2149"/>
                          <a:pt x="520" y="2147"/>
                        </a:cubicBezTo>
                        <a:cubicBezTo>
                          <a:pt x="523" y="2143"/>
                          <a:pt x="529" y="2137"/>
                          <a:pt x="529" y="2135"/>
                        </a:cubicBezTo>
                        <a:cubicBezTo>
                          <a:pt x="529" y="2132"/>
                          <a:pt x="527" y="2127"/>
                          <a:pt x="524" y="2122"/>
                        </a:cubicBezTo>
                        <a:cubicBezTo>
                          <a:pt x="522" y="2119"/>
                          <a:pt x="521" y="2116"/>
                          <a:pt x="519" y="2113"/>
                        </a:cubicBezTo>
                        <a:cubicBezTo>
                          <a:pt x="516" y="2104"/>
                          <a:pt x="517" y="2101"/>
                          <a:pt x="519" y="2096"/>
                        </a:cubicBezTo>
                        <a:cubicBezTo>
                          <a:pt x="520" y="2093"/>
                          <a:pt x="521" y="2090"/>
                          <a:pt x="522" y="2086"/>
                        </a:cubicBezTo>
                        <a:cubicBezTo>
                          <a:pt x="523" y="2074"/>
                          <a:pt x="527" y="2072"/>
                          <a:pt x="532" y="2070"/>
                        </a:cubicBezTo>
                        <a:cubicBezTo>
                          <a:pt x="534" y="2070"/>
                          <a:pt x="536" y="2069"/>
                          <a:pt x="538" y="2068"/>
                        </a:cubicBezTo>
                        <a:cubicBezTo>
                          <a:pt x="540" y="2066"/>
                          <a:pt x="542" y="2065"/>
                          <a:pt x="543" y="2064"/>
                        </a:cubicBezTo>
                        <a:cubicBezTo>
                          <a:pt x="543" y="2064"/>
                          <a:pt x="543" y="2064"/>
                          <a:pt x="543" y="2064"/>
                        </a:cubicBezTo>
                        <a:cubicBezTo>
                          <a:pt x="549" y="2061"/>
                          <a:pt x="554" y="2058"/>
                          <a:pt x="554" y="2057"/>
                        </a:cubicBezTo>
                        <a:cubicBezTo>
                          <a:pt x="554" y="2056"/>
                          <a:pt x="554" y="2053"/>
                          <a:pt x="554" y="2051"/>
                        </a:cubicBezTo>
                        <a:cubicBezTo>
                          <a:pt x="553" y="2046"/>
                          <a:pt x="552" y="2041"/>
                          <a:pt x="552" y="2037"/>
                        </a:cubicBezTo>
                        <a:cubicBezTo>
                          <a:pt x="552" y="2031"/>
                          <a:pt x="555" y="2028"/>
                          <a:pt x="560" y="2025"/>
                        </a:cubicBezTo>
                        <a:cubicBezTo>
                          <a:pt x="562" y="2024"/>
                          <a:pt x="564" y="2022"/>
                          <a:pt x="566" y="2020"/>
                        </a:cubicBezTo>
                        <a:cubicBezTo>
                          <a:pt x="569" y="2016"/>
                          <a:pt x="568" y="2015"/>
                          <a:pt x="567" y="2012"/>
                        </a:cubicBezTo>
                        <a:cubicBezTo>
                          <a:pt x="566" y="2010"/>
                          <a:pt x="565" y="2008"/>
                          <a:pt x="564" y="2006"/>
                        </a:cubicBezTo>
                        <a:cubicBezTo>
                          <a:pt x="561" y="1996"/>
                          <a:pt x="561" y="1987"/>
                          <a:pt x="561" y="1980"/>
                        </a:cubicBezTo>
                        <a:cubicBezTo>
                          <a:pt x="561" y="1979"/>
                          <a:pt x="561" y="1979"/>
                          <a:pt x="561" y="1979"/>
                        </a:cubicBezTo>
                        <a:cubicBezTo>
                          <a:pt x="561" y="1979"/>
                          <a:pt x="561" y="1979"/>
                          <a:pt x="561" y="1979"/>
                        </a:cubicBezTo>
                        <a:cubicBezTo>
                          <a:pt x="561" y="1973"/>
                          <a:pt x="563" y="1971"/>
                          <a:pt x="565" y="1968"/>
                        </a:cubicBezTo>
                        <a:cubicBezTo>
                          <a:pt x="566" y="1966"/>
                          <a:pt x="568" y="1964"/>
                          <a:pt x="569" y="1961"/>
                        </a:cubicBezTo>
                        <a:cubicBezTo>
                          <a:pt x="570" y="1957"/>
                          <a:pt x="569" y="1953"/>
                          <a:pt x="568" y="1949"/>
                        </a:cubicBezTo>
                        <a:cubicBezTo>
                          <a:pt x="567" y="1946"/>
                          <a:pt x="566" y="1942"/>
                          <a:pt x="565" y="1938"/>
                        </a:cubicBezTo>
                        <a:cubicBezTo>
                          <a:pt x="565" y="1929"/>
                          <a:pt x="568" y="1928"/>
                          <a:pt x="573" y="1925"/>
                        </a:cubicBezTo>
                        <a:cubicBezTo>
                          <a:pt x="576" y="1924"/>
                          <a:pt x="578" y="1922"/>
                          <a:pt x="580" y="1920"/>
                        </a:cubicBezTo>
                        <a:cubicBezTo>
                          <a:pt x="581" y="1919"/>
                          <a:pt x="581" y="1919"/>
                          <a:pt x="581" y="1919"/>
                        </a:cubicBezTo>
                        <a:cubicBezTo>
                          <a:pt x="586" y="1912"/>
                          <a:pt x="586" y="1912"/>
                          <a:pt x="585" y="1904"/>
                        </a:cubicBezTo>
                        <a:cubicBezTo>
                          <a:pt x="584" y="1898"/>
                          <a:pt x="573" y="1893"/>
                          <a:pt x="566" y="1890"/>
                        </a:cubicBezTo>
                        <a:cubicBezTo>
                          <a:pt x="565" y="1889"/>
                          <a:pt x="565" y="1889"/>
                          <a:pt x="565" y="1889"/>
                        </a:cubicBezTo>
                        <a:cubicBezTo>
                          <a:pt x="565" y="1889"/>
                          <a:pt x="565" y="1889"/>
                          <a:pt x="565" y="1889"/>
                        </a:cubicBezTo>
                        <a:cubicBezTo>
                          <a:pt x="564" y="1889"/>
                          <a:pt x="563" y="1888"/>
                          <a:pt x="563" y="1888"/>
                        </a:cubicBezTo>
                        <a:cubicBezTo>
                          <a:pt x="563" y="1888"/>
                          <a:pt x="563" y="1888"/>
                          <a:pt x="563" y="1888"/>
                        </a:cubicBezTo>
                        <a:cubicBezTo>
                          <a:pt x="559" y="1886"/>
                          <a:pt x="554" y="1882"/>
                          <a:pt x="551" y="1879"/>
                        </a:cubicBezTo>
                        <a:cubicBezTo>
                          <a:pt x="547" y="1874"/>
                          <a:pt x="546" y="1870"/>
                          <a:pt x="547" y="1866"/>
                        </a:cubicBezTo>
                        <a:cubicBezTo>
                          <a:pt x="547" y="1866"/>
                          <a:pt x="547" y="1866"/>
                          <a:pt x="547" y="1866"/>
                        </a:cubicBezTo>
                        <a:cubicBezTo>
                          <a:pt x="547" y="1866"/>
                          <a:pt x="547" y="1866"/>
                          <a:pt x="547" y="1866"/>
                        </a:cubicBezTo>
                        <a:cubicBezTo>
                          <a:pt x="547" y="1865"/>
                          <a:pt x="547" y="1865"/>
                          <a:pt x="547" y="1865"/>
                        </a:cubicBezTo>
                        <a:cubicBezTo>
                          <a:pt x="551" y="1859"/>
                          <a:pt x="560" y="1861"/>
                          <a:pt x="572" y="1864"/>
                        </a:cubicBezTo>
                        <a:cubicBezTo>
                          <a:pt x="574" y="1864"/>
                          <a:pt x="576" y="1864"/>
                          <a:pt x="579" y="1865"/>
                        </a:cubicBezTo>
                        <a:cubicBezTo>
                          <a:pt x="587" y="1866"/>
                          <a:pt x="588" y="1866"/>
                          <a:pt x="589" y="1865"/>
                        </a:cubicBezTo>
                        <a:cubicBezTo>
                          <a:pt x="590" y="1864"/>
                          <a:pt x="591" y="1864"/>
                          <a:pt x="593" y="1863"/>
                        </a:cubicBezTo>
                        <a:cubicBezTo>
                          <a:pt x="596" y="1862"/>
                          <a:pt x="597" y="1858"/>
                          <a:pt x="599" y="1854"/>
                        </a:cubicBezTo>
                        <a:cubicBezTo>
                          <a:pt x="600" y="1853"/>
                          <a:pt x="600" y="1853"/>
                          <a:pt x="601" y="1851"/>
                        </a:cubicBezTo>
                        <a:cubicBezTo>
                          <a:pt x="602" y="1850"/>
                          <a:pt x="602" y="1849"/>
                          <a:pt x="601" y="1848"/>
                        </a:cubicBezTo>
                        <a:cubicBezTo>
                          <a:pt x="600" y="1847"/>
                          <a:pt x="597" y="1845"/>
                          <a:pt x="593" y="1844"/>
                        </a:cubicBezTo>
                        <a:cubicBezTo>
                          <a:pt x="589" y="1842"/>
                          <a:pt x="584" y="1843"/>
                          <a:pt x="579" y="1843"/>
                        </a:cubicBezTo>
                        <a:cubicBezTo>
                          <a:pt x="576" y="1843"/>
                          <a:pt x="572" y="1844"/>
                          <a:pt x="568" y="1843"/>
                        </a:cubicBezTo>
                        <a:cubicBezTo>
                          <a:pt x="559" y="1842"/>
                          <a:pt x="560" y="1836"/>
                          <a:pt x="561" y="1828"/>
                        </a:cubicBezTo>
                        <a:cubicBezTo>
                          <a:pt x="561" y="1827"/>
                          <a:pt x="562" y="1825"/>
                          <a:pt x="562" y="1823"/>
                        </a:cubicBezTo>
                        <a:cubicBezTo>
                          <a:pt x="562" y="1818"/>
                          <a:pt x="564" y="1813"/>
                          <a:pt x="566" y="1809"/>
                        </a:cubicBezTo>
                        <a:cubicBezTo>
                          <a:pt x="567" y="1806"/>
                          <a:pt x="568" y="1803"/>
                          <a:pt x="568" y="1801"/>
                        </a:cubicBezTo>
                        <a:cubicBezTo>
                          <a:pt x="568" y="1797"/>
                          <a:pt x="567" y="1793"/>
                          <a:pt x="565" y="1785"/>
                        </a:cubicBezTo>
                        <a:cubicBezTo>
                          <a:pt x="564" y="1783"/>
                          <a:pt x="564" y="1783"/>
                          <a:pt x="564" y="1783"/>
                        </a:cubicBezTo>
                        <a:cubicBezTo>
                          <a:pt x="563" y="1778"/>
                          <a:pt x="561" y="1775"/>
                          <a:pt x="559" y="1774"/>
                        </a:cubicBezTo>
                        <a:cubicBezTo>
                          <a:pt x="558" y="1772"/>
                          <a:pt x="557" y="1770"/>
                          <a:pt x="556" y="1768"/>
                        </a:cubicBezTo>
                        <a:cubicBezTo>
                          <a:pt x="554" y="1763"/>
                          <a:pt x="559" y="1757"/>
                          <a:pt x="562" y="1753"/>
                        </a:cubicBezTo>
                        <a:cubicBezTo>
                          <a:pt x="563" y="1751"/>
                          <a:pt x="565" y="1750"/>
                          <a:pt x="565" y="1750"/>
                        </a:cubicBezTo>
                        <a:cubicBezTo>
                          <a:pt x="565" y="1749"/>
                          <a:pt x="564" y="1749"/>
                          <a:pt x="560" y="1746"/>
                        </a:cubicBezTo>
                        <a:cubicBezTo>
                          <a:pt x="560" y="1746"/>
                          <a:pt x="560" y="1746"/>
                          <a:pt x="560" y="1746"/>
                        </a:cubicBezTo>
                        <a:cubicBezTo>
                          <a:pt x="558" y="1745"/>
                          <a:pt x="558" y="1745"/>
                          <a:pt x="558" y="1745"/>
                        </a:cubicBezTo>
                        <a:cubicBezTo>
                          <a:pt x="558" y="1745"/>
                          <a:pt x="558" y="1745"/>
                          <a:pt x="558" y="1745"/>
                        </a:cubicBezTo>
                        <a:cubicBezTo>
                          <a:pt x="554" y="1743"/>
                          <a:pt x="551" y="1740"/>
                          <a:pt x="549" y="1738"/>
                        </a:cubicBezTo>
                        <a:cubicBezTo>
                          <a:pt x="547" y="1736"/>
                          <a:pt x="545" y="1733"/>
                          <a:pt x="545" y="1730"/>
                        </a:cubicBezTo>
                        <a:cubicBezTo>
                          <a:pt x="544" y="1726"/>
                          <a:pt x="544" y="1718"/>
                          <a:pt x="544" y="1713"/>
                        </a:cubicBezTo>
                        <a:cubicBezTo>
                          <a:pt x="544" y="1713"/>
                          <a:pt x="544" y="1713"/>
                          <a:pt x="544" y="1713"/>
                        </a:cubicBezTo>
                        <a:cubicBezTo>
                          <a:pt x="544" y="1709"/>
                          <a:pt x="544" y="1709"/>
                          <a:pt x="544" y="1709"/>
                        </a:cubicBezTo>
                        <a:cubicBezTo>
                          <a:pt x="544" y="1708"/>
                          <a:pt x="544" y="1706"/>
                          <a:pt x="544" y="1703"/>
                        </a:cubicBezTo>
                        <a:cubicBezTo>
                          <a:pt x="543" y="1696"/>
                          <a:pt x="542" y="1684"/>
                          <a:pt x="544" y="1677"/>
                        </a:cubicBezTo>
                        <a:cubicBezTo>
                          <a:pt x="546" y="1669"/>
                          <a:pt x="552" y="1667"/>
                          <a:pt x="558" y="1665"/>
                        </a:cubicBezTo>
                        <a:cubicBezTo>
                          <a:pt x="560" y="1664"/>
                          <a:pt x="562" y="1664"/>
                          <a:pt x="563" y="1663"/>
                        </a:cubicBezTo>
                        <a:cubicBezTo>
                          <a:pt x="564" y="1662"/>
                          <a:pt x="564" y="1660"/>
                          <a:pt x="563" y="1658"/>
                        </a:cubicBezTo>
                        <a:cubicBezTo>
                          <a:pt x="563" y="1658"/>
                          <a:pt x="563" y="1658"/>
                          <a:pt x="563" y="1658"/>
                        </a:cubicBezTo>
                        <a:cubicBezTo>
                          <a:pt x="562" y="1654"/>
                          <a:pt x="559" y="1649"/>
                          <a:pt x="556" y="1643"/>
                        </a:cubicBezTo>
                        <a:cubicBezTo>
                          <a:pt x="552" y="1633"/>
                          <a:pt x="553" y="1630"/>
                          <a:pt x="554" y="1625"/>
                        </a:cubicBezTo>
                        <a:cubicBezTo>
                          <a:pt x="555" y="1622"/>
                          <a:pt x="556" y="1619"/>
                          <a:pt x="556" y="1614"/>
                        </a:cubicBezTo>
                        <a:cubicBezTo>
                          <a:pt x="556" y="1609"/>
                          <a:pt x="556" y="1605"/>
                          <a:pt x="557" y="1602"/>
                        </a:cubicBezTo>
                        <a:cubicBezTo>
                          <a:pt x="557" y="1596"/>
                          <a:pt x="558" y="1591"/>
                          <a:pt x="557" y="1579"/>
                        </a:cubicBezTo>
                        <a:cubicBezTo>
                          <a:pt x="556" y="1564"/>
                          <a:pt x="556" y="1560"/>
                          <a:pt x="557" y="1558"/>
                        </a:cubicBezTo>
                        <a:cubicBezTo>
                          <a:pt x="557" y="1557"/>
                          <a:pt x="557" y="1556"/>
                          <a:pt x="557" y="1556"/>
                        </a:cubicBezTo>
                        <a:cubicBezTo>
                          <a:pt x="557" y="1556"/>
                          <a:pt x="557" y="1556"/>
                          <a:pt x="557" y="1556"/>
                        </a:cubicBezTo>
                        <a:cubicBezTo>
                          <a:pt x="557" y="1553"/>
                          <a:pt x="560" y="1550"/>
                          <a:pt x="563" y="1546"/>
                        </a:cubicBezTo>
                        <a:cubicBezTo>
                          <a:pt x="565" y="1544"/>
                          <a:pt x="568" y="1541"/>
                          <a:pt x="568" y="1540"/>
                        </a:cubicBezTo>
                        <a:cubicBezTo>
                          <a:pt x="568" y="1539"/>
                          <a:pt x="567" y="1536"/>
                          <a:pt x="566" y="1533"/>
                        </a:cubicBezTo>
                        <a:cubicBezTo>
                          <a:pt x="564" y="1528"/>
                          <a:pt x="562" y="1522"/>
                          <a:pt x="563" y="1518"/>
                        </a:cubicBezTo>
                        <a:cubicBezTo>
                          <a:pt x="564" y="1514"/>
                          <a:pt x="566" y="1512"/>
                          <a:pt x="568" y="1510"/>
                        </a:cubicBezTo>
                        <a:cubicBezTo>
                          <a:pt x="568" y="1510"/>
                          <a:pt x="568" y="1510"/>
                          <a:pt x="568" y="1510"/>
                        </a:cubicBezTo>
                        <a:cubicBezTo>
                          <a:pt x="569" y="1510"/>
                          <a:pt x="570" y="1509"/>
                          <a:pt x="570" y="1507"/>
                        </a:cubicBezTo>
                        <a:cubicBezTo>
                          <a:pt x="570" y="1503"/>
                          <a:pt x="571" y="1498"/>
                          <a:pt x="572" y="1494"/>
                        </a:cubicBezTo>
                        <a:cubicBezTo>
                          <a:pt x="572" y="1490"/>
                          <a:pt x="573" y="1486"/>
                          <a:pt x="575" y="1484"/>
                        </a:cubicBezTo>
                        <a:cubicBezTo>
                          <a:pt x="575" y="1483"/>
                          <a:pt x="576" y="1482"/>
                          <a:pt x="576" y="1481"/>
                        </a:cubicBezTo>
                        <a:cubicBezTo>
                          <a:pt x="579" y="1478"/>
                          <a:pt x="581" y="1474"/>
                          <a:pt x="581" y="1463"/>
                        </a:cubicBezTo>
                        <a:cubicBezTo>
                          <a:pt x="581" y="1450"/>
                          <a:pt x="584" y="1441"/>
                          <a:pt x="587" y="1432"/>
                        </a:cubicBezTo>
                        <a:cubicBezTo>
                          <a:pt x="588" y="1430"/>
                          <a:pt x="588" y="1430"/>
                          <a:pt x="588" y="1430"/>
                        </a:cubicBezTo>
                        <a:cubicBezTo>
                          <a:pt x="588" y="1430"/>
                          <a:pt x="588" y="1430"/>
                          <a:pt x="588" y="1430"/>
                        </a:cubicBezTo>
                        <a:cubicBezTo>
                          <a:pt x="591" y="1424"/>
                          <a:pt x="598" y="1421"/>
                          <a:pt x="605" y="1418"/>
                        </a:cubicBezTo>
                        <a:cubicBezTo>
                          <a:pt x="612" y="1416"/>
                          <a:pt x="617" y="1414"/>
                          <a:pt x="617" y="1411"/>
                        </a:cubicBezTo>
                        <a:cubicBezTo>
                          <a:pt x="617" y="1405"/>
                          <a:pt x="614" y="1392"/>
                          <a:pt x="610" y="1379"/>
                        </a:cubicBezTo>
                        <a:cubicBezTo>
                          <a:pt x="609" y="1376"/>
                          <a:pt x="608" y="1373"/>
                          <a:pt x="607" y="1368"/>
                        </a:cubicBezTo>
                        <a:cubicBezTo>
                          <a:pt x="604" y="1354"/>
                          <a:pt x="603" y="1328"/>
                          <a:pt x="603" y="1313"/>
                        </a:cubicBezTo>
                        <a:cubicBezTo>
                          <a:pt x="603" y="1310"/>
                          <a:pt x="603" y="1306"/>
                          <a:pt x="602" y="1304"/>
                        </a:cubicBezTo>
                        <a:cubicBezTo>
                          <a:pt x="602" y="1296"/>
                          <a:pt x="606" y="1279"/>
                          <a:pt x="609" y="1268"/>
                        </a:cubicBezTo>
                        <a:cubicBezTo>
                          <a:pt x="609" y="1266"/>
                          <a:pt x="610" y="1264"/>
                          <a:pt x="610" y="1262"/>
                        </a:cubicBezTo>
                        <a:cubicBezTo>
                          <a:pt x="612" y="1253"/>
                          <a:pt x="620" y="1253"/>
                          <a:pt x="626" y="1252"/>
                        </a:cubicBezTo>
                        <a:cubicBezTo>
                          <a:pt x="628" y="1252"/>
                          <a:pt x="630" y="1252"/>
                          <a:pt x="631" y="1252"/>
                        </a:cubicBezTo>
                        <a:cubicBezTo>
                          <a:pt x="632" y="1251"/>
                          <a:pt x="633" y="1249"/>
                          <a:pt x="633" y="1246"/>
                        </a:cubicBezTo>
                        <a:cubicBezTo>
                          <a:pt x="634" y="1244"/>
                          <a:pt x="634" y="1242"/>
                          <a:pt x="636" y="1239"/>
                        </a:cubicBezTo>
                        <a:cubicBezTo>
                          <a:pt x="637" y="1237"/>
                          <a:pt x="639" y="1236"/>
                          <a:pt x="641" y="1234"/>
                        </a:cubicBezTo>
                        <a:cubicBezTo>
                          <a:pt x="643" y="1233"/>
                          <a:pt x="646" y="1231"/>
                          <a:pt x="647" y="1223"/>
                        </a:cubicBezTo>
                        <a:cubicBezTo>
                          <a:pt x="647" y="1216"/>
                          <a:pt x="648" y="1210"/>
                          <a:pt x="647" y="1205"/>
                        </a:cubicBezTo>
                        <a:cubicBezTo>
                          <a:pt x="647" y="1200"/>
                          <a:pt x="647" y="1195"/>
                          <a:pt x="645" y="1192"/>
                        </a:cubicBezTo>
                        <a:cubicBezTo>
                          <a:pt x="643" y="1187"/>
                          <a:pt x="642" y="1181"/>
                          <a:pt x="642" y="1176"/>
                        </a:cubicBezTo>
                        <a:cubicBezTo>
                          <a:pt x="643" y="1170"/>
                          <a:pt x="644" y="1165"/>
                          <a:pt x="647" y="1160"/>
                        </a:cubicBezTo>
                        <a:cubicBezTo>
                          <a:pt x="647" y="1160"/>
                          <a:pt x="647" y="1160"/>
                          <a:pt x="647" y="1160"/>
                        </a:cubicBezTo>
                        <a:cubicBezTo>
                          <a:pt x="647" y="1160"/>
                          <a:pt x="647" y="1160"/>
                          <a:pt x="647" y="1160"/>
                        </a:cubicBezTo>
                        <a:cubicBezTo>
                          <a:pt x="647" y="1160"/>
                          <a:pt x="647" y="1160"/>
                          <a:pt x="647" y="1160"/>
                        </a:cubicBezTo>
                        <a:cubicBezTo>
                          <a:pt x="652" y="1153"/>
                          <a:pt x="654" y="1149"/>
                          <a:pt x="655" y="1137"/>
                        </a:cubicBezTo>
                        <a:cubicBezTo>
                          <a:pt x="656" y="1126"/>
                          <a:pt x="661" y="1120"/>
                          <a:pt x="666" y="1113"/>
                        </a:cubicBezTo>
                        <a:cubicBezTo>
                          <a:pt x="666" y="1113"/>
                          <a:pt x="666" y="1113"/>
                          <a:pt x="666" y="1113"/>
                        </a:cubicBezTo>
                        <a:cubicBezTo>
                          <a:pt x="667" y="1111"/>
                          <a:pt x="668" y="1110"/>
                          <a:pt x="669" y="1108"/>
                        </a:cubicBezTo>
                        <a:cubicBezTo>
                          <a:pt x="673" y="1103"/>
                          <a:pt x="677" y="1101"/>
                          <a:pt x="680" y="1100"/>
                        </a:cubicBezTo>
                        <a:cubicBezTo>
                          <a:pt x="681" y="1100"/>
                          <a:pt x="682" y="1100"/>
                          <a:pt x="682" y="1099"/>
                        </a:cubicBezTo>
                        <a:cubicBezTo>
                          <a:pt x="682" y="1098"/>
                          <a:pt x="682" y="1096"/>
                          <a:pt x="681" y="1094"/>
                        </a:cubicBezTo>
                        <a:cubicBezTo>
                          <a:pt x="681" y="1090"/>
                          <a:pt x="680" y="1085"/>
                          <a:pt x="682" y="1076"/>
                        </a:cubicBezTo>
                        <a:cubicBezTo>
                          <a:pt x="684" y="1069"/>
                          <a:pt x="684" y="1062"/>
                          <a:pt x="685" y="1057"/>
                        </a:cubicBezTo>
                        <a:cubicBezTo>
                          <a:pt x="685" y="1052"/>
                          <a:pt x="684" y="1048"/>
                          <a:pt x="683" y="1045"/>
                        </a:cubicBezTo>
                        <a:cubicBezTo>
                          <a:pt x="682" y="1042"/>
                          <a:pt x="681" y="1040"/>
                          <a:pt x="678" y="1038"/>
                        </a:cubicBezTo>
                        <a:cubicBezTo>
                          <a:pt x="676" y="1035"/>
                          <a:pt x="674" y="1033"/>
                          <a:pt x="670" y="1028"/>
                        </a:cubicBezTo>
                        <a:cubicBezTo>
                          <a:pt x="665" y="1020"/>
                          <a:pt x="666" y="1018"/>
                          <a:pt x="667" y="1013"/>
                        </a:cubicBezTo>
                        <a:cubicBezTo>
                          <a:pt x="668" y="1010"/>
                          <a:pt x="669" y="1006"/>
                          <a:pt x="669" y="999"/>
                        </a:cubicBezTo>
                        <a:cubicBezTo>
                          <a:pt x="668" y="983"/>
                          <a:pt x="661" y="976"/>
                          <a:pt x="658" y="973"/>
                        </a:cubicBezTo>
                        <a:cubicBezTo>
                          <a:pt x="657" y="972"/>
                          <a:pt x="657" y="972"/>
                          <a:pt x="657" y="971"/>
                        </a:cubicBezTo>
                        <a:cubicBezTo>
                          <a:pt x="655" y="970"/>
                          <a:pt x="654" y="967"/>
                          <a:pt x="653" y="964"/>
                        </a:cubicBezTo>
                        <a:cubicBezTo>
                          <a:pt x="653" y="964"/>
                          <a:pt x="653" y="964"/>
                          <a:pt x="653" y="964"/>
                        </a:cubicBezTo>
                        <a:cubicBezTo>
                          <a:pt x="652" y="961"/>
                          <a:pt x="651" y="957"/>
                          <a:pt x="650" y="955"/>
                        </a:cubicBezTo>
                        <a:cubicBezTo>
                          <a:pt x="650" y="951"/>
                          <a:pt x="651" y="948"/>
                          <a:pt x="653" y="945"/>
                        </a:cubicBezTo>
                        <a:cubicBezTo>
                          <a:pt x="653" y="945"/>
                          <a:pt x="653" y="945"/>
                          <a:pt x="653" y="945"/>
                        </a:cubicBezTo>
                        <a:cubicBezTo>
                          <a:pt x="655" y="944"/>
                          <a:pt x="656" y="942"/>
                          <a:pt x="656" y="939"/>
                        </a:cubicBezTo>
                        <a:cubicBezTo>
                          <a:pt x="656" y="937"/>
                          <a:pt x="653" y="932"/>
                          <a:pt x="649" y="927"/>
                        </a:cubicBezTo>
                        <a:cubicBezTo>
                          <a:pt x="647" y="924"/>
                          <a:pt x="644" y="920"/>
                          <a:pt x="641" y="915"/>
                        </a:cubicBezTo>
                        <a:cubicBezTo>
                          <a:pt x="636" y="905"/>
                          <a:pt x="637" y="902"/>
                          <a:pt x="641" y="896"/>
                        </a:cubicBezTo>
                        <a:cubicBezTo>
                          <a:pt x="642" y="895"/>
                          <a:pt x="642" y="894"/>
                          <a:pt x="643" y="893"/>
                        </a:cubicBezTo>
                        <a:cubicBezTo>
                          <a:pt x="645" y="888"/>
                          <a:pt x="648" y="885"/>
                          <a:pt x="650" y="882"/>
                        </a:cubicBezTo>
                        <a:cubicBezTo>
                          <a:pt x="650" y="882"/>
                          <a:pt x="650" y="882"/>
                          <a:pt x="650" y="882"/>
                        </a:cubicBezTo>
                        <a:cubicBezTo>
                          <a:pt x="653" y="879"/>
                          <a:pt x="655" y="877"/>
                          <a:pt x="657" y="876"/>
                        </a:cubicBezTo>
                        <a:cubicBezTo>
                          <a:pt x="657" y="876"/>
                          <a:pt x="657" y="873"/>
                          <a:pt x="657" y="867"/>
                        </a:cubicBezTo>
                        <a:cubicBezTo>
                          <a:pt x="656" y="864"/>
                          <a:pt x="656" y="861"/>
                          <a:pt x="656" y="857"/>
                        </a:cubicBezTo>
                        <a:cubicBezTo>
                          <a:pt x="656" y="845"/>
                          <a:pt x="659" y="843"/>
                          <a:pt x="663" y="840"/>
                        </a:cubicBezTo>
                        <a:cubicBezTo>
                          <a:pt x="664" y="839"/>
                          <a:pt x="665" y="838"/>
                          <a:pt x="667" y="837"/>
                        </a:cubicBezTo>
                        <a:cubicBezTo>
                          <a:pt x="668" y="835"/>
                          <a:pt x="670" y="833"/>
                          <a:pt x="672" y="832"/>
                        </a:cubicBezTo>
                        <a:cubicBezTo>
                          <a:pt x="676" y="827"/>
                          <a:pt x="681" y="822"/>
                          <a:pt x="681" y="821"/>
                        </a:cubicBezTo>
                        <a:cubicBezTo>
                          <a:pt x="681" y="820"/>
                          <a:pt x="681" y="818"/>
                          <a:pt x="680" y="817"/>
                        </a:cubicBezTo>
                        <a:cubicBezTo>
                          <a:pt x="679" y="814"/>
                          <a:pt x="677" y="810"/>
                          <a:pt x="677" y="805"/>
                        </a:cubicBezTo>
                        <a:cubicBezTo>
                          <a:pt x="677" y="804"/>
                          <a:pt x="677" y="802"/>
                          <a:pt x="677" y="800"/>
                        </a:cubicBezTo>
                        <a:cubicBezTo>
                          <a:pt x="677" y="794"/>
                          <a:pt x="677" y="788"/>
                          <a:pt x="675" y="781"/>
                        </a:cubicBezTo>
                        <a:cubicBezTo>
                          <a:pt x="675" y="781"/>
                          <a:pt x="675" y="781"/>
                          <a:pt x="675" y="781"/>
                        </a:cubicBezTo>
                        <a:cubicBezTo>
                          <a:pt x="674" y="776"/>
                          <a:pt x="673" y="771"/>
                          <a:pt x="672" y="767"/>
                        </a:cubicBezTo>
                        <a:cubicBezTo>
                          <a:pt x="672" y="763"/>
                          <a:pt x="672" y="759"/>
                          <a:pt x="673" y="755"/>
                        </a:cubicBezTo>
                        <a:cubicBezTo>
                          <a:pt x="674" y="754"/>
                          <a:pt x="674" y="752"/>
                          <a:pt x="675" y="750"/>
                        </a:cubicBezTo>
                        <a:cubicBezTo>
                          <a:pt x="680" y="737"/>
                          <a:pt x="691" y="706"/>
                          <a:pt x="696" y="697"/>
                        </a:cubicBezTo>
                        <a:cubicBezTo>
                          <a:pt x="699" y="692"/>
                          <a:pt x="703" y="688"/>
                          <a:pt x="707" y="684"/>
                        </a:cubicBezTo>
                        <a:cubicBezTo>
                          <a:pt x="712" y="679"/>
                          <a:pt x="718" y="673"/>
                          <a:pt x="724" y="663"/>
                        </a:cubicBezTo>
                        <a:cubicBezTo>
                          <a:pt x="724" y="663"/>
                          <a:pt x="724" y="663"/>
                          <a:pt x="724" y="663"/>
                        </a:cubicBezTo>
                        <a:cubicBezTo>
                          <a:pt x="728" y="656"/>
                          <a:pt x="730" y="650"/>
                          <a:pt x="732" y="645"/>
                        </a:cubicBezTo>
                        <a:cubicBezTo>
                          <a:pt x="735" y="637"/>
                          <a:pt x="738" y="630"/>
                          <a:pt x="746" y="621"/>
                        </a:cubicBezTo>
                        <a:cubicBezTo>
                          <a:pt x="756" y="610"/>
                          <a:pt x="760" y="611"/>
                          <a:pt x="764" y="612"/>
                        </a:cubicBezTo>
                        <a:cubicBezTo>
                          <a:pt x="765" y="613"/>
                          <a:pt x="766" y="613"/>
                          <a:pt x="767" y="612"/>
                        </a:cubicBezTo>
                        <a:cubicBezTo>
                          <a:pt x="770" y="611"/>
                          <a:pt x="771" y="610"/>
                          <a:pt x="772" y="609"/>
                        </a:cubicBezTo>
                        <a:cubicBezTo>
                          <a:pt x="773" y="607"/>
                          <a:pt x="774" y="605"/>
                          <a:pt x="774" y="603"/>
                        </a:cubicBezTo>
                        <a:cubicBezTo>
                          <a:pt x="774" y="602"/>
                          <a:pt x="771" y="596"/>
                          <a:pt x="769" y="590"/>
                        </a:cubicBezTo>
                        <a:cubicBezTo>
                          <a:pt x="766" y="585"/>
                          <a:pt x="763" y="579"/>
                          <a:pt x="762" y="574"/>
                        </a:cubicBezTo>
                        <a:cubicBezTo>
                          <a:pt x="761" y="569"/>
                          <a:pt x="761" y="552"/>
                          <a:pt x="761" y="535"/>
                        </a:cubicBezTo>
                        <a:cubicBezTo>
                          <a:pt x="761" y="517"/>
                          <a:pt x="762" y="499"/>
                          <a:pt x="763" y="493"/>
                        </a:cubicBezTo>
                        <a:cubicBezTo>
                          <a:pt x="765" y="486"/>
                          <a:pt x="768" y="483"/>
                          <a:pt x="771" y="481"/>
                        </a:cubicBezTo>
                        <a:cubicBezTo>
                          <a:pt x="771" y="481"/>
                          <a:pt x="771" y="481"/>
                          <a:pt x="771" y="481"/>
                        </a:cubicBezTo>
                        <a:cubicBezTo>
                          <a:pt x="770" y="478"/>
                          <a:pt x="768" y="475"/>
                          <a:pt x="767" y="471"/>
                        </a:cubicBezTo>
                        <a:cubicBezTo>
                          <a:pt x="766" y="468"/>
                          <a:pt x="765" y="464"/>
                          <a:pt x="765" y="461"/>
                        </a:cubicBezTo>
                        <a:cubicBezTo>
                          <a:pt x="765" y="457"/>
                          <a:pt x="767" y="452"/>
                          <a:pt x="770" y="447"/>
                        </a:cubicBezTo>
                        <a:cubicBezTo>
                          <a:pt x="772" y="443"/>
                          <a:pt x="775" y="440"/>
                          <a:pt x="780" y="438"/>
                        </a:cubicBezTo>
                        <a:cubicBezTo>
                          <a:pt x="783" y="436"/>
                          <a:pt x="789" y="433"/>
                          <a:pt x="794" y="430"/>
                        </a:cubicBezTo>
                        <a:cubicBezTo>
                          <a:pt x="802" y="425"/>
                          <a:pt x="811" y="420"/>
                          <a:pt x="816" y="418"/>
                        </a:cubicBezTo>
                        <a:cubicBezTo>
                          <a:pt x="820" y="417"/>
                          <a:pt x="827" y="414"/>
                          <a:pt x="833" y="411"/>
                        </a:cubicBezTo>
                        <a:cubicBezTo>
                          <a:pt x="836" y="410"/>
                          <a:pt x="838" y="409"/>
                          <a:pt x="838" y="409"/>
                        </a:cubicBezTo>
                        <a:cubicBezTo>
                          <a:pt x="838" y="408"/>
                          <a:pt x="840" y="402"/>
                          <a:pt x="842" y="394"/>
                        </a:cubicBezTo>
                        <a:cubicBezTo>
                          <a:pt x="846" y="377"/>
                          <a:pt x="854" y="348"/>
                          <a:pt x="853" y="343"/>
                        </a:cubicBezTo>
                        <a:cubicBezTo>
                          <a:pt x="853" y="341"/>
                          <a:pt x="853" y="341"/>
                          <a:pt x="853" y="341"/>
                        </a:cubicBezTo>
                        <a:cubicBezTo>
                          <a:pt x="853" y="341"/>
                          <a:pt x="853" y="341"/>
                          <a:pt x="853" y="341"/>
                        </a:cubicBezTo>
                        <a:cubicBezTo>
                          <a:pt x="853" y="340"/>
                          <a:pt x="853" y="339"/>
                          <a:pt x="852" y="338"/>
                        </a:cubicBezTo>
                        <a:cubicBezTo>
                          <a:pt x="845" y="338"/>
                          <a:pt x="814" y="337"/>
                          <a:pt x="808" y="329"/>
                        </a:cubicBezTo>
                        <a:cubicBezTo>
                          <a:pt x="805" y="324"/>
                          <a:pt x="805" y="322"/>
                          <a:pt x="805" y="318"/>
                        </a:cubicBezTo>
                        <a:cubicBezTo>
                          <a:pt x="805" y="315"/>
                          <a:pt x="805" y="311"/>
                          <a:pt x="803" y="302"/>
                        </a:cubicBezTo>
                        <a:cubicBezTo>
                          <a:pt x="800" y="292"/>
                          <a:pt x="798" y="288"/>
                          <a:pt x="797" y="283"/>
                        </a:cubicBezTo>
                        <a:cubicBezTo>
                          <a:pt x="795" y="280"/>
                          <a:pt x="794" y="276"/>
                          <a:pt x="792" y="269"/>
                        </a:cubicBezTo>
                        <a:cubicBezTo>
                          <a:pt x="789" y="261"/>
                          <a:pt x="788" y="255"/>
                          <a:pt x="787" y="249"/>
                        </a:cubicBezTo>
                        <a:cubicBezTo>
                          <a:pt x="787" y="243"/>
                          <a:pt x="786" y="238"/>
                          <a:pt x="783" y="234"/>
                        </a:cubicBezTo>
                        <a:cubicBezTo>
                          <a:pt x="781" y="231"/>
                          <a:pt x="778" y="228"/>
                          <a:pt x="775" y="225"/>
                        </a:cubicBezTo>
                        <a:cubicBezTo>
                          <a:pt x="771" y="221"/>
                          <a:pt x="767" y="217"/>
                          <a:pt x="766" y="211"/>
                        </a:cubicBezTo>
                        <a:cubicBezTo>
                          <a:pt x="765" y="208"/>
                          <a:pt x="765" y="205"/>
                          <a:pt x="766" y="202"/>
                        </a:cubicBezTo>
                        <a:cubicBezTo>
                          <a:pt x="766" y="198"/>
                          <a:pt x="767" y="195"/>
                          <a:pt x="762" y="189"/>
                        </a:cubicBezTo>
                        <a:cubicBezTo>
                          <a:pt x="760" y="187"/>
                          <a:pt x="759" y="185"/>
                          <a:pt x="758" y="183"/>
                        </a:cubicBezTo>
                        <a:cubicBezTo>
                          <a:pt x="752" y="177"/>
                          <a:pt x="751" y="175"/>
                          <a:pt x="750" y="167"/>
                        </a:cubicBezTo>
                        <a:cubicBezTo>
                          <a:pt x="749" y="161"/>
                          <a:pt x="752" y="157"/>
                          <a:pt x="754" y="154"/>
                        </a:cubicBezTo>
                        <a:cubicBezTo>
                          <a:pt x="755" y="152"/>
                          <a:pt x="757" y="150"/>
                          <a:pt x="757" y="149"/>
                        </a:cubicBezTo>
                        <a:cubicBezTo>
                          <a:pt x="757" y="147"/>
                          <a:pt x="756" y="146"/>
                          <a:pt x="756" y="144"/>
                        </a:cubicBezTo>
                        <a:cubicBezTo>
                          <a:pt x="755" y="141"/>
                          <a:pt x="755" y="138"/>
                          <a:pt x="756" y="132"/>
                        </a:cubicBezTo>
                        <a:cubicBezTo>
                          <a:pt x="757" y="128"/>
                          <a:pt x="759" y="126"/>
                          <a:pt x="760" y="123"/>
                        </a:cubicBezTo>
                        <a:cubicBezTo>
                          <a:pt x="760" y="123"/>
                          <a:pt x="760" y="123"/>
                          <a:pt x="760" y="123"/>
                        </a:cubicBezTo>
                        <a:cubicBezTo>
                          <a:pt x="762" y="120"/>
                          <a:pt x="764" y="116"/>
                          <a:pt x="763" y="111"/>
                        </a:cubicBezTo>
                        <a:cubicBezTo>
                          <a:pt x="761" y="105"/>
                          <a:pt x="758" y="103"/>
                          <a:pt x="754" y="99"/>
                        </a:cubicBezTo>
                        <a:cubicBezTo>
                          <a:pt x="751" y="96"/>
                          <a:pt x="747" y="93"/>
                          <a:pt x="743" y="87"/>
                        </a:cubicBezTo>
                        <a:cubicBezTo>
                          <a:pt x="737" y="77"/>
                          <a:pt x="736" y="72"/>
                          <a:pt x="735" y="63"/>
                        </a:cubicBezTo>
                        <a:cubicBezTo>
                          <a:pt x="734" y="60"/>
                          <a:pt x="733" y="56"/>
                          <a:pt x="732" y="52"/>
                        </a:cubicBezTo>
                        <a:cubicBezTo>
                          <a:pt x="731" y="45"/>
                          <a:pt x="731" y="41"/>
                          <a:pt x="730" y="37"/>
                        </a:cubicBezTo>
                        <a:cubicBezTo>
                          <a:pt x="730" y="37"/>
                          <a:pt x="730" y="37"/>
                          <a:pt x="730" y="37"/>
                        </a:cubicBezTo>
                        <a:cubicBezTo>
                          <a:pt x="730" y="31"/>
                          <a:pt x="730" y="28"/>
                          <a:pt x="726" y="25"/>
                        </a:cubicBezTo>
                        <a:cubicBezTo>
                          <a:pt x="726" y="25"/>
                          <a:pt x="726" y="25"/>
                          <a:pt x="726" y="25"/>
                        </a:cubicBezTo>
                        <a:cubicBezTo>
                          <a:pt x="722" y="23"/>
                          <a:pt x="720" y="22"/>
                          <a:pt x="719" y="22"/>
                        </a:cubicBezTo>
                        <a:cubicBezTo>
                          <a:pt x="715" y="20"/>
                          <a:pt x="713" y="20"/>
                          <a:pt x="709" y="13"/>
                        </a:cubicBezTo>
                        <a:cubicBezTo>
                          <a:pt x="706" y="9"/>
                          <a:pt x="704" y="6"/>
                          <a:pt x="703" y="3"/>
                        </a:cubicBezTo>
                        <a:cubicBezTo>
                          <a:pt x="702" y="2"/>
                          <a:pt x="702" y="1"/>
                          <a:pt x="701" y="0"/>
                        </a:cubicBezTo>
                        <a:cubicBezTo>
                          <a:pt x="700" y="1"/>
                          <a:pt x="698" y="1"/>
                          <a:pt x="697" y="2"/>
                        </a:cubicBezTo>
                        <a:cubicBezTo>
                          <a:pt x="694" y="3"/>
                          <a:pt x="691" y="4"/>
                          <a:pt x="689" y="7"/>
                        </a:cubicBezTo>
                        <a:cubicBezTo>
                          <a:pt x="688" y="10"/>
                          <a:pt x="687" y="15"/>
                          <a:pt x="687" y="19"/>
                        </a:cubicBezTo>
                        <a:cubicBezTo>
                          <a:pt x="687" y="26"/>
                          <a:pt x="687" y="32"/>
                          <a:pt x="683" y="37"/>
                        </a:cubicBezTo>
                        <a:cubicBezTo>
                          <a:pt x="678" y="42"/>
                          <a:pt x="664" y="47"/>
                          <a:pt x="653" y="51"/>
                        </a:cubicBezTo>
                        <a:cubicBezTo>
                          <a:pt x="655" y="57"/>
                          <a:pt x="655" y="64"/>
                          <a:pt x="656" y="75"/>
                        </a:cubicBezTo>
                        <a:cubicBezTo>
                          <a:pt x="657" y="91"/>
                          <a:pt x="657" y="94"/>
                          <a:pt x="660" y="109"/>
                        </a:cubicBezTo>
                        <a:cubicBezTo>
                          <a:pt x="664" y="125"/>
                          <a:pt x="669" y="172"/>
                          <a:pt x="668" y="182"/>
                        </a:cubicBezTo>
                        <a:cubicBezTo>
                          <a:pt x="668" y="192"/>
                          <a:pt x="669" y="204"/>
                          <a:pt x="671" y="222"/>
                        </a:cubicBezTo>
                        <a:cubicBezTo>
                          <a:pt x="674" y="241"/>
                          <a:pt x="672" y="237"/>
                          <a:pt x="671" y="251"/>
                        </a:cubicBezTo>
                        <a:cubicBezTo>
                          <a:pt x="670" y="264"/>
                          <a:pt x="671" y="268"/>
                          <a:pt x="664" y="284"/>
                        </a:cubicBezTo>
                        <a:cubicBezTo>
                          <a:pt x="658" y="301"/>
                          <a:pt x="659" y="297"/>
                          <a:pt x="660" y="318"/>
                        </a:cubicBezTo>
                        <a:cubicBezTo>
                          <a:pt x="660" y="338"/>
                          <a:pt x="656" y="343"/>
                          <a:pt x="652" y="346"/>
                        </a:cubicBezTo>
                        <a:cubicBezTo>
                          <a:pt x="647" y="349"/>
                          <a:pt x="640" y="354"/>
                          <a:pt x="638" y="359"/>
                        </a:cubicBezTo>
                        <a:cubicBezTo>
                          <a:pt x="636" y="364"/>
                          <a:pt x="638" y="371"/>
                          <a:pt x="640" y="375"/>
                        </a:cubicBezTo>
                        <a:cubicBezTo>
                          <a:pt x="642" y="379"/>
                          <a:pt x="643" y="383"/>
                          <a:pt x="644" y="395"/>
                        </a:cubicBezTo>
                        <a:cubicBezTo>
                          <a:pt x="645" y="407"/>
                          <a:pt x="645" y="413"/>
                          <a:pt x="641" y="428"/>
                        </a:cubicBezTo>
                        <a:cubicBezTo>
                          <a:pt x="637" y="442"/>
                          <a:pt x="640" y="454"/>
                          <a:pt x="640" y="458"/>
                        </a:cubicBezTo>
                        <a:cubicBezTo>
                          <a:pt x="640" y="462"/>
                          <a:pt x="646" y="467"/>
                          <a:pt x="648" y="475"/>
                        </a:cubicBezTo>
                        <a:cubicBezTo>
                          <a:pt x="651" y="482"/>
                          <a:pt x="649" y="485"/>
                          <a:pt x="649" y="493"/>
                        </a:cubicBezTo>
                        <a:cubicBezTo>
                          <a:pt x="649" y="502"/>
                          <a:pt x="647" y="503"/>
                          <a:pt x="642" y="511"/>
                        </a:cubicBezTo>
                        <a:cubicBezTo>
                          <a:pt x="637" y="519"/>
                          <a:pt x="637" y="520"/>
                          <a:pt x="637" y="529"/>
                        </a:cubicBezTo>
                        <a:cubicBezTo>
                          <a:pt x="637" y="538"/>
                          <a:pt x="642" y="540"/>
                          <a:pt x="641" y="552"/>
                        </a:cubicBezTo>
                        <a:cubicBezTo>
                          <a:pt x="641" y="563"/>
                          <a:pt x="635" y="561"/>
                          <a:pt x="631" y="569"/>
                        </a:cubicBezTo>
                        <a:cubicBezTo>
                          <a:pt x="626" y="577"/>
                          <a:pt x="629" y="588"/>
                          <a:pt x="628" y="596"/>
                        </a:cubicBezTo>
                        <a:cubicBezTo>
                          <a:pt x="626" y="603"/>
                          <a:pt x="619" y="609"/>
                          <a:pt x="615" y="616"/>
                        </a:cubicBezTo>
                        <a:cubicBezTo>
                          <a:pt x="611" y="623"/>
                          <a:pt x="617" y="628"/>
                          <a:pt x="617" y="638"/>
                        </a:cubicBezTo>
                        <a:cubicBezTo>
                          <a:pt x="618" y="648"/>
                          <a:pt x="616" y="649"/>
                          <a:pt x="613" y="656"/>
                        </a:cubicBezTo>
                        <a:cubicBezTo>
                          <a:pt x="609" y="663"/>
                          <a:pt x="608" y="667"/>
                          <a:pt x="608" y="678"/>
                        </a:cubicBezTo>
                        <a:cubicBezTo>
                          <a:pt x="608" y="689"/>
                          <a:pt x="604" y="698"/>
                          <a:pt x="603" y="705"/>
                        </a:cubicBezTo>
                        <a:cubicBezTo>
                          <a:pt x="601" y="712"/>
                          <a:pt x="591" y="726"/>
                          <a:pt x="587" y="731"/>
                        </a:cubicBezTo>
                        <a:cubicBezTo>
                          <a:pt x="583" y="736"/>
                          <a:pt x="583" y="740"/>
                          <a:pt x="582" y="749"/>
                        </a:cubicBezTo>
                        <a:cubicBezTo>
                          <a:pt x="582" y="758"/>
                          <a:pt x="585" y="759"/>
                          <a:pt x="589" y="765"/>
                        </a:cubicBezTo>
                        <a:cubicBezTo>
                          <a:pt x="593" y="771"/>
                          <a:pt x="595" y="772"/>
                          <a:pt x="597" y="779"/>
                        </a:cubicBezTo>
                        <a:cubicBezTo>
                          <a:pt x="600" y="786"/>
                          <a:pt x="599" y="794"/>
                          <a:pt x="598" y="802"/>
                        </a:cubicBezTo>
                        <a:cubicBezTo>
                          <a:pt x="597" y="809"/>
                          <a:pt x="596" y="814"/>
                          <a:pt x="591" y="819"/>
                        </a:cubicBezTo>
                        <a:cubicBezTo>
                          <a:pt x="587" y="824"/>
                          <a:pt x="582" y="828"/>
                          <a:pt x="578" y="832"/>
                        </a:cubicBezTo>
                        <a:cubicBezTo>
                          <a:pt x="575" y="835"/>
                          <a:pt x="573" y="846"/>
                          <a:pt x="573" y="851"/>
                        </a:cubicBezTo>
                        <a:cubicBezTo>
                          <a:pt x="572" y="857"/>
                          <a:pt x="572" y="868"/>
                          <a:pt x="574" y="874"/>
                        </a:cubicBezTo>
                        <a:cubicBezTo>
                          <a:pt x="575" y="881"/>
                          <a:pt x="577" y="889"/>
                          <a:pt x="576" y="898"/>
                        </a:cubicBezTo>
                        <a:cubicBezTo>
                          <a:pt x="576" y="907"/>
                          <a:pt x="575" y="916"/>
                          <a:pt x="576" y="924"/>
                        </a:cubicBezTo>
                        <a:cubicBezTo>
                          <a:pt x="578" y="932"/>
                          <a:pt x="581" y="948"/>
                          <a:pt x="580" y="957"/>
                        </a:cubicBezTo>
                        <a:cubicBezTo>
                          <a:pt x="580" y="965"/>
                          <a:pt x="584" y="963"/>
                          <a:pt x="587" y="967"/>
                        </a:cubicBezTo>
                        <a:cubicBezTo>
                          <a:pt x="590" y="970"/>
                          <a:pt x="590" y="974"/>
                          <a:pt x="589" y="980"/>
                        </a:cubicBezTo>
                        <a:cubicBezTo>
                          <a:pt x="587" y="986"/>
                          <a:pt x="586" y="986"/>
                          <a:pt x="586" y="992"/>
                        </a:cubicBezTo>
                        <a:cubicBezTo>
                          <a:pt x="586" y="997"/>
                          <a:pt x="583" y="999"/>
                          <a:pt x="578" y="1006"/>
                        </a:cubicBezTo>
                        <a:cubicBezTo>
                          <a:pt x="573" y="1012"/>
                          <a:pt x="572" y="1014"/>
                          <a:pt x="571" y="1020"/>
                        </a:cubicBezTo>
                        <a:cubicBezTo>
                          <a:pt x="569" y="1025"/>
                          <a:pt x="570" y="1029"/>
                          <a:pt x="572" y="1034"/>
                        </a:cubicBezTo>
                        <a:cubicBezTo>
                          <a:pt x="574" y="1038"/>
                          <a:pt x="575" y="1057"/>
                          <a:pt x="574" y="1060"/>
                        </a:cubicBezTo>
                        <a:cubicBezTo>
                          <a:pt x="573" y="1063"/>
                          <a:pt x="568" y="1073"/>
                          <a:pt x="562" y="1079"/>
                        </a:cubicBezTo>
                        <a:cubicBezTo>
                          <a:pt x="556" y="1086"/>
                          <a:pt x="559" y="1085"/>
                          <a:pt x="554" y="1092"/>
                        </a:cubicBezTo>
                        <a:cubicBezTo>
                          <a:pt x="548" y="1099"/>
                          <a:pt x="552" y="1100"/>
                          <a:pt x="553" y="1107"/>
                        </a:cubicBezTo>
                        <a:cubicBezTo>
                          <a:pt x="553" y="1114"/>
                          <a:pt x="552" y="1116"/>
                          <a:pt x="548" y="1120"/>
                        </a:cubicBezTo>
                        <a:cubicBezTo>
                          <a:pt x="545" y="1125"/>
                          <a:pt x="546" y="1126"/>
                          <a:pt x="544" y="1137"/>
                        </a:cubicBezTo>
                        <a:cubicBezTo>
                          <a:pt x="543" y="1148"/>
                          <a:pt x="539" y="1162"/>
                          <a:pt x="533" y="1170"/>
                        </a:cubicBezTo>
                        <a:cubicBezTo>
                          <a:pt x="527" y="1177"/>
                          <a:pt x="528" y="1178"/>
                          <a:pt x="524" y="1183"/>
                        </a:cubicBezTo>
                        <a:cubicBezTo>
                          <a:pt x="520" y="1187"/>
                          <a:pt x="520" y="1187"/>
                          <a:pt x="517" y="1192"/>
                        </a:cubicBezTo>
                        <a:cubicBezTo>
                          <a:pt x="514" y="1197"/>
                          <a:pt x="516" y="1197"/>
                          <a:pt x="516" y="1203"/>
                        </a:cubicBezTo>
                        <a:cubicBezTo>
                          <a:pt x="516" y="1208"/>
                          <a:pt x="517" y="1211"/>
                          <a:pt x="514" y="1214"/>
                        </a:cubicBezTo>
                        <a:cubicBezTo>
                          <a:pt x="510" y="1218"/>
                          <a:pt x="509" y="1221"/>
                          <a:pt x="503" y="1227"/>
                        </a:cubicBezTo>
                        <a:cubicBezTo>
                          <a:pt x="498" y="1234"/>
                          <a:pt x="501" y="1244"/>
                          <a:pt x="499" y="1250"/>
                        </a:cubicBezTo>
                        <a:cubicBezTo>
                          <a:pt x="497" y="1257"/>
                          <a:pt x="497" y="1259"/>
                          <a:pt x="495" y="1266"/>
                        </a:cubicBezTo>
                        <a:cubicBezTo>
                          <a:pt x="493" y="1272"/>
                          <a:pt x="491" y="1273"/>
                          <a:pt x="488" y="1275"/>
                        </a:cubicBezTo>
                        <a:cubicBezTo>
                          <a:pt x="485" y="1278"/>
                          <a:pt x="484" y="1278"/>
                          <a:pt x="480" y="1279"/>
                        </a:cubicBezTo>
                        <a:cubicBezTo>
                          <a:pt x="476" y="1281"/>
                          <a:pt x="479" y="1281"/>
                          <a:pt x="477" y="1285"/>
                        </a:cubicBezTo>
                        <a:cubicBezTo>
                          <a:pt x="476" y="1289"/>
                          <a:pt x="480" y="1295"/>
                          <a:pt x="480" y="1297"/>
                        </a:cubicBezTo>
                        <a:cubicBezTo>
                          <a:pt x="480" y="1298"/>
                          <a:pt x="480" y="1304"/>
                          <a:pt x="478" y="1306"/>
                        </a:cubicBezTo>
                        <a:cubicBezTo>
                          <a:pt x="476" y="1308"/>
                          <a:pt x="473" y="1308"/>
                          <a:pt x="469" y="1307"/>
                        </a:cubicBezTo>
                        <a:cubicBezTo>
                          <a:pt x="464" y="1306"/>
                          <a:pt x="463" y="1307"/>
                          <a:pt x="460" y="1307"/>
                        </a:cubicBezTo>
                        <a:cubicBezTo>
                          <a:pt x="458" y="1307"/>
                          <a:pt x="455" y="1309"/>
                          <a:pt x="452" y="1312"/>
                        </a:cubicBezTo>
                        <a:cubicBezTo>
                          <a:pt x="449" y="1315"/>
                          <a:pt x="450" y="1320"/>
                          <a:pt x="450" y="1327"/>
                        </a:cubicBezTo>
                        <a:cubicBezTo>
                          <a:pt x="450" y="1334"/>
                          <a:pt x="450" y="1335"/>
                          <a:pt x="451" y="1346"/>
                        </a:cubicBezTo>
                        <a:cubicBezTo>
                          <a:pt x="452" y="1356"/>
                          <a:pt x="459" y="1357"/>
                          <a:pt x="460" y="1360"/>
                        </a:cubicBezTo>
                        <a:cubicBezTo>
                          <a:pt x="462" y="1363"/>
                          <a:pt x="462" y="1371"/>
                          <a:pt x="459" y="1375"/>
                        </a:cubicBezTo>
                        <a:cubicBezTo>
                          <a:pt x="457" y="1380"/>
                          <a:pt x="458" y="1400"/>
                          <a:pt x="458" y="1406"/>
                        </a:cubicBezTo>
                        <a:cubicBezTo>
                          <a:pt x="458" y="1412"/>
                          <a:pt x="463" y="1415"/>
                          <a:pt x="464" y="1422"/>
                        </a:cubicBezTo>
                        <a:cubicBezTo>
                          <a:pt x="465" y="1429"/>
                          <a:pt x="467" y="1432"/>
                          <a:pt x="470" y="1439"/>
                        </a:cubicBezTo>
                        <a:cubicBezTo>
                          <a:pt x="472" y="1445"/>
                          <a:pt x="473" y="1446"/>
                          <a:pt x="475" y="1453"/>
                        </a:cubicBezTo>
                        <a:cubicBezTo>
                          <a:pt x="477" y="1459"/>
                          <a:pt x="477" y="1463"/>
                          <a:pt x="475" y="1468"/>
                        </a:cubicBezTo>
                        <a:cubicBezTo>
                          <a:pt x="473" y="1474"/>
                          <a:pt x="472" y="1481"/>
                          <a:pt x="472" y="1486"/>
                        </a:cubicBezTo>
                        <a:cubicBezTo>
                          <a:pt x="471" y="1490"/>
                          <a:pt x="473" y="1493"/>
                          <a:pt x="470" y="1500"/>
                        </a:cubicBezTo>
                        <a:cubicBezTo>
                          <a:pt x="466" y="1506"/>
                          <a:pt x="467" y="1503"/>
                          <a:pt x="463" y="1503"/>
                        </a:cubicBezTo>
                        <a:cubicBezTo>
                          <a:pt x="459" y="1503"/>
                          <a:pt x="460" y="1503"/>
                          <a:pt x="457" y="1505"/>
                        </a:cubicBezTo>
                        <a:cubicBezTo>
                          <a:pt x="454" y="1507"/>
                          <a:pt x="454" y="1507"/>
                          <a:pt x="451" y="1513"/>
                        </a:cubicBezTo>
                        <a:cubicBezTo>
                          <a:pt x="448" y="1519"/>
                          <a:pt x="447" y="1530"/>
                          <a:pt x="443" y="1539"/>
                        </a:cubicBezTo>
                        <a:cubicBezTo>
                          <a:pt x="439" y="1548"/>
                          <a:pt x="442" y="1550"/>
                          <a:pt x="441" y="1560"/>
                        </a:cubicBezTo>
                        <a:cubicBezTo>
                          <a:pt x="439" y="1569"/>
                          <a:pt x="436" y="1570"/>
                          <a:pt x="434" y="1576"/>
                        </a:cubicBezTo>
                        <a:cubicBezTo>
                          <a:pt x="433" y="1582"/>
                          <a:pt x="433" y="1583"/>
                          <a:pt x="435" y="1590"/>
                        </a:cubicBezTo>
                        <a:cubicBezTo>
                          <a:pt x="437" y="1597"/>
                          <a:pt x="440" y="1599"/>
                          <a:pt x="440" y="1606"/>
                        </a:cubicBezTo>
                        <a:cubicBezTo>
                          <a:pt x="440" y="1613"/>
                          <a:pt x="441" y="1617"/>
                          <a:pt x="441" y="1620"/>
                        </a:cubicBezTo>
                        <a:cubicBezTo>
                          <a:pt x="441" y="1622"/>
                          <a:pt x="448" y="1628"/>
                          <a:pt x="451" y="1626"/>
                        </a:cubicBezTo>
                        <a:cubicBezTo>
                          <a:pt x="453" y="1625"/>
                          <a:pt x="457" y="1623"/>
                          <a:pt x="459" y="1624"/>
                        </a:cubicBezTo>
                        <a:cubicBezTo>
                          <a:pt x="460" y="1625"/>
                          <a:pt x="459" y="1626"/>
                          <a:pt x="458" y="1628"/>
                        </a:cubicBezTo>
                        <a:cubicBezTo>
                          <a:pt x="458" y="1630"/>
                          <a:pt x="455" y="1631"/>
                          <a:pt x="453" y="1633"/>
                        </a:cubicBezTo>
                        <a:cubicBezTo>
                          <a:pt x="450" y="1635"/>
                          <a:pt x="451" y="1638"/>
                          <a:pt x="452" y="1640"/>
                        </a:cubicBezTo>
                        <a:cubicBezTo>
                          <a:pt x="453" y="1642"/>
                          <a:pt x="458" y="1642"/>
                          <a:pt x="459" y="1642"/>
                        </a:cubicBezTo>
                        <a:cubicBezTo>
                          <a:pt x="460" y="1642"/>
                          <a:pt x="471" y="1642"/>
                          <a:pt x="475" y="1642"/>
                        </a:cubicBezTo>
                        <a:cubicBezTo>
                          <a:pt x="480" y="1641"/>
                          <a:pt x="485" y="1639"/>
                          <a:pt x="486" y="1637"/>
                        </a:cubicBezTo>
                        <a:cubicBezTo>
                          <a:pt x="487" y="1635"/>
                          <a:pt x="487" y="1633"/>
                          <a:pt x="486" y="1632"/>
                        </a:cubicBezTo>
                        <a:cubicBezTo>
                          <a:pt x="486" y="1630"/>
                          <a:pt x="485" y="1627"/>
                          <a:pt x="485" y="1624"/>
                        </a:cubicBezTo>
                        <a:cubicBezTo>
                          <a:pt x="485" y="1621"/>
                          <a:pt x="488" y="1623"/>
                          <a:pt x="490" y="1624"/>
                        </a:cubicBezTo>
                        <a:cubicBezTo>
                          <a:pt x="493" y="1625"/>
                          <a:pt x="497" y="1626"/>
                          <a:pt x="501" y="1626"/>
                        </a:cubicBezTo>
                        <a:cubicBezTo>
                          <a:pt x="505" y="1626"/>
                          <a:pt x="507" y="1629"/>
                          <a:pt x="508" y="1630"/>
                        </a:cubicBezTo>
                        <a:cubicBezTo>
                          <a:pt x="510" y="1632"/>
                          <a:pt x="512" y="1632"/>
                          <a:pt x="516" y="1632"/>
                        </a:cubicBezTo>
                        <a:cubicBezTo>
                          <a:pt x="519" y="1633"/>
                          <a:pt x="520" y="1632"/>
                          <a:pt x="523" y="1631"/>
                        </a:cubicBezTo>
                        <a:cubicBezTo>
                          <a:pt x="525" y="1631"/>
                          <a:pt x="526" y="1629"/>
                          <a:pt x="528" y="1626"/>
                        </a:cubicBezTo>
                        <a:cubicBezTo>
                          <a:pt x="531" y="1623"/>
                          <a:pt x="531" y="1621"/>
                          <a:pt x="531" y="1617"/>
                        </a:cubicBezTo>
                        <a:cubicBezTo>
                          <a:pt x="531" y="1614"/>
                          <a:pt x="531" y="1614"/>
                          <a:pt x="532" y="1612"/>
                        </a:cubicBezTo>
                        <a:cubicBezTo>
                          <a:pt x="534" y="1611"/>
                          <a:pt x="534" y="1613"/>
                          <a:pt x="535" y="1616"/>
                        </a:cubicBezTo>
                        <a:cubicBezTo>
                          <a:pt x="535" y="1618"/>
                          <a:pt x="535" y="1621"/>
                          <a:pt x="535" y="1623"/>
                        </a:cubicBezTo>
                        <a:cubicBezTo>
                          <a:pt x="536" y="1625"/>
                          <a:pt x="535" y="1630"/>
                          <a:pt x="534" y="1632"/>
                        </a:cubicBezTo>
                        <a:cubicBezTo>
                          <a:pt x="533" y="1635"/>
                          <a:pt x="524" y="1639"/>
                          <a:pt x="521" y="1641"/>
                        </a:cubicBezTo>
                        <a:cubicBezTo>
                          <a:pt x="518" y="1642"/>
                          <a:pt x="517" y="1643"/>
                          <a:pt x="514" y="1644"/>
                        </a:cubicBezTo>
                        <a:cubicBezTo>
                          <a:pt x="511" y="1645"/>
                          <a:pt x="510" y="1645"/>
                          <a:pt x="508" y="1646"/>
                        </a:cubicBezTo>
                        <a:cubicBezTo>
                          <a:pt x="505" y="1648"/>
                          <a:pt x="506" y="1651"/>
                          <a:pt x="506" y="1653"/>
                        </a:cubicBezTo>
                        <a:cubicBezTo>
                          <a:pt x="506" y="1654"/>
                          <a:pt x="509" y="1655"/>
                          <a:pt x="510" y="1656"/>
                        </a:cubicBezTo>
                        <a:cubicBezTo>
                          <a:pt x="512" y="1657"/>
                          <a:pt x="516" y="1658"/>
                          <a:pt x="516" y="1658"/>
                        </a:cubicBezTo>
                        <a:cubicBezTo>
                          <a:pt x="516" y="1658"/>
                          <a:pt x="519" y="1658"/>
                          <a:pt x="521" y="1658"/>
                        </a:cubicBezTo>
                        <a:cubicBezTo>
                          <a:pt x="523" y="1658"/>
                          <a:pt x="524" y="1659"/>
                          <a:pt x="525" y="1659"/>
                        </a:cubicBezTo>
                        <a:cubicBezTo>
                          <a:pt x="527" y="1660"/>
                          <a:pt x="527" y="1662"/>
                          <a:pt x="528" y="1664"/>
                        </a:cubicBezTo>
                        <a:cubicBezTo>
                          <a:pt x="529" y="1666"/>
                          <a:pt x="528" y="1667"/>
                          <a:pt x="527" y="1670"/>
                        </a:cubicBezTo>
                        <a:cubicBezTo>
                          <a:pt x="526" y="1673"/>
                          <a:pt x="527" y="1674"/>
                          <a:pt x="527" y="1677"/>
                        </a:cubicBezTo>
                        <a:cubicBezTo>
                          <a:pt x="527" y="1681"/>
                          <a:pt x="527" y="1681"/>
                          <a:pt x="528" y="1684"/>
                        </a:cubicBezTo>
                        <a:cubicBezTo>
                          <a:pt x="529" y="1687"/>
                          <a:pt x="529" y="1688"/>
                          <a:pt x="528" y="1689"/>
                        </a:cubicBezTo>
                        <a:cubicBezTo>
                          <a:pt x="528" y="1690"/>
                          <a:pt x="528" y="1691"/>
                          <a:pt x="525" y="1691"/>
                        </a:cubicBezTo>
                        <a:cubicBezTo>
                          <a:pt x="523" y="1690"/>
                          <a:pt x="522" y="1688"/>
                          <a:pt x="520" y="1686"/>
                        </a:cubicBezTo>
                        <a:cubicBezTo>
                          <a:pt x="517" y="1684"/>
                          <a:pt x="519" y="1683"/>
                          <a:pt x="519" y="1681"/>
                        </a:cubicBezTo>
                        <a:cubicBezTo>
                          <a:pt x="518" y="1678"/>
                          <a:pt x="516" y="1678"/>
                          <a:pt x="515" y="1677"/>
                        </a:cubicBezTo>
                        <a:cubicBezTo>
                          <a:pt x="514" y="1677"/>
                          <a:pt x="512" y="1677"/>
                          <a:pt x="510" y="1679"/>
                        </a:cubicBezTo>
                        <a:cubicBezTo>
                          <a:pt x="507" y="1681"/>
                          <a:pt x="508" y="1685"/>
                          <a:pt x="509" y="1688"/>
                        </a:cubicBezTo>
                        <a:cubicBezTo>
                          <a:pt x="510" y="1691"/>
                          <a:pt x="514" y="1693"/>
                          <a:pt x="517" y="1695"/>
                        </a:cubicBezTo>
                        <a:cubicBezTo>
                          <a:pt x="520" y="1697"/>
                          <a:pt x="521" y="1698"/>
                          <a:pt x="521" y="1700"/>
                        </a:cubicBezTo>
                        <a:cubicBezTo>
                          <a:pt x="521" y="1702"/>
                          <a:pt x="519" y="1704"/>
                          <a:pt x="517" y="1704"/>
                        </a:cubicBezTo>
                        <a:cubicBezTo>
                          <a:pt x="515" y="1704"/>
                          <a:pt x="514" y="1700"/>
                          <a:pt x="511" y="1700"/>
                        </a:cubicBezTo>
                        <a:cubicBezTo>
                          <a:pt x="508" y="1700"/>
                          <a:pt x="507" y="1702"/>
                          <a:pt x="505" y="1704"/>
                        </a:cubicBezTo>
                        <a:cubicBezTo>
                          <a:pt x="503" y="1706"/>
                          <a:pt x="503" y="1710"/>
                          <a:pt x="504" y="1714"/>
                        </a:cubicBezTo>
                        <a:cubicBezTo>
                          <a:pt x="505" y="1718"/>
                          <a:pt x="506" y="1722"/>
                          <a:pt x="506" y="1725"/>
                        </a:cubicBezTo>
                        <a:cubicBezTo>
                          <a:pt x="506" y="1728"/>
                          <a:pt x="507" y="1729"/>
                          <a:pt x="505" y="1733"/>
                        </a:cubicBezTo>
                        <a:cubicBezTo>
                          <a:pt x="504" y="1738"/>
                          <a:pt x="504" y="1736"/>
                          <a:pt x="501" y="1737"/>
                        </a:cubicBezTo>
                        <a:cubicBezTo>
                          <a:pt x="498" y="1737"/>
                          <a:pt x="498" y="1739"/>
                          <a:pt x="497" y="1746"/>
                        </a:cubicBezTo>
                        <a:cubicBezTo>
                          <a:pt x="496" y="1753"/>
                          <a:pt x="495" y="1752"/>
                          <a:pt x="491" y="1756"/>
                        </a:cubicBezTo>
                        <a:cubicBezTo>
                          <a:pt x="487" y="1760"/>
                          <a:pt x="489" y="1763"/>
                          <a:pt x="489" y="1768"/>
                        </a:cubicBezTo>
                        <a:cubicBezTo>
                          <a:pt x="489" y="1773"/>
                          <a:pt x="491" y="1774"/>
                          <a:pt x="496" y="1780"/>
                        </a:cubicBezTo>
                        <a:cubicBezTo>
                          <a:pt x="500" y="1785"/>
                          <a:pt x="501" y="1787"/>
                          <a:pt x="500" y="1792"/>
                        </a:cubicBezTo>
                        <a:cubicBezTo>
                          <a:pt x="499" y="1797"/>
                          <a:pt x="498" y="1795"/>
                          <a:pt x="495" y="1797"/>
                        </a:cubicBezTo>
                        <a:cubicBezTo>
                          <a:pt x="492" y="1799"/>
                          <a:pt x="492" y="1800"/>
                          <a:pt x="489" y="1804"/>
                        </a:cubicBezTo>
                        <a:cubicBezTo>
                          <a:pt x="487" y="1808"/>
                          <a:pt x="486" y="1809"/>
                          <a:pt x="482" y="1811"/>
                        </a:cubicBezTo>
                        <a:cubicBezTo>
                          <a:pt x="478" y="1813"/>
                          <a:pt x="475" y="1819"/>
                          <a:pt x="479" y="1824"/>
                        </a:cubicBezTo>
                        <a:cubicBezTo>
                          <a:pt x="483" y="1830"/>
                          <a:pt x="488" y="1827"/>
                          <a:pt x="492" y="1829"/>
                        </a:cubicBezTo>
                        <a:cubicBezTo>
                          <a:pt x="495" y="1832"/>
                          <a:pt x="493" y="1832"/>
                          <a:pt x="503" y="1837"/>
                        </a:cubicBezTo>
                        <a:cubicBezTo>
                          <a:pt x="512" y="1842"/>
                          <a:pt x="510" y="1840"/>
                          <a:pt x="514" y="1843"/>
                        </a:cubicBezTo>
                        <a:cubicBezTo>
                          <a:pt x="517" y="1846"/>
                          <a:pt x="517" y="1847"/>
                          <a:pt x="517" y="1852"/>
                        </a:cubicBezTo>
                        <a:cubicBezTo>
                          <a:pt x="516" y="1856"/>
                          <a:pt x="515" y="1857"/>
                          <a:pt x="513" y="1862"/>
                        </a:cubicBezTo>
                        <a:cubicBezTo>
                          <a:pt x="510" y="1866"/>
                          <a:pt x="510" y="1868"/>
                          <a:pt x="505" y="1871"/>
                        </a:cubicBezTo>
                        <a:cubicBezTo>
                          <a:pt x="501" y="1874"/>
                          <a:pt x="499" y="1873"/>
                          <a:pt x="495" y="1876"/>
                        </a:cubicBezTo>
                        <a:cubicBezTo>
                          <a:pt x="490" y="1879"/>
                          <a:pt x="489" y="1880"/>
                          <a:pt x="483" y="1881"/>
                        </a:cubicBezTo>
                        <a:cubicBezTo>
                          <a:pt x="477" y="1882"/>
                          <a:pt x="473" y="1885"/>
                          <a:pt x="472" y="1890"/>
                        </a:cubicBezTo>
                        <a:cubicBezTo>
                          <a:pt x="470" y="1895"/>
                          <a:pt x="472" y="1894"/>
                          <a:pt x="476" y="1899"/>
                        </a:cubicBezTo>
                        <a:cubicBezTo>
                          <a:pt x="479" y="1905"/>
                          <a:pt x="479" y="1902"/>
                          <a:pt x="483" y="1906"/>
                        </a:cubicBezTo>
                        <a:cubicBezTo>
                          <a:pt x="487" y="1910"/>
                          <a:pt x="490" y="1910"/>
                          <a:pt x="495" y="1912"/>
                        </a:cubicBezTo>
                        <a:cubicBezTo>
                          <a:pt x="501" y="1913"/>
                          <a:pt x="501" y="1913"/>
                          <a:pt x="503" y="1916"/>
                        </a:cubicBezTo>
                        <a:cubicBezTo>
                          <a:pt x="504" y="1919"/>
                          <a:pt x="503" y="1919"/>
                          <a:pt x="500" y="1922"/>
                        </a:cubicBezTo>
                        <a:cubicBezTo>
                          <a:pt x="498" y="1924"/>
                          <a:pt x="496" y="1922"/>
                          <a:pt x="492" y="1922"/>
                        </a:cubicBezTo>
                        <a:cubicBezTo>
                          <a:pt x="488" y="1921"/>
                          <a:pt x="487" y="1921"/>
                          <a:pt x="484" y="1919"/>
                        </a:cubicBezTo>
                        <a:cubicBezTo>
                          <a:pt x="482" y="1917"/>
                          <a:pt x="482" y="1914"/>
                          <a:pt x="479" y="1913"/>
                        </a:cubicBezTo>
                        <a:cubicBezTo>
                          <a:pt x="477" y="1912"/>
                          <a:pt x="474" y="1913"/>
                          <a:pt x="473" y="1915"/>
                        </a:cubicBezTo>
                        <a:cubicBezTo>
                          <a:pt x="472" y="1917"/>
                          <a:pt x="470" y="1920"/>
                          <a:pt x="467" y="1921"/>
                        </a:cubicBezTo>
                        <a:cubicBezTo>
                          <a:pt x="465" y="1923"/>
                          <a:pt x="465" y="1926"/>
                          <a:pt x="466" y="1929"/>
                        </a:cubicBezTo>
                        <a:cubicBezTo>
                          <a:pt x="468" y="1932"/>
                          <a:pt x="471" y="1930"/>
                          <a:pt x="476" y="1931"/>
                        </a:cubicBezTo>
                        <a:cubicBezTo>
                          <a:pt x="481" y="1931"/>
                          <a:pt x="482" y="1934"/>
                          <a:pt x="481" y="1936"/>
                        </a:cubicBezTo>
                        <a:cubicBezTo>
                          <a:pt x="481" y="1939"/>
                          <a:pt x="480" y="1939"/>
                          <a:pt x="476" y="1940"/>
                        </a:cubicBezTo>
                        <a:cubicBezTo>
                          <a:pt x="472" y="1940"/>
                          <a:pt x="468" y="1942"/>
                          <a:pt x="465" y="1946"/>
                        </a:cubicBezTo>
                        <a:cubicBezTo>
                          <a:pt x="462" y="1950"/>
                          <a:pt x="461" y="1952"/>
                          <a:pt x="458" y="1954"/>
                        </a:cubicBezTo>
                        <a:cubicBezTo>
                          <a:pt x="454" y="1956"/>
                          <a:pt x="453" y="1961"/>
                          <a:pt x="452" y="1966"/>
                        </a:cubicBezTo>
                        <a:cubicBezTo>
                          <a:pt x="451" y="1972"/>
                          <a:pt x="454" y="1975"/>
                          <a:pt x="456" y="1976"/>
                        </a:cubicBezTo>
                        <a:cubicBezTo>
                          <a:pt x="459" y="1978"/>
                          <a:pt x="462" y="1984"/>
                          <a:pt x="462" y="1987"/>
                        </a:cubicBezTo>
                        <a:cubicBezTo>
                          <a:pt x="462" y="1990"/>
                          <a:pt x="460" y="1991"/>
                          <a:pt x="456" y="1993"/>
                        </a:cubicBezTo>
                        <a:cubicBezTo>
                          <a:pt x="452" y="1995"/>
                          <a:pt x="450" y="1996"/>
                          <a:pt x="445" y="1998"/>
                        </a:cubicBezTo>
                        <a:cubicBezTo>
                          <a:pt x="441" y="1999"/>
                          <a:pt x="443" y="2002"/>
                          <a:pt x="442" y="2007"/>
                        </a:cubicBezTo>
                        <a:cubicBezTo>
                          <a:pt x="441" y="2011"/>
                          <a:pt x="436" y="2010"/>
                          <a:pt x="432" y="2008"/>
                        </a:cubicBezTo>
                        <a:cubicBezTo>
                          <a:pt x="428" y="2006"/>
                          <a:pt x="429" y="2003"/>
                          <a:pt x="432" y="2000"/>
                        </a:cubicBezTo>
                        <a:cubicBezTo>
                          <a:pt x="436" y="1998"/>
                          <a:pt x="436" y="1995"/>
                          <a:pt x="435" y="1992"/>
                        </a:cubicBezTo>
                        <a:cubicBezTo>
                          <a:pt x="434" y="1990"/>
                          <a:pt x="430" y="1991"/>
                          <a:pt x="424" y="1990"/>
                        </a:cubicBezTo>
                        <a:cubicBezTo>
                          <a:pt x="419" y="1988"/>
                          <a:pt x="424" y="1987"/>
                          <a:pt x="422" y="1984"/>
                        </a:cubicBezTo>
                        <a:cubicBezTo>
                          <a:pt x="421" y="1981"/>
                          <a:pt x="418" y="1984"/>
                          <a:pt x="414" y="1984"/>
                        </a:cubicBezTo>
                        <a:cubicBezTo>
                          <a:pt x="410" y="1985"/>
                          <a:pt x="408" y="1984"/>
                          <a:pt x="403" y="1983"/>
                        </a:cubicBezTo>
                        <a:cubicBezTo>
                          <a:pt x="397" y="1981"/>
                          <a:pt x="400" y="1980"/>
                          <a:pt x="400" y="1977"/>
                        </a:cubicBezTo>
                        <a:cubicBezTo>
                          <a:pt x="399" y="1974"/>
                          <a:pt x="400" y="1974"/>
                          <a:pt x="404" y="1974"/>
                        </a:cubicBezTo>
                        <a:cubicBezTo>
                          <a:pt x="408" y="1975"/>
                          <a:pt x="408" y="1977"/>
                          <a:pt x="412" y="1977"/>
                        </a:cubicBezTo>
                        <a:cubicBezTo>
                          <a:pt x="417" y="1977"/>
                          <a:pt x="415" y="1975"/>
                          <a:pt x="417" y="1972"/>
                        </a:cubicBezTo>
                        <a:cubicBezTo>
                          <a:pt x="419" y="1968"/>
                          <a:pt x="418" y="1968"/>
                          <a:pt x="420" y="1961"/>
                        </a:cubicBezTo>
                        <a:cubicBezTo>
                          <a:pt x="421" y="1955"/>
                          <a:pt x="420" y="1956"/>
                          <a:pt x="418" y="1952"/>
                        </a:cubicBezTo>
                        <a:cubicBezTo>
                          <a:pt x="417" y="1947"/>
                          <a:pt x="416" y="1950"/>
                          <a:pt x="413" y="1949"/>
                        </a:cubicBezTo>
                        <a:cubicBezTo>
                          <a:pt x="409" y="1949"/>
                          <a:pt x="407" y="1951"/>
                          <a:pt x="405" y="1953"/>
                        </a:cubicBezTo>
                        <a:cubicBezTo>
                          <a:pt x="403" y="1955"/>
                          <a:pt x="406" y="1961"/>
                          <a:pt x="406" y="1966"/>
                        </a:cubicBezTo>
                        <a:cubicBezTo>
                          <a:pt x="406" y="1970"/>
                          <a:pt x="402" y="1966"/>
                          <a:pt x="399" y="1966"/>
                        </a:cubicBezTo>
                        <a:cubicBezTo>
                          <a:pt x="395" y="1966"/>
                          <a:pt x="396" y="1964"/>
                          <a:pt x="396" y="1959"/>
                        </a:cubicBezTo>
                        <a:cubicBezTo>
                          <a:pt x="396" y="1953"/>
                          <a:pt x="393" y="1954"/>
                          <a:pt x="391" y="1954"/>
                        </a:cubicBezTo>
                        <a:cubicBezTo>
                          <a:pt x="388" y="1953"/>
                          <a:pt x="385" y="1956"/>
                          <a:pt x="385" y="1961"/>
                        </a:cubicBezTo>
                        <a:cubicBezTo>
                          <a:pt x="384" y="1965"/>
                          <a:pt x="385" y="1967"/>
                          <a:pt x="386" y="1971"/>
                        </a:cubicBezTo>
                        <a:cubicBezTo>
                          <a:pt x="386" y="1975"/>
                          <a:pt x="384" y="1981"/>
                          <a:pt x="381" y="1980"/>
                        </a:cubicBezTo>
                        <a:cubicBezTo>
                          <a:pt x="379" y="1979"/>
                          <a:pt x="371" y="1980"/>
                          <a:pt x="367" y="1981"/>
                        </a:cubicBezTo>
                        <a:cubicBezTo>
                          <a:pt x="363" y="1982"/>
                          <a:pt x="365" y="1985"/>
                          <a:pt x="367" y="1990"/>
                        </a:cubicBezTo>
                        <a:cubicBezTo>
                          <a:pt x="369" y="1996"/>
                          <a:pt x="367" y="1995"/>
                          <a:pt x="367" y="1999"/>
                        </a:cubicBezTo>
                        <a:cubicBezTo>
                          <a:pt x="367" y="2002"/>
                          <a:pt x="367" y="2008"/>
                          <a:pt x="368" y="2014"/>
                        </a:cubicBezTo>
                        <a:cubicBezTo>
                          <a:pt x="369" y="2020"/>
                          <a:pt x="373" y="2020"/>
                          <a:pt x="378" y="2022"/>
                        </a:cubicBezTo>
                        <a:cubicBezTo>
                          <a:pt x="383" y="2024"/>
                          <a:pt x="386" y="2023"/>
                          <a:pt x="392" y="2020"/>
                        </a:cubicBezTo>
                        <a:cubicBezTo>
                          <a:pt x="399" y="2016"/>
                          <a:pt x="397" y="2015"/>
                          <a:pt x="401" y="2015"/>
                        </a:cubicBezTo>
                        <a:cubicBezTo>
                          <a:pt x="406" y="2015"/>
                          <a:pt x="410" y="2017"/>
                          <a:pt x="412" y="2021"/>
                        </a:cubicBezTo>
                        <a:cubicBezTo>
                          <a:pt x="414" y="2024"/>
                          <a:pt x="418" y="2027"/>
                          <a:pt x="423" y="2030"/>
                        </a:cubicBezTo>
                        <a:cubicBezTo>
                          <a:pt x="428" y="2034"/>
                          <a:pt x="433" y="2036"/>
                          <a:pt x="433" y="2041"/>
                        </a:cubicBezTo>
                        <a:cubicBezTo>
                          <a:pt x="434" y="2046"/>
                          <a:pt x="434" y="2051"/>
                          <a:pt x="434" y="2056"/>
                        </a:cubicBezTo>
                        <a:cubicBezTo>
                          <a:pt x="433" y="2062"/>
                          <a:pt x="432" y="2060"/>
                          <a:pt x="428" y="2063"/>
                        </a:cubicBezTo>
                        <a:cubicBezTo>
                          <a:pt x="424" y="2065"/>
                          <a:pt x="421" y="2066"/>
                          <a:pt x="419" y="2065"/>
                        </a:cubicBezTo>
                        <a:cubicBezTo>
                          <a:pt x="417" y="2064"/>
                          <a:pt x="417" y="2061"/>
                          <a:pt x="414" y="2061"/>
                        </a:cubicBezTo>
                        <a:cubicBezTo>
                          <a:pt x="412" y="2062"/>
                          <a:pt x="409" y="2064"/>
                          <a:pt x="406" y="2065"/>
                        </a:cubicBezTo>
                        <a:cubicBezTo>
                          <a:pt x="403" y="2066"/>
                          <a:pt x="404" y="2070"/>
                          <a:pt x="404" y="2072"/>
                        </a:cubicBezTo>
                        <a:cubicBezTo>
                          <a:pt x="404" y="2075"/>
                          <a:pt x="405" y="2077"/>
                          <a:pt x="408" y="2081"/>
                        </a:cubicBezTo>
                        <a:cubicBezTo>
                          <a:pt x="411" y="2084"/>
                          <a:pt x="413" y="2082"/>
                          <a:pt x="416" y="2083"/>
                        </a:cubicBezTo>
                        <a:cubicBezTo>
                          <a:pt x="419" y="2083"/>
                          <a:pt x="422" y="2083"/>
                          <a:pt x="425" y="2084"/>
                        </a:cubicBezTo>
                        <a:cubicBezTo>
                          <a:pt x="427" y="2084"/>
                          <a:pt x="427" y="2087"/>
                          <a:pt x="427" y="2090"/>
                        </a:cubicBezTo>
                        <a:cubicBezTo>
                          <a:pt x="426" y="2092"/>
                          <a:pt x="422" y="2093"/>
                          <a:pt x="421" y="2096"/>
                        </a:cubicBezTo>
                        <a:cubicBezTo>
                          <a:pt x="419" y="2099"/>
                          <a:pt x="421" y="2099"/>
                          <a:pt x="422" y="2100"/>
                        </a:cubicBezTo>
                        <a:cubicBezTo>
                          <a:pt x="424" y="2102"/>
                          <a:pt x="427" y="2102"/>
                          <a:pt x="432" y="2102"/>
                        </a:cubicBezTo>
                        <a:cubicBezTo>
                          <a:pt x="436" y="2102"/>
                          <a:pt x="436" y="2102"/>
                          <a:pt x="440" y="2101"/>
                        </a:cubicBezTo>
                        <a:cubicBezTo>
                          <a:pt x="444" y="2100"/>
                          <a:pt x="444" y="2098"/>
                          <a:pt x="445" y="2093"/>
                        </a:cubicBezTo>
                        <a:cubicBezTo>
                          <a:pt x="446" y="2087"/>
                          <a:pt x="447" y="2084"/>
                          <a:pt x="449" y="2084"/>
                        </a:cubicBezTo>
                        <a:cubicBezTo>
                          <a:pt x="451" y="2084"/>
                          <a:pt x="451" y="2086"/>
                          <a:pt x="452" y="2088"/>
                        </a:cubicBezTo>
                        <a:cubicBezTo>
                          <a:pt x="453" y="2091"/>
                          <a:pt x="453" y="2095"/>
                          <a:pt x="453" y="2099"/>
                        </a:cubicBezTo>
                        <a:cubicBezTo>
                          <a:pt x="453" y="2103"/>
                          <a:pt x="454" y="2103"/>
                          <a:pt x="457" y="2106"/>
                        </a:cubicBezTo>
                        <a:cubicBezTo>
                          <a:pt x="460" y="2108"/>
                          <a:pt x="464" y="2110"/>
                          <a:pt x="467" y="2111"/>
                        </a:cubicBezTo>
                        <a:cubicBezTo>
                          <a:pt x="471" y="2113"/>
                          <a:pt x="473" y="2112"/>
                          <a:pt x="476" y="2114"/>
                        </a:cubicBezTo>
                        <a:cubicBezTo>
                          <a:pt x="479" y="2115"/>
                          <a:pt x="478" y="2116"/>
                          <a:pt x="477" y="2120"/>
                        </a:cubicBezTo>
                        <a:cubicBezTo>
                          <a:pt x="476" y="2124"/>
                          <a:pt x="474" y="2121"/>
                          <a:pt x="470" y="2121"/>
                        </a:cubicBezTo>
                        <a:cubicBezTo>
                          <a:pt x="466" y="2120"/>
                          <a:pt x="464" y="2119"/>
                          <a:pt x="464" y="2123"/>
                        </a:cubicBezTo>
                        <a:cubicBezTo>
                          <a:pt x="463" y="2127"/>
                          <a:pt x="470" y="2127"/>
                          <a:pt x="471" y="2130"/>
                        </a:cubicBezTo>
                        <a:cubicBezTo>
                          <a:pt x="473" y="2133"/>
                          <a:pt x="470" y="2134"/>
                          <a:pt x="465" y="2135"/>
                        </a:cubicBezTo>
                        <a:cubicBezTo>
                          <a:pt x="460" y="2137"/>
                          <a:pt x="459" y="2138"/>
                          <a:pt x="455" y="2138"/>
                        </a:cubicBezTo>
                        <a:cubicBezTo>
                          <a:pt x="450" y="2138"/>
                          <a:pt x="451" y="2134"/>
                          <a:pt x="447" y="2129"/>
                        </a:cubicBezTo>
                        <a:cubicBezTo>
                          <a:pt x="443" y="2125"/>
                          <a:pt x="442" y="2128"/>
                          <a:pt x="437" y="2125"/>
                        </a:cubicBezTo>
                        <a:cubicBezTo>
                          <a:pt x="433" y="2123"/>
                          <a:pt x="434" y="2123"/>
                          <a:pt x="430" y="2123"/>
                        </a:cubicBezTo>
                        <a:cubicBezTo>
                          <a:pt x="426" y="2122"/>
                          <a:pt x="421" y="2121"/>
                          <a:pt x="420" y="2124"/>
                        </a:cubicBezTo>
                        <a:cubicBezTo>
                          <a:pt x="419" y="2127"/>
                          <a:pt x="418" y="2130"/>
                          <a:pt x="417" y="2134"/>
                        </a:cubicBezTo>
                        <a:cubicBezTo>
                          <a:pt x="416" y="2139"/>
                          <a:pt x="423" y="2143"/>
                          <a:pt x="424" y="2145"/>
                        </a:cubicBezTo>
                        <a:cubicBezTo>
                          <a:pt x="425" y="2148"/>
                          <a:pt x="428" y="2149"/>
                          <a:pt x="433" y="2149"/>
                        </a:cubicBezTo>
                        <a:cubicBezTo>
                          <a:pt x="437" y="2150"/>
                          <a:pt x="435" y="2153"/>
                          <a:pt x="435" y="2156"/>
                        </a:cubicBezTo>
                        <a:cubicBezTo>
                          <a:pt x="435" y="2159"/>
                          <a:pt x="433" y="2163"/>
                          <a:pt x="431" y="2164"/>
                        </a:cubicBezTo>
                        <a:cubicBezTo>
                          <a:pt x="429" y="2166"/>
                          <a:pt x="425" y="2164"/>
                          <a:pt x="423" y="2162"/>
                        </a:cubicBezTo>
                        <a:cubicBezTo>
                          <a:pt x="421" y="2161"/>
                          <a:pt x="421" y="2158"/>
                          <a:pt x="418" y="2157"/>
                        </a:cubicBezTo>
                        <a:cubicBezTo>
                          <a:pt x="415" y="2156"/>
                          <a:pt x="415" y="2158"/>
                          <a:pt x="413" y="2158"/>
                        </a:cubicBezTo>
                        <a:cubicBezTo>
                          <a:pt x="411" y="2159"/>
                          <a:pt x="407" y="2164"/>
                          <a:pt x="407" y="2167"/>
                        </a:cubicBezTo>
                        <a:cubicBezTo>
                          <a:pt x="407" y="2170"/>
                          <a:pt x="411" y="2171"/>
                          <a:pt x="416" y="2173"/>
                        </a:cubicBezTo>
                        <a:cubicBezTo>
                          <a:pt x="421" y="2175"/>
                          <a:pt x="421" y="2174"/>
                          <a:pt x="422" y="2176"/>
                        </a:cubicBezTo>
                        <a:cubicBezTo>
                          <a:pt x="424" y="2179"/>
                          <a:pt x="421" y="2181"/>
                          <a:pt x="417" y="2182"/>
                        </a:cubicBezTo>
                        <a:cubicBezTo>
                          <a:pt x="413" y="2183"/>
                          <a:pt x="409" y="2182"/>
                          <a:pt x="405" y="2185"/>
                        </a:cubicBezTo>
                        <a:cubicBezTo>
                          <a:pt x="401" y="2188"/>
                          <a:pt x="403" y="2192"/>
                          <a:pt x="403" y="2197"/>
                        </a:cubicBezTo>
                        <a:cubicBezTo>
                          <a:pt x="402" y="2201"/>
                          <a:pt x="406" y="2205"/>
                          <a:pt x="406" y="2210"/>
                        </a:cubicBezTo>
                        <a:cubicBezTo>
                          <a:pt x="407" y="2215"/>
                          <a:pt x="406" y="2220"/>
                          <a:pt x="407" y="2226"/>
                        </a:cubicBezTo>
                        <a:cubicBezTo>
                          <a:pt x="408" y="2232"/>
                          <a:pt x="412" y="2230"/>
                          <a:pt x="416" y="2228"/>
                        </a:cubicBezTo>
                        <a:cubicBezTo>
                          <a:pt x="419" y="2226"/>
                          <a:pt x="417" y="2222"/>
                          <a:pt x="418" y="2215"/>
                        </a:cubicBezTo>
                        <a:cubicBezTo>
                          <a:pt x="418" y="2209"/>
                          <a:pt x="421" y="2212"/>
                          <a:pt x="422" y="2207"/>
                        </a:cubicBezTo>
                        <a:cubicBezTo>
                          <a:pt x="423" y="2202"/>
                          <a:pt x="422" y="2200"/>
                          <a:pt x="424" y="2196"/>
                        </a:cubicBezTo>
                        <a:cubicBezTo>
                          <a:pt x="426" y="2192"/>
                          <a:pt x="439" y="2198"/>
                          <a:pt x="439" y="2202"/>
                        </a:cubicBezTo>
                        <a:cubicBezTo>
                          <a:pt x="439" y="2206"/>
                          <a:pt x="436" y="2206"/>
                          <a:pt x="436" y="2210"/>
                        </a:cubicBezTo>
                        <a:cubicBezTo>
                          <a:pt x="436" y="2213"/>
                          <a:pt x="439" y="2215"/>
                          <a:pt x="439" y="2220"/>
                        </a:cubicBezTo>
                        <a:cubicBezTo>
                          <a:pt x="439" y="2226"/>
                          <a:pt x="438" y="2222"/>
                          <a:pt x="435" y="2223"/>
                        </a:cubicBezTo>
                        <a:cubicBezTo>
                          <a:pt x="432" y="2224"/>
                          <a:pt x="432" y="2229"/>
                          <a:pt x="432" y="2233"/>
                        </a:cubicBezTo>
                        <a:cubicBezTo>
                          <a:pt x="433" y="2238"/>
                          <a:pt x="438" y="2236"/>
                          <a:pt x="440" y="2239"/>
                        </a:cubicBezTo>
                        <a:cubicBezTo>
                          <a:pt x="443" y="2242"/>
                          <a:pt x="445" y="2247"/>
                          <a:pt x="445" y="2250"/>
                        </a:cubicBezTo>
                        <a:cubicBezTo>
                          <a:pt x="444" y="2252"/>
                          <a:pt x="443" y="2253"/>
                          <a:pt x="440" y="2254"/>
                        </a:cubicBezTo>
                        <a:cubicBezTo>
                          <a:pt x="437" y="2254"/>
                          <a:pt x="437" y="2256"/>
                          <a:pt x="434" y="2253"/>
                        </a:cubicBezTo>
                        <a:cubicBezTo>
                          <a:pt x="431" y="2250"/>
                          <a:pt x="431" y="2249"/>
                          <a:pt x="429" y="2246"/>
                        </a:cubicBezTo>
                        <a:cubicBezTo>
                          <a:pt x="427" y="2243"/>
                          <a:pt x="425" y="2245"/>
                          <a:pt x="422" y="2245"/>
                        </a:cubicBezTo>
                        <a:cubicBezTo>
                          <a:pt x="419" y="2245"/>
                          <a:pt x="419" y="2249"/>
                          <a:pt x="418" y="2251"/>
                        </a:cubicBezTo>
                        <a:cubicBezTo>
                          <a:pt x="418" y="2253"/>
                          <a:pt x="420" y="2253"/>
                          <a:pt x="422" y="2254"/>
                        </a:cubicBezTo>
                        <a:cubicBezTo>
                          <a:pt x="424" y="2255"/>
                          <a:pt x="424" y="2257"/>
                          <a:pt x="423" y="2258"/>
                        </a:cubicBezTo>
                        <a:cubicBezTo>
                          <a:pt x="422" y="2260"/>
                          <a:pt x="420" y="2260"/>
                          <a:pt x="417" y="2260"/>
                        </a:cubicBezTo>
                        <a:cubicBezTo>
                          <a:pt x="413" y="2260"/>
                          <a:pt x="413" y="2263"/>
                          <a:pt x="413" y="2266"/>
                        </a:cubicBezTo>
                        <a:cubicBezTo>
                          <a:pt x="413" y="2269"/>
                          <a:pt x="420" y="2270"/>
                          <a:pt x="425" y="2270"/>
                        </a:cubicBezTo>
                        <a:cubicBezTo>
                          <a:pt x="429" y="2270"/>
                          <a:pt x="428" y="2267"/>
                          <a:pt x="433" y="2267"/>
                        </a:cubicBezTo>
                        <a:cubicBezTo>
                          <a:pt x="437" y="2267"/>
                          <a:pt x="435" y="2270"/>
                          <a:pt x="434" y="2273"/>
                        </a:cubicBezTo>
                        <a:cubicBezTo>
                          <a:pt x="433" y="2277"/>
                          <a:pt x="435" y="2278"/>
                          <a:pt x="439" y="2281"/>
                        </a:cubicBezTo>
                        <a:cubicBezTo>
                          <a:pt x="442" y="2283"/>
                          <a:pt x="440" y="2287"/>
                          <a:pt x="438" y="2288"/>
                        </a:cubicBezTo>
                        <a:cubicBezTo>
                          <a:pt x="436" y="2288"/>
                          <a:pt x="431" y="2288"/>
                          <a:pt x="427" y="2287"/>
                        </a:cubicBezTo>
                        <a:cubicBezTo>
                          <a:pt x="423" y="2285"/>
                          <a:pt x="423" y="2284"/>
                          <a:pt x="422" y="2280"/>
                        </a:cubicBezTo>
                        <a:cubicBezTo>
                          <a:pt x="421" y="2276"/>
                          <a:pt x="416" y="2277"/>
                          <a:pt x="414" y="2279"/>
                        </a:cubicBezTo>
                        <a:cubicBezTo>
                          <a:pt x="412" y="2281"/>
                          <a:pt x="416" y="2285"/>
                          <a:pt x="419" y="2289"/>
                        </a:cubicBezTo>
                        <a:cubicBezTo>
                          <a:pt x="421" y="2294"/>
                          <a:pt x="425" y="2294"/>
                          <a:pt x="430" y="2294"/>
                        </a:cubicBezTo>
                        <a:cubicBezTo>
                          <a:pt x="436" y="2294"/>
                          <a:pt x="438" y="2297"/>
                          <a:pt x="440" y="2299"/>
                        </a:cubicBezTo>
                        <a:cubicBezTo>
                          <a:pt x="442" y="2302"/>
                          <a:pt x="439" y="2303"/>
                          <a:pt x="435" y="2304"/>
                        </a:cubicBezTo>
                        <a:cubicBezTo>
                          <a:pt x="431" y="2305"/>
                          <a:pt x="430" y="2303"/>
                          <a:pt x="426" y="2303"/>
                        </a:cubicBezTo>
                        <a:cubicBezTo>
                          <a:pt x="423" y="2303"/>
                          <a:pt x="421" y="2302"/>
                          <a:pt x="417" y="2301"/>
                        </a:cubicBezTo>
                        <a:cubicBezTo>
                          <a:pt x="413" y="2300"/>
                          <a:pt x="413" y="2299"/>
                          <a:pt x="411" y="2297"/>
                        </a:cubicBezTo>
                        <a:cubicBezTo>
                          <a:pt x="409" y="2294"/>
                          <a:pt x="408" y="2290"/>
                          <a:pt x="406" y="2288"/>
                        </a:cubicBezTo>
                        <a:cubicBezTo>
                          <a:pt x="404" y="2287"/>
                          <a:pt x="400" y="2291"/>
                          <a:pt x="398" y="2294"/>
                        </a:cubicBezTo>
                        <a:cubicBezTo>
                          <a:pt x="396" y="2298"/>
                          <a:pt x="398" y="2299"/>
                          <a:pt x="400" y="2300"/>
                        </a:cubicBezTo>
                        <a:cubicBezTo>
                          <a:pt x="402" y="2302"/>
                          <a:pt x="410" y="2306"/>
                          <a:pt x="416" y="2307"/>
                        </a:cubicBezTo>
                        <a:cubicBezTo>
                          <a:pt x="422" y="2309"/>
                          <a:pt x="422" y="2308"/>
                          <a:pt x="426" y="2308"/>
                        </a:cubicBezTo>
                        <a:cubicBezTo>
                          <a:pt x="430" y="2309"/>
                          <a:pt x="431" y="2312"/>
                          <a:pt x="432" y="2315"/>
                        </a:cubicBezTo>
                        <a:cubicBezTo>
                          <a:pt x="434" y="2319"/>
                          <a:pt x="439" y="2317"/>
                          <a:pt x="443" y="2317"/>
                        </a:cubicBezTo>
                        <a:cubicBezTo>
                          <a:pt x="448" y="2316"/>
                          <a:pt x="448" y="2313"/>
                          <a:pt x="450" y="2310"/>
                        </a:cubicBezTo>
                        <a:cubicBezTo>
                          <a:pt x="452" y="2308"/>
                          <a:pt x="455" y="2309"/>
                          <a:pt x="458" y="2312"/>
                        </a:cubicBezTo>
                        <a:cubicBezTo>
                          <a:pt x="461" y="2315"/>
                          <a:pt x="458" y="2315"/>
                          <a:pt x="456" y="2316"/>
                        </a:cubicBezTo>
                        <a:cubicBezTo>
                          <a:pt x="454" y="2318"/>
                          <a:pt x="455" y="2322"/>
                          <a:pt x="457" y="2325"/>
                        </a:cubicBezTo>
                        <a:cubicBezTo>
                          <a:pt x="458" y="2329"/>
                          <a:pt x="463" y="2328"/>
                          <a:pt x="464" y="2331"/>
                        </a:cubicBezTo>
                        <a:cubicBezTo>
                          <a:pt x="464" y="2333"/>
                          <a:pt x="460" y="2333"/>
                          <a:pt x="456" y="2333"/>
                        </a:cubicBezTo>
                        <a:cubicBezTo>
                          <a:pt x="452" y="2333"/>
                          <a:pt x="448" y="2336"/>
                          <a:pt x="449" y="2341"/>
                        </a:cubicBezTo>
                        <a:cubicBezTo>
                          <a:pt x="449" y="2345"/>
                          <a:pt x="445" y="2352"/>
                          <a:pt x="445" y="2355"/>
                        </a:cubicBezTo>
                        <a:cubicBezTo>
                          <a:pt x="445" y="2359"/>
                          <a:pt x="439" y="2358"/>
                          <a:pt x="435" y="2358"/>
                        </a:cubicBezTo>
                        <a:cubicBezTo>
                          <a:pt x="431" y="2357"/>
                          <a:pt x="433" y="2355"/>
                          <a:pt x="430" y="2351"/>
                        </a:cubicBezTo>
                        <a:cubicBezTo>
                          <a:pt x="428" y="2347"/>
                          <a:pt x="423" y="2351"/>
                          <a:pt x="420" y="2353"/>
                        </a:cubicBezTo>
                        <a:cubicBezTo>
                          <a:pt x="417" y="2355"/>
                          <a:pt x="417" y="2361"/>
                          <a:pt x="420" y="2366"/>
                        </a:cubicBezTo>
                        <a:cubicBezTo>
                          <a:pt x="423" y="2371"/>
                          <a:pt x="427" y="2367"/>
                          <a:pt x="432" y="2368"/>
                        </a:cubicBezTo>
                        <a:cubicBezTo>
                          <a:pt x="436" y="2370"/>
                          <a:pt x="436" y="2374"/>
                          <a:pt x="440" y="2373"/>
                        </a:cubicBezTo>
                        <a:cubicBezTo>
                          <a:pt x="444" y="2372"/>
                          <a:pt x="446" y="2371"/>
                          <a:pt x="448" y="2371"/>
                        </a:cubicBezTo>
                        <a:cubicBezTo>
                          <a:pt x="450" y="2372"/>
                          <a:pt x="448" y="2374"/>
                          <a:pt x="449" y="2380"/>
                        </a:cubicBezTo>
                        <a:cubicBezTo>
                          <a:pt x="450" y="2385"/>
                          <a:pt x="452" y="2388"/>
                          <a:pt x="453" y="2391"/>
                        </a:cubicBezTo>
                        <a:cubicBezTo>
                          <a:pt x="454" y="2393"/>
                          <a:pt x="452" y="2399"/>
                          <a:pt x="451" y="2402"/>
                        </a:cubicBezTo>
                        <a:cubicBezTo>
                          <a:pt x="451" y="2406"/>
                          <a:pt x="459" y="2411"/>
                          <a:pt x="461" y="2413"/>
                        </a:cubicBezTo>
                        <a:cubicBezTo>
                          <a:pt x="463" y="2415"/>
                          <a:pt x="462" y="2420"/>
                          <a:pt x="459" y="2425"/>
                        </a:cubicBezTo>
                        <a:cubicBezTo>
                          <a:pt x="457" y="2430"/>
                          <a:pt x="461" y="2433"/>
                          <a:pt x="463" y="2436"/>
                        </a:cubicBezTo>
                        <a:cubicBezTo>
                          <a:pt x="464" y="2439"/>
                          <a:pt x="474" y="2441"/>
                          <a:pt x="475" y="2441"/>
                        </a:cubicBezTo>
                        <a:cubicBezTo>
                          <a:pt x="477" y="2441"/>
                          <a:pt x="480" y="2439"/>
                          <a:pt x="480" y="2435"/>
                        </a:cubicBezTo>
                        <a:cubicBezTo>
                          <a:pt x="481" y="2432"/>
                          <a:pt x="483" y="2431"/>
                          <a:pt x="483" y="2428"/>
                        </a:cubicBezTo>
                        <a:cubicBezTo>
                          <a:pt x="483" y="2425"/>
                          <a:pt x="481" y="2423"/>
                          <a:pt x="477" y="2419"/>
                        </a:cubicBezTo>
                        <a:cubicBezTo>
                          <a:pt x="473" y="2414"/>
                          <a:pt x="476" y="2412"/>
                          <a:pt x="476" y="2410"/>
                        </a:cubicBezTo>
                        <a:cubicBezTo>
                          <a:pt x="477" y="2409"/>
                          <a:pt x="487" y="2413"/>
                          <a:pt x="491" y="2415"/>
                        </a:cubicBezTo>
                        <a:cubicBezTo>
                          <a:pt x="495" y="2417"/>
                          <a:pt x="497" y="2419"/>
                          <a:pt x="499" y="2421"/>
                        </a:cubicBezTo>
                        <a:cubicBezTo>
                          <a:pt x="500" y="2423"/>
                          <a:pt x="504" y="2424"/>
                          <a:pt x="506" y="2424"/>
                        </a:cubicBezTo>
                        <a:cubicBezTo>
                          <a:pt x="509" y="2424"/>
                          <a:pt x="509" y="2423"/>
                          <a:pt x="508" y="2419"/>
                        </a:cubicBezTo>
                        <a:cubicBezTo>
                          <a:pt x="507" y="2416"/>
                          <a:pt x="503" y="2416"/>
                          <a:pt x="498" y="2412"/>
                        </a:cubicBezTo>
                        <a:cubicBezTo>
                          <a:pt x="493" y="2408"/>
                          <a:pt x="490" y="2409"/>
                          <a:pt x="486" y="2407"/>
                        </a:cubicBezTo>
                        <a:cubicBezTo>
                          <a:pt x="481" y="2405"/>
                          <a:pt x="480" y="2404"/>
                          <a:pt x="476" y="2400"/>
                        </a:cubicBezTo>
                        <a:cubicBezTo>
                          <a:pt x="473" y="2395"/>
                          <a:pt x="478" y="2395"/>
                          <a:pt x="479" y="2394"/>
                        </a:cubicBezTo>
                        <a:cubicBezTo>
                          <a:pt x="480" y="2392"/>
                          <a:pt x="485" y="2393"/>
                          <a:pt x="487" y="2393"/>
                        </a:cubicBezTo>
                        <a:cubicBezTo>
                          <a:pt x="488" y="2393"/>
                          <a:pt x="499" y="2397"/>
                          <a:pt x="500" y="2398"/>
                        </a:cubicBezTo>
                        <a:cubicBezTo>
                          <a:pt x="501" y="2398"/>
                          <a:pt x="508" y="2404"/>
                          <a:pt x="509" y="2405"/>
                        </a:cubicBezTo>
                        <a:cubicBezTo>
                          <a:pt x="510" y="2407"/>
                          <a:pt x="514" y="2411"/>
                          <a:pt x="515" y="2413"/>
                        </a:cubicBezTo>
                        <a:cubicBezTo>
                          <a:pt x="517" y="2416"/>
                          <a:pt x="523" y="2421"/>
                          <a:pt x="525" y="2423"/>
                        </a:cubicBezTo>
                        <a:cubicBezTo>
                          <a:pt x="526" y="2425"/>
                          <a:pt x="526" y="2429"/>
                          <a:pt x="526" y="2431"/>
                        </a:cubicBezTo>
                        <a:cubicBezTo>
                          <a:pt x="526" y="2433"/>
                          <a:pt x="524" y="2435"/>
                          <a:pt x="521" y="2438"/>
                        </a:cubicBezTo>
                        <a:cubicBezTo>
                          <a:pt x="518" y="2441"/>
                          <a:pt x="517" y="2444"/>
                          <a:pt x="520" y="2449"/>
                        </a:cubicBezTo>
                        <a:cubicBezTo>
                          <a:pt x="522" y="2455"/>
                          <a:pt x="525" y="2456"/>
                          <a:pt x="524" y="2461"/>
                        </a:cubicBezTo>
                        <a:cubicBezTo>
                          <a:pt x="524" y="2466"/>
                          <a:pt x="521" y="2468"/>
                          <a:pt x="517" y="2471"/>
                        </a:cubicBezTo>
                        <a:cubicBezTo>
                          <a:pt x="512" y="2475"/>
                          <a:pt x="509" y="2476"/>
                          <a:pt x="504" y="2479"/>
                        </a:cubicBezTo>
                        <a:cubicBezTo>
                          <a:pt x="499" y="2482"/>
                          <a:pt x="502" y="2484"/>
                          <a:pt x="505" y="2487"/>
                        </a:cubicBezTo>
                        <a:cubicBezTo>
                          <a:pt x="507" y="2490"/>
                          <a:pt x="511" y="2488"/>
                          <a:pt x="517" y="2485"/>
                        </a:cubicBezTo>
                        <a:cubicBezTo>
                          <a:pt x="523" y="2482"/>
                          <a:pt x="528" y="2483"/>
                          <a:pt x="529" y="2483"/>
                        </a:cubicBezTo>
                        <a:cubicBezTo>
                          <a:pt x="530" y="2484"/>
                          <a:pt x="530" y="2489"/>
                          <a:pt x="532" y="2491"/>
                        </a:cubicBezTo>
                        <a:cubicBezTo>
                          <a:pt x="534" y="2493"/>
                          <a:pt x="542" y="2493"/>
                          <a:pt x="547" y="2494"/>
                        </a:cubicBezTo>
                        <a:cubicBezTo>
                          <a:pt x="553" y="2495"/>
                          <a:pt x="564" y="2494"/>
                          <a:pt x="570" y="2492"/>
                        </a:cubicBezTo>
                        <a:cubicBezTo>
                          <a:pt x="576" y="2490"/>
                          <a:pt x="583" y="2491"/>
                          <a:pt x="587" y="2493"/>
                        </a:cubicBezTo>
                        <a:cubicBezTo>
                          <a:pt x="590" y="2495"/>
                          <a:pt x="586" y="2496"/>
                          <a:pt x="578" y="2498"/>
                        </a:cubicBezTo>
                        <a:cubicBezTo>
                          <a:pt x="571" y="2499"/>
                          <a:pt x="570" y="2500"/>
                          <a:pt x="564" y="2500"/>
                        </a:cubicBezTo>
                        <a:cubicBezTo>
                          <a:pt x="558" y="2500"/>
                          <a:pt x="556" y="2500"/>
                          <a:pt x="551" y="2498"/>
                        </a:cubicBezTo>
                        <a:cubicBezTo>
                          <a:pt x="547" y="2497"/>
                          <a:pt x="545" y="2499"/>
                          <a:pt x="541" y="2500"/>
                        </a:cubicBezTo>
                        <a:cubicBezTo>
                          <a:pt x="537" y="2501"/>
                          <a:pt x="535" y="2505"/>
                          <a:pt x="533" y="2509"/>
                        </a:cubicBezTo>
                        <a:cubicBezTo>
                          <a:pt x="531" y="2512"/>
                          <a:pt x="528" y="2513"/>
                          <a:pt x="525" y="2512"/>
                        </a:cubicBezTo>
                        <a:cubicBezTo>
                          <a:pt x="522" y="2511"/>
                          <a:pt x="518" y="2513"/>
                          <a:pt x="516" y="2514"/>
                        </a:cubicBezTo>
                        <a:cubicBezTo>
                          <a:pt x="514" y="2515"/>
                          <a:pt x="512" y="2513"/>
                          <a:pt x="505" y="2513"/>
                        </a:cubicBezTo>
                        <a:cubicBezTo>
                          <a:pt x="498" y="2513"/>
                          <a:pt x="501" y="2519"/>
                          <a:pt x="501" y="2526"/>
                        </a:cubicBezTo>
                        <a:cubicBezTo>
                          <a:pt x="502" y="2533"/>
                          <a:pt x="501" y="2533"/>
                          <a:pt x="503" y="2538"/>
                        </a:cubicBezTo>
                        <a:cubicBezTo>
                          <a:pt x="505" y="2543"/>
                          <a:pt x="513" y="2547"/>
                          <a:pt x="515" y="2549"/>
                        </a:cubicBezTo>
                        <a:cubicBezTo>
                          <a:pt x="517" y="2551"/>
                          <a:pt x="520" y="2547"/>
                          <a:pt x="520" y="2545"/>
                        </a:cubicBezTo>
                        <a:cubicBezTo>
                          <a:pt x="520" y="2542"/>
                          <a:pt x="522" y="2545"/>
                          <a:pt x="524" y="2542"/>
                        </a:cubicBezTo>
                        <a:cubicBezTo>
                          <a:pt x="527" y="2540"/>
                          <a:pt x="525" y="2538"/>
                          <a:pt x="525" y="2536"/>
                        </a:cubicBezTo>
                        <a:cubicBezTo>
                          <a:pt x="525" y="2534"/>
                          <a:pt x="526" y="2532"/>
                          <a:pt x="529" y="2531"/>
                        </a:cubicBezTo>
                        <a:cubicBezTo>
                          <a:pt x="532" y="2530"/>
                          <a:pt x="538" y="2532"/>
                          <a:pt x="540" y="2532"/>
                        </a:cubicBezTo>
                        <a:cubicBezTo>
                          <a:pt x="542" y="2532"/>
                          <a:pt x="551" y="2532"/>
                          <a:pt x="557" y="2531"/>
                        </a:cubicBezTo>
                        <a:cubicBezTo>
                          <a:pt x="562" y="2530"/>
                          <a:pt x="565" y="2530"/>
                          <a:pt x="568" y="2525"/>
                        </a:cubicBezTo>
                        <a:cubicBezTo>
                          <a:pt x="570" y="2521"/>
                          <a:pt x="578" y="2519"/>
                          <a:pt x="582" y="2516"/>
                        </a:cubicBezTo>
                        <a:cubicBezTo>
                          <a:pt x="586" y="2513"/>
                          <a:pt x="593" y="2513"/>
                          <a:pt x="600" y="2513"/>
                        </a:cubicBezTo>
                        <a:cubicBezTo>
                          <a:pt x="607" y="2512"/>
                          <a:pt x="603" y="2515"/>
                          <a:pt x="602" y="2520"/>
                        </a:cubicBezTo>
                        <a:cubicBezTo>
                          <a:pt x="601" y="2524"/>
                          <a:pt x="600" y="2524"/>
                          <a:pt x="593" y="2532"/>
                        </a:cubicBezTo>
                        <a:cubicBezTo>
                          <a:pt x="586" y="2540"/>
                          <a:pt x="589" y="2537"/>
                          <a:pt x="583" y="2539"/>
                        </a:cubicBezTo>
                        <a:cubicBezTo>
                          <a:pt x="577" y="2540"/>
                          <a:pt x="576" y="2542"/>
                          <a:pt x="573" y="2544"/>
                        </a:cubicBezTo>
                        <a:cubicBezTo>
                          <a:pt x="570" y="2546"/>
                          <a:pt x="569" y="2552"/>
                          <a:pt x="568" y="2555"/>
                        </a:cubicBezTo>
                        <a:cubicBezTo>
                          <a:pt x="566" y="2558"/>
                          <a:pt x="565" y="2564"/>
                          <a:pt x="563" y="2568"/>
                        </a:cubicBezTo>
                        <a:cubicBezTo>
                          <a:pt x="562" y="2572"/>
                          <a:pt x="559" y="2569"/>
                          <a:pt x="556" y="2567"/>
                        </a:cubicBezTo>
                        <a:cubicBezTo>
                          <a:pt x="554" y="2565"/>
                          <a:pt x="559" y="2560"/>
                          <a:pt x="562" y="2556"/>
                        </a:cubicBezTo>
                        <a:cubicBezTo>
                          <a:pt x="564" y="2552"/>
                          <a:pt x="562" y="2550"/>
                          <a:pt x="560" y="2546"/>
                        </a:cubicBezTo>
                        <a:cubicBezTo>
                          <a:pt x="557" y="2543"/>
                          <a:pt x="556" y="2547"/>
                          <a:pt x="555" y="2552"/>
                        </a:cubicBezTo>
                        <a:cubicBezTo>
                          <a:pt x="553" y="2558"/>
                          <a:pt x="550" y="2558"/>
                          <a:pt x="546" y="2559"/>
                        </a:cubicBezTo>
                        <a:cubicBezTo>
                          <a:pt x="543" y="2560"/>
                          <a:pt x="540" y="2560"/>
                          <a:pt x="537" y="2562"/>
                        </a:cubicBezTo>
                        <a:cubicBezTo>
                          <a:pt x="533" y="2563"/>
                          <a:pt x="533" y="2567"/>
                          <a:pt x="536" y="2570"/>
                        </a:cubicBezTo>
                        <a:cubicBezTo>
                          <a:pt x="538" y="2574"/>
                          <a:pt x="544" y="2577"/>
                          <a:pt x="548" y="2580"/>
                        </a:cubicBezTo>
                        <a:cubicBezTo>
                          <a:pt x="553" y="2582"/>
                          <a:pt x="559" y="2583"/>
                          <a:pt x="566" y="2585"/>
                        </a:cubicBezTo>
                        <a:cubicBezTo>
                          <a:pt x="574" y="2587"/>
                          <a:pt x="584" y="2593"/>
                          <a:pt x="589" y="2594"/>
                        </a:cubicBezTo>
                        <a:cubicBezTo>
                          <a:pt x="595" y="2596"/>
                          <a:pt x="605" y="2592"/>
                          <a:pt x="609" y="2590"/>
                        </a:cubicBezTo>
                        <a:cubicBezTo>
                          <a:pt x="613" y="2588"/>
                          <a:pt x="615" y="2584"/>
                          <a:pt x="616" y="2579"/>
                        </a:cubicBezTo>
                        <a:cubicBezTo>
                          <a:pt x="618" y="2574"/>
                          <a:pt x="618" y="2567"/>
                          <a:pt x="618" y="2561"/>
                        </a:cubicBezTo>
                        <a:cubicBezTo>
                          <a:pt x="619" y="2555"/>
                          <a:pt x="618" y="2554"/>
                          <a:pt x="618" y="2546"/>
                        </a:cubicBezTo>
                        <a:cubicBezTo>
                          <a:pt x="618" y="2538"/>
                          <a:pt x="620" y="2537"/>
                          <a:pt x="623" y="2533"/>
                        </a:cubicBezTo>
                        <a:cubicBezTo>
                          <a:pt x="626" y="2530"/>
                          <a:pt x="627" y="2522"/>
                          <a:pt x="626" y="2519"/>
                        </a:cubicBezTo>
                        <a:cubicBezTo>
                          <a:pt x="625" y="2516"/>
                          <a:pt x="626" y="2512"/>
                          <a:pt x="628" y="2507"/>
                        </a:cubicBezTo>
                        <a:cubicBezTo>
                          <a:pt x="629" y="2502"/>
                          <a:pt x="632" y="2501"/>
                          <a:pt x="637" y="2497"/>
                        </a:cubicBezTo>
                        <a:cubicBezTo>
                          <a:pt x="642" y="2493"/>
                          <a:pt x="656" y="2489"/>
                          <a:pt x="663" y="2488"/>
                        </a:cubicBezTo>
                        <a:cubicBezTo>
                          <a:pt x="670" y="2487"/>
                          <a:pt x="686" y="2482"/>
                          <a:pt x="692" y="2480"/>
                        </a:cubicBezTo>
                        <a:cubicBezTo>
                          <a:pt x="697" y="2479"/>
                          <a:pt x="704" y="2477"/>
                          <a:pt x="706" y="2475"/>
                        </a:cubicBezTo>
                        <a:cubicBezTo>
                          <a:pt x="709" y="2473"/>
                          <a:pt x="715" y="2467"/>
                          <a:pt x="718" y="2464"/>
                        </a:cubicBezTo>
                        <a:cubicBezTo>
                          <a:pt x="722" y="2461"/>
                          <a:pt x="733" y="2463"/>
                          <a:pt x="738" y="2463"/>
                        </a:cubicBezTo>
                        <a:cubicBezTo>
                          <a:pt x="742" y="2463"/>
                          <a:pt x="758" y="2467"/>
                          <a:pt x="761" y="2468"/>
                        </a:cubicBezTo>
                        <a:cubicBezTo>
                          <a:pt x="762" y="2468"/>
                          <a:pt x="762" y="2469"/>
                          <a:pt x="762" y="2469"/>
                        </a:cubicBezTo>
                        <a:close/>
                        <a:moveTo>
                          <a:pt x="128" y="1055"/>
                        </a:moveTo>
                        <a:cubicBezTo>
                          <a:pt x="132" y="1053"/>
                          <a:pt x="133" y="1052"/>
                          <a:pt x="136" y="1054"/>
                        </a:cubicBezTo>
                        <a:cubicBezTo>
                          <a:pt x="138" y="1057"/>
                          <a:pt x="139" y="1059"/>
                          <a:pt x="134" y="1064"/>
                        </a:cubicBezTo>
                        <a:cubicBezTo>
                          <a:pt x="128" y="1066"/>
                          <a:pt x="121" y="1068"/>
                          <a:pt x="119" y="1065"/>
                        </a:cubicBezTo>
                        <a:cubicBezTo>
                          <a:pt x="117" y="1062"/>
                          <a:pt x="120" y="1057"/>
                          <a:pt x="128" y="1055"/>
                        </a:cubicBezTo>
                        <a:close/>
                        <a:moveTo>
                          <a:pt x="1" y="1063"/>
                        </a:moveTo>
                        <a:cubicBezTo>
                          <a:pt x="0" y="1066"/>
                          <a:pt x="1" y="1073"/>
                          <a:pt x="5" y="1071"/>
                        </a:cubicBezTo>
                        <a:cubicBezTo>
                          <a:pt x="9" y="1070"/>
                          <a:pt x="10" y="1068"/>
                          <a:pt x="10" y="1063"/>
                        </a:cubicBezTo>
                        <a:cubicBezTo>
                          <a:pt x="10" y="1059"/>
                          <a:pt x="2" y="1057"/>
                          <a:pt x="1" y="1063"/>
                        </a:cubicBezTo>
                        <a:close/>
                        <a:moveTo>
                          <a:pt x="424" y="1657"/>
                        </a:moveTo>
                        <a:cubicBezTo>
                          <a:pt x="420" y="1665"/>
                          <a:pt x="417" y="1663"/>
                          <a:pt x="417" y="1678"/>
                        </a:cubicBezTo>
                        <a:cubicBezTo>
                          <a:pt x="417" y="1693"/>
                          <a:pt x="415" y="1700"/>
                          <a:pt x="418" y="1710"/>
                        </a:cubicBezTo>
                        <a:cubicBezTo>
                          <a:pt x="420" y="1719"/>
                          <a:pt x="423" y="1722"/>
                          <a:pt x="420" y="1731"/>
                        </a:cubicBezTo>
                        <a:cubicBezTo>
                          <a:pt x="417" y="1739"/>
                          <a:pt x="398" y="1743"/>
                          <a:pt x="405" y="1750"/>
                        </a:cubicBezTo>
                        <a:cubicBezTo>
                          <a:pt x="412" y="1756"/>
                          <a:pt x="417" y="1756"/>
                          <a:pt x="424" y="1757"/>
                        </a:cubicBezTo>
                        <a:cubicBezTo>
                          <a:pt x="432" y="1758"/>
                          <a:pt x="430" y="1761"/>
                          <a:pt x="438" y="1762"/>
                        </a:cubicBezTo>
                        <a:cubicBezTo>
                          <a:pt x="446" y="1763"/>
                          <a:pt x="449" y="1760"/>
                          <a:pt x="447" y="1753"/>
                        </a:cubicBezTo>
                        <a:cubicBezTo>
                          <a:pt x="445" y="1747"/>
                          <a:pt x="439" y="1740"/>
                          <a:pt x="448" y="1740"/>
                        </a:cubicBezTo>
                        <a:cubicBezTo>
                          <a:pt x="458" y="1740"/>
                          <a:pt x="464" y="1740"/>
                          <a:pt x="461" y="1735"/>
                        </a:cubicBezTo>
                        <a:cubicBezTo>
                          <a:pt x="457" y="1730"/>
                          <a:pt x="447" y="1728"/>
                          <a:pt x="450" y="1724"/>
                        </a:cubicBezTo>
                        <a:cubicBezTo>
                          <a:pt x="454" y="1719"/>
                          <a:pt x="457" y="1725"/>
                          <a:pt x="457" y="1718"/>
                        </a:cubicBezTo>
                        <a:cubicBezTo>
                          <a:pt x="457" y="1710"/>
                          <a:pt x="457" y="1712"/>
                          <a:pt x="450" y="1707"/>
                        </a:cubicBezTo>
                        <a:cubicBezTo>
                          <a:pt x="444" y="1702"/>
                          <a:pt x="436" y="1696"/>
                          <a:pt x="442" y="1694"/>
                        </a:cubicBezTo>
                        <a:cubicBezTo>
                          <a:pt x="448" y="1692"/>
                          <a:pt x="453" y="1700"/>
                          <a:pt x="453" y="1691"/>
                        </a:cubicBezTo>
                        <a:cubicBezTo>
                          <a:pt x="453" y="1683"/>
                          <a:pt x="456" y="1684"/>
                          <a:pt x="461" y="1680"/>
                        </a:cubicBezTo>
                        <a:cubicBezTo>
                          <a:pt x="466" y="1675"/>
                          <a:pt x="469" y="1673"/>
                          <a:pt x="463" y="1666"/>
                        </a:cubicBezTo>
                        <a:cubicBezTo>
                          <a:pt x="457" y="1659"/>
                          <a:pt x="456" y="1656"/>
                          <a:pt x="455" y="1653"/>
                        </a:cubicBezTo>
                        <a:cubicBezTo>
                          <a:pt x="454" y="1650"/>
                          <a:pt x="450" y="1648"/>
                          <a:pt x="446" y="1651"/>
                        </a:cubicBezTo>
                        <a:cubicBezTo>
                          <a:pt x="442" y="1653"/>
                          <a:pt x="440" y="1651"/>
                          <a:pt x="436" y="1650"/>
                        </a:cubicBezTo>
                        <a:cubicBezTo>
                          <a:pt x="433" y="1648"/>
                          <a:pt x="428" y="1650"/>
                          <a:pt x="424" y="1657"/>
                        </a:cubicBezTo>
                        <a:close/>
                        <a:moveTo>
                          <a:pt x="481" y="1841"/>
                        </a:moveTo>
                        <a:cubicBezTo>
                          <a:pt x="478" y="1842"/>
                          <a:pt x="478" y="1844"/>
                          <a:pt x="479" y="1846"/>
                        </a:cubicBezTo>
                        <a:cubicBezTo>
                          <a:pt x="480" y="1849"/>
                          <a:pt x="482" y="1850"/>
                          <a:pt x="480" y="1851"/>
                        </a:cubicBezTo>
                        <a:cubicBezTo>
                          <a:pt x="477" y="1852"/>
                          <a:pt x="474" y="1851"/>
                          <a:pt x="472" y="1852"/>
                        </a:cubicBezTo>
                        <a:cubicBezTo>
                          <a:pt x="470" y="1852"/>
                          <a:pt x="467" y="1854"/>
                          <a:pt x="470" y="1856"/>
                        </a:cubicBezTo>
                        <a:cubicBezTo>
                          <a:pt x="473" y="1859"/>
                          <a:pt x="472" y="1858"/>
                          <a:pt x="475" y="1861"/>
                        </a:cubicBezTo>
                        <a:cubicBezTo>
                          <a:pt x="477" y="1863"/>
                          <a:pt x="479" y="1864"/>
                          <a:pt x="477" y="1865"/>
                        </a:cubicBezTo>
                        <a:cubicBezTo>
                          <a:pt x="475" y="1867"/>
                          <a:pt x="470" y="1868"/>
                          <a:pt x="475" y="1873"/>
                        </a:cubicBezTo>
                        <a:cubicBezTo>
                          <a:pt x="479" y="1875"/>
                          <a:pt x="486" y="1867"/>
                          <a:pt x="489" y="1865"/>
                        </a:cubicBezTo>
                        <a:cubicBezTo>
                          <a:pt x="492" y="1863"/>
                          <a:pt x="495" y="1862"/>
                          <a:pt x="495" y="1858"/>
                        </a:cubicBezTo>
                        <a:cubicBezTo>
                          <a:pt x="496" y="1855"/>
                          <a:pt x="500" y="1856"/>
                          <a:pt x="501" y="1853"/>
                        </a:cubicBezTo>
                        <a:cubicBezTo>
                          <a:pt x="503" y="1850"/>
                          <a:pt x="503" y="1848"/>
                          <a:pt x="499" y="1848"/>
                        </a:cubicBezTo>
                        <a:cubicBezTo>
                          <a:pt x="495" y="1848"/>
                          <a:pt x="492" y="1850"/>
                          <a:pt x="491" y="1845"/>
                        </a:cubicBezTo>
                        <a:cubicBezTo>
                          <a:pt x="491" y="1841"/>
                          <a:pt x="486" y="1840"/>
                          <a:pt x="481" y="1841"/>
                        </a:cubicBezTo>
                        <a:close/>
                        <a:moveTo>
                          <a:pt x="415" y="1856"/>
                        </a:moveTo>
                        <a:cubicBezTo>
                          <a:pt x="423" y="1854"/>
                          <a:pt x="431" y="1859"/>
                          <a:pt x="431" y="1863"/>
                        </a:cubicBezTo>
                        <a:cubicBezTo>
                          <a:pt x="432" y="1867"/>
                          <a:pt x="430" y="1866"/>
                          <a:pt x="426" y="1866"/>
                        </a:cubicBezTo>
                        <a:cubicBezTo>
                          <a:pt x="422" y="1865"/>
                          <a:pt x="423" y="1866"/>
                          <a:pt x="418" y="1868"/>
                        </a:cubicBezTo>
                        <a:cubicBezTo>
                          <a:pt x="414" y="1870"/>
                          <a:pt x="411" y="1868"/>
                          <a:pt x="409" y="1863"/>
                        </a:cubicBezTo>
                        <a:cubicBezTo>
                          <a:pt x="406" y="1858"/>
                          <a:pt x="410" y="1860"/>
                          <a:pt x="415" y="1856"/>
                        </a:cubicBezTo>
                        <a:close/>
                        <a:moveTo>
                          <a:pt x="444" y="1851"/>
                        </a:moveTo>
                        <a:cubicBezTo>
                          <a:pt x="448" y="1850"/>
                          <a:pt x="453" y="1856"/>
                          <a:pt x="450" y="1860"/>
                        </a:cubicBezTo>
                        <a:cubicBezTo>
                          <a:pt x="448" y="1864"/>
                          <a:pt x="446" y="1862"/>
                          <a:pt x="443" y="1860"/>
                        </a:cubicBezTo>
                        <a:cubicBezTo>
                          <a:pt x="439" y="1857"/>
                          <a:pt x="442" y="1854"/>
                          <a:pt x="444" y="1851"/>
                        </a:cubicBezTo>
                        <a:close/>
                        <a:moveTo>
                          <a:pt x="430" y="1819"/>
                        </a:moveTo>
                        <a:cubicBezTo>
                          <a:pt x="432" y="1815"/>
                          <a:pt x="443" y="1821"/>
                          <a:pt x="440" y="1827"/>
                        </a:cubicBezTo>
                        <a:cubicBezTo>
                          <a:pt x="437" y="1832"/>
                          <a:pt x="435" y="1833"/>
                          <a:pt x="430" y="1832"/>
                        </a:cubicBezTo>
                        <a:cubicBezTo>
                          <a:pt x="425" y="1830"/>
                          <a:pt x="429" y="1825"/>
                          <a:pt x="430" y="1819"/>
                        </a:cubicBezTo>
                        <a:close/>
                        <a:moveTo>
                          <a:pt x="429" y="1791"/>
                        </a:moveTo>
                        <a:cubicBezTo>
                          <a:pt x="436" y="1789"/>
                          <a:pt x="442" y="1794"/>
                          <a:pt x="441" y="1798"/>
                        </a:cubicBezTo>
                        <a:cubicBezTo>
                          <a:pt x="440" y="1803"/>
                          <a:pt x="432" y="1800"/>
                          <a:pt x="427" y="1798"/>
                        </a:cubicBezTo>
                        <a:cubicBezTo>
                          <a:pt x="423" y="1796"/>
                          <a:pt x="427" y="1794"/>
                          <a:pt x="429" y="1791"/>
                        </a:cubicBezTo>
                        <a:close/>
                        <a:moveTo>
                          <a:pt x="382" y="1773"/>
                        </a:moveTo>
                        <a:cubicBezTo>
                          <a:pt x="388" y="1772"/>
                          <a:pt x="393" y="1779"/>
                          <a:pt x="390" y="1781"/>
                        </a:cubicBezTo>
                        <a:cubicBezTo>
                          <a:pt x="386" y="1783"/>
                          <a:pt x="383" y="1783"/>
                          <a:pt x="380" y="1779"/>
                        </a:cubicBezTo>
                        <a:cubicBezTo>
                          <a:pt x="377" y="1775"/>
                          <a:pt x="380" y="1776"/>
                          <a:pt x="382" y="1773"/>
                        </a:cubicBezTo>
                        <a:close/>
                        <a:moveTo>
                          <a:pt x="433" y="1888"/>
                        </a:moveTo>
                        <a:cubicBezTo>
                          <a:pt x="436" y="1887"/>
                          <a:pt x="444" y="1891"/>
                          <a:pt x="445" y="1895"/>
                        </a:cubicBezTo>
                        <a:cubicBezTo>
                          <a:pt x="446" y="1898"/>
                          <a:pt x="449" y="1899"/>
                          <a:pt x="449" y="1901"/>
                        </a:cubicBezTo>
                        <a:cubicBezTo>
                          <a:pt x="449" y="1903"/>
                          <a:pt x="447" y="1905"/>
                          <a:pt x="443" y="1903"/>
                        </a:cubicBezTo>
                        <a:cubicBezTo>
                          <a:pt x="439" y="1902"/>
                          <a:pt x="438" y="1898"/>
                          <a:pt x="433" y="1898"/>
                        </a:cubicBezTo>
                        <a:cubicBezTo>
                          <a:pt x="429" y="1898"/>
                          <a:pt x="427" y="1896"/>
                          <a:pt x="426" y="1892"/>
                        </a:cubicBezTo>
                        <a:cubicBezTo>
                          <a:pt x="424" y="1887"/>
                          <a:pt x="428" y="1888"/>
                          <a:pt x="433" y="1888"/>
                        </a:cubicBezTo>
                        <a:close/>
                        <a:moveTo>
                          <a:pt x="447" y="1924"/>
                        </a:moveTo>
                        <a:cubicBezTo>
                          <a:pt x="448" y="1920"/>
                          <a:pt x="452" y="1921"/>
                          <a:pt x="452" y="1924"/>
                        </a:cubicBezTo>
                        <a:cubicBezTo>
                          <a:pt x="452" y="1926"/>
                          <a:pt x="450" y="1929"/>
                          <a:pt x="451" y="1935"/>
                        </a:cubicBezTo>
                        <a:cubicBezTo>
                          <a:pt x="453" y="1942"/>
                          <a:pt x="451" y="1940"/>
                          <a:pt x="448" y="1941"/>
                        </a:cubicBezTo>
                        <a:cubicBezTo>
                          <a:pt x="444" y="1942"/>
                          <a:pt x="444" y="1939"/>
                          <a:pt x="443" y="1932"/>
                        </a:cubicBezTo>
                        <a:cubicBezTo>
                          <a:pt x="442" y="1926"/>
                          <a:pt x="445" y="1929"/>
                          <a:pt x="447" y="1924"/>
                        </a:cubicBezTo>
                        <a:close/>
                        <a:moveTo>
                          <a:pt x="425" y="1920"/>
                        </a:moveTo>
                        <a:cubicBezTo>
                          <a:pt x="429" y="1915"/>
                          <a:pt x="437" y="1921"/>
                          <a:pt x="436" y="1925"/>
                        </a:cubicBezTo>
                        <a:cubicBezTo>
                          <a:pt x="434" y="1928"/>
                          <a:pt x="430" y="1929"/>
                          <a:pt x="425" y="1926"/>
                        </a:cubicBezTo>
                        <a:cubicBezTo>
                          <a:pt x="421" y="1923"/>
                          <a:pt x="425" y="1923"/>
                          <a:pt x="425" y="1920"/>
                        </a:cubicBezTo>
                        <a:close/>
                        <a:moveTo>
                          <a:pt x="406" y="1926"/>
                        </a:moveTo>
                        <a:cubicBezTo>
                          <a:pt x="409" y="1920"/>
                          <a:pt x="412" y="1925"/>
                          <a:pt x="412" y="1929"/>
                        </a:cubicBezTo>
                        <a:cubicBezTo>
                          <a:pt x="412" y="1933"/>
                          <a:pt x="411" y="1933"/>
                          <a:pt x="410" y="1937"/>
                        </a:cubicBezTo>
                        <a:cubicBezTo>
                          <a:pt x="409" y="1941"/>
                          <a:pt x="404" y="1941"/>
                          <a:pt x="399" y="1940"/>
                        </a:cubicBezTo>
                        <a:cubicBezTo>
                          <a:pt x="394" y="1939"/>
                          <a:pt x="397" y="1936"/>
                          <a:pt x="399" y="1934"/>
                        </a:cubicBezTo>
                        <a:cubicBezTo>
                          <a:pt x="401" y="1931"/>
                          <a:pt x="403" y="1932"/>
                          <a:pt x="406" y="1926"/>
                        </a:cubicBezTo>
                        <a:close/>
                        <a:moveTo>
                          <a:pt x="375" y="1947"/>
                        </a:moveTo>
                        <a:cubicBezTo>
                          <a:pt x="380" y="1943"/>
                          <a:pt x="383" y="1943"/>
                          <a:pt x="383" y="1947"/>
                        </a:cubicBezTo>
                        <a:cubicBezTo>
                          <a:pt x="383" y="1951"/>
                          <a:pt x="378" y="1954"/>
                          <a:pt x="374" y="1954"/>
                        </a:cubicBezTo>
                        <a:cubicBezTo>
                          <a:pt x="370" y="1953"/>
                          <a:pt x="373" y="1950"/>
                          <a:pt x="375" y="1947"/>
                        </a:cubicBezTo>
                        <a:close/>
                        <a:moveTo>
                          <a:pt x="434" y="1973"/>
                        </a:moveTo>
                        <a:cubicBezTo>
                          <a:pt x="439" y="1970"/>
                          <a:pt x="443" y="1971"/>
                          <a:pt x="444" y="1974"/>
                        </a:cubicBezTo>
                        <a:cubicBezTo>
                          <a:pt x="445" y="1978"/>
                          <a:pt x="444" y="1978"/>
                          <a:pt x="443" y="1982"/>
                        </a:cubicBezTo>
                        <a:cubicBezTo>
                          <a:pt x="442" y="1986"/>
                          <a:pt x="437" y="1984"/>
                          <a:pt x="432" y="1980"/>
                        </a:cubicBezTo>
                        <a:cubicBezTo>
                          <a:pt x="428" y="1976"/>
                          <a:pt x="432" y="1974"/>
                          <a:pt x="434" y="1973"/>
                        </a:cubicBezTo>
                        <a:close/>
                        <a:moveTo>
                          <a:pt x="404" y="1901"/>
                        </a:moveTo>
                        <a:cubicBezTo>
                          <a:pt x="405" y="1893"/>
                          <a:pt x="410" y="1905"/>
                          <a:pt x="409" y="1908"/>
                        </a:cubicBezTo>
                        <a:cubicBezTo>
                          <a:pt x="407" y="1912"/>
                          <a:pt x="406" y="1912"/>
                          <a:pt x="402" y="1912"/>
                        </a:cubicBezTo>
                        <a:cubicBezTo>
                          <a:pt x="399" y="1912"/>
                          <a:pt x="400" y="1910"/>
                          <a:pt x="400" y="1907"/>
                        </a:cubicBezTo>
                        <a:cubicBezTo>
                          <a:pt x="401" y="1905"/>
                          <a:pt x="404" y="1905"/>
                          <a:pt x="404" y="1901"/>
                        </a:cubicBezTo>
                        <a:close/>
                        <a:moveTo>
                          <a:pt x="345" y="1995"/>
                        </a:moveTo>
                        <a:cubicBezTo>
                          <a:pt x="350" y="1987"/>
                          <a:pt x="360" y="1988"/>
                          <a:pt x="362" y="1992"/>
                        </a:cubicBezTo>
                        <a:cubicBezTo>
                          <a:pt x="364" y="1996"/>
                          <a:pt x="360" y="1999"/>
                          <a:pt x="359" y="2003"/>
                        </a:cubicBezTo>
                        <a:cubicBezTo>
                          <a:pt x="357" y="2008"/>
                          <a:pt x="355" y="2007"/>
                          <a:pt x="348" y="2008"/>
                        </a:cubicBezTo>
                        <a:cubicBezTo>
                          <a:pt x="341" y="2010"/>
                          <a:pt x="341" y="2010"/>
                          <a:pt x="337" y="2012"/>
                        </a:cubicBezTo>
                        <a:cubicBezTo>
                          <a:pt x="332" y="2014"/>
                          <a:pt x="328" y="2015"/>
                          <a:pt x="326" y="2011"/>
                        </a:cubicBezTo>
                        <a:cubicBezTo>
                          <a:pt x="323" y="2008"/>
                          <a:pt x="329" y="2007"/>
                          <a:pt x="336" y="2003"/>
                        </a:cubicBezTo>
                        <a:cubicBezTo>
                          <a:pt x="343" y="2000"/>
                          <a:pt x="342" y="2001"/>
                          <a:pt x="345" y="1995"/>
                        </a:cubicBezTo>
                        <a:close/>
                        <a:moveTo>
                          <a:pt x="335" y="2036"/>
                        </a:moveTo>
                        <a:cubicBezTo>
                          <a:pt x="341" y="2034"/>
                          <a:pt x="346" y="2031"/>
                          <a:pt x="345" y="2026"/>
                        </a:cubicBezTo>
                        <a:cubicBezTo>
                          <a:pt x="344" y="2021"/>
                          <a:pt x="344" y="2018"/>
                          <a:pt x="339" y="2020"/>
                        </a:cubicBezTo>
                        <a:cubicBezTo>
                          <a:pt x="333" y="2022"/>
                          <a:pt x="329" y="2020"/>
                          <a:pt x="329" y="2025"/>
                        </a:cubicBezTo>
                        <a:cubicBezTo>
                          <a:pt x="329" y="2030"/>
                          <a:pt x="331" y="2037"/>
                          <a:pt x="335" y="2036"/>
                        </a:cubicBezTo>
                        <a:close/>
                        <a:moveTo>
                          <a:pt x="411" y="2106"/>
                        </a:moveTo>
                        <a:cubicBezTo>
                          <a:pt x="416" y="2105"/>
                          <a:pt x="421" y="2107"/>
                          <a:pt x="421" y="2112"/>
                        </a:cubicBezTo>
                        <a:cubicBezTo>
                          <a:pt x="422" y="2116"/>
                          <a:pt x="418" y="2113"/>
                          <a:pt x="414" y="2114"/>
                        </a:cubicBezTo>
                        <a:cubicBezTo>
                          <a:pt x="411" y="2115"/>
                          <a:pt x="409" y="2115"/>
                          <a:pt x="406" y="2112"/>
                        </a:cubicBezTo>
                        <a:cubicBezTo>
                          <a:pt x="403" y="2108"/>
                          <a:pt x="408" y="2106"/>
                          <a:pt x="411" y="2106"/>
                        </a:cubicBezTo>
                        <a:close/>
                        <a:moveTo>
                          <a:pt x="394" y="2091"/>
                        </a:moveTo>
                        <a:cubicBezTo>
                          <a:pt x="397" y="2088"/>
                          <a:pt x="403" y="2092"/>
                          <a:pt x="402" y="2096"/>
                        </a:cubicBezTo>
                        <a:cubicBezTo>
                          <a:pt x="400" y="2099"/>
                          <a:pt x="397" y="2098"/>
                          <a:pt x="393" y="2097"/>
                        </a:cubicBezTo>
                        <a:cubicBezTo>
                          <a:pt x="388" y="2095"/>
                          <a:pt x="392" y="2094"/>
                          <a:pt x="394" y="2091"/>
                        </a:cubicBezTo>
                        <a:close/>
                        <a:moveTo>
                          <a:pt x="400" y="2125"/>
                        </a:moveTo>
                        <a:cubicBezTo>
                          <a:pt x="400" y="2120"/>
                          <a:pt x="407" y="2125"/>
                          <a:pt x="410" y="2128"/>
                        </a:cubicBezTo>
                        <a:cubicBezTo>
                          <a:pt x="412" y="2131"/>
                          <a:pt x="411" y="2132"/>
                          <a:pt x="408" y="2136"/>
                        </a:cubicBezTo>
                        <a:cubicBezTo>
                          <a:pt x="406" y="2139"/>
                          <a:pt x="406" y="2136"/>
                          <a:pt x="403" y="2131"/>
                        </a:cubicBezTo>
                        <a:cubicBezTo>
                          <a:pt x="401" y="2125"/>
                          <a:pt x="399" y="2128"/>
                          <a:pt x="400" y="2125"/>
                        </a:cubicBezTo>
                        <a:close/>
                        <a:moveTo>
                          <a:pt x="374" y="2155"/>
                        </a:moveTo>
                        <a:cubicBezTo>
                          <a:pt x="383" y="2157"/>
                          <a:pt x="379" y="2160"/>
                          <a:pt x="384" y="2158"/>
                        </a:cubicBezTo>
                        <a:cubicBezTo>
                          <a:pt x="390" y="2156"/>
                          <a:pt x="392" y="2153"/>
                          <a:pt x="393" y="2157"/>
                        </a:cubicBezTo>
                        <a:cubicBezTo>
                          <a:pt x="393" y="2161"/>
                          <a:pt x="397" y="2166"/>
                          <a:pt x="393" y="2167"/>
                        </a:cubicBezTo>
                        <a:cubicBezTo>
                          <a:pt x="389" y="2168"/>
                          <a:pt x="384" y="2168"/>
                          <a:pt x="382" y="2165"/>
                        </a:cubicBezTo>
                        <a:cubicBezTo>
                          <a:pt x="380" y="2162"/>
                          <a:pt x="379" y="2163"/>
                          <a:pt x="376" y="2162"/>
                        </a:cubicBezTo>
                        <a:cubicBezTo>
                          <a:pt x="373" y="2161"/>
                          <a:pt x="369" y="2155"/>
                          <a:pt x="374" y="2155"/>
                        </a:cubicBezTo>
                        <a:close/>
                        <a:moveTo>
                          <a:pt x="337" y="2124"/>
                        </a:moveTo>
                        <a:cubicBezTo>
                          <a:pt x="335" y="2131"/>
                          <a:pt x="332" y="2132"/>
                          <a:pt x="337" y="2136"/>
                        </a:cubicBezTo>
                        <a:cubicBezTo>
                          <a:pt x="343" y="2140"/>
                          <a:pt x="346" y="2138"/>
                          <a:pt x="347" y="2143"/>
                        </a:cubicBezTo>
                        <a:cubicBezTo>
                          <a:pt x="349" y="2148"/>
                          <a:pt x="348" y="2149"/>
                          <a:pt x="348" y="2153"/>
                        </a:cubicBezTo>
                        <a:cubicBezTo>
                          <a:pt x="349" y="2157"/>
                          <a:pt x="346" y="2165"/>
                          <a:pt x="351" y="2165"/>
                        </a:cubicBezTo>
                        <a:cubicBezTo>
                          <a:pt x="356" y="2166"/>
                          <a:pt x="358" y="2167"/>
                          <a:pt x="358" y="2162"/>
                        </a:cubicBezTo>
                        <a:cubicBezTo>
                          <a:pt x="359" y="2157"/>
                          <a:pt x="356" y="2156"/>
                          <a:pt x="355" y="2149"/>
                        </a:cubicBezTo>
                        <a:cubicBezTo>
                          <a:pt x="354" y="2143"/>
                          <a:pt x="353" y="2139"/>
                          <a:pt x="352" y="2136"/>
                        </a:cubicBezTo>
                        <a:cubicBezTo>
                          <a:pt x="351" y="2133"/>
                          <a:pt x="348" y="2136"/>
                          <a:pt x="347" y="2129"/>
                        </a:cubicBezTo>
                        <a:cubicBezTo>
                          <a:pt x="346" y="2123"/>
                          <a:pt x="341" y="2119"/>
                          <a:pt x="337" y="2124"/>
                        </a:cubicBezTo>
                        <a:close/>
                        <a:moveTo>
                          <a:pt x="355" y="2096"/>
                        </a:moveTo>
                        <a:cubicBezTo>
                          <a:pt x="362" y="2093"/>
                          <a:pt x="364" y="2096"/>
                          <a:pt x="364" y="2099"/>
                        </a:cubicBezTo>
                        <a:cubicBezTo>
                          <a:pt x="365" y="2103"/>
                          <a:pt x="364" y="2103"/>
                          <a:pt x="360" y="2105"/>
                        </a:cubicBezTo>
                        <a:cubicBezTo>
                          <a:pt x="356" y="2108"/>
                          <a:pt x="354" y="2105"/>
                          <a:pt x="350" y="2104"/>
                        </a:cubicBezTo>
                        <a:cubicBezTo>
                          <a:pt x="347" y="2102"/>
                          <a:pt x="350" y="2099"/>
                          <a:pt x="355" y="2096"/>
                        </a:cubicBezTo>
                        <a:close/>
                        <a:moveTo>
                          <a:pt x="360" y="2126"/>
                        </a:moveTo>
                        <a:cubicBezTo>
                          <a:pt x="364" y="2122"/>
                          <a:pt x="366" y="2124"/>
                          <a:pt x="367" y="2126"/>
                        </a:cubicBezTo>
                        <a:cubicBezTo>
                          <a:pt x="368" y="2128"/>
                          <a:pt x="367" y="2130"/>
                          <a:pt x="368" y="2136"/>
                        </a:cubicBezTo>
                        <a:cubicBezTo>
                          <a:pt x="369" y="2141"/>
                          <a:pt x="368" y="2140"/>
                          <a:pt x="364" y="2142"/>
                        </a:cubicBezTo>
                        <a:cubicBezTo>
                          <a:pt x="361" y="2144"/>
                          <a:pt x="363" y="2139"/>
                          <a:pt x="360" y="2135"/>
                        </a:cubicBezTo>
                        <a:cubicBezTo>
                          <a:pt x="356" y="2130"/>
                          <a:pt x="358" y="2130"/>
                          <a:pt x="360" y="2126"/>
                        </a:cubicBezTo>
                        <a:close/>
                        <a:moveTo>
                          <a:pt x="376" y="2182"/>
                        </a:moveTo>
                        <a:cubicBezTo>
                          <a:pt x="378" y="2177"/>
                          <a:pt x="382" y="2175"/>
                          <a:pt x="385" y="2175"/>
                        </a:cubicBezTo>
                        <a:cubicBezTo>
                          <a:pt x="388" y="2174"/>
                          <a:pt x="389" y="2176"/>
                          <a:pt x="392" y="2180"/>
                        </a:cubicBezTo>
                        <a:cubicBezTo>
                          <a:pt x="396" y="2184"/>
                          <a:pt x="393" y="2187"/>
                          <a:pt x="393" y="2193"/>
                        </a:cubicBezTo>
                        <a:cubicBezTo>
                          <a:pt x="393" y="2200"/>
                          <a:pt x="394" y="2205"/>
                          <a:pt x="395" y="2211"/>
                        </a:cubicBezTo>
                        <a:cubicBezTo>
                          <a:pt x="397" y="2217"/>
                          <a:pt x="396" y="2218"/>
                          <a:pt x="395" y="2222"/>
                        </a:cubicBezTo>
                        <a:cubicBezTo>
                          <a:pt x="395" y="2227"/>
                          <a:pt x="394" y="2229"/>
                          <a:pt x="393" y="2236"/>
                        </a:cubicBezTo>
                        <a:cubicBezTo>
                          <a:pt x="393" y="2242"/>
                          <a:pt x="395" y="2241"/>
                          <a:pt x="395" y="2245"/>
                        </a:cubicBezTo>
                        <a:cubicBezTo>
                          <a:pt x="395" y="2250"/>
                          <a:pt x="395" y="2250"/>
                          <a:pt x="397" y="2258"/>
                        </a:cubicBezTo>
                        <a:cubicBezTo>
                          <a:pt x="399" y="2266"/>
                          <a:pt x="397" y="2266"/>
                          <a:pt x="394" y="2271"/>
                        </a:cubicBezTo>
                        <a:cubicBezTo>
                          <a:pt x="391" y="2276"/>
                          <a:pt x="389" y="2273"/>
                          <a:pt x="386" y="2269"/>
                        </a:cubicBezTo>
                        <a:cubicBezTo>
                          <a:pt x="382" y="2265"/>
                          <a:pt x="382" y="2263"/>
                          <a:pt x="382" y="2255"/>
                        </a:cubicBezTo>
                        <a:cubicBezTo>
                          <a:pt x="382" y="2247"/>
                          <a:pt x="386" y="2252"/>
                          <a:pt x="388" y="2249"/>
                        </a:cubicBezTo>
                        <a:cubicBezTo>
                          <a:pt x="390" y="2245"/>
                          <a:pt x="387" y="2246"/>
                          <a:pt x="384" y="2242"/>
                        </a:cubicBezTo>
                        <a:cubicBezTo>
                          <a:pt x="381" y="2238"/>
                          <a:pt x="383" y="2237"/>
                          <a:pt x="385" y="2234"/>
                        </a:cubicBezTo>
                        <a:cubicBezTo>
                          <a:pt x="387" y="2230"/>
                          <a:pt x="389" y="2230"/>
                          <a:pt x="387" y="2225"/>
                        </a:cubicBezTo>
                        <a:cubicBezTo>
                          <a:pt x="386" y="2220"/>
                          <a:pt x="382" y="2225"/>
                          <a:pt x="380" y="2229"/>
                        </a:cubicBezTo>
                        <a:cubicBezTo>
                          <a:pt x="378" y="2233"/>
                          <a:pt x="377" y="2233"/>
                          <a:pt x="373" y="2235"/>
                        </a:cubicBezTo>
                        <a:cubicBezTo>
                          <a:pt x="368" y="2238"/>
                          <a:pt x="371" y="2229"/>
                          <a:pt x="371" y="2225"/>
                        </a:cubicBezTo>
                        <a:cubicBezTo>
                          <a:pt x="372" y="2222"/>
                          <a:pt x="375" y="2218"/>
                          <a:pt x="378" y="2212"/>
                        </a:cubicBezTo>
                        <a:cubicBezTo>
                          <a:pt x="380" y="2206"/>
                          <a:pt x="379" y="2206"/>
                          <a:pt x="376" y="2199"/>
                        </a:cubicBezTo>
                        <a:cubicBezTo>
                          <a:pt x="372" y="2193"/>
                          <a:pt x="375" y="2193"/>
                          <a:pt x="376" y="2182"/>
                        </a:cubicBezTo>
                        <a:close/>
                        <a:moveTo>
                          <a:pt x="351" y="2222"/>
                        </a:moveTo>
                        <a:cubicBezTo>
                          <a:pt x="358" y="2221"/>
                          <a:pt x="359" y="2218"/>
                          <a:pt x="361" y="2222"/>
                        </a:cubicBezTo>
                        <a:cubicBezTo>
                          <a:pt x="362" y="2226"/>
                          <a:pt x="363" y="2226"/>
                          <a:pt x="363" y="2232"/>
                        </a:cubicBezTo>
                        <a:cubicBezTo>
                          <a:pt x="363" y="2237"/>
                          <a:pt x="360" y="2235"/>
                          <a:pt x="362" y="2244"/>
                        </a:cubicBezTo>
                        <a:cubicBezTo>
                          <a:pt x="364" y="2253"/>
                          <a:pt x="364" y="2257"/>
                          <a:pt x="364" y="2259"/>
                        </a:cubicBezTo>
                        <a:cubicBezTo>
                          <a:pt x="364" y="2261"/>
                          <a:pt x="359" y="2264"/>
                          <a:pt x="358" y="2257"/>
                        </a:cubicBezTo>
                        <a:cubicBezTo>
                          <a:pt x="357" y="2250"/>
                          <a:pt x="360" y="2247"/>
                          <a:pt x="354" y="2242"/>
                        </a:cubicBezTo>
                        <a:cubicBezTo>
                          <a:pt x="348" y="2237"/>
                          <a:pt x="344" y="2242"/>
                          <a:pt x="344" y="2234"/>
                        </a:cubicBezTo>
                        <a:cubicBezTo>
                          <a:pt x="344" y="2226"/>
                          <a:pt x="347" y="2223"/>
                          <a:pt x="351" y="2222"/>
                        </a:cubicBezTo>
                        <a:close/>
                        <a:moveTo>
                          <a:pt x="338" y="2215"/>
                        </a:moveTo>
                        <a:cubicBezTo>
                          <a:pt x="339" y="2211"/>
                          <a:pt x="339" y="2211"/>
                          <a:pt x="343" y="2208"/>
                        </a:cubicBezTo>
                        <a:cubicBezTo>
                          <a:pt x="347" y="2206"/>
                          <a:pt x="348" y="2203"/>
                          <a:pt x="345" y="2202"/>
                        </a:cubicBezTo>
                        <a:cubicBezTo>
                          <a:pt x="343" y="2202"/>
                          <a:pt x="342" y="2201"/>
                          <a:pt x="338" y="2204"/>
                        </a:cubicBezTo>
                        <a:cubicBezTo>
                          <a:pt x="334" y="2208"/>
                          <a:pt x="330" y="2204"/>
                          <a:pt x="330" y="2209"/>
                        </a:cubicBezTo>
                        <a:cubicBezTo>
                          <a:pt x="331" y="2215"/>
                          <a:pt x="336" y="2221"/>
                          <a:pt x="338" y="2215"/>
                        </a:cubicBezTo>
                        <a:close/>
                        <a:moveTo>
                          <a:pt x="361" y="2203"/>
                        </a:moveTo>
                        <a:cubicBezTo>
                          <a:pt x="366" y="2201"/>
                          <a:pt x="367" y="2206"/>
                          <a:pt x="365" y="2208"/>
                        </a:cubicBezTo>
                        <a:cubicBezTo>
                          <a:pt x="363" y="2211"/>
                          <a:pt x="361" y="2210"/>
                          <a:pt x="359" y="2208"/>
                        </a:cubicBezTo>
                        <a:cubicBezTo>
                          <a:pt x="357" y="2206"/>
                          <a:pt x="359" y="2205"/>
                          <a:pt x="361" y="2203"/>
                        </a:cubicBezTo>
                        <a:close/>
                        <a:moveTo>
                          <a:pt x="338" y="2184"/>
                        </a:moveTo>
                        <a:cubicBezTo>
                          <a:pt x="334" y="2187"/>
                          <a:pt x="331" y="2190"/>
                          <a:pt x="335" y="2191"/>
                        </a:cubicBezTo>
                        <a:cubicBezTo>
                          <a:pt x="339" y="2191"/>
                          <a:pt x="339" y="2190"/>
                          <a:pt x="344" y="2191"/>
                        </a:cubicBezTo>
                        <a:cubicBezTo>
                          <a:pt x="350" y="2192"/>
                          <a:pt x="353" y="2192"/>
                          <a:pt x="351" y="2188"/>
                        </a:cubicBezTo>
                        <a:cubicBezTo>
                          <a:pt x="349" y="2184"/>
                          <a:pt x="344" y="2182"/>
                          <a:pt x="338" y="2184"/>
                        </a:cubicBezTo>
                        <a:close/>
                        <a:moveTo>
                          <a:pt x="332" y="2251"/>
                        </a:moveTo>
                        <a:cubicBezTo>
                          <a:pt x="329" y="2254"/>
                          <a:pt x="326" y="2255"/>
                          <a:pt x="332" y="2260"/>
                        </a:cubicBezTo>
                        <a:cubicBezTo>
                          <a:pt x="337" y="2265"/>
                          <a:pt x="341" y="2264"/>
                          <a:pt x="343" y="2259"/>
                        </a:cubicBezTo>
                        <a:cubicBezTo>
                          <a:pt x="345" y="2254"/>
                          <a:pt x="339" y="2249"/>
                          <a:pt x="332" y="2251"/>
                        </a:cubicBezTo>
                        <a:close/>
                        <a:moveTo>
                          <a:pt x="394" y="2318"/>
                        </a:moveTo>
                        <a:cubicBezTo>
                          <a:pt x="398" y="2313"/>
                          <a:pt x="409" y="2325"/>
                          <a:pt x="410" y="2330"/>
                        </a:cubicBezTo>
                        <a:cubicBezTo>
                          <a:pt x="411" y="2334"/>
                          <a:pt x="408" y="2335"/>
                          <a:pt x="406" y="2336"/>
                        </a:cubicBezTo>
                        <a:cubicBezTo>
                          <a:pt x="403" y="2338"/>
                          <a:pt x="398" y="2332"/>
                          <a:pt x="395" y="2329"/>
                        </a:cubicBezTo>
                        <a:cubicBezTo>
                          <a:pt x="392" y="2325"/>
                          <a:pt x="391" y="2321"/>
                          <a:pt x="394" y="2318"/>
                        </a:cubicBezTo>
                        <a:close/>
                        <a:moveTo>
                          <a:pt x="424" y="2326"/>
                        </a:moveTo>
                        <a:cubicBezTo>
                          <a:pt x="426" y="2322"/>
                          <a:pt x="433" y="2325"/>
                          <a:pt x="435" y="2326"/>
                        </a:cubicBezTo>
                        <a:cubicBezTo>
                          <a:pt x="437" y="2328"/>
                          <a:pt x="439" y="2331"/>
                          <a:pt x="439" y="2333"/>
                        </a:cubicBezTo>
                        <a:cubicBezTo>
                          <a:pt x="438" y="2336"/>
                          <a:pt x="438" y="2338"/>
                          <a:pt x="433" y="2339"/>
                        </a:cubicBezTo>
                        <a:cubicBezTo>
                          <a:pt x="429" y="2340"/>
                          <a:pt x="428" y="2338"/>
                          <a:pt x="425" y="2334"/>
                        </a:cubicBezTo>
                        <a:cubicBezTo>
                          <a:pt x="421" y="2331"/>
                          <a:pt x="423" y="2330"/>
                          <a:pt x="424" y="2326"/>
                        </a:cubicBezTo>
                        <a:close/>
                        <a:moveTo>
                          <a:pt x="388" y="2351"/>
                        </a:moveTo>
                        <a:cubicBezTo>
                          <a:pt x="391" y="2347"/>
                          <a:pt x="394" y="2344"/>
                          <a:pt x="397" y="2347"/>
                        </a:cubicBezTo>
                        <a:cubicBezTo>
                          <a:pt x="401" y="2349"/>
                          <a:pt x="404" y="2350"/>
                          <a:pt x="401" y="2353"/>
                        </a:cubicBezTo>
                        <a:cubicBezTo>
                          <a:pt x="398" y="2355"/>
                          <a:pt x="395" y="2355"/>
                          <a:pt x="393" y="2359"/>
                        </a:cubicBezTo>
                        <a:cubicBezTo>
                          <a:pt x="391" y="2363"/>
                          <a:pt x="392" y="2367"/>
                          <a:pt x="386" y="2366"/>
                        </a:cubicBezTo>
                        <a:cubicBezTo>
                          <a:pt x="381" y="2365"/>
                          <a:pt x="380" y="2361"/>
                          <a:pt x="378" y="2357"/>
                        </a:cubicBezTo>
                        <a:cubicBezTo>
                          <a:pt x="376" y="2353"/>
                          <a:pt x="370" y="2352"/>
                          <a:pt x="374" y="2349"/>
                        </a:cubicBezTo>
                        <a:cubicBezTo>
                          <a:pt x="377" y="2347"/>
                          <a:pt x="380" y="2349"/>
                          <a:pt x="382" y="2350"/>
                        </a:cubicBezTo>
                        <a:cubicBezTo>
                          <a:pt x="383" y="2351"/>
                          <a:pt x="385" y="2353"/>
                          <a:pt x="388" y="2351"/>
                        </a:cubicBezTo>
                        <a:close/>
                        <a:moveTo>
                          <a:pt x="338" y="2318"/>
                        </a:moveTo>
                        <a:cubicBezTo>
                          <a:pt x="336" y="2323"/>
                          <a:pt x="340" y="2324"/>
                          <a:pt x="341" y="2329"/>
                        </a:cubicBezTo>
                        <a:cubicBezTo>
                          <a:pt x="342" y="2333"/>
                          <a:pt x="342" y="2336"/>
                          <a:pt x="345" y="2334"/>
                        </a:cubicBezTo>
                        <a:cubicBezTo>
                          <a:pt x="349" y="2332"/>
                          <a:pt x="350" y="2332"/>
                          <a:pt x="349" y="2327"/>
                        </a:cubicBezTo>
                        <a:cubicBezTo>
                          <a:pt x="348" y="2322"/>
                          <a:pt x="349" y="2322"/>
                          <a:pt x="347" y="2320"/>
                        </a:cubicBezTo>
                        <a:cubicBezTo>
                          <a:pt x="345" y="2319"/>
                          <a:pt x="339" y="2314"/>
                          <a:pt x="338" y="2318"/>
                        </a:cubicBezTo>
                        <a:close/>
                        <a:moveTo>
                          <a:pt x="353" y="2293"/>
                        </a:moveTo>
                        <a:cubicBezTo>
                          <a:pt x="353" y="2288"/>
                          <a:pt x="364" y="2290"/>
                          <a:pt x="369" y="2294"/>
                        </a:cubicBezTo>
                        <a:cubicBezTo>
                          <a:pt x="374" y="2298"/>
                          <a:pt x="369" y="2295"/>
                          <a:pt x="366" y="2297"/>
                        </a:cubicBezTo>
                        <a:cubicBezTo>
                          <a:pt x="363" y="2299"/>
                          <a:pt x="363" y="2301"/>
                          <a:pt x="361" y="2305"/>
                        </a:cubicBezTo>
                        <a:cubicBezTo>
                          <a:pt x="360" y="2309"/>
                          <a:pt x="358" y="2305"/>
                          <a:pt x="356" y="2302"/>
                        </a:cubicBezTo>
                        <a:cubicBezTo>
                          <a:pt x="355" y="2298"/>
                          <a:pt x="353" y="2297"/>
                          <a:pt x="353" y="2293"/>
                        </a:cubicBezTo>
                        <a:close/>
                        <a:moveTo>
                          <a:pt x="438" y="2401"/>
                        </a:moveTo>
                        <a:cubicBezTo>
                          <a:pt x="438" y="2395"/>
                          <a:pt x="446" y="2396"/>
                          <a:pt x="445" y="2402"/>
                        </a:cubicBezTo>
                        <a:cubicBezTo>
                          <a:pt x="445" y="2409"/>
                          <a:pt x="445" y="2406"/>
                          <a:pt x="445" y="2409"/>
                        </a:cubicBezTo>
                        <a:cubicBezTo>
                          <a:pt x="445" y="2411"/>
                          <a:pt x="447" y="2413"/>
                          <a:pt x="448" y="2416"/>
                        </a:cubicBezTo>
                        <a:cubicBezTo>
                          <a:pt x="449" y="2419"/>
                          <a:pt x="444" y="2418"/>
                          <a:pt x="440" y="2415"/>
                        </a:cubicBezTo>
                        <a:cubicBezTo>
                          <a:pt x="437" y="2413"/>
                          <a:pt x="437" y="2411"/>
                          <a:pt x="437" y="2407"/>
                        </a:cubicBezTo>
                        <a:cubicBezTo>
                          <a:pt x="437" y="2402"/>
                          <a:pt x="438" y="2404"/>
                          <a:pt x="438" y="2401"/>
                        </a:cubicBezTo>
                        <a:close/>
                        <a:moveTo>
                          <a:pt x="419" y="2410"/>
                        </a:moveTo>
                        <a:cubicBezTo>
                          <a:pt x="422" y="2406"/>
                          <a:pt x="426" y="2409"/>
                          <a:pt x="429" y="2415"/>
                        </a:cubicBezTo>
                        <a:cubicBezTo>
                          <a:pt x="432" y="2421"/>
                          <a:pt x="429" y="2422"/>
                          <a:pt x="426" y="2420"/>
                        </a:cubicBezTo>
                        <a:cubicBezTo>
                          <a:pt x="423" y="2419"/>
                          <a:pt x="420" y="2419"/>
                          <a:pt x="417" y="2417"/>
                        </a:cubicBezTo>
                        <a:cubicBezTo>
                          <a:pt x="414" y="2415"/>
                          <a:pt x="417" y="2413"/>
                          <a:pt x="419" y="2410"/>
                        </a:cubicBezTo>
                        <a:close/>
                        <a:moveTo>
                          <a:pt x="379" y="2380"/>
                        </a:moveTo>
                        <a:cubicBezTo>
                          <a:pt x="382" y="2377"/>
                          <a:pt x="391" y="2379"/>
                          <a:pt x="390" y="2384"/>
                        </a:cubicBezTo>
                        <a:cubicBezTo>
                          <a:pt x="390" y="2389"/>
                          <a:pt x="388" y="2389"/>
                          <a:pt x="385" y="2389"/>
                        </a:cubicBezTo>
                        <a:cubicBezTo>
                          <a:pt x="382" y="2390"/>
                          <a:pt x="382" y="2392"/>
                          <a:pt x="379" y="2394"/>
                        </a:cubicBezTo>
                        <a:cubicBezTo>
                          <a:pt x="376" y="2396"/>
                          <a:pt x="375" y="2393"/>
                          <a:pt x="375" y="2389"/>
                        </a:cubicBezTo>
                        <a:cubicBezTo>
                          <a:pt x="375" y="2384"/>
                          <a:pt x="377" y="2385"/>
                          <a:pt x="379" y="2380"/>
                        </a:cubicBezTo>
                        <a:close/>
                        <a:moveTo>
                          <a:pt x="366" y="2428"/>
                        </a:moveTo>
                        <a:cubicBezTo>
                          <a:pt x="371" y="2417"/>
                          <a:pt x="376" y="2420"/>
                          <a:pt x="377" y="2423"/>
                        </a:cubicBezTo>
                        <a:cubicBezTo>
                          <a:pt x="377" y="2425"/>
                          <a:pt x="376" y="2430"/>
                          <a:pt x="374" y="2435"/>
                        </a:cubicBezTo>
                        <a:cubicBezTo>
                          <a:pt x="372" y="2441"/>
                          <a:pt x="370" y="2440"/>
                          <a:pt x="367" y="2437"/>
                        </a:cubicBezTo>
                        <a:cubicBezTo>
                          <a:pt x="363" y="2434"/>
                          <a:pt x="365" y="2432"/>
                          <a:pt x="366" y="2428"/>
                        </a:cubicBezTo>
                        <a:close/>
                        <a:moveTo>
                          <a:pt x="357" y="2386"/>
                        </a:moveTo>
                        <a:cubicBezTo>
                          <a:pt x="359" y="2382"/>
                          <a:pt x="364" y="2385"/>
                          <a:pt x="364" y="2388"/>
                        </a:cubicBezTo>
                        <a:cubicBezTo>
                          <a:pt x="364" y="2392"/>
                          <a:pt x="362" y="2391"/>
                          <a:pt x="360" y="2395"/>
                        </a:cubicBezTo>
                        <a:cubicBezTo>
                          <a:pt x="358" y="2398"/>
                          <a:pt x="357" y="2398"/>
                          <a:pt x="354" y="2398"/>
                        </a:cubicBezTo>
                        <a:cubicBezTo>
                          <a:pt x="351" y="2398"/>
                          <a:pt x="353" y="2397"/>
                          <a:pt x="355" y="2393"/>
                        </a:cubicBezTo>
                        <a:cubicBezTo>
                          <a:pt x="356" y="2390"/>
                          <a:pt x="355" y="2391"/>
                          <a:pt x="357" y="2386"/>
                        </a:cubicBezTo>
                        <a:close/>
                        <a:moveTo>
                          <a:pt x="455" y="2450"/>
                        </a:moveTo>
                        <a:cubicBezTo>
                          <a:pt x="453" y="2456"/>
                          <a:pt x="453" y="2458"/>
                          <a:pt x="456" y="2462"/>
                        </a:cubicBezTo>
                        <a:cubicBezTo>
                          <a:pt x="459" y="2465"/>
                          <a:pt x="453" y="2466"/>
                          <a:pt x="456" y="2471"/>
                        </a:cubicBezTo>
                        <a:cubicBezTo>
                          <a:pt x="459" y="2477"/>
                          <a:pt x="463" y="2476"/>
                          <a:pt x="463" y="2480"/>
                        </a:cubicBezTo>
                        <a:cubicBezTo>
                          <a:pt x="463" y="2483"/>
                          <a:pt x="457" y="2483"/>
                          <a:pt x="455" y="2487"/>
                        </a:cubicBezTo>
                        <a:cubicBezTo>
                          <a:pt x="453" y="2491"/>
                          <a:pt x="450" y="2497"/>
                          <a:pt x="455" y="2497"/>
                        </a:cubicBezTo>
                        <a:cubicBezTo>
                          <a:pt x="459" y="2498"/>
                          <a:pt x="461" y="2493"/>
                          <a:pt x="464" y="2490"/>
                        </a:cubicBezTo>
                        <a:cubicBezTo>
                          <a:pt x="468" y="2488"/>
                          <a:pt x="467" y="2491"/>
                          <a:pt x="473" y="2490"/>
                        </a:cubicBezTo>
                        <a:cubicBezTo>
                          <a:pt x="478" y="2489"/>
                          <a:pt x="480" y="2487"/>
                          <a:pt x="482" y="2483"/>
                        </a:cubicBezTo>
                        <a:cubicBezTo>
                          <a:pt x="484" y="2478"/>
                          <a:pt x="486" y="2476"/>
                          <a:pt x="492" y="2475"/>
                        </a:cubicBezTo>
                        <a:cubicBezTo>
                          <a:pt x="499" y="2474"/>
                          <a:pt x="500" y="2469"/>
                          <a:pt x="504" y="2468"/>
                        </a:cubicBezTo>
                        <a:cubicBezTo>
                          <a:pt x="508" y="2466"/>
                          <a:pt x="515" y="2467"/>
                          <a:pt x="516" y="2463"/>
                        </a:cubicBezTo>
                        <a:cubicBezTo>
                          <a:pt x="518" y="2458"/>
                          <a:pt x="515" y="2450"/>
                          <a:pt x="512" y="2451"/>
                        </a:cubicBezTo>
                        <a:cubicBezTo>
                          <a:pt x="509" y="2453"/>
                          <a:pt x="507" y="2456"/>
                          <a:pt x="505" y="2459"/>
                        </a:cubicBezTo>
                        <a:cubicBezTo>
                          <a:pt x="503" y="2462"/>
                          <a:pt x="500" y="2466"/>
                          <a:pt x="497" y="2466"/>
                        </a:cubicBezTo>
                        <a:cubicBezTo>
                          <a:pt x="494" y="2465"/>
                          <a:pt x="488" y="2464"/>
                          <a:pt x="487" y="2460"/>
                        </a:cubicBezTo>
                        <a:cubicBezTo>
                          <a:pt x="485" y="2457"/>
                          <a:pt x="483" y="2456"/>
                          <a:pt x="480" y="2457"/>
                        </a:cubicBezTo>
                        <a:cubicBezTo>
                          <a:pt x="477" y="2457"/>
                          <a:pt x="473" y="2460"/>
                          <a:pt x="470" y="2456"/>
                        </a:cubicBezTo>
                        <a:cubicBezTo>
                          <a:pt x="467" y="2452"/>
                          <a:pt x="459" y="2445"/>
                          <a:pt x="455" y="2450"/>
                        </a:cubicBezTo>
                        <a:close/>
                        <a:moveTo>
                          <a:pt x="410" y="2449"/>
                        </a:moveTo>
                        <a:cubicBezTo>
                          <a:pt x="412" y="2445"/>
                          <a:pt x="419" y="2451"/>
                          <a:pt x="421" y="2455"/>
                        </a:cubicBezTo>
                        <a:cubicBezTo>
                          <a:pt x="424" y="2459"/>
                          <a:pt x="427" y="2460"/>
                          <a:pt x="430" y="2462"/>
                        </a:cubicBezTo>
                        <a:cubicBezTo>
                          <a:pt x="432" y="2464"/>
                          <a:pt x="435" y="2465"/>
                          <a:pt x="434" y="2468"/>
                        </a:cubicBezTo>
                        <a:cubicBezTo>
                          <a:pt x="432" y="2471"/>
                          <a:pt x="423" y="2473"/>
                          <a:pt x="417" y="2471"/>
                        </a:cubicBezTo>
                        <a:cubicBezTo>
                          <a:pt x="412" y="2470"/>
                          <a:pt x="417" y="2467"/>
                          <a:pt x="418" y="2462"/>
                        </a:cubicBezTo>
                        <a:cubicBezTo>
                          <a:pt x="419" y="2458"/>
                          <a:pt x="416" y="2458"/>
                          <a:pt x="413" y="2456"/>
                        </a:cubicBezTo>
                        <a:cubicBezTo>
                          <a:pt x="410" y="2454"/>
                          <a:pt x="409" y="2452"/>
                          <a:pt x="410" y="2449"/>
                        </a:cubicBezTo>
                        <a:close/>
                        <a:moveTo>
                          <a:pt x="380" y="2457"/>
                        </a:moveTo>
                        <a:cubicBezTo>
                          <a:pt x="388" y="2457"/>
                          <a:pt x="388" y="2462"/>
                          <a:pt x="384" y="2466"/>
                        </a:cubicBezTo>
                        <a:cubicBezTo>
                          <a:pt x="380" y="2470"/>
                          <a:pt x="380" y="2464"/>
                          <a:pt x="376" y="2461"/>
                        </a:cubicBezTo>
                        <a:cubicBezTo>
                          <a:pt x="372" y="2459"/>
                          <a:pt x="376" y="2457"/>
                          <a:pt x="380" y="2457"/>
                        </a:cubicBezTo>
                        <a:close/>
                        <a:moveTo>
                          <a:pt x="484" y="2498"/>
                        </a:moveTo>
                        <a:cubicBezTo>
                          <a:pt x="489" y="2495"/>
                          <a:pt x="493" y="2499"/>
                          <a:pt x="493" y="2505"/>
                        </a:cubicBezTo>
                        <a:cubicBezTo>
                          <a:pt x="492" y="2511"/>
                          <a:pt x="490" y="2508"/>
                          <a:pt x="488" y="2513"/>
                        </a:cubicBezTo>
                        <a:cubicBezTo>
                          <a:pt x="486" y="2518"/>
                          <a:pt x="490" y="2516"/>
                          <a:pt x="491" y="2522"/>
                        </a:cubicBezTo>
                        <a:cubicBezTo>
                          <a:pt x="493" y="2528"/>
                          <a:pt x="490" y="2526"/>
                          <a:pt x="484" y="2526"/>
                        </a:cubicBezTo>
                        <a:cubicBezTo>
                          <a:pt x="479" y="2526"/>
                          <a:pt x="478" y="2526"/>
                          <a:pt x="473" y="2528"/>
                        </a:cubicBezTo>
                        <a:cubicBezTo>
                          <a:pt x="467" y="2529"/>
                          <a:pt x="469" y="2525"/>
                          <a:pt x="468" y="2522"/>
                        </a:cubicBezTo>
                        <a:cubicBezTo>
                          <a:pt x="468" y="2519"/>
                          <a:pt x="472" y="2520"/>
                          <a:pt x="473" y="2518"/>
                        </a:cubicBezTo>
                        <a:cubicBezTo>
                          <a:pt x="474" y="2516"/>
                          <a:pt x="471" y="2515"/>
                          <a:pt x="469" y="2512"/>
                        </a:cubicBezTo>
                        <a:cubicBezTo>
                          <a:pt x="467" y="2509"/>
                          <a:pt x="472" y="2508"/>
                          <a:pt x="477" y="2507"/>
                        </a:cubicBezTo>
                        <a:cubicBezTo>
                          <a:pt x="482" y="2506"/>
                          <a:pt x="481" y="2503"/>
                          <a:pt x="484" y="2498"/>
                        </a:cubicBezTo>
                        <a:close/>
                        <a:moveTo>
                          <a:pt x="485" y="2538"/>
                        </a:moveTo>
                        <a:cubicBezTo>
                          <a:pt x="486" y="2535"/>
                          <a:pt x="490" y="2537"/>
                          <a:pt x="493" y="2539"/>
                        </a:cubicBezTo>
                        <a:cubicBezTo>
                          <a:pt x="495" y="2541"/>
                          <a:pt x="493" y="2541"/>
                          <a:pt x="499" y="2544"/>
                        </a:cubicBezTo>
                        <a:cubicBezTo>
                          <a:pt x="505" y="2548"/>
                          <a:pt x="503" y="2548"/>
                          <a:pt x="506" y="2553"/>
                        </a:cubicBezTo>
                        <a:cubicBezTo>
                          <a:pt x="509" y="2558"/>
                          <a:pt x="513" y="2557"/>
                          <a:pt x="514" y="2561"/>
                        </a:cubicBezTo>
                        <a:cubicBezTo>
                          <a:pt x="516" y="2566"/>
                          <a:pt x="511" y="2563"/>
                          <a:pt x="507" y="2563"/>
                        </a:cubicBezTo>
                        <a:cubicBezTo>
                          <a:pt x="503" y="2563"/>
                          <a:pt x="501" y="2559"/>
                          <a:pt x="497" y="2553"/>
                        </a:cubicBezTo>
                        <a:cubicBezTo>
                          <a:pt x="493" y="2548"/>
                          <a:pt x="490" y="2549"/>
                          <a:pt x="486" y="2547"/>
                        </a:cubicBezTo>
                        <a:cubicBezTo>
                          <a:pt x="481" y="2544"/>
                          <a:pt x="483" y="2542"/>
                          <a:pt x="485" y="2538"/>
                        </a:cubicBezTo>
                        <a:close/>
                        <a:moveTo>
                          <a:pt x="434" y="2483"/>
                        </a:moveTo>
                        <a:cubicBezTo>
                          <a:pt x="440" y="2479"/>
                          <a:pt x="444" y="2480"/>
                          <a:pt x="444" y="2486"/>
                        </a:cubicBezTo>
                        <a:cubicBezTo>
                          <a:pt x="443" y="2492"/>
                          <a:pt x="441" y="2490"/>
                          <a:pt x="439" y="2493"/>
                        </a:cubicBezTo>
                        <a:cubicBezTo>
                          <a:pt x="437" y="2496"/>
                          <a:pt x="434" y="2494"/>
                          <a:pt x="432" y="2492"/>
                        </a:cubicBezTo>
                        <a:cubicBezTo>
                          <a:pt x="429" y="2490"/>
                          <a:pt x="431" y="2487"/>
                          <a:pt x="434" y="2483"/>
                        </a:cubicBezTo>
                        <a:close/>
                        <a:moveTo>
                          <a:pt x="389" y="2505"/>
                        </a:moveTo>
                        <a:cubicBezTo>
                          <a:pt x="389" y="2499"/>
                          <a:pt x="395" y="2502"/>
                          <a:pt x="397" y="2507"/>
                        </a:cubicBezTo>
                        <a:cubicBezTo>
                          <a:pt x="399" y="2512"/>
                          <a:pt x="404" y="2510"/>
                          <a:pt x="404" y="2515"/>
                        </a:cubicBezTo>
                        <a:cubicBezTo>
                          <a:pt x="404" y="2519"/>
                          <a:pt x="401" y="2520"/>
                          <a:pt x="397" y="2517"/>
                        </a:cubicBezTo>
                        <a:cubicBezTo>
                          <a:pt x="392" y="2513"/>
                          <a:pt x="390" y="2510"/>
                          <a:pt x="389" y="2505"/>
                        </a:cubicBezTo>
                        <a:close/>
                        <a:moveTo>
                          <a:pt x="417" y="2521"/>
                        </a:moveTo>
                        <a:cubicBezTo>
                          <a:pt x="424" y="2523"/>
                          <a:pt x="427" y="2520"/>
                          <a:pt x="429" y="2524"/>
                        </a:cubicBezTo>
                        <a:cubicBezTo>
                          <a:pt x="431" y="2527"/>
                          <a:pt x="433" y="2529"/>
                          <a:pt x="427" y="2529"/>
                        </a:cubicBezTo>
                        <a:cubicBezTo>
                          <a:pt x="422" y="2529"/>
                          <a:pt x="418" y="2528"/>
                          <a:pt x="414" y="2530"/>
                        </a:cubicBezTo>
                        <a:cubicBezTo>
                          <a:pt x="411" y="2532"/>
                          <a:pt x="407" y="2530"/>
                          <a:pt x="406" y="2527"/>
                        </a:cubicBezTo>
                        <a:cubicBezTo>
                          <a:pt x="406" y="2524"/>
                          <a:pt x="408" y="2523"/>
                          <a:pt x="410" y="2522"/>
                        </a:cubicBezTo>
                        <a:cubicBezTo>
                          <a:pt x="412" y="2520"/>
                          <a:pt x="414" y="2520"/>
                          <a:pt x="417" y="2521"/>
                        </a:cubicBezTo>
                        <a:close/>
                        <a:moveTo>
                          <a:pt x="442" y="2529"/>
                        </a:moveTo>
                        <a:cubicBezTo>
                          <a:pt x="447" y="2526"/>
                          <a:pt x="454" y="2529"/>
                          <a:pt x="457" y="2535"/>
                        </a:cubicBezTo>
                        <a:cubicBezTo>
                          <a:pt x="460" y="2541"/>
                          <a:pt x="457" y="2540"/>
                          <a:pt x="458" y="2543"/>
                        </a:cubicBezTo>
                        <a:cubicBezTo>
                          <a:pt x="460" y="2547"/>
                          <a:pt x="459" y="2549"/>
                          <a:pt x="456" y="2549"/>
                        </a:cubicBezTo>
                        <a:cubicBezTo>
                          <a:pt x="453" y="2550"/>
                          <a:pt x="453" y="2547"/>
                          <a:pt x="451" y="2541"/>
                        </a:cubicBezTo>
                        <a:cubicBezTo>
                          <a:pt x="448" y="2536"/>
                          <a:pt x="446" y="2539"/>
                          <a:pt x="442" y="2536"/>
                        </a:cubicBezTo>
                        <a:cubicBezTo>
                          <a:pt x="438" y="2533"/>
                          <a:pt x="441" y="2532"/>
                          <a:pt x="442" y="2529"/>
                        </a:cubicBezTo>
                        <a:close/>
                        <a:moveTo>
                          <a:pt x="484" y="2561"/>
                        </a:moveTo>
                        <a:cubicBezTo>
                          <a:pt x="487" y="2559"/>
                          <a:pt x="490" y="2559"/>
                          <a:pt x="493" y="2562"/>
                        </a:cubicBezTo>
                        <a:cubicBezTo>
                          <a:pt x="496" y="2566"/>
                          <a:pt x="495" y="2570"/>
                          <a:pt x="499" y="2572"/>
                        </a:cubicBezTo>
                        <a:cubicBezTo>
                          <a:pt x="503" y="2573"/>
                          <a:pt x="506" y="2574"/>
                          <a:pt x="510" y="2574"/>
                        </a:cubicBezTo>
                        <a:cubicBezTo>
                          <a:pt x="514" y="2574"/>
                          <a:pt x="516" y="2570"/>
                          <a:pt x="519" y="2574"/>
                        </a:cubicBezTo>
                        <a:cubicBezTo>
                          <a:pt x="521" y="2578"/>
                          <a:pt x="521" y="2581"/>
                          <a:pt x="523" y="2584"/>
                        </a:cubicBezTo>
                        <a:cubicBezTo>
                          <a:pt x="524" y="2587"/>
                          <a:pt x="523" y="2587"/>
                          <a:pt x="529" y="2588"/>
                        </a:cubicBezTo>
                        <a:cubicBezTo>
                          <a:pt x="534" y="2590"/>
                          <a:pt x="537" y="2587"/>
                          <a:pt x="538" y="2592"/>
                        </a:cubicBezTo>
                        <a:cubicBezTo>
                          <a:pt x="539" y="2596"/>
                          <a:pt x="540" y="2599"/>
                          <a:pt x="535" y="2600"/>
                        </a:cubicBezTo>
                        <a:cubicBezTo>
                          <a:pt x="531" y="2601"/>
                          <a:pt x="528" y="2600"/>
                          <a:pt x="527" y="2604"/>
                        </a:cubicBezTo>
                        <a:cubicBezTo>
                          <a:pt x="526" y="2608"/>
                          <a:pt x="525" y="2612"/>
                          <a:pt x="522" y="2612"/>
                        </a:cubicBezTo>
                        <a:cubicBezTo>
                          <a:pt x="520" y="2613"/>
                          <a:pt x="502" y="2620"/>
                          <a:pt x="500" y="2620"/>
                        </a:cubicBezTo>
                        <a:cubicBezTo>
                          <a:pt x="498" y="2619"/>
                          <a:pt x="495" y="2618"/>
                          <a:pt x="495" y="2614"/>
                        </a:cubicBezTo>
                        <a:cubicBezTo>
                          <a:pt x="495" y="2610"/>
                          <a:pt x="499" y="2606"/>
                          <a:pt x="502" y="2604"/>
                        </a:cubicBezTo>
                        <a:cubicBezTo>
                          <a:pt x="504" y="2603"/>
                          <a:pt x="507" y="2605"/>
                          <a:pt x="509" y="2599"/>
                        </a:cubicBezTo>
                        <a:cubicBezTo>
                          <a:pt x="511" y="2594"/>
                          <a:pt x="507" y="2593"/>
                          <a:pt x="503" y="2593"/>
                        </a:cubicBezTo>
                        <a:cubicBezTo>
                          <a:pt x="499" y="2593"/>
                          <a:pt x="492" y="2590"/>
                          <a:pt x="489" y="2593"/>
                        </a:cubicBezTo>
                        <a:cubicBezTo>
                          <a:pt x="487" y="2597"/>
                          <a:pt x="486" y="2602"/>
                          <a:pt x="483" y="2602"/>
                        </a:cubicBezTo>
                        <a:cubicBezTo>
                          <a:pt x="480" y="2603"/>
                          <a:pt x="472" y="2604"/>
                          <a:pt x="472" y="2600"/>
                        </a:cubicBezTo>
                        <a:cubicBezTo>
                          <a:pt x="472" y="2595"/>
                          <a:pt x="471" y="2593"/>
                          <a:pt x="474" y="2591"/>
                        </a:cubicBezTo>
                        <a:cubicBezTo>
                          <a:pt x="476" y="2589"/>
                          <a:pt x="476" y="2590"/>
                          <a:pt x="478" y="2586"/>
                        </a:cubicBezTo>
                        <a:cubicBezTo>
                          <a:pt x="480" y="2582"/>
                          <a:pt x="480" y="2581"/>
                          <a:pt x="484" y="2581"/>
                        </a:cubicBezTo>
                        <a:cubicBezTo>
                          <a:pt x="489" y="2581"/>
                          <a:pt x="494" y="2584"/>
                          <a:pt x="494" y="2581"/>
                        </a:cubicBezTo>
                        <a:cubicBezTo>
                          <a:pt x="493" y="2577"/>
                          <a:pt x="494" y="2576"/>
                          <a:pt x="489" y="2576"/>
                        </a:cubicBezTo>
                        <a:cubicBezTo>
                          <a:pt x="484" y="2576"/>
                          <a:pt x="479" y="2574"/>
                          <a:pt x="479" y="2571"/>
                        </a:cubicBezTo>
                        <a:cubicBezTo>
                          <a:pt x="479" y="2569"/>
                          <a:pt x="478" y="2561"/>
                          <a:pt x="484" y="2561"/>
                        </a:cubicBezTo>
                        <a:close/>
                        <a:moveTo>
                          <a:pt x="455" y="2574"/>
                        </a:moveTo>
                        <a:cubicBezTo>
                          <a:pt x="456" y="2567"/>
                          <a:pt x="463" y="2574"/>
                          <a:pt x="469" y="2576"/>
                        </a:cubicBezTo>
                        <a:cubicBezTo>
                          <a:pt x="474" y="2579"/>
                          <a:pt x="469" y="2579"/>
                          <a:pt x="467" y="2581"/>
                        </a:cubicBezTo>
                        <a:cubicBezTo>
                          <a:pt x="465" y="2582"/>
                          <a:pt x="462" y="2582"/>
                          <a:pt x="457" y="2582"/>
                        </a:cubicBezTo>
                        <a:cubicBezTo>
                          <a:pt x="452" y="2582"/>
                          <a:pt x="455" y="2578"/>
                          <a:pt x="455" y="2574"/>
                        </a:cubicBezTo>
                        <a:close/>
                        <a:moveTo>
                          <a:pt x="439" y="2562"/>
                        </a:moveTo>
                        <a:cubicBezTo>
                          <a:pt x="439" y="2558"/>
                          <a:pt x="446" y="2560"/>
                          <a:pt x="446" y="2565"/>
                        </a:cubicBezTo>
                        <a:cubicBezTo>
                          <a:pt x="446" y="2570"/>
                          <a:pt x="443" y="2568"/>
                          <a:pt x="438" y="2568"/>
                        </a:cubicBezTo>
                        <a:cubicBezTo>
                          <a:pt x="434" y="2568"/>
                          <a:pt x="438" y="2565"/>
                          <a:pt x="439" y="2562"/>
                        </a:cubicBezTo>
                        <a:close/>
                        <a:moveTo>
                          <a:pt x="469" y="2612"/>
                        </a:moveTo>
                        <a:cubicBezTo>
                          <a:pt x="466" y="2612"/>
                          <a:pt x="463" y="2614"/>
                          <a:pt x="464" y="2616"/>
                        </a:cubicBezTo>
                        <a:cubicBezTo>
                          <a:pt x="465" y="2618"/>
                          <a:pt x="471" y="2622"/>
                          <a:pt x="474" y="2620"/>
                        </a:cubicBezTo>
                        <a:cubicBezTo>
                          <a:pt x="476" y="2618"/>
                          <a:pt x="477" y="2612"/>
                          <a:pt x="469" y="2612"/>
                        </a:cubicBezTo>
                        <a:close/>
                        <a:moveTo>
                          <a:pt x="532" y="2621"/>
                        </a:moveTo>
                        <a:cubicBezTo>
                          <a:pt x="527" y="2624"/>
                          <a:pt x="526" y="2625"/>
                          <a:pt x="529" y="2627"/>
                        </a:cubicBezTo>
                        <a:cubicBezTo>
                          <a:pt x="532" y="2628"/>
                          <a:pt x="537" y="2632"/>
                          <a:pt x="538" y="2627"/>
                        </a:cubicBezTo>
                        <a:cubicBezTo>
                          <a:pt x="539" y="2622"/>
                          <a:pt x="537" y="2619"/>
                          <a:pt x="532" y="2621"/>
                        </a:cubicBezTo>
                        <a:close/>
                        <a:moveTo>
                          <a:pt x="547" y="2608"/>
                        </a:moveTo>
                        <a:cubicBezTo>
                          <a:pt x="546" y="2611"/>
                          <a:pt x="544" y="2612"/>
                          <a:pt x="548" y="2615"/>
                        </a:cubicBezTo>
                        <a:cubicBezTo>
                          <a:pt x="552" y="2618"/>
                          <a:pt x="553" y="2617"/>
                          <a:pt x="554" y="2622"/>
                        </a:cubicBezTo>
                        <a:cubicBezTo>
                          <a:pt x="554" y="2627"/>
                          <a:pt x="553" y="2630"/>
                          <a:pt x="558" y="2632"/>
                        </a:cubicBezTo>
                        <a:cubicBezTo>
                          <a:pt x="563" y="2635"/>
                          <a:pt x="568" y="2637"/>
                          <a:pt x="568" y="2633"/>
                        </a:cubicBezTo>
                        <a:cubicBezTo>
                          <a:pt x="569" y="2629"/>
                          <a:pt x="569" y="2628"/>
                          <a:pt x="566" y="2625"/>
                        </a:cubicBezTo>
                        <a:cubicBezTo>
                          <a:pt x="563" y="2621"/>
                          <a:pt x="559" y="2618"/>
                          <a:pt x="558" y="2615"/>
                        </a:cubicBezTo>
                        <a:cubicBezTo>
                          <a:pt x="557" y="2612"/>
                          <a:pt x="556" y="2609"/>
                          <a:pt x="560" y="2611"/>
                        </a:cubicBezTo>
                        <a:cubicBezTo>
                          <a:pt x="564" y="2613"/>
                          <a:pt x="566" y="2618"/>
                          <a:pt x="568" y="2615"/>
                        </a:cubicBezTo>
                        <a:cubicBezTo>
                          <a:pt x="570" y="2612"/>
                          <a:pt x="571" y="2612"/>
                          <a:pt x="572" y="2607"/>
                        </a:cubicBezTo>
                        <a:cubicBezTo>
                          <a:pt x="573" y="2602"/>
                          <a:pt x="571" y="2601"/>
                          <a:pt x="566" y="2602"/>
                        </a:cubicBezTo>
                        <a:cubicBezTo>
                          <a:pt x="561" y="2603"/>
                          <a:pt x="555" y="2601"/>
                          <a:pt x="553" y="2602"/>
                        </a:cubicBezTo>
                        <a:cubicBezTo>
                          <a:pt x="551" y="2602"/>
                          <a:pt x="548" y="2603"/>
                          <a:pt x="547" y="2608"/>
                        </a:cubicBezTo>
                        <a:close/>
                        <a:moveTo>
                          <a:pt x="581" y="2609"/>
                        </a:moveTo>
                        <a:cubicBezTo>
                          <a:pt x="589" y="2606"/>
                          <a:pt x="597" y="2612"/>
                          <a:pt x="598" y="2617"/>
                        </a:cubicBezTo>
                        <a:cubicBezTo>
                          <a:pt x="598" y="2621"/>
                          <a:pt x="595" y="2621"/>
                          <a:pt x="591" y="2620"/>
                        </a:cubicBezTo>
                        <a:cubicBezTo>
                          <a:pt x="587" y="2618"/>
                          <a:pt x="586" y="2619"/>
                          <a:pt x="583" y="2622"/>
                        </a:cubicBezTo>
                        <a:cubicBezTo>
                          <a:pt x="581" y="2624"/>
                          <a:pt x="579" y="2621"/>
                          <a:pt x="577" y="2618"/>
                        </a:cubicBezTo>
                        <a:cubicBezTo>
                          <a:pt x="575" y="2615"/>
                          <a:pt x="577" y="2613"/>
                          <a:pt x="581" y="2609"/>
                        </a:cubicBezTo>
                        <a:close/>
                        <a:moveTo>
                          <a:pt x="604" y="2622"/>
                        </a:moveTo>
                        <a:cubicBezTo>
                          <a:pt x="602" y="2627"/>
                          <a:pt x="597" y="2625"/>
                          <a:pt x="599" y="2629"/>
                        </a:cubicBezTo>
                        <a:cubicBezTo>
                          <a:pt x="602" y="2633"/>
                          <a:pt x="603" y="2637"/>
                          <a:pt x="607" y="2634"/>
                        </a:cubicBezTo>
                        <a:cubicBezTo>
                          <a:pt x="611" y="2631"/>
                          <a:pt x="612" y="2631"/>
                          <a:pt x="613" y="2626"/>
                        </a:cubicBezTo>
                        <a:cubicBezTo>
                          <a:pt x="613" y="2621"/>
                          <a:pt x="606" y="2618"/>
                          <a:pt x="604" y="2622"/>
                        </a:cubicBezTo>
                        <a:close/>
                        <a:moveTo>
                          <a:pt x="640" y="2578"/>
                        </a:moveTo>
                        <a:cubicBezTo>
                          <a:pt x="644" y="2573"/>
                          <a:pt x="647" y="2581"/>
                          <a:pt x="646" y="2585"/>
                        </a:cubicBezTo>
                        <a:cubicBezTo>
                          <a:pt x="646" y="2590"/>
                          <a:pt x="647" y="2592"/>
                          <a:pt x="651" y="2597"/>
                        </a:cubicBezTo>
                        <a:cubicBezTo>
                          <a:pt x="655" y="2602"/>
                          <a:pt x="652" y="2603"/>
                          <a:pt x="649" y="2605"/>
                        </a:cubicBezTo>
                        <a:cubicBezTo>
                          <a:pt x="645" y="2607"/>
                          <a:pt x="644" y="2601"/>
                          <a:pt x="638" y="2598"/>
                        </a:cubicBezTo>
                        <a:cubicBezTo>
                          <a:pt x="632" y="2594"/>
                          <a:pt x="633" y="2592"/>
                          <a:pt x="633" y="2588"/>
                        </a:cubicBezTo>
                        <a:cubicBezTo>
                          <a:pt x="633" y="2585"/>
                          <a:pt x="635" y="2583"/>
                          <a:pt x="640" y="2578"/>
                        </a:cubicBezTo>
                        <a:close/>
                        <a:moveTo>
                          <a:pt x="621" y="2605"/>
                        </a:moveTo>
                        <a:cubicBezTo>
                          <a:pt x="622" y="2611"/>
                          <a:pt x="623" y="2617"/>
                          <a:pt x="628" y="2619"/>
                        </a:cubicBezTo>
                        <a:cubicBezTo>
                          <a:pt x="633" y="2621"/>
                          <a:pt x="639" y="2629"/>
                          <a:pt x="639" y="2623"/>
                        </a:cubicBezTo>
                        <a:cubicBezTo>
                          <a:pt x="639" y="2616"/>
                          <a:pt x="635" y="2618"/>
                          <a:pt x="635" y="2613"/>
                        </a:cubicBezTo>
                        <a:cubicBezTo>
                          <a:pt x="634" y="2607"/>
                          <a:pt x="633" y="2603"/>
                          <a:pt x="629" y="2601"/>
                        </a:cubicBezTo>
                        <a:cubicBezTo>
                          <a:pt x="625" y="2599"/>
                          <a:pt x="620" y="2598"/>
                          <a:pt x="621" y="2605"/>
                        </a:cubicBezTo>
                        <a:close/>
                        <a:moveTo>
                          <a:pt x="577" y="2650"/>
                        </a:moveTo>
                        <a:cubicBezTo>
                          <a:pt x="582" y="2648"/>
                          <a:pt x="581" y="2647"/>
                          <a:pt x="584" y="2648"/>
                        </a:cubicBezTo>
                        <a:cubicBezTo>
                          <a:pt x="587" y="2649"/>
                          <a:pt x="590" y="2652"/>
                          <a:pt x="589" y="2657"/>
                        </a:cubicBezTo>
                        <a:cubicBezTo>
                          <a:pt x="588" y="2660"/>
                          <a:pt x="581" y="2657"/>
                          <a:pt x="578" y="2657"/>
                        </a:cubicBezTo>
                        <a:cubicBezTo>
                          <a:pt x="575" y="2657"/>
                          <a:pt x="573" y="2652"/>
                          <a:pt x="577" y="2650"/>
                        </a:cubicBezTo>
                        <a:close/>
                        <a:moveTo>
                          <a:pt x="614" y="2648"/>
                        </a:moveTo>
                        <a:cubicBezTo>
                          <a:pt x="611" y="2649"/>
                          <a:pt x="609" y="2649"/>
                          <a:pt x="604" y="2649"/>
                        </a:cubicBezTo>
                        <a:cubicBezTo>
                          <a:pt x="600" y="2649"/>
                          <a:pt x="595" y="2651"/>
                          <a:pt x="596" y="2655"/>
                        </a:cubicBezTo>
                        <a:cubicBezTo>
                          <a:pt x="597" y="2659"/>
                          <a:pt x="596" y="2663"/>
                          <a:pt x="601" y="2661"/>
                        </a:cubicBezTo>
                        <a:cubicBezTo>
                          <a:pt x="606" y="2659"/>
                          <a:pt x="605" y="2657"/>
                          <a:pt x="609" y="2657"/>
                        </a:cubicBezTo>
                        <a:cubicBezTo>
                          <a:pt x="613" y="2658"/>
                          <a:pt x="612" y="2659"/>
                          <a:pt x="614" y="2662"/>
                        </a:cubicBezTo>
                        <a:cubicBezTo>
                          <a:pt x="616" y="2665"/>
                          <a:pt x="618" y="2666"/>
                          <a:pt x="621" y="2664"/>
                        </a:cubicBezTo>
                        <a:cubicBezTo>
                          <a:pt x="623" y="2662"/>
                          <a:pt x="623" y="2661"/>
                          <a:pt x="626" y="2659"/>
                        </a:cubicBezTo>
                        <a:cubicBezTo>
                          <a:pt x="629" y="2657"/>
                          <a:pt x="628" y="2655"/>
                          <a:pt x="630" y="2651"/>
                        </a:cubicBezTo>
                        <a:cubicBezTo>
                          <a:pt x="632" y="2646"/>
                          <a:pt x="633" y="2643"/>
                          <a:pt x="629" y="2643"/>
                        </a:cubicBezTo>
                        <a:cubicBezTo>
                          <a:pt x="626" y="2644"/>
                          <a:pt x="619" y="2648"/>
                          <a:pt x="614" y="2648"/>
                        </a:cubicBezTo>
                        <a:close/>
                        <a:moveTo>
                          <a:pt x="760" y="2718"/>
                        </a:moveTo>
                        <a:cubicBezTo>
                          <a:pt x="755" y="2720"/>
                          <a:pt x="754" y="2718"/>
                          <a:pt x="755" y="2723"/>
                        </a:cubicBezTo>
                        <a:cubicBezTo>
                          <a:pt x="756" y="2727"/>
                          <a:pt x="751" y="2730"/>
                          <a:pt x="749" y="2727"/>
                        </a:cubicBezTo>
                        <a:cubicBezTo>
                          <a:pt x="747" y="2724"/>
                          <a:pt x="746" y="2724"/>
                          <a:pt x="747" y="2721"/>
                        </a:cubicBezTo>
                        <a:cubicBezTo>
                          <a:pt x="749" y="2717"/>
                          <a:pt x="750" y="2713"/>
                          <a:pt x="754" y="2710"/>
                        </a:cubicBezTo>
                        <a:cubicBezTo>
                          <a:pt x="758" y="2710"/>
                          <a:pt x="764" y="2715"/>
                          <a:pt x="760" y="2718"/>
                        </a:cubicBezTo>
                        <a:close/>
                        <a:moveTo>
                          <a:pt x="693" y="2719"/>
                        </a:moveTo>
                        <a:cubicBezTo>
                          <a:pt x="693" y="2723"/>
                          <a:pt x="695" y="2727"/>
                          <a:pt x="701" y="2728"/>
                        </a:cubicBezTo>
                        <a:cubicBezTo>
                          <a:pt x="706" y="2729"/>
                          <a:pt x="702" y="2729"/>
                          <a:pt x="708" y="2733"/>
                        </a:cubicBezTo>
                        <a:cubicBezTo>
                          <a:pt x="714" y="2736"/>
                          <a:pt x="720" y="2730"/>
                          <a:pt x="718" y="2726"/>
                        </a:cubicBezTo>
                        <a:cubicBezTo>
                          <a:pt x="716" y="2722"/>
                          <a:pt x="711" y="2724"/>
                          <a:pt x="710" y="2720"/>
                        </a:cubicBezTo>
                        <a:cubicBezTo>
                          <a:pt x="709" y="2716"/>
                          <a:pt x="695" y="2711"/>
                          <a:pt x="693" y="2719"/>
                        </a:cubicBezTo>
                        <a:close/>
                        <a:moveTo>
                          <a:pt x="717" y="2696"/>
                        </a:moveTo>
                        <a:cubicBezTo>
                          <a:pt x="723" y="2694"/>
                          <a:pt x="731" y="2696"/>
                          <a:pt x="734" y="2700"/>
                        </a:cubicBezTo>
                        <a:cubicBezTo>
                          <a:pt x="737" y="2704"/>
                          <a:pt x="739" y="2701"/>
                          <a:pt x="741" y="2705"/>
                        </a:cubicBezTo>
                        <a:cubicBezTo>
                          <a:pt x="742" y="2709"/>
                          <a:pt x="739" y="2706"/>
                          <a:pt x="736" y="2707"/>
                        </a:cubicBezTo>
                        <a:cubicBezTo>
                          <a:pt x="732" y="2707"/>
                          <a:pt x="731" y="2706"/>
                          <a:pt x="724" y="2707"/>
                        </a:cubicBezTo>
                        <a:cubicBezTo>
                          <a:pt x="718" y="2707"/>
                          <a:pt x="720" y="2709"/>
                          <a:pt x="713" y="2710"/>
                        </a:cubicBezTo>
                        <a:cubicBezTo>
                          <a:pt x="705" y="2711"/>
                          <a:pt x="710" y="2708"/>
                          <a:pt x="710" y="2703"/>
                        </a:cubicBezTo>
                        <a:cubicBezTo>
                          <a:pt x="710" y="2698"/>
                          <a:pt x="713" y="2700"/>
                          <a:pt x="717" y="2696"/>
                        </a:cubicBezTo>
                        <a:close/>
                        <a:moveTo>
                          <a:pt x="752" y="2694"/>
                        </a:moveTo>
                        <a:cubicBezTo>
                          <a:pt x="747" y="2695"/>
                          <a:pt x="742" y="2693"/>
                          <a:pt x="744" y="2696"/>
                        </a:cubicBezTo>
                        <a:cubicBezTo>
                          <a:pt x="745" y="2699"/>
                          <a:pt x="748" y="2697"/>
                          <a:pt x="753" y="2700"/>
                        </a:cubicBezTo>
                        <a:cubicBezTo>
                          <a:pt x="758" y="2703"/>
                          <a:pt x="762" y="2709"/>
                          <a:pt x="764" y="2705"/>
                        </a:cubicBezTo>
                        <a:cubicBezTo>
                          <a:pt x="766" y="2701"/>
                          <a:pt x="764" y="2699"/>
                          <a:pt x="769" y="2698"/>
                        </a:cubicBezTo>
                        <a:cubicBezTo>
                          <a:pt x="775" y="2696"/>
                          <a:pt x="778" y="2696"/>
                          <a:pt x="777" y="2693"/>
                        </a:cubicBezTo>
                        <a:cubicBezTo>
                          <a:pt x="776" y="2690"/>
                          <a:pt x="774" y="2687"/>
                          <a:pt x="766" y="2690"/>
                        </a:cubicBezTo>
                        <a:cubicBezTo>
                          <a:pt x="759" y="2693"/>
                          <a:pt x="756" y="2693"/>
                          <a:pt x="752" y="2694"/>
                        </a:cubicBezTo>
                        <a:close/>
                        <a:moveTo>
                          <a:pt x="691" y="2684"/>
                        </a:moveTo>
                        <a:cubicBezTo>
                          <a:pt x="688" y="2688"/>
                          <a:pt x="684" y="2686"/>
                          <a:pt x="685" y="2690"/>
                        </a:cubicBezTo>
                        <a:cubicBezTo>
                          <a:pt x="685" y="2695"/>
                          <a:pt x="685" y="2699"/>
                          <a:pt x="691" y="2697"/>
                        </a:cubicBezTo>
                        <a:cubicBezTo>
                          <a:pt x="696" y="2694"/>
                          <a:pt x="697" y="2694"/>
                          <a:pt x="702" y="2693"/>
                        </a:cubicBezTo>
                        <a:cubicBezTo>
                          <a:pt x="707" y="2693"/>
                          <a:pt x="710" y="2693"/>
                          <a:pt x="708" y="2689"/>
                        </a:cubicBezTo>
                        <a:cubicBezTo>
                          <a:pt x="706" y="2684"/>
                          <a:pt x="694" y="2679"/>
                          <a:pt x="691" y="2684"/>
                        </a:cubicBezTo>
                        <a:close/>
                        <a:moveTo>
                          <a:pt x="645" y="2697"/>
                        </a:moveTo>
                        <a:cubicBezTo>
                          <a:pt x="651" y="2696"/>
                          <a:pt x="654" y="2693"/>
                          <a:pt x="656" y="2697"/>
                        </a:cubicBezTo>
                        <a:cubicBezTo>
                          <a:pt x="657" y="2701"/>
                          <a:pt x="657" y="2705"/>
                          <a:pt x="655" y="2706"/>
                        </a:cubicBezTo>
                        <a:cubicBezTo>
                          <a:pt x="653" y="2707"/>
                          <a:pt x="647" y="2707"/>
                          <a:pt x="646" y="2704"/>
                        </a:cubicBezTo>
                        <a:cubicBezTo>
                          <a:pt x="645" y="2701"/>
                          <a:pt x="644" y="2698"/>
                          <a:pt x="645" y="2697"/>
                        </a:cubicBezTo>
                        <a:close/>
                        <a:moveTo>
                          <a:pt x="620" y="2690"/>
                        </a:moveTo>
                        <a:cubicBezTo>
                          <a:pt x="625" y="2691"/>
                          <a:pt x="630" y="2689"/>
                          <a:pt x="632" y="2691"/>
                        </a:cubicBezTo>
                        <a:cubicBezTo>
                          <a:pt x="635" y="2693"/>
                          <a:pt x="636" y="2696"/>
                          <a:pt x="634" y="2697"/>
                        </a:cubicBezTo>
                        <a:cubicBezTo>
                          <a:pt x="631" y="2699"/>
                          <a:pt x="626" y="2699"/>
                          <a:pt x="624" y="2697"/>
                        </a:cubicBezTo>
                        <a:cubicBezTo>
                          <a:pt x="623" y="2696"/>
                          <a:pt x="613" y="2692"/>
                          <a:pt x="620" y="2690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55" name="Freeform 26"/>
                  <p:cNvSpPr>
                    <a:spLocks/>
                  </p:cNvSpPr>
                  <p:nvPr/>
                </p:nvSpPr>
                <p:spPr bwMode="auto">
                  <a:xfrm>
                    <a:off x="2919525" y="4650078"/>
                    <a:ext cx="222647" cy="327422"/>
                  </a:xfrm>
                  <a:custGeom>
                    <a:avLst/>
                    <a:gdLst>
                      <a:gd name="T0" fmla="*/ 704 w 778"/>
                      <a:gd name="T1" fmla="*/ 1102 h 1143"/>
                      <a:gd name="T2" fmla="*/ 720 w 778"/>
                      <a:gd name="T3" fmla="*/ 1072 h 1143"/>
                      <a:gd name="T4" fmla="*/ 765 w 778"/>
                      <a:gd name="T5" fmla="*/ 1018 h 1143"/>
                      <a:gd name="T6" fmla="*/ 761 w 778"/>
                      <a:gd name="T7" fmla="*/ 1015 h 1143"/>
                      <a:gd name="T8" fmla="*/ 742 w 778"/>
                      <a:gd name="T9" fmla="*/ 956 h 1143"/>
                      <a:gd name="T10" fmla="*/ 753 w 778"/>
                      <a:gd name="T11" fmla="*/ 898 h 1143"/>
                      <a:gd name="T12" fmla="*/ 767 w 778"/>
                      <a:gd name="T13" fmla="*/ 803 h 1143"/>
                      <a:gd name="T14" fmla="*/ 713 w 778"/>
                      <a:gd name="T15" fmla="*/ 680 h 1143"/>
                      <a:gd name="T16" fmla="*/ 668 w 778"/>
                      <a:gd name="T17" fmla="*/ 684 h 1143"/>
                      <a:gd name="T18" fmla="*/ 657 w 778"/>
                      <a:gd name="T19" fmla="*/ 592 h 1143"/>
                      <a:gd name="T20" fmla="*/ 588 w 778"/>
                      <a:gd name="T21" fmla="*/ 624 h 1143"/>
                      <a:gd name="T22" fmla="*/ 521 w 778"/>
                      <a:gd name="T23" fmla="*/ 588 h 1143"/>
                      <a:gd name="T24" fmla="*/ 499 w 778"/>
                      <a:gd name="T25" fmla="*/ 543 h 1143"/>
                      <a:gd name="T26" fmla="*/ 469 w 778"/>
                      <a:gd name="T27" fmla="*/ 495 h 1143"/>
                      <a:gd name="T28" fmla="*/ 454 w 778"/>
                      <a:gd name="T29" fmla="*/ 459 h 1143"/>
                      <a:gd name="T30" fmla="*/ 463 w 778"/>
                      <a:gd name="T31" fmla="*/ 444 h 1143"/>
                      <a:gd name="T32" fmla="*/ 469 w 778"/>
                      <a:gd name="T33" fmla="*/ 417 h 1143"/>
                      <a:gd name="T34" fmla="*/ 500 w 778"/>
                      <a:gd name="T35" fmla="*/ 378 h 1143"/>
                      <a:gd name="T36" fmla="*/ 517 w 778"/>
                      <a:gd name="T37" fmla="*/ 317 h 1143"/>
                      <a:gd name="T38" fmla="*/ 590 w 778"/>
                      <a:gd name="T39" fmla="*/ 271 h 1143"/>
                      <a:gd name="T40" fmla="*/ 641 w 778"/>
                      <a:gd name="T41" fmla="*/ 260 h 1143"/>
                      <a:gd name="T42" fmla="*/ 683 w 778"/>
                      <a:gd name="T43" fmla="*/ 258 h 1143"/>
                      <a:gd name="T44" fmla="*/ 692 w 778"/>
                      <a:gd name="T45" fmla="*/ 261 h 1143"/>
                      <a:gd name="T46" fmla="*/ 668 w 778"/>
                      <a:gd name="T47" fmla="*/ 201 h 1143"/>
                      <a:gd name="T48" fmla="*/ 658 w 778"/>
                      <a:gd name="T49" fmla="*/ 149 h 1143"/>
                      <a:gd name="T50" fmla="*/ 604 w 778"/>
                      <a:gd name="T51" fmla="*/ 144 h 1143"/>
                      <a:gd name="T52" fmla="*/ 556 w 778"/>
                      <a:gd name="T53" fmla="*/ 153 h 1143"/>
                      <a:gd name="T54" fmla="*/ 493 w 778"/>
                      <a:gd name="T55" fmla="*/ 119 h 1143"/>
                      <a:gd name="T56" fmla="*/ 457 w 778"/>
                      <a:gd name="T57" fmla="*/ 76 h 1143"/>
                      <a:gd name="T58" fmla="*/ 421 w 778"/>
                      <a:gd name="T59" fmla="*/ 28 h 1143"/>
                      <a:gd name="T60" fmla="*/ 358 w 778"/>
                      <a:gd name="T61" fmla="*/ 0 h 1143"/>
                      <a:gd name="T62" fmla="*/ 370 w 778"/>
                      <a:gd name="T63" fmla="*/ 66 h 1143"/>
                      <a:gd name="T64" fmla="*/ 257 w 778"/>
                      <a:gd name="T65" fmla="*/ 168 h 1143"/>
                      <a:gd name="T66" fmla="*/ 179 w 778"/>
                      <a:gd name="T67" fmla="*/ 231 h 1143"/>
                      <a:gd name="T68" fmla="*/ 162 w 778"/>
                      <a:gd name="T69" fmla="*/ 281 h 1143"/>
                      <a:gd name="T70" fmla="*/ 104 w 778"/>
                      <a:gd name="T71" fmla="*/ 280 h 1143"/>
                      <a:gd name="T72" fmla="*/ 73 w 778"/>
                      <a:gd name="T73" fmla="*/ 272 h 1143"/>
                      <a:gd name="T74" fmla="*/ 61 w 778"/>
                      <a:gd name="T75" fmla="*/ 233 h 1143"/>
                      <a:gd name="T76" fmla="*/ 23 w 778"/>
                      <a:gd name="T77" fmla="*/ 237 h 1143"/>
                      <a:gd name="T78" fmla="*/ 6 w 778"/>
                      <a:gd name="T79" fmla="*/ 306 h 1143"/>
                      <a:gd name="T80" fmla="*/ 70 w 778"/>
                      <a:gd name="T81" fmla="*/ 406 h 1143"/>
                      <a:gd name="T82" fmla="*/ 172 w 778"/>
                      <a:gd name="T83" fmla="*/ 570 h 1143"/>
                      <a:gd name="T84" fmla="*/ 229 w 778"/>
                      <a:gd name="T85" fmla="*/ 697 h 1143"/>
                      <a:gd name="T86" fmla="*/ 314 w 778"/>
                      <a:gd name="T87" fmla="*/ 836 h 1143"/>
                      <a:gd name="T88" fmla="*/ 347 w 778"/>
                      <a:gd name="T89" fmla="*/ 920 h 1143"/>
                      <a:gd name="T90" fmla="*/ 471 w 778"/>
                      <a:gd name="T91" fmla="*/ 1005 h 1143"/>
                      <a:gd name="T92" fmla="*/ 606 w 778"/>
                      <a:gd name="T93" fmla="*/ 1075 h 1143"/>
                      <a:gd name="T94" fmla="*/ 670 w 778"/>
                      <a:gd name="T95" fmla="*/ 1143 h 11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778" h="1143">
                        <a:moveTo>
                          <a:pt x="670" y="1143"/>
                        </a:moveTo>
                        <a:cubicBezTo>
                          <a:pt x="682" y="1140"/>
                          <a:pt x="695" y="1134"/>
                          <a:pt x="699" y="1130"/>
                        </a:cubicBezTo>
                        <a:cubicBezTo>
                          <a:pt x="701" y="1128"/>
                          <a:pt x="701" y="1123"/>
                          <a:pt x="701" y="1118"/>
                        </a:cubicBezTo>
                        <a:cubicBezTo>
                          <a:pt x="702" y="1113"/>
                          <a:pt x="702" y="1107"/>
                          <a:pt x="704" y="1102"/>
                        </a:cubicBezTo>
                        <a:cubicBezTo>
                          <a:pt x="707" y="1096"/>
                          <a:pt x="712" y="1095"/>
                          <a:pt x="716" y="1093"/>
                        </a:cubicBezTo>
                        <a:cubicBezTo>
                          <a:pt x="718" y="1092"/>
                          <a:pt x="721" y="1092"/>
                          <a:pt x="721" y="1090"/>
                        </a:cubicBezTo>
                        <a:cubicBezTo>
                          <a:pt x="722" y="1088"/>
                          <a:pt x="721" y="1087"/>
                          <a:pt x="720" y="1085"/>
                        </a:cubicBezTo>
                        <a:cubicBezTo>
                          <a:pt x="718" y="1082"/>
                          <a:pt x="716" y="1079"/>
                          <a:pt x="720" y="1072"/>
                        </a:cubicBezTo>
                        <a:cubicBezTo>
                          <a:pt x="723" y="1067"/>
                          <a:pt x="738" y="1049"/>
                          <a:pt x="751" y="1035"/>
                        </a:cubicBezTo>
                        <a:cubicBezTo>
                          <a:pt x="758" y="1028"/>
                          <a:pt x="763" y="1021"/>
                          <a:pt x="764" y="1020"/>
                        </a:cubicBezTo>
                        <a:cubicBezTo>
                          <a:pt x="765" y="1019"/>
                          <a:pt x="765" y="1019"/>
                          <a:pt x="765" y="1018"/>
                        </a:cubicBezTo>
                        <a:cubicBezTo>
                          <a:pt x="765" y="1018"/>
                          <a:pt x="765" y="1018"/>
                          <a:pt x="765" y="1018"/>
                        </a:cubicBezTo>
                        <a:cubicBezTo>
                          <a:pt x="765" y="1018"/>
                          <a:pt x="765" y="1018"/>
                          <a:pt x="765" y="1017"/>
                        </a:cubicBezTo>
                        <a:cubicBezTo>
                          <a:pt x="764" y="1017"/>
                          <a:pt x="764" y="1016"/>
                          <a:pt x="763" y="1016"/>
                        </a:cubicBezTo>
                        <a:cubicBezTo>
                          <a:pt x="763" y="1015"/>
                          <a:pt x="762" y="1015"/>
                          <a:pt x="762" y="1015"/>
                        </a:cubicBezTo>
                        <a:cubicBezTo>
                          <a:pt x="761" y="1015"/>
                          <a:pt x="761" y="1015"/>
                          <a:pt x="761" y="1015"/>
                        </a:cubicBezTo>
                        <a:cubicBezTo>
                          <a:pt x="755" y="1015"/>
                          <a:pt x="754" y="1015"/>
                          <a:pt x="747" y="999"/>
                        </a:cubicBezTo>
                        <a:cubicBezTo>
                          <a:pt x="744" y="991"/>
                          <a:pt x="743" y="985"/>
                          <a:pt x="741" y="981"/>
                        </a:cubicBezTo>
                        <a:cubicBezTo>
                          <a:pt x="740" y="976"/>
                          <a:pt x="739" y="972"/>
                          <a:pt x="739" y="967"/>
                        </a:cubicBezTo>
                        <a:cubicBezTo>
                          <a:pt x="739" y="961"/>
                          <a:pt x="740" y="959"/>
                          <a:pt x="742" y="956"/>
                        </a:cubicBezTo>
                        <a:cubicBezTo>
                          <a:pt x="743" y="955"/>
                          <a:pt x="744" y="953"/>
                          <a:pt x="744" y="949"/>
                        </a:cubicBezTo>
                        <a:cubicBezTo>
                          <a:pt x="745" y="945"/>
                          <a:pt x="743" y="941"/>
                          <a:pt x="741" y="937"/>
                        </a:cubicBezTo>
                        <a:cubicBezTo>
                          <a:pt x="738" y="932"/>
                          <a:pt x="735" y="928"/>
                          <a:pt x="736" y="921"/>
                        </a:cubicBezTo>
                        <a:cubicBezTo>
                          <a:pt x="737" y="913"/>
                          <a:pt x="746" y="905"/>
                          <a:pt x="753" y="898"/>
                        </a:cubicBezTo>
                        <a:cubicBezTo>
                          <a:pt x="759" y="892"/>
                          <a:pt x="765" y="887"/>
                          <a:pt x="766" y="884"/>
                        </a:cubicBezTo>
                        <a:cubicBezTo>
                          <a:pt x="766" y="881"/>
                          <a:pt x="764" y="878"/>
                          <a:pt x="762" y="874"/>
                        </a:cubicBezTo>
                        <a:cubicBezTo>
                          <a:pt x="757" y="866"/>
                          <a:pt x="752" y="857"/>
                          <a:pt x="754" y="844"/>
                        </a:cubicBezTo>
                        <a:cubicBezTo>
                          <a:pt x="755" y="832"/>
                          <a:pt x="762" y="817"/>
                          <a:pt x="767" y="803"/>
                        </a:cubicBezTo>
                        <a:cubicBezTo>
                          <a:pt x="772" y="792"/>
                          <a:pt x="776" y="782"/>
                          <a:pt x="777" y="776"/>
                        </a:cubicBezTo>
                        <a:cubicBezTo>
                          <a:pt x="778" y="771"/>
                          <a:pt x="770" y="756"/>
                          <a:pt x="761" y="739"/>
                        </a:cubicBezTo>
                        <a:cubicBezTo>
                          <a:pt x="747" y="714"/>
                          <a:pt x="729" y="687"/>
                          <a:pt x="724" y="683"/>
                        </a:cubicBezTo>
                        <a:cubicBezTo>
                          <a:pt x="721" y="681"/>
                          <a:pt x="717" y="680"/>
                          <a:pt x="713" y="680"/>
                        </a:cubicBezTo>
                        <a:cubicBezTo>
                          <a:pt x="707" y="680"/>
                          <a:pt x="701" y="681"/>
                          <a:pt x="699" y="683"/>
                        </a:cubicBezTo>
                        <a:cubicBezTo>
                          <a:pt x="696" y="686"/>
                          <a:pt x="690" y="688"/>
                          <a:pt x="685" y="688"/>
                        </a:cubicBezTo>
                        <a:cubicBezTo>
                          <a:pt x="680" y="689"/>
                          <a:pt x="676" y="688"/>
                          <a:pt x="672" y="686"/>
                        </a:cubicBezTo>
                        <a:cubicBezTo>
                          <a:pt x="671" y="685"/>
                          <a:pt x="669" y="685"/>
                          <a:pt x="668" y="684"/>
                        </a:cubicBezTo>
                        <a:cubicBezTo>
                          <a:pt x="662" y="682"/>
                          <a:pt x="656" y="680"/>
                          <a:pt x="656" y="669"/>
                        </a:cubicBezTo>
                        <a:cubicBezTo>
                          <a:pt x="656" y="662"/>
                          <a:pt x="657" y="638"/>
                          <a:pt x="658" y="618"/>
                        </a:cubicBezTo>
                        <a:cubicBezTo>
                          <a:pt x="658" y="607"/>
                          <a:pt x="658" y="596"/>
                          <a:pt x="658" y="592"/>
                        </a:cubicBezTo>
                        <a:cubicBezTo>
                          <a:pt x="658" y="592"/>
                          <a:pt x="658" y="592"/>
                          <a:pt x="657" y="592"/>
                        </a:cubicBezTo>
                        <a:cubicBezTo>
                          <a:pt x="653" y="594"/>
                          <a:pt x="648" y="597"/>
                          <a:pt x="644" y="601"/>
                        </a:cubicBezTo>
                        <a:cubicBezTo>
                          <a:pt x="643" y="603"/>
                          <a:pt x="641" y="605"/>
                          <a:pt x="640" y="606"/>
                        </a:cubicBezTo>
                        <a:cubicBezTo>
                          <a:pt x="635" y="612"/>
                          <a:pt x="632" y="615"/>
                          <a:pt x="620" y="619"/>
                        </a:cubicBezTo>
                        <a:cubicBezTo>
                          <a:pt x="612" y="622"/>
                          <a:pt x="599" y="624"/>
                          <a:pt x="588" y="624"/>
                        </a:cubicBezTo>
                        <a:cubicBezTo>
                          <a:pt x="578" y="625"/>
                          <a:pt x="568" y="624"/>
                          <a:pt x="564" y="621"/>
                        </a:cubicBezTo>
                        <a:cubicBezTo>
                          <a:pt x="558" y="618"/>
                          <a:pt x="559" y="613"/>
                          <a:pt x="559" y="607"/>
                        </a:cubicBezTo>
                        <a:cubicBezTo>
                          <a:pt x="560" y="603"/>
                          <a:pt x="560" y="597"/>
                          <a:pt x="553" y="594"/>
                        </a:cubicBezTo>
                        <a:cubicBezTo>
                          <a:pt x="544" y="590"/>
                          <a:pt x="532" y="589"/>
                          <a:pt x="521" y="588"/>
                        </a:cubicBezTo>
                        <a:cubicBezTo>
                          <a:pt x="511" y="587"/>
                          <a:pt x="503" y="586"/>
                          <a:pt x="500" y="583"/>
                        </a:cubicBezTo>
                        <a:cubicBezTo>
                          <a:pt x="496" y="577"/>
                          <a:pt x="499" y="575"/>
                          <a:pt x="504" y="572"/>
                        </a:cubicBezTo>
                        <a:cubicBezTo>
                          <a:pt x="506" y="571"/>
                          <a:pt x="510" y="568"/>
                          <a:pt x="511" y="562"/>
                        </a:cubicBezTo>
                        <a:cubicBezTo>
                          <a:pt x="512" y="555"/>
                          <a:pt x="506" y="550"/>
                          <a:pt x="499" y="543"/>
                        </a:cubicBezTo>
                        <a:cubicBezTo>
                          <a:pt x="495" y="540"/>
                          <a:pt x="491" y="536"/>
                          <a:pt x="487" y="531"/>
                        </a:cubicBezTo>
                        <a:cubicBezTo>
                          <a:pt x="473" y="517"/>
                          <a:pt x="471" y="507"/>
                          <a:pt x="470" y="497"/>
                        </a:cubicBezTo>
                        <a:cubicBezTo>
                          <a:pt x="470" y="497"/>
                          <a:pt x="470" y="497"/>
                          <a:pt x="470" y="497"/>
                        </a:cubicBezTo>
                        <a:cubicBezTo>
                          <a:pt x="469" y="495"/>
                          <a:pt x="469" y="495"/>
                          <a:pt x="469" y="495"/>
                        </a:cubicBezTo>
                        <a:cubicBezTo>
                          <a:pt x="469" y="495"/>
                          <a:pt x="469" y="495"/>
                          <a:pt x="469" y="495"/>
                        </a:cubicBezTo>
                        <a:cubicBezTo>
                          <a:pt x="468" y="491"/>
                          <a:pt x="466" y="489"/>
                          <a:pt x="463" y="486"/>
                        </a:cubicBezTo>
                        <a:cubicBezTo>
                          <a:pt x="460" y="483"/>
                          <a:pt x="456" y="479"/>
                          <a:pt x="454" y="474"/>
                        </a:cubicBezTo>
                        <a:cubicBezTo>
                          <a:pt x="448" y="463"/>
                          <a:pt x="449" y="463"/>
                          <a:pt x="454" y="459"/>
                        </a:cubicBezTo>
                        <a:cubicBezTo>
                          <a:pt x="455" y="458"/>
                          <a:pt x="457" y="457"/>
                          <a:pt x="458" y="456"/>
                        </a:cubicBezTo>
                        <a:cubicBezTo>
                          <a:pt x="460" y="454"/>
                          <a:pt x="461" y="453"/>
                          <a:pt x="461" y="453"/>
                        </a:cubicBezTo>
                        <a:cubicBezTo>
                          <a:pt x="462" y="452"/>
                          <a:pt x="463" y="451"/>
                          <a:pt x="463" y="451"/>
                        </a:cubicBezTo>
                        <a:cubicBezTo>
                          <a:pt x="463" y="450"/>
                          <a:pt x="463" y="449"/>
                          <a:pt x="463" y="444"/>
                        </a:cubicBezTo>
                        <a:cubicBezTo>
                          <a:pt x="463" y="443"/>
                          <a:pt x="463" y="443"/>
                          <a:pt x="463" y="443"/>
                        </a:cubicBezTo>
                        <a:cubicBezTo>
                          <a:pt x="463" y="443"/>
                          <a:pt x="463" y="443"/>
                          <a:pt x="463" y="443"/>
                        </a:cubicBezTo>
                        <a:cubicBezTo>
                          <a:pt x="463" y="437"/>
                          <a:pt x="464" y="432"/>
                          <a:pt x="465" y="428"/>
                        </a:cubicBezTo>
                        <a:cubicBezTo>
                          <a:pt x="466" y="423"/>
                          <a:pt x="467" y="419"/>
                          <a:pt x="469" y="417"/>
                        </a:cubicBezTo>
                        <a:cubicBezTo>
                          <a:pt x="471" y="414"/>
                          <a:pt x="476" y="411"/>
                          <a:pt x="481" y="408"/>
                        </a:cubicBezTo>
                        <a:cubicBezTo>
                          <a:pt x="486" y="405"/>
                          <a:pt x="493" y="401"/>
                          <a:pt x="497" y="397"/>
                        </a:cubicBezTo>
                        <a:cubicBezTo>
                          <a:pt x="502" y="392"/>
                          <a:pt x="502" y="392"/>
                          <a:pt x="501" y="387"/>
                        </a:cubicBezTo>
                        <a:cubicBezTo>
                          <a:pt x="501" y="385"/>
                          <a:pt x="500" y="382"/>
                          <a:pt x="500" y="378"/>
                        </a:cubicBezTo>
                        <a:cubicBezTo>
                          <a:pt x="499" y="369"/>
                          <a:pt x="500" y="363"/>
                          <a:pt x="502" y="357"/>
                        </a:cubicBezTo>
                        <a:cubicBezTo>
                          <a:pt x="504" y="351"/>
                          <a:pt x="506" y="346"/>
                          <a:pt x="509" y="341"/>
                        </a:cubicBezTo>
                        <a:cubicBezTo>
                          <a:pt x="512" y="336"/>
                          <a:pt x="513" y="331"/>
                          <a:pt x="514" y="327"/>
                        </a:cubicBezTo>
                        <a:cubicBezTo>
                          <a:pt x="514" y="324"/>
                          <a:pt x="515" y="321"/>
                          <a:pt x="517" y="317"/>
                        </a:cubicBezTo>
                        <a:cubicBezTo>
                          <a:pt x="519" y="313"/>
                          <a:pt x="523" y="309"/>
                          <a:pt x="529" y="304"/>
                        </a:cubicBezTo>
                        <a:cubicBezTo>
                          <a:pt x="535" y="300"/>
                          <a:pt x="543" y="296"/>
                          <a:pt x="551" y="291"/>
                        </a:cubicBezTo>
                        <a:cubicBezTo>
                          <a:pt x="557" y="288"/>
                          <a:pt x="562" y="285"/>
                          <a:pt x="567" y="282"/>
                        </a:cubicBezTo>
                        <a:cubicBezTo>
                          <a:pt x="575" y="277"/>
                          <a:pt x="582" y="273"/>
                          <a:pt x="590" y="271"/>
                        </a:cubicBezTo>
                        <a:cubicBezTo>
                          <a:pt x="595" y="270"/>
                          <a:pt x="601" y="270"/>
                          <a:pt x="606" y="269"/>
                        </a:cubicBezTo>
                        <a:cubicBezTo>
                          <a:pt x="610" y="269"/>
                          <a:pt x="615" y="269"/>
                          <a:pt x="619" y="269"/>
                        </a:cubicBezTo>
                        <a:cubicBezTo>
                          <a:pt x="623" y="268"/>
                          <a:pt x="627" y="267"/>
                          <a:pt x="631" y="266"/>
                        </a:cubicBezTo>
                        <a:cubicBezTo>
                          <a:pt x="635" y="264"/>
                          <a:pt x="638" y="262"/>
                          <a:pt x="641" y="260"/>
                        </a:cubicBezTo>
                        <a:cubicBezTo>
                          <a:pt x="644" y="257"/>
                          <a:pt x="648" y="254"/>
                          <a:pt x="652" y="252"/>
                        </a:cubicBezTo>
                        <a:cubicBezTo>
                          <a:pt x="656" y="250"/>
                          <a:pt x="660" y="249"/>
                          <a:pt x="664" y="249"/>
                        </a:cubicBezTo>
                        <a:cubicBezTo>
                          <a:pt x="670" y="250"/>
                          <a:pt x="673" y="251"/>
                          <a:pt x="677" y="254"/>
                        </a:cubicBezTo>
                        <a:cubicBezTo>
                          <a:pt x="678" y="255"/>
                          <a:pt x="680" y="256"/>
                          <a:pt x="683" y="258"/>
                        </a:cubicBezTo>
                        <a:cubicBezTo>
                          <a:pt x="683" y="258"/>
                          <a:pt x="683" y="258"/>
                          <a:pt x="683" y="258"/>
                        </a:cubicBezTo>
                        <a:cubicBezTo>
                          <a:pt x="685" y="258"/>
                          <a:pt x="685" y="259"/>
                          <a:pt x="686" y="259"/>
                        </a:cubicBezTo>
                        <a:cubicBezTo>
                          <a:pt x="688" y="260"/>
                          <a:pt x="689" y="261"/>
                          <a:pt x="690" y="261"/>
                        </a:cubicBezTo>
                        <a:cubicBezTo>
                          <a:pt x="691" y="261"/>
                          <a:pt x="691" y="261"/>
                          <a:pt x="692" y="261"/>
                        </a:cubicBezTo>
                        <a:cubicBezTo>
                          <a:pt x="689" y="254"/>
                          <a:pt x="680" y="239"/>
                          <a:pt x="671" y="236"/>
                        </a:cubicBezTo>
                        <a:cubicBezTo>
                          <a:pt x="655" y="232"/>
                          <a:pt x="657" y="228"/>
                          <a:pt x="658" y="223"/>
                        </a:cubicBezTo>
                        <a:cubicBezTo>
                          <a:pt x="658" y="222"/>
                          <a:pt x="658" y="222"/>
                          <a:pt x="658" y="222"/>
                        </a:cubicBezTo>
                        <a:cubicBezTo>
                          <a:pt x="658" y="218"/>
                          <a:pt x="664" y="209"/>
                          <a:pt x="668" y="201"/>
                        </a:cubicBezTo>
                        <a:cubicBezTo>
                          <a:pt x="671" y="195"/>
                          <a:pt x="674" y="191"/>
                          <a:pt x="675" y="189"/>
                        </a:cubicBezTo>
                        <a:cubicBezTo>
                          <a:pt x="675" y="187"/>
                          <a:pt x="676" y="185"/>
                          <a:pt x="677" y="183"/>
                        </a:cubicBezTo>
                        <a:cubicBezTo>
                          <a:pt x="681" y="177"/>
                          <a:pt x="685" y="168"/>
                          <a:pt x="683" y="165"/>
                        </a:cubicBezTo>
                        <a:cubicBezTo>
                          <a:pt x="680" y="162"/>
                          <a:pt x="669" y="155"/>
                          <a:pt x="658" y="149"/>
                        </a:cubicBezTo>
                        <a:cubicBezTo>
                          <a:pt x="651" y="145"/>
                          <a:pt x="643" y="141"/>
                          <a:pt x="640" y="141"/>
                        </a:cubicBezTo>
                        <a:cubicBezTo>
                          <a:pt x="636" y="142"/>
                          <a:pt x="634" y="143"/>
                          <a:pt x="631" y="144"/>
                        </a:cubicBezTo>
                        <a:cubicBezTo>
                          <a:pt x="628" y="145"/>
                          <a:pt x="625" y="147"/>
                          <a:pt x="619" y="147"/>
                        </a:cubicBezTo>
                        <a:cubicBezTo>
                          <a:pt x="614" y="147"/>
                          <a:pt x="609" y="146"/>
                          <a:pt x="604" y="144"/>
                        </a:cubicBezTo>
                        <a:cubicBezTo>
                          <a:pt x="599" y="143"/>
                          <a:pt x="595" y="142"/>
                          <a:pt x="590" y="141"/>
                        </a:cubicBezTo>
                        <a:cubicBezTo>
                          <a:pt x="585" y="140"/>
                          <a:pt x="581" y="144"/>
                          <a:pt x="578" y="147"/>
                        </a:cubicBezTo>
                        <a:cubicBezTo>
                          <a:pt x="574" y="150"/>
                          <a:pt x="571" y="153"/>
                          <a:pt x="566" y="153"/>
                        </a:cubicBezTo>
                        <a:cubicBezTo>
                          <a:pt x="563" y="153"/>
                          <a:pt x="560" y="153"/>
                          <a:pt x="556" y="153"/>
                        </a:cubicBezTo>
                        <a:cubicBezTo>
                          <a:pt x="548" y="154"/>
                          <a:pt x="538" y="155"/>
                          <a:pt x="528" y="154"/>
                        </a:cubicBezTo>
                        <a:cubicBezTo>
                          <a:pt x="514" y="153"/>
                          <a:pt x="510" y="143"/>
                          <a:pt x="506" y="133"/>
                        </a:cubicBezTo>
                        <a:cubicBezTo>
                          <a:pt x="505" y="131"/>
                          <a:pt x="504" y="129"/>
                          <a:pt x="503" y="127"/>
                        </a:cubicBezTo>
                        <a:cubicBezTo>
                          <a:pt x="500" y="121"/>
                          <a:pt x="496" y="120"/>
                          <a:pt x="493" y="119"/>
                        </a:cubicBezTo>
                        <a:cubicBezTo>
                          <a:pt x="490" y="118"/>
                          <a:pt x="489" y="118"/>
                          <a:pt x="487" y="117"/>
                        </a:cubicBezTo>
                        <a:cubicBezTo>
                          <a:pt x="485" y="115"/>
                          <a:pt x="485" y="112"/>
                          <a:pt x="484" y="109"/>
                        </a:cubicBezTo>
                        <a:cubicBezTo>
                          <a:pt x="483" y="104"/>
                          <a:pt x="481" y="95"/>
                          <a:pt x="473" y="86"/>
                        </a:cubicBezTo>
                        <a:cubicBezTo>
                          <a:pt x="466" y="78"/>
                          <a:pt x="462" y="77"/>
                          <a:pt x="457" y="76"/>
                        </a:cubicBezTo>
                        <a:cubicBezTo>
                          <a:pt x="451" y="75"/>
                          <a:pt x="446" y="73"/>
                          <a:pt x="438" y="67"/>
                        </a:cubicBezTo>
                        <a:cubicBezTo>
                          <a:pt x="426" y="58"/>
                          <a:pt x="428" y="54"/>
                          <a:pt x="430" y="48"/>
                        </a:cubicBezTo>
                        <a:cubicBezTo>
                          <a:pt x="430" y="47"/>
                          <a:pt x="431" y="45"/>
                          <a:pt x="430" y="42"/>
                        </a:cubicBezTo>
                        <a:cubicBezTo>
                          <a:pt x="428" y="37"/>
                          <a:pt x="425" y="32"/>
                          <a:pt x="421" y="28"/>
                        </a:cubicBezTo>
                        <a:cubicBezTo>
                          <a:pt x="416" y="23"/>
                          <a:pt x="410" y="18"/>
                          <a:pt x="403" y="13"/>
                        </a:cubicBezTo>
                        <a:cubicBezTo>
                          <a:pt x="395" y="9"/>
                          <a:pt x="389" y="8"/>
                          <a:pt x="384" y="8"/>
                        </a:cubicBezTo>
                        <a:cubicBezTo>
                          <a:pt x="378" y="7"/>
                          <a:pt x="372" y="7"/>
                          <a:pt x="363" y="3"/>
                        </a:cubicBezTo>
                        <a:cubicBezTo>
                          <a:pt x="362" y="2"/>
                          <a:pt x="360" y="1"/>
                          <a:pt x="358" y="0"/>
                        </a:cubicBezTo>
                        <a:cubicBezTo>
                          <a:pt x="358" y="4"/>
                          <a:pt x="358" y="9"/>
                          <a:pt x="359" y="14"/>
                        </a:cubicBezTo>
                        <a:cubicBezTo>
                          <a:pt x="360" y="19"/>
                          <a:pt x="362" y="25"/>
                          <a:pt x="365" y="30"/>
                        </a:cubicBezTo>
                        <a:cubicBezTo>
                          <a:pt x="369" y="37"/>
                          <a:pt x="372" y="43"/>
                          <a:pt x="373" y="49"/>
                        </a:cubicBezTo>
                        <a:cubicBezTo>
                          <a:pt x="374" y="55"/>
                          <a:pt x="373" y="60"/>
                          <a:pt x="370" y="66"/>
                        </a:cubicBezTo>
                        <a:cubicBezTo>
                          <a:pt x="368" y="72"/>
                          <a:pt x="354" y="92"/>
                          <a:pt x="339" y="110"/>
                        </a:cubicBezTo>
                        <a:cubicBezTo>
                          <a:pt x="329" y="123"/>
                          <a:pt x="319" y="135"/>
                          <a:pt x="311" y="141"/>
                        </a:cubicBezTo>
                        <a:cubicBezTo>
                          <a:pt x="295" y="155"/>
                          <a:pt x="286" y="158"/>
                          <a:pt x="265" y="166"/>
                        </a:cubicBezTo>
                        <a:cubicBezTo>
                          <a:pt x="263" y="166"/>
                          <a:pt x="262" y="167"/>
                          <a:pt x="257" y="168"/>
                        </a:cubicBezTo>
                        <a:cubicBezTo>
                          <a:pt x="249" y="172"/>
                          <a:pt x="242" y="173"/>
                          <a:pt x="237" y="175"/>
                        </a:cubicBezTo>
                        <a:cubicBezTo>
                          <a:pt x="227" y="178"/>
                          <a:pt x="221" y="180"/>
                          <a:pt x="209" y="188"/>
                        </a:cubicBezTo>
                        <a:cubicBezTo>
                          <a:pt x="209" y="188"/>
                          <a:pt x="209" y="188"/>
                          <a:pt x="209" y="188"/>
                        </a:cubicBezTo>
                        <a:cubicBezTo>
                          <a:pt x="192" y="199"/>
                          <a:pt x="184" y="220"/>
                          <a:pt x="179" y="231"/>
                        </a:cubicBezTo>
                        <a:cubicBezTo>
                          <a:pt x="179" y="233"/>
                          <a:pt x="179" y="233"/>
                          <a:pt x="179" y="233"/>
                        </a:cubicBezTo>
                        <a:cubicBezTo>
                          <a:pt x="179" y="233"/>
                          <a:pt x="179" y="233"/>
                          <a:pt x="179" y="233"/>
                        </a:cubicBezTo>
                        <a:cubicBezTo>
                          <a:pt x="177" y="238"/>
                          <a:pt x="173" y="248"/>
                          <a:pt x="170" y="257"/>
                        </a:cubicBezTo>
                        <a:cubicBezTo>
                          <a:pt x="167" y="267"/>
                          <a:pt x="164" y="276"/>
                          <a:pt x="162" y="281"/>
                        </a:cubicBezTo>
                        <a:cubicBezTo>
                          <a:pt x="160" y="287"/>
                          <a:pt x="153" y="293"/>
                          <a:pt x="146" y="297"/>
                        </a:cubicBezTo>
                        <a:cubicBezTo>
                          <a:pt x="139" y="301"/>
                          <a:pt x="131" y="303"/>
                          <a:pt x="125" y="302"/>
                        </a:cubicBezTo>
                        <a:cubicBezTo>
                          <a:pt x="116" y="300"/>
                          <a:pt x="113" y="294"/>
                          <a:pt x="109" y="288"/>
                        </a:cubicBezTo>
                        <a:cubicBezTo>
                          <a:pt x="108" y="285"/>
                          <a:pt x="106" y="283"/>
                          <a:pt x="104" y="280"/>
                        </a:cubicBezTo>
                        <a:cubicBezTo>
                          <a:pt x="101" y="276"/>
                          <a:pt x="99" y="274"/>
                          <a:pt x="95" y="272"/>
                        </a:cubicBezTo>
                        <a:cubicBezTo>
                          <a:pt x="91" y="270"/>
                          <a:pt x="86" y="270"/>
                          <a:pt x="78" y="271"/>
                        </a:cubicBezTo>
                        <a:cubicBezTo>
                          <a:pt x="78" y="271"/>
                          <a:pt x="78" y="271"/>
                          <a:pt x="78" y="271"/>
                        </a:cubicBezTo>
                        <a:cubicBezTo>
                          <a:pt x="73" y="272"/>
                          <a:pt x="73" y="272"/>
                          <a:pt x="73" y="272"/>
                        </a:cubicBezTo>
                        <a:cubicBezTo>
                          <a:pt x="59" y="275"/>
                          <a:pt x="57" y="275"/>
                          <a:pt x="50" y="269"/>
                        </a:cubicBezTo>
                        <a:cubicBezTo>
                          <a:pt x="46" y="266"/>
                          <a:pt x="45" y="262"/>
                          <a:pt x="45" y="257"/>
                        </a:cubicBezTo>
                        <a:cubicBezTo>
                          <a:pt x="45" y="253"/>
                          <a:pt x="47" y="248"/>
                          <a:pt x="49" y="243"/>
                        </a:cubicBezTo>
                        <a:cubicBezTo>
                          <a:pt x="52" y="237"/>
                          <a:pt x="56" y="235"/>
                          <a:pt x="61" y="233"/>
                        </a:cubicBezTo>
                        <a:cubicBezTo>
                          <a:pt x="63" y="232"/>
                          <a:pt x="65" y="231"/>
                          <a:pt x="65" y="229"/>
                        </a:cubicBezTo>
                        <a:cubicBezTo>
                          <a:pt x="64" y="224"/>
                          <a:pt x="62" y="215"/>
                          <a:pt x="59" y="206"/>
                        </a:cubicBezTo>
                        <a:cubicBezTo>
                          <a:pt x="51" y="210"/>
                          <a:pt x="45" y="217"/>
                          <a:pt x="38" y="224"/>
                        </a:cubicBezTo>
                        <a:cubicBezTo>
                          <a:pt x="30" y="232"/>
                          <a:pt x="29" y="232"/>
                          <a:pt x="23" y="237"/>
                        </a:cubicBezTo>
                        <a:cubicBezTo>
                          <a:pt x="17" y="242"/>
                          <a:pt x="15" y="247"/>
                          <a:pt x="11" y="252"/>
                        </a:cubicBezTo>
                        <a:cubicBezTo>
                          <a:pt x="7" y="257"/>
                          <a:pt x="3" y="259"/>
                          <a:pt x="2" y="265"/>
                        </a:cubicBezTo>
                        <a:cubicBezTo>
                          <a:pt x="1" y="271"/>
                          <a:pt x="1" y="281"/>
                          <a:pt x="1" y="287"/>
                        </a:cubicBezTo>
                        <a:cubicBezTo>
                          <a:pt x="1" y="293"/>
                          <a:pt x="2" y="296"/>
                          <a:pt x="6" y="306"/>
                        </a:cubicBezTo>
                        <a:cubicBezTo>
                          <a:pt x="10" y="316"/>
                          <a:pt x="18" y="334"/>
                          <a:pt x="21" y="340"/>
                        </a:cubicBezTo>
                        <a:cubicBezTo>
                          <a:pt x="24" y="347"/>
                          <a:pt x="23" y="352"/>
                          <a:pt x="21" y="359"/>
                        </a:cubicBezTo>
                        <a:cubicBezTo>
                          <a:pt x="18" y="366"/>
                          <a:pt x="0" y="372"/>
                          <a:pt x="22" y="380"/>
                        </a:cubicBezTo>
                        <a:cubicBezTo>
                          <a:pt x="44" y="389"/>
                          <a:pt x="63" y="401"/>
                          <a:pt x="70" y="406"/>
                        </a:cubicBezTo>
                        <a:cubicBezTo>
                          <a:pt x="76" y="411"/>
                          <a:pt x="91" y="425"/>
                          <a:pt x="99" y="438"/>
                        </a:cubicBezTo>
                        <a:cubicBezTo>
                          <a:pt x="108" y="452"/>
                          <a:pt x="105" y="455"/>
                          <a:pt x="121" y="482"/>
                        </a:cubicBezTo>
                        <a:cubicBezTo>
                          <a:pt x="137" y="508"/>
                          <a:pt x="150" y="517"/>
                          <a:pt x="154" y="529"/>
                        </a:cubicBezTo>
                        <a:cubicBezTo>
                          <a:pt x="159" y="540"/>
                          <a:pt x="159" y="549"/>
                          <a:pt x="172" y="570"/>
                        </a:cubicBezTo>
                        <a:cubicBezTo>
                          <a:pt x="186" y="592"/>
                          <a:pt x="182" y="591"/>
                          <a:pt x="192" y="609"/>
                        </a:cubicBezTo>
                        <a:cubicBezTo>
                          <a:pt x="201" y="628"/>
                          <a:pt x="205" y="641"/>
                          <a:pt x="207" y="650"/>
                        </a:cubicBezTo>
                        <a:cubicBezTo>
                          <a:pt x="210" y="659"/>
                          <a:pt x="217" y="662"/>
                          <a:pt x="224" y="673"/>
                        </a:cubicBezTo>
                        <a:cubicBezTo>
                          <a:pt x="231" y="683"/>
                          <a:pt x="224" y="690"/>
                          <a:pt x="229" y="697"/>
                        </a:cubicBezTo>
                        <a:cubicBezTo>
                          <a:pt x="235" y="705"/>
                          <a:pt x="252" y="721"/>
                          <a:pt x="256" y="727"/>
                        </a:cubicBezTo>
                        <a:cubicBezTo>
                          <a:pt x="259" y="733"/>
                          <a:pt x="258" y="735"/>
                          <a:pt x="266" y="755"/>
                        </a:cubicBezTo>
                        <a:cubicBezTo>
                          <a:pt x="274" y="776"/>
                          <a:pt x="280" y="778"/>
                          <a:pt x="291" y="793"/>
                        </a:cubicBezTo>
                        <a:cubicBezTo>
                          <a:pt x="303" y="809"/>
                          <a:pt x="313" y="826"/>
                          <a:pt x="314" y="836"/>
                        </a:cubicBezTo>
                        <a:cubicBezTo>
                          <a:pt x="316" y="847"/>
                          <a:pt x="307" y="852"/>
                          <a:pt x="307" y="860"/>
                        </a:cubicBezTo>
                        <a:cubicBezTo>
                          <a:pt x="307" y="869"/>
                          <a:pt x="307" y="867"/>
                          <a:pt x="316" y="877"/>
                        </a:cubicBezTo>
                        <a:cubicBezTo>
                          <a:pt x="325" y="887"/>
                          <a:pt x="324" y="889"/>
                          <a:pt x="331" y="905"/>
                        </a:cubicBezTo>
                        <a:cubicBezTo>
                          <a:pt x="338" y="922"/>
                          <a:pt x="335" y="913"/>
                          <a:pt x="347" y="920"/>
                        </a:cubicBezTo>
                        <a:cubicBezTo>
                          <a:pt x="359" y="927"/>
                          <a:pt x="364" y="934"/>
                          <a:pt x="369" y="943"/>
                        </a:cubicBezTo>
                        <a:cubicBezTo>
                          <a:pt x="373" y="952"/>
                          <a:pt x="380" y="960"/>
                          <a:pt x="388" y="963"/>
                        </a:cubicBezTo>
                        <a:cubicBezTo>
                          <a:pt x="396" y="966"/>
                          <a:pt x="411" y="974"/>
                          <a:pt x="424" y="981"/>
                        </a:cubicBezTo>
                        <a:cubicBezTo>
                          <a:pt x="438" y="988"/>
                          <a:pt x="459" y="999"/>
                          <a:pt x="471" y="1005"/>
                        </a:cubicBezTo>
                        <a:cubicBezTo>
                          <a:pt x="482" y="1011"/>
                          <a:pt x="492" y="1018"/>
                          <a:pt x="495" y="1023"/>
                        </a:cubicBezTo>
                        <a:cubicBezTo>
                          <a:pt x="498" y="1027"/>
                          <a:pt x="526" y="1031"/>
                          <a:pt x="539" y="1038"/>
                        </a:cubicBezTo>
                        <a:cubicBezTo>
                          <a:pt x="553" y="1044"/>
                          <a:pt x="559" y="1049"/>
                          <a:pt x="569" y="1054"/>
                        </a:cubicBezTo>
                        <a:cubicBezTo>
                          <a:pt x="580" y="1059"/>
                          <a:pt x="601" y="1069"/>
                          <a:pt x="606" y="1075"/>
                        </a:cubicBezTo>
                        <a:cubicBezTo>
                          <a:pt x="610" y="1080"/>
                          <a:pt x="608" y="1089"/>
                          <a:pt x="613" y="1100"/>
                        </a:cubicBezTo>
                        <a:cubicBezTo>
                          <a:pt x="619" y="1110"/>
                          <a:pt x="621" y="1103"/>
                          <a:pt x="631" y="1113"/>
                        </a:cubicBezTo>
                        <a:cubicBezTo>
                          <a:pt x="641" y="1123"/>
                          <a:pt x="662" y="1135"/>
                          <a:pt x="669" y="1142"/>
                        </a:cubicBezTo>
                        <a:cubicBezTo>
                          <a:pt x="670" y="1142"/>
                          <a:pt x="670" y="1143"/>
                          <a:pt x="670" y="1143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56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2737360" y="4622694"/>
                    <a:ext cx="286941" cy="111919"/>
                  </a:xfrm>
                  <a:custGeom>
                    <a:avLst/>
                    <a:gdLst>
                      <a:gd name="T0" fmla="*/ 730 w 1002"/>
                      <a:gd name="T1" fmla="*/ 268 h 391"/>
                      <a:gd name="T2" fmla="*/ 733 w 1002"/>
                      <a:gd name="T3" fmla="*/ 218 h 391"/>
                      <a:gd name="T4" fmla="*/ 724 w 1002"/>
                      <a:gd name="T5" fmla="*/ 245 h 391"/>
                      <a:gd name="T6" fmla="*/ 703 w 1002"/>
                      <a:gd name="T7" fmla="*/ 252 h 391"/>
                      <a:gd name="T8" fmla="*/ 668 w 1002"/>
                      <a:gd name="T9" fmla="*/ 238 h 391"/>
                      <a:gd name="T10" fmla="*/ 669 w 1002"/>
                      <a:gd name="T11" fmla="*/ 201 h 391"/>
                      <a:gd name="T12" fmla="*/ 666 w 1002"/>
                      <a:gd name="T13" fmla="*/ 158 h 391"/>
                      <a:gd name="T14" fmla="*/ 685 w 1002"/>
                      <a:gd name="T15" fmla="*/ 141 h 391"/>
                      <a:gd name="T16" fmla="*/ 692 w 1002"/>
                      <a:gd name="T17" fmla="*/ 114 h 391"/>
                      <a:gd name="T18" fmla="*/ 715 w 1002"/>
                      <a:gd name="T19" fmla="*/ 51 h 391"/>
                      <a:gd name="T20" fmla="*/ 743 w 1002"/>
                      <a:gd name="T21" fmla="*/ 34 h 391"/>
                      <a:gd name="T22" fmla="*/ 780 w 1002"/>
                      <a:gd name="T23" fmla="*/ 18 h 391"/>
                      <a:gd name="T24" fmla="*/ 790 w 1002"/>
                      <a:gd name="T25" fmla="*/ 8 h 391"/>
                      <a:gd name="T26" fmla="*/ 858 w 1002"/>
                      <a:gd name="T27" fmla="*/ 46 h 391"/>
                      <a:gd name="T28" fmla="*/ 876 w 1002"/>
                      <a:gd name="T29" fmla="*/ 71 h 391"/>
                      <a:gd name="T30" fmla="*/ 930 w 1002"/>
                      <a:gd name="T31" fmla="*/ 75 h 391"/>
                      <a:gd name="T32" fmla="*/ 987 w 1002"/>
                      <a:gd name="T33" fmla="*/ 92 h 391"/>
                      <a:gd name="T34" fmla="*/ 1001 w 1002"/>
                      <a:gd name="T35" fmla="*/ 146 h 391"/>
                      <a:gd name="T36" fmla="*/ 942 w 1002"/>
                      <a:gd name="T37" fmla="*/ 231 h 391"/>
                      <a:gd name="T38" fmla="*/ 871 w 1002"/>
                      <a:gd name="T39" fmla="*/ 263 h 391"/>
                      <a:gd name="T40" fmla="*/ 808 w 1002"/>
                      <a:gd name="T41" fmla="*/ 324 h 391"/>
                      <a:gd name="T42" fmla="*/ 799 w 1002"/>
                      <a:gd name="T43" fmla="*/ 351 h 391"/>
                      <a:gd name="T44" fmla="*/ 762 w 1002"/>
                      <a:gd name="T45" fmla="*/ 390 h 391"/>
                      <a:gd name="T46" fmla="*/ 734 w 1002"/>
                      <a:gd name="T47" fmla="*/ 361 h 391"/>
                      <a:gd name="T48" fmla="*/ 708 w 1002"/>
                      <a:gd name="T49" fmla="*/ 360 h 391"/>
                      <a:gd name="T50" fmla="*/ 692 w 1002"/>
                      <a:gd name="T51" fmla="*/ 342 h 391"/>
                      <a:gd name="T52" fmla="*/ 702 w 1002"/>
                      <a:gd name="T53" fmla="*/ 299 h 391"/>
                      <a:gd name="T54" fmla="*/ 36 w 1002"/>
                      <a:gd name="T55" fmla="*/ 117 h 391"/>
                      <a:gd name="T56" fmla="*/ 26 w 1002"/>
                      <a:gd name="T57" fmla="*/ 156 h 391"/>
                      <a:gd name="T58" fmla="*/ 26 w 1002"/>
                      <a:gd name="T59" fmla="*/ 124 h 391"/>
                      <a:gd name="T60" fmla="*/ 13 w 1002"/>
                      <a:gd name="T61" fmla="*/ 86 h 391"/>
                      <a:gd name="T62" fmla="*/ 8 w 1002"/>
                      <a:gd name="T63" fmla="*/ 116 h 391"/>
                      <a:gd name="T64" fmla="*/ 49 w 1002"/>
                      <a:gd name="T65" fmla="*/ 111 h 391"/>
                      <a:gd name="T66" fmla="*/ 74 w 1002"/>
                      <a:gd name="T67" fmla="*/ 124 h 391"/>
                      <a:gd name="T68" fmla="*/ 82 w 1002"/>
                      <a:gd name="T69" fmla="*/ 130 h 391"/>
                      <a:gd name="T70" fmla="*/ 127 w 1002"/>
                      <a:gd name="T71" fmla="*/ 144 h 391"/>
                      <a:gd name="T72" fmla="*/ 146 w 1002"/>
                      <a:gd name="T73" fmla="*/ 136 h 391"/>
                      <a:gd name="T74" fmla="*/ 69 w 1002"/>
                      <a:gd name="T75" fmla="*/ 176 h 391"/>
                      <a:gd name="T76" fmla="*/ 119 w 1002"/>
                      <a:gd name="T77" fmla="*/ 175 h 391"/>
                      <a:gd name="T78" fmla="*/ 119 w 1002"/>
                      <a:gd name="T79" fmla="*/ 175 h 391"/>
                      <a:gd name="T80" fmla="*/ 69 w 1002"/>
                      <a:gd name="T81" fmla="*/ 73 h 391"/>
                      <a:gd name="T82" fmla="*/ 47 w 1002"/>
                      <a:gd name="T83" fmla="*/ 52 h 391"/>
                      <a:gd name="T84" fmla="*/ 47 w 1002"/>
                      <a:gd name="T85" fmla="*/ 52 h 3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1002" h="391">
                        <a:moveTo>
                          <a:pt x="702" y="299"/>
                        </a:moveTo>
                        <a:cubicBezTo>
                          <a:pt x="707" y="297"/>
                          <a:pt x="711" y="295"/>
                          <a:pt x="716" y="291"/>
                        </a:cubicBezTo>
                        <a:cubicBezTo>
                          <a:pt x="722" y="285"/>
                          <a:pt x="729" y="278"/>
                          <a:pt x="730" y="268"/>
                        </a:cubicBezTo>
                        <a:cubicBezTo>
                          <a:pt x="731" y="258"/>
                          <a:pt x="735" y="256"/>
                          <a:pt x="736" y="250"/>
                        </a:cubicBezTo>
                        <a:cubicBezTo>
                          <a:pt x="736" y="245"/>
                          <a:pt x="733" y="244"/>
                          <a:pt x="733" y="237"/>
                        </a:cubicBezTo>
                        <a:cubicBezTo>
                          <a:pt x="733" y="229"/>
                          <a:pt x="734" y="221"/>
                          <a:pt x="733" y="218"/>
                        </a:cubicBezTo>
                        <a:cubicBezTo>
                          <a:pt x="732" y="215"/>
                          <a:pt x="729" y="214"/>
                          <a:pt x="727" y="218"/>
                        </a:cubicBezTo>
                        <a:cubicBezTo>
                          <a:pt x="725" y="222"/>
                          <a:pt x="724" y="224"/>
                          <a:pt x="724" y="232"/>
                        </a:cubicBezTo>
                        <a:cubicBezTo>
                          <a:pt x="724" y="240"/>
                          <a:pt x="727" y="245"/>
                          <a:pt x="724" y="245"/>
                        </a:cubicBezTo>
                        <a:cubicBezTo>
                          <a:pt x="720" y="246"/>
                          <a:pt x="716" y="241"/>
                          <a:pt x="715" y="240"/>
                        </a:cubicBezTo>
                        <a:cubicBezTo>
                          <a:pt x="715" y="238"/>
                          <a:pt x="713" y="237"/>
                          <a:pt x="709" y="241"/>
                        </a:cubicBezTo>
                        <a:cubicBezTo>
                          <a:pt x="705" y="245"/>
                          <a:pt x="705" y="248"/>
                          <a:pt x="703" y="252"/>
                        </a:cubicBezTo>
                        <a:cubicBezTo>
                          <a:pt x="701" y="255"/>
                          <a:pt x="705" y="258"/>
                          <a:pt x="697" y="255"/>
                        </a:cubicBezTo>
                        <a:cubicBezTo>
                          <a:pt x="688" y="253"/>
                          <a:pt x="680" y="248"/>
                          <a:pt x="677" y="245"/>
                        </a:cubicBezTo>
                        <a:cubicBezTo>
                          <a:pt x="674" y="241"/>
                          <a:pt x="672" y="242"/>
                          <a:pt x="668" y="238"/>
                        </a:cubicBezTo>
                        <a:cubicBezTo>
                          <a:pt x="663" y="234"/>
                          <a:pt x="656" y="234"/>
                          <a:pt x="659" y="227"/>
                        </a:cubicBezTo>
                        <a:cubicBezTo>
                          <a:pt x="662" y="220"/>
                          <a:pt x="668" y="224"/>
                          <a:pt x="668" y="220"/>
                        </a:cubicBezTo>
                        <a:cubicBezTo>
                          <a:pt x="669" y="216"/>
                          <a:pt x="669" y="201"/>
                          <a:pt x="669" y="201"/>
                        </a:cubicBezTo>
                        <a:cubicBezTo>
                          <a:pt x="669" y="201"/>
                          <a:pt x="666" y="188"/>
                          <a:pt x="666" y="182"/>
                        </a:cubicBezTo>
                        <a:cubicBezTo>
                          <a:pt x="666" y="176"/>
                          <a:pt x="669" y="172"/>
                          <a:pt x="669" y="168"/>
                        </a:cubicBezTo>
                        <a:cubicBezTo>
                          <a:pt x="668" y="163"/>
                          <a:pt x="667" y="162"/>
                          <a:pt x="666" y="158"/>
                        </a:cubicBezTo>
                        <a:cubicBezTo>
                          <a:pt x="665" y="154"/>
                          <a:pt x="668" y="151"/>
                          <a:pt x="669" y="150"/>
                        </a:cubicBezTo>
                        <a:cubicBezTo>
                          <a:pt x="671" y="148"/>
                          <a:pt x="673" y="147"/>
                          <a:pt x="676" y="145"/>
                        </a:cubicBezTo>
                        <a:cubicBezTo>
                          <a:pt x="680" y="144"/>
                          <a:pt x="682" y="145"/>
                          <a:pt x="685" y="141"/>
                        </a:cubicBezTo>
                        <a:cubicBezTo>
                          <a:pt x="688" y="136"/>
                          <a:pt x="690" y="135"/>
                          <a:pt x="694" y="133"/>
                        </a:cubicBezTo>
                        <a:cubicBezTo>
                          <a:pt x="697" y="131"/>
                          <a:pt x="696" y="127"/>
                          <a:pt x="695" y="124"/>
                        </a:cubicBezTo>
                        <a:cubicBezTo>
                          <a:pt x="694" y="121"/>
                          <a:pt x="690" y="119"/>
                          <a:pt x="692" y="114"/>
                        </a:cubicBezTo>
                        <a:cubicBezTo>
                          <a:pt x="693" y="109"/>
                          <a:pt x="696" y="105"/>
                          <a:pt x="702" y="99"/>
                        </a:cubicBezTo>
                        <a:cubicBezTo>
                          <a:pt x="709" y="94"/>
                          <a:pt x="716" y="94"/>
                          <a:pt x="715" y="79"/>
                        </a:cubicBezTo>
                        <a:cubicBezTo>
                          <a:pt x="715" y="65"/>
                          <a:pt x="715" y="56"/>
                          <a:pt x="715" y="51"/>
                        </a:cubicBezTo>
                        <a:cubicBezTo>
                          <a:pt x="715" y="45"/>
                          <a:pt x="716" y="44"/>
                          <a:pt x="719" y="43"/>
                        </a:cubicBezTo>
                        <a:cubicBezTo>
                          <a:pt x="723" y="43"/>
                          <a:pt x="729" y="45"/>
                          <a:pt x="734" y="42"/>
                        </a:cubicBezTo>
                        <a:cubicBezTo>
                          <a:pt x="740" y="39"/>
                          <a:pt x="740" y="36"/>
                          <a:pt x="743" y="34"/>
                        </a:cubicBezTo>
                        <a:cubicBezTo>
                          <a:pt x="746" y="31"/>
                          <a:pt x="746" y="30"/>
                          <a:pt x="753" y="30"/>
                        </a:cubicBezTo>
                        <a:cubicBezTo>
                          <a:pt x="761" y="29"/>
                          <a:pt x="766" y="31"/>
                          <a:pt x="770" y="27"/>
                        </a:cubicBezTo>
                        <a:cubicBezTo>
                          <a:pt x="775" y="24"/>
                          <a:pt x="778" y="27"/>
                          <a:pt x="780" y="18"/>
                        </a:cubicBezTo>
                        <a:cubicBezTo>
                          <a:pt x="781" y="10"/>
                          <a:pt x="780" y="7"/>
                          <a:pt x="781" y="1"/>
                        </a:cubicBezTo>
                        <a:cubicBezTo>
                          <a:pt x="781" y="1"/>
                          <a:pt x="781" y="0"/>
                          <a:pt x="781" y="0"/>
                        </a:cubicBezTo>
                        <a:cubicBezTo>
                          <a:pt x="784" y="3"/>
                          <a:pt x="787" y="5"/>
                          <a:pt x="790" y="8"/>
                        </a:cubicBezTo>
                        <a:cubicBezTo>
                          <a:pt x="798" y="14"/>
                          <a:pt x="806" y="22"/>
                          <a:pt x="816" y="29"/>
                        </a:cubicBezTo>
                        <a:cubicBezTo>
                          <a:pt x="830" y="38"/>
                          <a:pt x="840" y="41"/>
                          <a:pt x="848" y="43"/>
                        </a:cubicBezTo>
                        <a:cubicBezTo>
                          <a:pt x="852" y="44"/>
                          <a:pt x="855" y="44"/>
                          <a:pt x="858" y="46"/>
                        </a:cubicBezTo>
                        <a:cubicBezTo>
                          <a:pt x="860" y="48"/>
                          <a:pt x="861" y="51"/>
                          <a:pt x="863" y="54"/>
                        </a:cubicBezTo>
                        <a:cubicBezTo>
                          <a:pt x="863" y="54"/>
                          <a:pt x="863" y="54"/>
                          <a:pt x="863" y="54"/>
                        </a:cubicBezTo>
                        <a:cubicBezTo>
                          <a:pt x="865" y="60"/>
                          <a:pt x="867" y="67"/>
                          <a:pt x="876" y="71"/>
                        </a:cubicBezTo>
                        <a:cubicBezTo>
                          <a:pt x="882" y="74"/>
                          <a:pt x="891" y="77"/>
                          <a:pt x="899" y="78"/>
                        </a:cubicBezTo>
                        <a:cubicBezTo>
                          <a:pt x="908" y="79"/>
                          <a:pt x="917" y="79"/>
                          <a:pt x="923" y="77"/>
                        </a:cubicBezTo>
                        <a:cubicBezTo>
                          <a:pt x="925" y="77"/>
                          <a:pt x="928" y="76"/>
                          <a:pt x="930" y="75"/>
                        </a:cubicBezTo>
                        <a:cubicBezTo>
                          <a:pt x="935" y="72"/>
                          <a:pt x="941" y="69"/>
                          <a:pt x="955" y="76"/>
                        </a:cubicBezTo>
                        <a:cubicBezTo>
                          <a:pt x="967" y="82"/>
                          <a:pt x="975" y="86"/>
                          <a:pt x="983" y="90"/>
                        </a:cubicBezTo>
                        <a:cubicBezTo>
                          <a:pt x="987" y="92"/>
                          <a:pt x="987" y="92"/>
                          <a:pt x="987" y="92"/>
                        </a:cubicBezTo>
                        <a:cubicBezTo>
                          <a:pt x="986" y="98"/>
                          <a:pt x="986" y="104"/>
                          <a:pt x="987" y="111"/>
                        </a:cubicBezTo>
                        <a:cubicBezTo>
                          <a:pt x="988" y="118"/>
                          <a:pt x="990" y="124"/>
                          <a:pt x="994" y="131"/>
                        </a:cubicBezTo>
                        <a:cubicBezTo>
                          <a:pt x="998" y="137"/>
                          <a:pt x="1000" y="142"/>
                          <a:pt x="1001" y="146"/>
                        </a:cubicBezTo>
                        <a:cubicBezTo>
                          <a:pt x="1002" y="151"/>
                          <a:pt x="1001" y="154"/>
                          <a:pt x="999" y="158"/>
                        </a:cubicBezTo>
                        <a:cubicBezTo>
                          <a:pt x="997" y="164"/>
                          <a:pt x="983" y="183"/>
                          <a:pt x="969" y="201"/>
                        </a:cubicBezTo>
                        <a:cubicBezTo>
                          <a:pt x="959" y="214"/>
                          <a:pt x="949" y="225"/>
                          <a:pt x="942" y="231"/>
                        </a:cubicBezTo>
                        <a:cubicBezTo>
                          <a:pt x="927" y="244"/>
                          <a:pt x="918" y="247"/>
                          <a:pt x="898" y="254"/>
                        </a:cubicBezTo>
                        <a:cubicBezTo>
                          <a:pt x="895" y="255"/>
                          <a:pt x="892" y="256"/>
                          <a:pt x="890" y="257"/>
                        </a:cubicBezTo>
                        <a:cubicBezTo>
                          <a:pt x="882" y="260"/>
                          <a:pt x="876" y="262"/>
                          <a:pt x="871" y="263"/>
                        </a:cubicBezTo>
                        <a:cubicBezTo>
                          <a:pt x="860" y="267"/>
                          <a:pt x="854" y="269"/>
                          <a:pt x="841" y="277"/>
                        </a:cubicBezTo>
                        <a:cubicBezTo>
                          <a:pt x="841" y="277"/>
                          <a:pt x="841" y="277"/>
                          <a:pt x="841" y="277"/>
                        </a:cubicBezTo>
                        <a:cubicBezTo>
                          <a:pt x="822" y="290"/>
                          <a:pt x="813" y="312"/>
                          <a:pt x="808" y="324"/>
                        </a:cubicBezTo>
                        <a:cubicBezTo>
                          <a:pt x="807" y="326"/>
                          <a:pt x="807" y="326"/>
                          <a:pt x="807" y="326"/>
                        </a:cubicBezTo>
                        <a:cubicBezTo>
                          <a:pt x="807" y="326"/>
                          <a:pt x="807" y="326"/>
                          <a:pt x="807" y="326"/>
                        </a:cubicBezTo>
                        <a:cubicBezTo>
                          <a:pt x="805" y="332"/>
                          <a:pt x="802" y="341"/>
                          <a:pt x="799" y="351"/>
                        </a:cubicBezTo>
                        <a:cubicBezTo>
                          <a:pt x="796" y="360"/>
                          <a:pt x="792" y="370"/>
                          <a:pt x="791" y="374"/>
                        </a:cubicBezTo>
                        <a:cubicBezTo>
                          <a:pt x="789" y="378"/>
                          <a:pt x="784" y="383"/>
                          <a:pt x="778" y="386"/>
                        </a:cubicBezTo>
                        <a:cubicBezTo>
                          <a:pt x="773" y="389"/>
                          <a:pt x="767" y="391"/>
                          <a:pt x="762" y="390"/>
                        </a:cubicBezTo>
                        <a:cubicBezTo>
                          <a:pt x="757" y="389"/>
                          <a:pt x="755" y="385"/>
                          <a:pt x="752" y="380"/>
                        </a:cubicBezTo>
                        <a:cubicBezTo>
                          <a:pt x="750" y="377"/>
                          <a:pt x="749" y="374"/>
                          <a:pt x="747" y="371"/>
                        </a:cubicBezTo>
                        <a:cubicBezTo>
                          <a:pt x="743" y="367"/>
                          <a:pt x="739" y="363"/>
                          <a:pt x="734" y="361"/>
                        </a:cubicBezTo>
                        <a:cubicBezTo>
                          <a:pt x="728" y="358"/>
                          <a:pt x="722" y="358"/>
                          <a:pt x="712" y="360"/>
                        </a:cubicBezTo>
                        <a:cubicBezTo>
                          <a:pt x="712" y="360"/>
                          <a:pt x="712" y="360"/>
                          <a:pt x="712" y="360"/>
                        </a:cubicBezTo>
                        <a:cubicBezTo>
                          <a:pt x="708" y="360"/>
                          <a:pt x="708" y="360"/>
                          <a:pt x="708" y="360"/>
                        </a:cubicBezTo>
                        <a:cubicBezTo>
                          <a:pt x="697" y="362"/>
                          <a:pt x="696" y="362"/>
                          <a:pt x="692" y="359"/>
                        </a:cubicBezTo>
                        <a:cubicBezTo>
                          <a:pt x="690" y="358"/>
                          <a:pt x="689" y="356"/>
                          <a:pt x="689" y="353"/>
                        </a:cubicBezTo>
                        <a:cubicBezTo>
                          <a:pt x="689" y="350"/>
                          <a:pt x="691" y="347"/>
                          <a:pt x="692" y="342"/>
                        </a:cubicBezTo>
                        <a:cubicBezTo>
                          <a:pt x="694" y="339"/>
                          <a:pt x="697" y="337"/>
                          <a:pt x="700" y="336"/>
                        </a:cubicBezTo>
                        <a:cubicBezTo>
                          <a:pt x="705" y="334"/>
                          <a:pt x="710" y="332"/>
                          <a:pt x="709" y="324"/>
                        </a:cubicBezTo>
                        <a:cubicBezTo>
                          <a:pt x="708" y="319"/>
                          <a:pt x="705" y="308"/>
                          <a:pt x="702" y="299"/>
                        </a:cubicBezTo>
                        <a:close/>
                        <a:moveTo>
                          <a:pt x="13" y="86"/>
                        </a:moveTo>
                        <a:cubicBezTo>
                          <a:pt x="24" y="91"/>
                          <a:pt x="23" y="93"/>
                          <a:pt x="26" y="101"/>
                        </a:cubicBezTo>
                        <a:cubicBezTo>
                          <a:pt x="30" y="109"/>
                          <a:pt x="26" y="109"/>
                          <a:pt x="36" y="117"/>
                        </a:cubicBezTo>
                        <a:cubicBezTo>
                          <a:pt x="46" y="124"/>
                          <a:pt x="52" y="127"/>
                          <a:pt x="50" y="134"/>
                        </a:cubicBezTo>
                        <a:cubicBezTo>
                          <a:pt x="48" y="142"/>
                          <a:pt x="41" y="143"/>
                          <a:pt x="37" y="146"/>
                        </a:cubicBezTo>
                        <a:cubicBezTo>
                          <a:pt x="33" y="148"/>
                          <a:pt x="31" y="155"/>
                          <a:pt x="26" y="156"/>
                        </a:cubicBezTo>
                        <a:cubicBezTo>
                          <a:pt x="21" y="157"/>
                          <a:pt x="7" y="154"/>
                          <a:pt x="8" y="147"/>
                        </a:cubicBezTo>
                        <a:cubicBezTo>
                          <a:pt x="9" y="140"/>
                          <a:pt x="15" y="135"/>
                          <a:pt x="21" y="133"/>
                        </a:cubicBezTo>
                        <a:cubicBezTo>
                          <a:pt x="27" y="130"/>
                          <a:pt x="31" y="131"/>
                          <a:pt x="26" y="124"/>
                        </a:cubicBezTo>
                        <a:cubicBezTo>
                          <a:pt x="21" y="117"/>
                          <a:pt x="17" y="118"/>
                          <a:pt x="16" y="110"/>
                        </a:cubicBezTo>
                        <a:cubicBezTo>
                          <a:pt x="15" y="102"/>
                          <a:pt x="19" y="101"/>
                          <a:pt x="15" y="98"/>
                        </a:cubicBezTo>
                        <a:cubicBezTo>
                          <a:pt x="12" y="95"/>
                          <a:pt x="10" y="87"/>
                          <a:pt x="13" y="86"/>
                        </a:cubicBezTo>
                        <a:close/>
                        <a:moveTo>
                          <a:pt x="1" y="115"/>
                        </a:moveTo>
                        <a:cubicBezTo>
                          <a:pt x="0" y="118"/>
                          <a:pt x="1" y="120"/>
                          <a:pt x="4" y="120"/>
                        </a:cubicBezTo>
                        <a:cubicBezTo>
                          <a:pt x="8" y="120"/>
                          <a:pt x="10" y="118"/>
                          <a:pt x="8" y="116"/>
                        </a:cubicBezTo>
                        <a:cubicBezTo>
                          <a:pt x="6" y="113"/>
                          <a:pt x="1" y="110"/>
                          <a:pt x="1" y="115"/>
                        </a:cubicBezTo>
                        <a:close/>
                        <a:moveTo>
                          <a:pt x="52" y="105"/>
                        </a:moveTo>
                        <a:cubicBezTo>
                          <a:pt x="48" y="108"/>
                          <a:pt x="45" y="110"/>
                          <a:pt x="49" y="111"/>
                        </a:cubicBezTo>
                        <a:cubicBezTo>
                          <a:pt x="54" y="113"/>
                          <a:pt x="59" y="117"/>
                          <a:pt x="60" y="112"/>
                        </a:cubicBezTo>
                        <a:cubicBezTo>
                          <a:pt x="61" y="107"/>
                          <a:pt x="56" y="103"/>
                          <a:pt x="52" y="105"/>
                        </a:cubicBezTo>
                        <a:close/>
                        <a:moveTo>
                          <a:pt x="74" y="124"/>
                        </a:moveTo>
                        <a:cubicBezTo>
                          <a:pt x="70" y="126"/>
                          <a:pt x="69" y="127"/>
                          <a:pt x="69" y="132"/>
                        </a:cubicBezTo>
                        <a:cubicBezTo>
                          <a:pt x="70" y="137"/>
                          <a:pt x="71" y="141"/>
                          <a:pt x="75" y="138"/>
                        </a:cubicBezTo>
                        <a:cubicBezTo>
                          <a:pt x="79" y="136"/>
                          <a:pt x="79" y="134"/>
                          <a:pt x="82" y="130"/>
                        </a:cubicBezTo>
                        <a:cubicBezTo>
                          <a:pt x="85" y="126"/>
                          <a:pt x="79" y="123"/>
                          <a:pt x="74" y="124"/>
                        </a:cubicBezTo>
                        <a:close/>
                        <a:moveTo>
                          <a:pt x="136" y="137"/>
                        </a:moveTo>
                        <a:cubicBezTo>
                          <a:pt x="130" y="139"/>
                          <a:pt x="127" y="140"/>
                          <a:pt x="127" y="144"/>
                        </a:cubicBezTo>
                        <a:cubicBezTo>
                          <a:pt x="127" y="148"/>
                          <a:pt x="123" y="150"/>
                          <a:pt x="127" y="151"/>
                        </a:cubicBezTo>
                        <a:cubicBezTo>
                          <a:pt x="131" y="151"/>
                          <a:pt x="133" y="149"/>
                          <a:pt x="136" y="144"/>
                        </a:cubicBezTo>
                        <a:cubicBezTo>
                          <a:pt x="139" y="139"/>
                          <a:pt x="146" y="139"/>
                          <a:pt x="146" y="136"/>
                        </a:cubicBezTo>
                        <a:cubicBezTo>
                          <a:pt x="146" y="134"/>
                          <a:pt x="139" y="134"/>
                          <a:pt x="136" y="137"/>
                        </a:cubicBezTo>
                        <a:close/>
                        <a:moveTo>
                          <a:pt x="71" y="170"/>
                        </a:moveTo>
                        <a:cubicBezTo>
                          <a:pt x="68" y="173"/>
                          <a:pt x="66" y="174"/>
                          <a:pt x="69" y="176"/>
                        </a:cubicBezTo>
                        <a:cubicBezTo>
                          <a:pt x="71" y="178"/>
                          <a:pt x="77" y="178"/>
                          <a:pt x="79" y="175"/>
                        </a:cubicBezTo>
                        <a:cubicBezTo>
                          <a:pt x="80" y="171"/>
                          <a:pt x="76" y="167"/>
                          <a:pt x="71" y="170"/>
                        </a:cubicBezTo>
                        <a:close/>
                        <a:moveTo>
                          <a:pt x="119" y="175"/>
                        </a:moveTo>
                        <a:cubicBezTo>
                          <a:pt x="115" y="178"/>
                          <a:pt x="113" y="180"/>
                          <a:pt x="117" y="182"/>
                        </a:cubicBezTo>
                        <a:cubicBezTo>
                          <a:pt x="122" y="184"/>
                          <a:pt x="128" y="178"/>
                          <a:pt x="126" y="177"/>
                        </a:cubicBezTo>
                        <a:cubicBezTo>
                          <a:pt x="125" y="175"/>
                          <a:pt x="122" y="173"/>
                          <a:pt x="119" y="175"/>
                        </a:cubicBezTo>
                        <a:close/>
                        <a:moveTo>
                          <a:pt x="66" y="68"/>
                        </a:moveTo>
                        <a:cubicBezTo>
                          <a:pt x="63" y="68"/>
                          <a:pt x="61" y="70"/>
                          <a:pt x="63" y="71"/>
                        </a:cubicBezTo>
                        <a:cubicBezTo>
                          <a:pt x="65" y="72"/>
                          <a:pt x="67" y="73"/>
                          <a:pt x="69" y="73"/>
                        </a:cubicBezTo>
                        <a:cubicBezTo>
                          <a:pt x="71" y="74"/>
                          <a:pt x="73" y="75"/>
                          <a:pt x="73" y="72"/>
                        </a:cubicBezTo>
                        <a:cubicBezTo>
                          <a:pt x="73" y="69"/>
                          <a:pt x="68" y="67"/>
                          <a:pt x="66" y="68"/>
                        </a:cubicBezTo>
                        <a:close/>
                        <a:moveTo>
                          <a:pt x="47" y="52"/>
                        </a:moveTo>
                        <a:cubicBezTo>
                          <a:pt x="46" y="55"/>
                          <a:pt x="46" y="56"/>
                          <a:pt x="48" y="58"/>
                        </a:cubicBezTo>
                        <a:cubicBezTo>
                          <a:pt x="51" y="60"/>
                          <a:pt x="54" y="61"/>
                          <a:pt x="54" y="58"/>
                        </a:cubicBezTo>
                        <a:cubicBezTo>
                          <a:pt x="54" y="55"/>
                          <a:pt x="49" y="47"/>
                          <a:pt x="47" y="52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57" name="Freeform 87"/>
                  <p:cNvSpPr>
                    <a:spLocks/>
                  </p:cNvSpPr>
                  <p:nvPr/>
                </p:nvSpPr>
                <p:spPr bwMode="auto">
                  <a:xfrm>
                    <a:off x="3168366" y="4316703"/>
                    <a:ext cx="29766" cy="11906"/>
                  </a:xfrm>
                  <a:custGeom>
                    <a:avLst/>
                    <a:gdLst>
                      <a:gd name="T0" fmla="*/ 50 w 105"/>
                      <a:gd name="T1" fmla="*/ 2 h 42"/>
                      <a:gd name="T2" fmla="*/ 84 w 105"/>
                      <a:gd name="T3" fmla="*/ 6 h 42"/>
                      <a:gd name="T4" fmla="*/ 103 w 105"/>
                      <a:gd name="T5" fmla="*/ 9 h 42"/>
                      <a:gd name="T6" fmla="*/ 88 w 105"/>
                      <a:gd name="T7" fmla="*/ 32 h 42"/>
                      <a:gd name="T8" fmla="*/ 65 w 105"/>
                      <a:gd name="T9" fmla="*/ 36 h 42"/>
                      <a:gd name="T10" fmla="*/ 43 w 105"/>
                      <a:gd name="T11" fmla="*/ 35 h 42"/>
                      <a:gd name="T12" fmla="*/ 19 w 105"/>
                      <a:gd name="T13" fmla="*/ 38 h 42"/>
                      <a:gd name="T14" fmla="*/ 3 w 105"/>
                      <a:gd name="T15" fmla="*/ 20 h 42"/>
                      <a:gd name="T16" fmla="*/ 15 w 105"/>
                      <a:gd name="T17" fmla="*/ 2 h 42"/>
                      <a:gd name="T18" fmla="*/ 50 w 105"/>
                      <a:gd name="T19" fmla="*/ 2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05" h="42">
                        <a:moveTo>
                          <a:pt x="50" y="2"/>
                        </a:moveTo>
                        <a:cubicBezTo>
                          <a:pt x="66" y="2"/>
                          <a:pt x="67" y="4"/>
                          <a:pt x="84" y="6"/>
                        </a:cubicBezTo>
                        <a:cubicBezTo>
                          <a:pt x="100" y="8"/>
                          <a:pt x="102" y="1"/>
                          <a:pt x="103" y="9"/>
                        </a:cubicBezTo>
                        <a:cubicBezTo>
                          <a:pt x="105" y="18"/>
                          <a:pt x="94" y="29"/>
                          <a:pt x="88" y="32"/>
                        </a:cubicBezTo>
                        <a:cubicBezTo>
                          <a:pt x="82" y="36"/>
                          <a:pt x="73" y="38"/>
                          <a:pt x="65" y="36"/>
                        </a:cubicBezTo>
                        <a:cubicBezTo>
                          <a:pt x="57" y="34"/>
                          <a:pt x="50" y="32"/>
                          <a:pt x="43" y="35"/>
                        </a:cubicBezTo>
                        <a:cubicBezTo>
                          <a:pt x="36" y="38"/>
                          <a:pt x="30" y="42"/>
                          <a:pt x="19" y="38"/>
                        </a:cubicBezTo>
                        <a:cubicBezTo>
                          <a:pt x="9" y="33"/>
                          <a:pt x="0" y="28"/>
                          <a:pt x="3" y="20"/>
                        </a:cubicBezTo>
                        <a:cubicBezTo>
                          <a:pt x="7" y="12"/>
                          <a:pt x="6" y="5"/>
                          <a:pt x="15" y="2"/>
                        </a:cubicBezTo>
                        <a:cubicBezTo>
                          <a:pt x="25" y="0"/>
                          <a:pt x="35" y="4"/>
                          <a:pt x="50" y="2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58" name="Freeform 89"/>
                  <p:cNvSpPr>
                    <a:spLocks/>
                  </p:cNvSpPr>
                  <p:nvPr/>
                </p:nvSpPr>
                <p:spPr bwMode="auto">
                  <a:xfrm>
                    <a:off x="3085022" y="4289319"/>
                    <a:ext cx="64294" cy="44053"/>
                  </a:xfrm>
                  <a:custGeom>
                    <a:avLst/>
                    <a:gdLst>
                      <a:gd name="T0" fmla="*/ 12 w 223"/>
                      <a:gd name="T1" fmla="*/ 9 h 152"/>
                      <a:gd name="T2" fmla="*/ 15 w 223"/>
                      <a:gd name="T3" fmla="*/ 46 h 152"/>
                      <a:gd name="T4" fmla="*/ 15 w 223"/>
                      <a:gd name="T5" fmla="*/ 57 h 152"/>
                      <a:gd name="T6" fmla="*/ 15 w 223"/>
                      <a:gd name="T7" fmla="*/ 71 h 152"/>
                      <a:gd name="T8" fmla="*/ 7 w 223"/>
                      <a:gd name="T9" fmla="*/ 82 h 152"/>
                      <a:gd name="T10" fmla="*/ 2 w 223"/>
                      <a:gd name="T11" fmla="*/ 88 h 152"/>
                      <a:gd name="T12" fmla="*/ 6 w 223"/>
                      <a:gd name="T13" fmla="*/ 98 h 152"/>
                      <a:gd name="T14" fmla="*/ 16 w 223"/>
                      <a:gd name="T15" fmla="*/ 110 h 152"/>
                      <a:gd name="T16" fmla="*/ 17 w 223"/>
                      <a:gd name="T17" fmla="*/ 122 h 152"/>
                      <a:gd name="T18" fmla="*/ 17 w 223"/>
                      <a:gd name="T19" fmla="*/ 122 h 152"/>
                      <a:gd name="T20" fmla="*/ 15 w 223"/>
                      <a:gd name="T21" fmla="*/ 129 h 152"/>
                      <a:gd name="T22" fmla="*/ 16 w 223"/>
                      <a:gd name="T23" fmla="*/ 132 h 152"/>
                      <a:gd name="T24" fmla="*/ 31 w 223"/>
                      <a:gd name="T25" fmla="*/ 146 h 152"/>
                      <a:gd name="T26" fmla="*/ 41 w 223"/>
                      <a:gd name="T27" fmla="*/ 141 h 152"/>
                      <a:gd name="T28" fmla="*/ 46 w 223"/>
                      <a:gd name="T29" fmla="*/ 117 h 152"/>
                      <a:gd name="T30" fmla="*/ 64 w 223"/>
                      <a:gd name="T31" fmla="*/ 109 h 152"/>
                      <a:gd name="T32" fmla="*/ 78 w 223"/>
                      <a:gd name="T33" fmla="*/ 102 h 152"/>
                      <a:gd name="T34" fmla="*/ 87 w 223"/>
                      <a:gd name="T35" fmla="*/ 112 h 152"/>
                      <a:gd name="T36" fmla="*/ 114 w 223"/>
                      <a:gd name="T37" fmla="*/ 113 h 152"/>
                      <a:gd name="T38" fmla="*/ 127 w 223"/>
                      <a:gd name="T39" fmla="*/ 97 h 152"/>
                      <a:gd name="T40" fmla="*/ 145 w 223"/>
                      <a:gd name="T41" fmla="*/ 102 h 152"/>
                      <a:gd name="T42" fmla="*/ 163 w 223"/>
                      <a:gd name="T43" fmla="*/ 101 h 152"/>
                      <a:gd name="T44" fmla="*/ 185 w 223"/>
                      <a:gd name="T45" fmla="*/ 99 h 152"/>
                      <a:gd name="T46" fmla="*/ 201 w 223"/>
                      <a:gd name="T47" fmla="*/ 114 h 152"/>
                      <a:gd name="T48" fmla="*/ 207 w 223"/>
                      <a:gd name="T49" fmla="*/ 108 h 152"/>
                      <a:gd name="T50" fmla="*/ 217 w 223"/>
                      <a:gd name="T51" fmla="*/ 93 h 152"/>
                      <a:gd name="T52" fmla="*/ 222 w 223"/>
                      <a:gd name="T53" fmla="*/ 82 h 152"/>
                      <a:gd name="T54" fmla="*/ 213 w 223"/>
                      <a:gd name="T55" fmla="*/ 74 h 152"/>
                      <a:gd name="T56" fmla="*/ 195 w 223"/>
                      <a:gd name="T57" fmla="*/ 66 h 152"/>
                      <a:gd name="T58" fmla="*/ 172 w 223"/>
                      <a:gd name="T59" fmla="*/ 59 h 152"/>
                      <a:gd name="T60" fmla="*/ 149 w 223"/>
                      <a:gd name="T61" fmla="*/ 59 h 152"/>
                      <a:gd name="T62" fmla="*/ 144 w 223"/>
                      <a:gd name="T63" fmla="*/ 50 h 152"/>
                      <a:gd name="T64" fmla="*/ 158 w 223"/>
                      <a:gd name="T65" fmla="*/ 44 h 152"/>
                      <a:gd name="T66" fmla="*/ 148 w 223"/>
                      <a:gd name="T67" fmla="*/ 41 h 152"/>
                      <a:gd name="T68" fmla="*/ 133 w 223"/>
                      <a:gd name="T69" fmla="*/ 38 h 152"/>
                      <a:gd name="T70" fmla="*/ 130 w 223"/>
                      <a:gd name="T71" fmla="*/ 18 h 152"/>
                      <a:gd name="T72" fmla="*/ 117 w 223"/>
                      <a:gd name="T73" fmla="*/ 15 h 152"/>
                      <a:gd name="T74" fmla="*/ 98 w 223"/>
                      <a:gd name="T75" fmla="*/ 14 h 152"/>
                      <a:gd name="T76" fmla="*/ 79 w 223"/>
                      <a:gd name="T77" fmla="*/ 6 h 152"/>
                      <a:gd name="T78" fmla="*/ 58 w 223"/>
                      <a:gd name="T79" fmla="*/ 2 h 152"/>
                      <a:gd name="T80" fmla="*/ 41 w 223"/>
                      <a:gd name="T81" fmla="*/ 9 h 152"/>
                      <a:gd name="T82" fmla="*/ 19 w 223"/>
                      <a:gd name="T83" fmla="*/ 7 h 152"/>
                      <a:gd name="T84" fmla="*/ 12 w 223"/>
                      <a:gd name="T85" fmla="*/ 9 h 1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223" h="152">
                        <a:moveTo>
                          <a:pt x="12" y="9"/>
                        </a:moveTo>
                        <a:cubicBezTo>
                          <a:pt x="14" y="21"/>
                          <a:pt x="17" y="37"/>
                          <a:pt x="15" y="46"/>
                        </a:cubicBezTo>
                        <a:cubicBezTo>
                          <a:pt x="14" y="52"/>
                          <a:pt x="15" y="54"/>
                          <a:pt x="15" y="57"/>
                        </a:cubicBezTo>
                        <a:cubicBezTo>
                          <a:pt x="16" y="60"/>
                          <a:pt x="17" y="63"/>
                          <a:pt x="15" y="71"/>
                        </a:cubicBezTo>
                        <a:cubicBezTo>
                          <a:pt x="12" y="80"/>
                          <a:pt x="10" y="81"/>
                          <a:pt x="7" y="82"/>
                        </a:cubicBezTo>
                        <a:cubicBezTo>
                          <a:pt x="6" y="83"/>
                          <a:pt x="5" y="83"/>
                          <a:pt x="2" y="88"/>
                        </a:cubicBezTo>
                        <a:cubicBezTo>
                          <a:pt x="0" y="93"/>
                          <a:pt x="3" y="95"/>
                          <a:pt x="6" y="98"/>
                        </a:cubicBezTo>
                        <a:cubicBezTo>
                          <a:pt x="10" y="101"/>
                          <a:pt x="14" y="105"/>
                          <a:pt x="16" y="110"/>
                        </a:cubicBezTo>
                        <a:cubicBezTo>
                          <a:pt x="17" y="114"/>
                          <a:pt x="17" y="118"/>
                          <a:pt x="17" y="122"/>
                        </a:cubicBezTo>
                        <a:cubicBezTo>
                          <a:pt x="17" y="122"/>
                          <a:pt x="17" y="122"/>
                          <a:pt x="17" y="122"/>
                        </a:cubicBezTo>
                        <a:cubicBezTo>
                          <a:pt x="17" y="124"/>
                          <a:pt x="16" y="126"/>
                          <a:pt x="15" y="129"/>
                        </a:cubicBezTo>
                        <a:cubicBezTo>
                          <a:pt x="15" y="130"/>
                          <a:pt x="16" y="131"/>
                          <a:pt x="16" y="132"/>
                        </a:cubicBezTo>
                        <a:cubicBezTo>
                          <a:pt x="21" y="142"/>
                          <a:pt x="26" y="139"/>
                          <a:pt x="31" y="146"/>
                        </a:cubicBezTo>
                        <a:cubicBezTo>
                          <a:pt x="35" y="152"/>
                          <a:pt x="37" y="145"/>
                          <a:pt x="41" y="141"/>
                        </a:cubicBezTo>
                        <a:cubicBezTo>
                          <a:pt x="45" y="138"/>
                          <a:pt x="43" y="125"/>
                          <a:pt x="46" y="117"/>
                        </a:cubicBezTo>
                        <a:cubicBezTo>
                          <a:pt x="49" y="110"/>
                          <a:pt x="55" y="110"/>
                          <a:pt x="64" y="109"/>
                        </a:cubicBezTo>
                        <a:cubicBezTo>
                          <a:pt x="72" y="109"/>
                          <a:pt x="69" y="103"/>
                          <a:pt x="78" y="102"/>
                        </a:cubicBezTo>
                        <a:cubicBezTo>
                          <a:pt x="87" y="102"/>
                          <a:pt x="83" y="109"/>
                          <a:pt x="87" y="112"/>
                        </a:cubicBezTo>
                        <a:cubicBezTo>
                          <a:pt x="90" y="116"/>
                          <a:pt x="111" y="115"/>
                          <a:pt x="114" y="113"/>
                        </a:cubicBezTo>
                        <a:cubicBezTo>
                          <a:pt x="117" y="110"/>
                          <a:pt x="121" y="102"/>
                          <a:pt x="127" y="97"/>
                        </a:cubicBezTo>
                        <a:cubicBezTo>
                          <a:pt x="133" y="93"/>
                          <a:pt x="139" y="98"/>
                          <a:pt x="145" y="102"/>
                        </a:cubicBezTo>
                        <a:cubicBezTo>
                          <a:pt x="152" y="105"/>
                          <a:pt x="153" y="102"/>
                          <a:pt x="163" y="101"/>
                        </a:cubicBezTo>
                        <a:cubicBezTo>
                          <a:pt x="174" y="101"/>
                          <a:pt x="175" y="101"/>
                          <a:pt x="185" y="99"/>
                        </a:cubicBezTo>
                        <a:cubicBezTo>
                          <a:pt x="196" y="98"/>
                          <a:pt x="198" y="106"/>
                          <a:pt x="201" y="114"/>
                        </a:cubicBezTo>
                        <a:cubicBezTo>
                          <a:pt x="204" y="121"/>
                          <a:pt x="205" y="114"/>
                          <a:pt x="207" y="108"/>
                        </a:cubicBezTo>
                        <a:cubicBezTo>
                          <a:pt x="209" y="102"/>
                          <a:pt x="211" y="98"/>
                          <a:pt x="217" y="93"/>
                        </a:cubicBezTo>
                        <a:cubicBezTo>
                          <a:pt x="223" y="89"/>
                          <a:pt x="223" y="89"/>
                          <a:pt x="222" y="82"/>
                        </a:cubicBezTo>
                        <a:cubicBezTo>
                          <a:pt x="221" y="75"/>
                          <a:pt x="218" y="80"/>
                          <a:pt x="213" y="74"/>
                        </a:cubicBezTo>
                        <a:cubicBezTo>
                          <a:pt x="207" y="69"/>
                          <a:pt x="205" y="68"/>
                          <a:pt x="195" y="66"/>
                        </a:cubicBezTo>
                        <a:cubicBezTo>
                          <a:pt x="184" y="65"/>
                          <a:pt x="179" y="63"/>
                          <a:pt x="172" y="59"/>
                        </a:cubicBezTo>
                        <a:cubicBezTo>
                          <a:pt x="165" y="54"/>
                          <a:pt x="158" y="59"/>
                          <a:pt x="149" y="59"/>
                        </a:cubicBezTo>
                        <a:cubicBezTo>
                          <a:pt x="139" y="58"/>
                          <a:pt x="144" y="54"/>
                          <a:pt x="144" y="50"/>
                        </a:cubicBezTo>
                        <a:cubicBezTo>
                          <a:pt x="144" y="46"/>
                          <a:pt x="157" y="48"/>
                          <a:pt x="158" y="44"/>
                        </a:cubicBezTo>
                        <a:cubicBezTo>
                          <a:pt x="158" y="41"/>
                          <a:pt x="154" y="41"/>
                          <a:pt x="148" y="41"/>
                        </a:cubicBezTo>
                        <a:cubicBezTo>
                          <a:pt x="142" y="41"/>
                          <a:pt x="136" y="42"/>
                          <a:pt x="133" y="38"/>
                        </a:cubicBezTo>
                        <a:cubicBezTo>
                          <a:pt x="129" y="33"/>
                          <a:pt x="130" y="25"/>
                          <a:pt x="130" y="18"/>
                        </a:cubicBezTo>
                        <a:cubicBezTo>
                          <a:pt x="129" y="11"/>
                          <a:pt x="122" y="15"/>
                          <a:pt x="117" y="15"/>
                        </a:cubicBezTo>
                        <a:cubicBezTo>
                          <a:pt x="111" y="14"/>
                          <a:pt x="105" y="15"/>
                          <a:pt x="98" y="14"/>
                        </a:cubicBezTo>
                        <a:cubicBezTo>
                          <a:pt x="90" y="12"/>
                          <a:pt x="85" y="11"/>
                          <a:pt x="79" y="6"/>
                        </a:cubicBezTo>
                        <a:cubicBezTo>
                          <a:pt x="73" y="1"/>
                          <a:pt x="63" y="0"/>
                          <a:pt x="58" y="2"/>
                        </a:cubicBezTo>
                        <a:cubicBezTo>
                          <a:pt x="53" y="5"/>
                          <a:pt x="50" y="9"/>
                          <a:pt x="41" y="9"/>
                        </a:cubicBezTo>
                        <a:cubicBezTo>
                          <a:pt x="32" y="8"/>
                          <a:pt x="34" y="6"/>
                          <a:pt x="19" y="7"/>
                        </a:cubicBezTo>
                        <a:cubicBezTo>
                          <a:pt x="15" y="7"/>
                          <a:pt x="13" y="8"/>
                          <a:pt x="12" y="9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59" name="Freeform 97"/>
                  <p:cNvSpPr>
                    <a:spLocks/>
                  </p:cNvSpPr>
                  <p:nvPr/>
                </p:nvSpPr>
                <p:spPr bwMode="auto">
                  <a:xfrm>
                    <a:off x="2883806" y="4252410"/>
                    <a:ext cx="11906" cy="11906"/>
                  </a:xfrm>
                  <a:custGeom>
                    <a:avLst/>
                    <a:gdLst>
                      <a:gd name="T0" fmla="*/ 18 w 42"/>
                      <a:gd name="T1" fmla="*/ 7 h 41"/>
                      <a:gd name="T2" fmla="*/ 9 w 42"/>
                      <a:gd name="T3" fmla="*/ 18 h 41"/>
                      <a:gd name="T4" fmla="*/ 27 w 42"/>
                      <a:gd name="T5" fmla="*/ 35 h 41"/>
                      <a:gd name="T6" fmla="*/ 42 w 42"/>
                      <a:gd name="T7" fmla="*/ 13 h 41"/>
                      <a:gd name="T8" fmla="*/ 18 w 42"/>
                      <a:gd name="T9" fmla="*/ 7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2" h="41">
                        <a:moveTo>
                          <a:pt x="18" y="7"/>
                        </a:moveTo>
                        <a:cubicBezTo>
                          <a:pt x="11" y="13"/>
                          <a:pt x="0" y="7"/>
                          <a:pt x="9" y="18"/>
                        </a:cubicBezTo>
                        <a:cubicBezTo>
                          <a:pt x="17" y="29"/>
                          <a:pt x="20" y="41"/>
                          <a:pt x="27" y="35"/>
                        </a:cubicBezTo>
                        <a:cubicBezTo>
                          <a:pt x="33" y="29"/>
                          <a:pt x="42" y="22"/>
                          <a:pt x="42" y="13"/>
                        </a:cubicBezTo>
                        <a:cubicBezTo>
                          <a:pt x="42" y="4"/>
                          <a:pt x="28" y="0"/>
                          <a:pt x="18" y="7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60" name="Freeform 137"/>
                  <p:cNvSpPr>
                    <a:spLocks/>
                  </p:cNvSpPr>
                  <p:nvPr/>
                </p:nvSpPr>
                <p:spPr bwMode="auto">
                  <a:xfrm>
                    <a:off x="2970722" y="4192878"/>
                    <a:ext cx="13097" cy="16669"/>
                  </a:xfrm>
                  <a:custGeom>
                    <a:avLst/>
                    <a:gdLst>
                      <a:gd name="T0" fmla="*/ 24 w 46"/>
                      <a:gd name="T1" fmla="*/ 1 h 56"/>
                      <a:gd name="T2" fmla="*/ 11 w 46"/>
                      <a:gd name="T3" fmla="*/ 10 h 56"/>
                      <a:gd name="T4" fmla="*/ 9 w 46"/>
                      <a:gd name="T5" fmla="*/ 26 h 56"/>
                      <a:gd name="T6" fmla="*/ 3 w 46"/>
                      <a:gd name="T7" fmla="*/ 35 h 56"/>
                      <a:gd name="T8" fmla="*/ 15 w 46"/>
                      <a:gd name="T9" fmla="*/ 50 h 56"/>
                      <a:gd name="T10" fmla="*/ 35 w 46"/>
                      <a:gd name="T11" fmla="*/ 48 h 56"/>
                      <a:gd name="T12" fmla="*/ 39 w 46"/>
                      <a:gd name="T13" fmla="*/ 34 h 56"/>
                      <a:gd name="T14" fmla="*/ 34 w 46"/>
                      <a:gd name="T15" fmla="*/ 19 h 56"/>
                      <a:gd name="T16" fmla="*/ 24 w 46"/>
                      <a:gd name="T17" fmla="*/ 1 h 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6" h="56">
                        <a:moveTo>
                          <a:pt x="24" y="1"/>
                        </a:moveTo>
                        <a:cubicBezTo>
                          <a:pt x="21" y="0"/>
                          <a:pt x="14" y="4"/>
                          <a:pt x="11" y="10"/>
                        </a:cubicBezTo>
                        <a:cubicBezTo>
                          <a:pt x="9" y="16"/>
                          <a:pt x="9" y="19"/>
                          <a:pt x="9" y="26"/>
                        </a:cubicBezTo>
                        <a:cubicBezTo>
                          <a:pt x="9" y="34"/>
                          <a:pt x="6" y="29"/>
                          <a:pt x="3" y="35"/>
                        </a:cubicBezTo>
                        <a:cubicBezTo>
                          <a:pt x="0" y="41"/>
                          <a:pt x="12" y="45"/>
                          <a:pt x="15" y="50"/>
                        </a:cubicBezTo>
                        <a:cubicBezTo>
                          <a:pt x="19" y="56"/>
                          <a:pt x="24" y="53"/>
                          <a:pt x="35" y="48"/>
                        </a:cubicBezTo>
                        <a:cubicBezTo>
                          <a:pt x="46" y="44"/>
                          <a:pt x="39" y="45"/>
                          <a:pt x="39" y="34"/>
                        </a:cubicBezTo>
                        <a:cubicBezTo>
                          <a:pt x="39" y="24"/>
                          <a:pt x="40" y="28"/>
                          <a:pt x="34" y="19"/>
                        </a:cubicBezTo>
                        <a:cubicBezTo>
                          <a:pt x="29" y="9"/>
                          <a:pt x="35" y="13"/>
                          <a:pt x="24" y="1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grpSp>
                <p:nvGrpSpPr>
                  <p:cNvPr id="561" name="Gruppieren 560"/>
                  <p:cNvGrpSpPr/>
                  <p:nvPr/>
                </p:nvGrpSpPr>
                <p:grpSpPr>
                  <a:xfrm>
                    <a:off x="1383619" y="2653400"/>
                    <a:ext cx="2362200" cy="2616994"/>
                    <a:chOff x="1383619" y="2653400"/>
                    <a:chExt cx="2362200" cy="2616994"/>
                  </a:xfrm>
                  <a:grpFill/>
                </p:grpSpPr>
                <p:sp>
                  <p:nvSpPr>
                    <p:cNvPr id="562" name="Freeform 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486013" y="3694007"/>
                      <a:ext cx="1729978" cy="615553"/>
                    </a:xfrm>
                    <a:custGeom>
                      <a:avLst/>
                      <a:gdLst>
                        <a:gd name="T0" fmla="*/ 4563 w 6029"/>
                        <a:gd name="T1" fmla="*/ 206 h 2144"/>
                        <a:gd name="T2" fmla="*/ 4822 w 6029"/>
                        <a:gd name="T3" fmla="*/ 261 h 2144"/>
                        <a:gd name="T4" fmla="*/ 4587 w 6029"/>
                        <a:gd name="T5" fmla="*/ 367 h 2144"/>
                        <a:gd name="T6" fmla="*/ 4689 w 6029"/>
                        <a:gd name="T7" fmla="*/ 479 h 2144"/>
                        <a:gd name="T8" fmla="*/ 4867 w 6029"/>
                        <a:gd name="T9" fmla="*/ 343 h 2144"/>
                        <a:gd name="T10" fmla="*/ 4880 w 6029"/>
                        <a:gd name="T11" fmla="*/ 570 h 2144"/>
                        <a:gd name="T12" fmla="*/ 5181 w 6029"/>
                        <a:gd name="T13" fmla="*/ 463 h 2144"/>
                        <a:gd name="T14" fmla="*/ 5622 w 6029"/>
                        <a:gd name="T15" fmla="*/ 320 h 2144"/>
                        <a:gd name="T16" fmla="*/ 5830 w 6029"/>
                        <a:gd name="T17" fmla="*/ 245 h 2144"/>
                        <a:gd name="T18" fmla="*/ 5830 w 6029"/>
                        <a:gd name="T19" fmla="*/ 379 h 2144"/>
                        <a:gd name="T20" fmla="*/ 5683 w 6029"/>
                        <a:gd name="T21" fmla="*/ 448 h 2144"/>
                        <a:gd name="T22" fmla="*/ 5631 w 6029"/>
                        <a:gd name="T23" fmla="*/ 601 h 2144"/>
                        <a:gd name="T24" fmla="*/ 5453 w 6029"/>
                        <a:gd name="T25" fmla="*/ 655 h 2144"/>
                        <a:gd name="T26" fmla="*/ 5388 w 6029"/>
                        <a:gd name="T27" fmla="*/ 775 h 2144"/>
                        <a:gd name="T28" fmla="*/ 5377 w 6029"/>
                        <a:gd name="T29" fmla="*/ 796 h 2144"/>
                        <a:gd name="T30" fmla="*/ 5335 w 6029"/>
                        <a:gd name="T31" fmla="*/ 830 h 2144"/>
                        <a:gd name="T32" fmla="*/ 5326 w 6029"/>
                        <a:gd name="T33" fmla="*/ 742 h 2144"/>
                        <a:gd name="T34" fmla="*/ 5298 w 6029"/>
                        <a:gd name="T35" fmla="*/ 834 h 2144"/>
                        <a:gd name="T36" fmla="*/ 5293 w 6029"/>
                        <a:gd name="T37" fmla="*/ 857 h 2144"/>
                        <a:gd name="T38" fmla="*/ 5295 w 6029"/>
                        <a:gd name="T39" fmla="*/ 904 h 2144"/>
                        <a:gd name="T40" fmla="*/ 5283 w 6029"/>
                        <a:gd name="T41" fmla="*/ 923 h 2144"/>
                        <a:gd name="T42" fmla="*/ 5289 w 6029"/>
                        <a:gd name="T43" fmla="*/ 994 h 2144"/>
                        <a:gd name="T44" fmla="*/ 5330 w 6029"/>
                        <a:gd name="T45" fmla="*/ 1010 h 2144"/>
                        <a:gd name="T46" fmla="*/ 5278 w 6029"/>
                        <a:gd name="T47" fmla="*/ 1044 h 2144"/>
                        <a:gd name="T48" fmla="*/ 5245 w 6029"/>
                        <a:gd name="T49" fmla="*/ 1088 h 2144"/>
                        <a:gd name="T50" fmla="*/ 5130 w 6029"/>
                        <a:gd name="T51" fmla="*/ 1181 h 2144"/>
                        <a:gd name="T52" fmla="*/ 5006 w 6029"/>
                        <a:gd name="T53" fmla="*/ 1291 h 2144"/>
                        <a:gd name="T54" fmla="*/ 5028 w 6029"/>
                        <a:gd name="T55" fmla="*/ 1496 h 2144"/>
                        <a:gd name="T56" fmla="*/ 5059 w 6029"/>
                        <a:gd name="T57" fmla="*/ 1724 h 2144"/>
                        <a:gd name="T58" fmla="*/ 4966 w 6029"/>
                        <a:gd name="T59" fmla="*/ 1665 h 2144"/>
                        <a:gd name="T60" fmla="*/ 4930 w 6029"/>
                        <a:gd name="T61" fmla="*/ 1553 h 2144"/>
                        <a:gd name="T62" fmla="*/ 4815 w 6029"/>
                        <a:gd name="T63" fmla="*/ 1411 h 2144"/>
                        <a:gd name="T64" fmla="*/ 4696 w 6029"/>
                        <a:gd name="T65" fmla="*/ 1381 h 2144"/>
                        <a:gd name="T66" fmla="*/ 4563 w 6029"/>
                        <a:gd name="T67" fmla="*/ 1388 h 2144"/>
                        <a:gd name="T68" fmla="*/ 4497 w 6029"/>
                        <a:gd name="T69" fmla="*/ 1424 h 2144"/>
                        <a:gd name="T70" fmla="*/ 4459 w 6029"/>
                        <a:gd name="T71" fmla="*/ 1443 h 2144"/>
                        <a:gd name="T72" fmla="*/ 4332 w 6029"/>
                        <a:gd name="T73" fmla="*/ 1428 h 2144"/>
                        <a:gd name="T74" fmla="*/ 4223 w 6029"/>
                        <a:gd name="T75" fmla="*/ 1417 h 2144"/>
                        <a:gd name="T76" fmla="*/ 4087 w 6029"/>
                        <a:gd name="T77" fmla="*/ 1507 h 2144"/>
                        <a:gd name="T78" fmla="*/ 4023 w 6029"/>
                        <a:gd name="T79" fmla="*/ 1535 h 2144"/>
                        <a:gd name="T80" fmla="*/ 3995 w 6029"/>
                        <a:gd name="T81" fmla="*/ 1592 h 2144"/>
                        <a:gd name="T82" fmla="*/ 3946 w 6029"/>
                        <a:gd name="T83" fmla="*/ 1671 h 2144"/>
                        <a:gd name="T84" fmla="*/ 3637 w 6029"/>
                        <a:gd name="T85" fmla="*/ 1475 h 2144"/>
                        <a:gd name="T86" fmla="*/ 2924 w 6029"/>
                        <a:gd name="T87" fmla="*/ 1227 h 2144"/>
                        <a:gd name="T88" fmla="*/ 2507 w 6029"/>
                        <a:gd name="T89" fmla="*/ 999 h 2144"/>
                        <a:gd name="T90" fmla="*/ 2512 w 6029"/>
                        <a:gd name="T91" fmla="*/ 851 h 2144"/>
                        <a:gd name="T92" fmla="*/ 2335 w 6029"/>
                        <a:gd name="T93" fmla="*/ 676 h 2144"/>
                        <a:gd name="T94" fmla="*/ 2357 w 6029"/>
                        <a:gd name="T95" fmla="*/ 368 h 2144"/>
                        <a:gd name="T96" fmla="*/ 2355 w 6029"/>
                        <a:gd name="T97" fmla="*/ 177 h 2144"/>
                        <a:gd name="T98" fmla="*/ 2409 w 6029"/>
                        <a:gd name="T99" fmla="*/ 153 h 2144"/>
                        <a:gd name="T100" fmla="*/ 2435 w 6029"/>
                        <a:gd name="T101" fmla="*/ 29 h 2144"/>
                        <a:gd name="T102" fmla="*/ 4160 w 6029"/>
                        <a:gd name="T103" fmla="*/ 14 h 2144"/>
                        <a:gd name="T104" fmla="*/ 4395 w 6029"/>
                        <a:gd name="T105" fmla="*/ 95 h 2144"/>
                        <a:gd name="T106" fmla="*/ 435 w 6029"/>
                        <a:gd name="T107" fmla="*/ 2116 h 2144"/>
                        <a:gd name="T108" fmla="*/ 304 w 6029"/>
                        <a:gd name="T109" fmla="*/ 1994 h 2144"/>
                        <a:gd name="T110" fmla="*/ 269 w 6029"/>
                        <a:gd name="T111" fmla="*/ 1989 h 2144"/>
                        <a:gd name="T112" fmla="*/ 2577 w 6029"/>
                        <a:gd name="T113" fmla="*/ 1134 h 2144"/>
                        <a:gd name="T114" fmla="*/ 2698 w 6029"/>
                        <a:gd name="T115" fmla="*/ 1227 h 2144"/>
                        <a:gd name="T116" fmla="*/ 6017 w 6029"/>
                        <a:gd name="T117" fmla="*/ 1254 h 2144"/>
                        <a:gd name="T118" fmla="*/ 5538 w 6029"/>
                        <a:gd name="T119" fmla="*/ 632 h 2144"/>
                        <a:gd name="T120" fmla="*/ 5693 w 6029"/>
                        <a:gd name="T121" fmla="*/ 615 h 21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</a:cxnLst>
                      <a:rect l="0" t="0" r="r" b="b"/>
                      <a:pathLst>
                        <a:path w="6029" h="2144">
                          <a:moveTo>
                            <a:pt x="4418" y="132"/>
                          </a:moveTo>
                          <a:cubicBezTo>
                            <a:pt x="4405" y="138"/>
                            <a:pt x="4395" y="132"/>
                            <a:pt x="4390" y="148"/>
                          </a:cubicBezTo>
                          <a:cubicBezTo>
                            <a:pt x="4385" y="163"/>
                            <a:pt x="4368" y="166"/>
                            <a:pt x="4358" y="174"/>
                          </a:cubicBezTo>
                          <a:cubicBezTo>
                            <a:pt x="4348" y="182"/>
                            <a:pt x="4329" y="195"/>
                            <a:pt x="4334" y="201"/>
                          </a:cubicBezTo>
                          <a:cubicBezTo>
                            <a:pt x="4338" y="206"/>
                            <a:pt x="4340" y="211"/>
                            <a:pt x="4351" y="206"/>
                          </a:cubicBezTo>
                          <a:cubicBezTo>
                            <a:pt x="4362" y="201"/>
                            <a:pt x="4381" y="192"/>
                            <a:pt x="4389" y="190"/>
                          </a:cubicBezTo>
                          <a:cubicBezTo>
                            <a:pt x="4397" y="189"/>
                            <a:pt x="4402" y="185"/>
                            <a:pt x="4408" y="188"/>
                          </a:cubicBezTo>
                          <a:cubicBezTo>
                            <a:pt x="4413" y="190"/>
                            <a:pt x="4410" y="194"/>
                            <a:pt x="4413" y="201"/>
                          </a:cubicBezTo>
                          <a:cubicBezTo>
                            <a:pt x="4415" y="208"/>
                            <a:pt x="4419" y="211"/>
                            <a:pt x="4428" y="213"/>
                          </a:cubicBezTo>
                          <a:cubicBezTo>
                            <a:pt x="4436" y="215"/>
                            <a:pt x="4436" y="217"/>
                            <a:pt x="4447" y="210"/>
                          </a:cubicBezTo>
                          <a:cubicBezTo>
                            <a:pt x="4458" y="204"/>
                            <a:pt x="4459" y="196"/>
                            <a:pt x="4474" y="196"/>
                          </a:cubicBezTo>
                          <a:cubicBezTo>
                            <a:pt x="4490" y="196"/>
                            <a:pt x="4484" y="192"/>
                            <a:pt x="4499" y="185"/>
                          </a:cubicBezTo>
                          <a:cubicBezTo>
                            <a:pt x="4514" y="178"/>
                            <a:pt x="4525" y="173"/>
                            <a:pt x="4532" y="173"/>
                          </a:cubicBezTo>
                          <a:cubicBezTo>
                            <a:pt x="4538" y="173"/>
                            <a:pt x="4544" y="175"/>
                            <a:pt x="4547" y="181"/>
                          </a:cubicBezTo>
                          <a:cubicBezTo>
                            <a:pt x="4550" y="188"/>
                            <a:pt x="4543" y="190"/>
                            <a:pt x="4548" y="198"/>
                          </a:cubicBezTo>
                          <a:cubicBezTo>
                            <a:pt x="4553" y="207"/>
                            <a:pt x="4560" y="213"/>
                            <a:pt x="4563" y="206"/>
                          </a:cubicBezTo>
                          <a:cubicBezTo>
                            <a:pt x="4566" y="199"/>
                            <a:pt x="4568" y="189"/>
                            <a:pt x="4581" y="194"/>
                          </a:cubicBezTo>
                          <a:cubicBezTo>
                            <a:pt x="4594" y="198"/>
                            <a:pt x="4601" y="208"/>
                            <a:pt x="4608" y="214"/>
                          </a:cubicBezTo>
                          <a:cubicBezTo>
                            <a:pt x="4615" y="220"/>
                            <a:pt x="4621" y="222"/>
                            <a:pt x="4636" y="224"/>
                          </a:cubicBezTo>
                          <a:cubicBezTo>
                            <a:pt x="4651" y="226"/>
                            <a:pt x="4641" y="226"/>
                            <a:pt x="4665" y="225"/>
                          </a:cubicBezTo>
                          <a:cubicBezTo>
                            <a:pt x="4690" y="224"/>
                            <a:pt x="4685" y="215"/>
                            <a:pt x="4701" y="212"/>
                          </a:cubicBezTo>
                          <a:cubicBezTo>
                            <a:pt x="4716" y="209"/>
                            <a:pt x="4722" y="207"/>
                            <a:pt x="4733" y="207"/>
                          </a:cubicBezTo>
                          <a:cubicBezTo>
                            <a:pt x="4744" y="207"/>
                            <a:pt x="4746" y="198"/>
                            <a:pt x="4759" y="205"/>
                          </a:cubicBezTo>
                          <a:cubicBezTo>
                            <a:pt x="4766" y="208"/>
                            <a:pt x="4771" y="211"/>
                            <a:pt x="4776" y="213"/>
                          </a:cubicBezTo>
                          <a:cubicBezTo>
                            <a:pt x="4781" y="224"/>
                            <a:pt x="4784" y="228"/>
                            <a:pt x="4795" y="228"/>
                          </a:cubicBezTo>
                          <a:cubicBezTo>
                            <a:pt x="4799" y="228"/>
                            <a:pt x="4803" y="227"/>
                            <a:pt x="4807" y="227"/>
                          </a:cubicBezTo>
                          <a:cubicBezTo>
                            <a:pt x="4810" y="226"/>
                            <a:pt x="4813" y="226"/>
                            <a:pt x="4816" y="226"/>
                          </a:cubicBezTo>
                          <a:cubicBezTo>
                            <a:pt x="4817" y="227"/>
                            <a:pt x="4817" y="229"/>
                            <a:pt x="4818" y="232"/>
                          </a:cubicBezTo>
                          <a:cubicBezTo>
                            <a:pt x="4819" y="235"/>
                            <a:pt x="4820" y="238"/>
                            <a:pt x="4822" y="242"/>
                          </a:cubicBezTo>
                          <a:cubicBezTo>
                            <a:pt x="4823" y="245"/>
                            <a:pt x="4824" y="247"/>
                            <a:pt x="4826" y="250"/>
                          </a:cubicBezTo>
                          <a:cubicBezTo>
                            <a:pt x="4826" y="250"/>
                            <a:pt x="4825" y="251"/>
                            <a:pt x="4825" y="251"/>
                          </a:cubicBezTo>
                          <a:cubicBezTo>
                            <a:pt x="4826" y="258"/>
                            <a:pt x="4828" y="261"/>
                            <a:pt x="4822" y="261"/>
                          </a:cubicBezTo>
                          <a:cubicBezTo>
                            <a:pt x="4816" y="262"/>
                            <a:pt x="4804" y="257"/>
                            <a:pt x="4798" y="260"/>
                          </a:cubicBezTo>
                          <a:cubicBezTo>
                            <a:pt x="4792" y="262"/>
                            <a:pt x="4793" y="265"/>
                            <a:pt x="4787" y="266"/>
                          </a:cubicBezTo>
                          <a:cubicBezTo>
                            <a:pt x="4780" y="267"/>
                            <a:pt x="4772" y="263"/>
                            <a:pt x="4766" y="260"/>
                          </a:cubicBezTo>
                          <a:cubicBezTo>
                            <a:pt x="4759" y="256"/>
                            <a:pt x="4754" y="252"/>
                            <a:pt x="4747" y="254"/>
                          </a:cubicBezTo>
                          <a:cubicBezTo>
                            <a:pt x="4739" y="256"/>
                            <a:pt x="4735" y="260"/>
                            <a:pt x="4726" y="264"/>
                          </a:cubicBezTo>
                          <a:cubicBezTo>
                            <a:pt x="4718" y="268"/>
                            <a:pt x="4722" y="269"/>
                            <a:pt x="4709" y="268"/>
                          </a:cubicBezTo>
                          <a:cubicBezTo>
                            <a:pt x="4696" y="267"/>
                            <a:pt x="4689" y="265"/>
                            <a:pt x="4684" y="270"/>
                          </a:cubicBezTo>
                          <a:cubicBezTo>
                            <a:pt x="4679" y="276"/>
                            <a:pt x="4675" y="287"/>
                            <a:pt x="4670" y="288"/>
                          </a:cubicBezTo>
                          <a:cubicBezTo>
                            <a:pt x="4664" y="288"/>
                            <a:pt x="4660" y="289"/>
                            <a:pt x="4663" y="282"/>
                          </a:cubicBezTo>
                          <a:cubicBezTo>
                            <a:pt x="4666" y="275"/>
                            <a:pt x="4669" y="270"/>
                            <a:pt x="4662" y="273"/>
                          </a:cubicBezTo>
                          <a:cubicBezTo>
                            <a:pt x="4656" y="275"/>
                            <a:pt x="4651" y="281"/>
                            <a:pt x="4648" y="276"/>
                          </a:cubicBezTo>
                          <a:cubicBezTo>
                            <a:pt x="4645" y="272"/>
                            <a:pt x="4643" y="269"/>
                            <a:pt x="4639" y="272"/>
                          </a:cubicBezTo>
                          <a:cubicBezTo>
                            <a:pt x="4635" y="275"/>
                            <a:pt x="4631" y="273"/>
                            <a:pt x="4623" y="299"/>
                          </a:cubicBezTo>
                          <a:cubicBezTo>
                            <a:pt x="4617" y="315"/>
                            <a:pt x="4610" y="315"/>
                            <a:pt x="4604" y="325"/>
                          </a:cubicBezTo>
                          <a:cubicBezTo>
                            <a:pt x="4597" y="335"/>
                            <a:pt x="4587" y="339"/>
                            <a:pt x="4585" y="351"/>
                          </a:cubicBezTo>
                          <a:cubicBezTo>
                            <a:pt x="4584" y="364"/>
                            <a:pt x="4573" y="371"/>
                            <a:pt x="4587" y="367"/>
                          </a:cubicBezTo>
                          <a:cubicBezTo>
                            <a:pt x="4601" y="363"/>
                            <a:pt x="4603" y="355"/>
                            <a:pt x="4611" y="349"/>
                          </a:cubicBezTo>
                          <a:cubicBezTo>
                            <a:pt x="4619" y="342"/>
                            <a:pt x="4630" y="336"/>
                            <a:pt x="4630" y="331"/>
                          </a:cubicBezTo>
                          <a:cubicBezTo>
                            <a:pt x="4630" y="326"/>
                            <a:pt x="4635" y="321"/>
                            <a:pt x="4637" y="321"/>
                          </a:cubicBezTo>
                          <a:cubicBezTo>
                            <a:pt x="4640" y="321"/>
                            <a:pt x="4640" y="335"/>
                            <a:pt x="4638" y="340"/>
                          </a:cubicBezTo>
                          <a:cubicBezTo>
                            <a:pt x="4636" y="345"/>
                            <a:pt x="4629" y="350"/>
                            <a:pt x="4625" y="355"/>
                          </a:cubicBezTo>
                          <a:cubicBezTo>
                            <a:pt x="4622" y="361"/>
                            <a:pt x="4622" y="367"/>
                            <a:pt x="4620" y="376"/>
                          </a:cubicBezTo>
                          <a:cubicBezTo>
                            <a:pt x="4617" y="386"/>
                            <a:pt x="4618" y="381"/>
                            <a:pt x="4610" y="402"/>
                          </a:cubicBezTo>
                          <a:cubicBezTo>
                            <a:pt x="4602" y="424"/>
                            <a:pt x="4603" y="425"/>
                            <a:pt x="4599" y="444"/>
                          </a:cubicBezTo>
                          <a:cubicBezTo>
                            <a:pt x="4596" y="462"/>
                            <a:pt x="4588" y="458"/>
                            <a:pt x="4591" y="477"/>
                          </a:cubicBezTo>
                          <a:cubicBezTo>
                            <a:pt x="4594" y="497"/>
                            <a:pt x="4593" y="502"/>
                            <a:pt x="4595" y="520"/>
                          </a:cubicBezTo>
                          <a:cubicBezTo>
                            <a:pt x="4597" y="537"/>
                            <a:pt x="4591" y="539"/>
                            <a:pt x="4598" y="553"/>
                          </a:cubicBezTo>
                          <a:cubicBezTo>
                            <a:pt x="4605" y="568"/>
                            <a:pt x="4605" y="573"/>
                            <a:pt x="4617" y="582"/>
                          </a:cubicBezTo>
                          <a:cubicBezTo>
                            <a:pt x="4628" y="590"/>
                            <a:pt x="4625" y="599"/>
                            <a:pt x="4640" y="585"/>
                          </a:cubicBezTo>
                          <a:cubicBezTo>
                            <a:pt x="4655" y="571"/>
                            <a:pt x="4659" y="565"/>
                            <a:pt x="4671" y="554"/>
                          </a:cubicBezTo>
                          <a:cubicBezTo>
                            <a:pt x="4683" y="543"/>
                            <a:pt x="4689" y="539"/>
                            <a:pt x="4689" y="519"/>
                          </a:cubicBezTo>
                          <a:cubicBezTo>
                            <a:pt x="4690" y="499"/>
                            <a:pt x="4699" y="497"/>
                            <a:pt x="4689" y="479"/>
                          </a:cubicBezTo>
                          <a:cubicBezTo>
                            <a:pt x="4679" y="460"/>
                            <a:pt x="4670" y="464"/>
                            <a:pt x="4673" y="442"/>
                          </a:cubicBezTo>
                          <a:cubicBezTo>
                            <a:pt x="4675" y="420"/>
                            <a:pt x="4664" y="418"/>
                            <a:pt x="4677" y="395"/>
                          </a:cubicBezTo>
                          <a:cubicBezTo>
                            <a:pt x="4689" y="373"/>
                            <a:pt x="4691" y="368"/>
                            <a:pt x="4697" y="355"/>
                          </a:cubicBezTo>
                          <a:cubicBezTo>
                            <a:pt x="4704" y="342"/>
                            <a:pt x="4704" y="348"/>
                            <a:pt x="4716" y="339"/>
                          </a:cubicBezTo>
                          <a:cubicBezTo>
                            <a:pt x="4728" y="331"/>
                            <a:pt x="4724" y="330"/>
                            <a:pt x="4727" y="330"/>
                          </a:cubicBezTo>
                          <a:cubicBezTo>
                            <a:pt x="4731" y="330"/>
                            <a:pt x="4731" y="338"/>
                            <a:pt x="4731" y="345"/>
                          </a:cubicBezTo>
                          <a:cubicBezTo>
                            <a:pt x="4731" y="353"/>
                            <a:pt x="4743" y="345"/>
                            <a:pt x="4743" y="339"/>
                          </a:cubicBezTo>
                          <a:cubicBezTo>
                            <a:pt x="4743" y="332"/>
                            <a:pt x="4737" y="326"/>
                            <a:pt x="4747" y="321"/>
                          </a:cubicBezTo>
                          <a:cubicBezTo>
                            <a:pt x="4756" y="315"/>
                            <a:pt x="4765" y="318"/>
                            <a:pt x="4768" y="313"/>
                          </a:cubicBezTo>
                          <a:cubicBezTo>
                            <a:pt x="4770" y="308"/>
                            <a:pt x="4769" y="302"/>
                            <a:pt x="4769" y="294"/>
                          </a:cubicBezTo>
                          <a:cubicBezTo>
                            <a:pt x="4770" y="287"/>
                            <a:pt x="4769" y="282"/>
                            <a:pt x="4776" y="280"/>
                          </a:cubicBezTo>
                          <a:cubicBezTo>
                            <a:pt x="4782" y="278"/>
                            <a:pt x="4787" y="274"/>
                            <a:pt x="4801" y="286"/>
                          </a:cubicBezTo>
                          <a:cubicBezTo>
                            <a:pt x="4815" y="299"/>
                            <a:pt x="4817" y="297"/>
                            <a:pt x="4829" y="303"/>
                          </a:cubicBezTo>
                          <a:cubicBezTo>
                            <a:pt x="4841" y="309"/>
                            <a:pt x="4846" y="309"/>
                            <a:pt x="4854" y="314"/>
                          </a:cubicBezTo>
                          <a:cubicBezTo>
                            <a:pt x="4861" y="319"/>
                            <a:pt x="4865" y="319"/>
                            <a:pt x="4867" y="328"/>
                          </a:cubicBezTo>
                          <a:cubicBezTo>
                            <a:pt x="4869" y="338"/>
                            <a:pt x="4863" y="331"/>
                            <a:pt x="4867" y="343"/>
                          </a:cubicBezTo>
                          <a:cubicBezTo>
                            <a:pt x="4870" y="354"/>
                            <a:pt x="4876" y="354"/>
                            <a:pt x="4873" y="363"/>
                          </a:cubicBezTo>
                          <a:cubicBezTo>
                            <a:pt x="4870" y="373"/>
                            <a:pt x="4873" y="380"/>
                            <a:pt x="4869" y="384"/>
                          </a:cubicBezTo>
                          <a:cubicBezTo>
                            <a:pt x="4865" y="387"/>
                            <a:pt x="4858" y="384"/>
                            <a:pt x="4856" y="392"/>
                          </a:cubicBezTo>
                          <a:cubicBezTo>
                            <a:pt x="4854" y="401"/>
                            <a:pt x="4856" y="406"/>
                            <a:pt x="4850" y="410"/>
                          </a:cubicBezTo>
                          <a:cubicBezTo>
                            <a:pt x="4845" y="414"/>
                            <a:pt x="4834" y="413"/>
                            <a:pt x="4834" y="421"/>
                          </a:cubicBezTo>
                          <a:cubicBezTo>
                            <a:pt x="4834" y="429"/>
                            <a:pt x="4825" y="438"/>
                            <a:pt x="4836" y="438"/>
                          </a:cubicBezTo>
                          <a:cubicBezTo>
                            <a:pt x="4847" y="439"/>
                            <a:pt x="4848" y="439"/>
                            <a:pt x="4861" y="429"/>
                          </a:cubicBezTo>
                          <a:cubicBezTo>
                            <a:pt x="4874" y="419"/>
                            <a:pt x="4881" y="416"/>
                            <a:pt x="4889" y="412"/>
                          </a:cubicBezTo>
                          <a:cubicBezTo>
                            <a:pt x="4897" y="408"/>
                            <a:pt x="4905" y="413"/>
                            <a:pt x="4907" y="423"/>
                          </a:cubicBezTo>
                          <a:cubicBezTo>
                            <a:pt x="4910" y="434"/>
                            <a:pt x="4912" y="440"/>
                            <a:pt x="4915" y="450"/>
                          </a:cubicBezTo>
                          <a:cubicBezTo>
                            <a:pt x="4918" y="460"/>
                            <a:pt x="4914" y="481"/>
                            <a:pt x="4924" y="483"/>
                          </a:cubicBezTo>
                          <a:cubicBezTo>
                            <a:pt x="4919" y="496"/>
                            <a:pt x="4915" y="507"/>
                            <a:pt x="4914" y="510"/>
                          </a:cubicBezTo>
                          <a:cubicBezTo>
                            <a:pt x="4911" y="513"/>
                            <a:pt x="4904" y="519"/>
                            <a:pt x="4897" y="525"/>
                          </a:cubicBezTo>
                          <a:cubicBezTo>
                            <a:pt x="4892" y="529"/>
                            <a:pt x="4887" y="533"/>
                            <a:pt x="4885" y="536"/>
                          </a:cubicBezTo>
                          <a:cubicBezTo>
                            <a:pt x="4882" y="540"/>
                            <a:pt x="4878" y="547"/>
                            <a:pt x="4877" y="554"/>
                          </a:cubicBezTo>
                          <a:cubicBezTo>
                            <a:pt x="4876" y="560"/>
                            <a:pt x="4877" y="565"/>
                            <a:pt x="4880" y="570"/>
                          </a:cubicBezTo>
                          <a:cubicBezTo>
                            <a:pt x="4875" y="572"/>
                            <a:pt x="4869" y="574"/>
                            <a:pt x="4866" y="577"/>
                          </a:cubicBezTo>
                          <a:cubicBezTo>
                            <a:pt x="4860" y="582"/>
                            <a:pt x="4863" y="583"/>
                            <a:pt x="4867" y="592"/>
                          </a:cubicBezTo>
                          <a:cubicBezTo>
                            <a:pt x="4871" y="600"/>
                            <a:pt x="4886" y="597"/>
                            <a:pt x="4893" y="599"/>
                          </a:cubicBezTo>
                          <a:cubicBezTo>
                            <a:pt x="4900" y="601"/>
                            <a:pt x="4896" y="602"/>
                            <a:pt x="4900" y="607"/>
                          </a:cubicBezTo>
                          <a:cubicBezTo>
                            <a:pt x="4903" y="612"/>
                            <a:pt x="4912" y="609"/>
                            <a:pt x="4924" y="610"/>
                          </a:cubicBezTo>
                          <a:cubicBezTo>
                            <a:pt x="4936" y="611"/>
                            <a:pt x="4958" y="608"/>
                            <a:pt x="4971" y="601"/>
                          </a:cubicBezTo>
                          <a:cubicBezTo>
                            <a:pt x="4984" y="594"/>
                            <a:pt x="4991" y="587"/>
                            <a:pt x="5005" y="578"/>
                          </a:cubicBezTo>
                          <a:cubicBezTo>
                            <a:pt x="5019" y="569"/>
                            <a:pt x="5042" y="567"/>
                            <a:pt x="5059" y="561"/>
                          </a:cubicBezTo>
                          <a:cubicBezTo>
                            <a:pt x="5077" y="556"/>
                            <a:pt x="5083" y="553"/>
                            <a:pt x="5093" y="545"/>
                          </a:cubicBezTo>
                          <a:cubicBezTo>
                            <a:pt x="5102" y="537"/>
                            <a:pt x="5114" y="534"/>
                            <a:pt x="5124" y="526"/>
                          </a:cubicBezTo>
                          <a:cubicBezTo>
                            <a:pt x="5135" y="517"/>
                            <a:pt x="5143" y="521"/>
                            <a:pt x="5151" y="516"/>
                          </a:cubicBezTo>
                          <a:cubicBezTo>
                            <a:pt x="5159" y="511"/>
                            <a:pt x="5155" y="506"/>
                            <a:pt x="5151" y="500"/>
                          </a:cubicBezTo>
                          <a:cubicBezTo>
                            <a:pt x="5148" y="496"/>
                            <a:pt x="5147" y="495"/>
                            <a:pt x="5145" y="494"/>
                          </a:cubicBezTo>
                          <a:cubicBezTo>
                            <a:pt x="5142" y="487"/>
                            <a:pt x="5138" y="475"/>
                            <a:pt x="5137" y="468"/>
                          </a:cubicBezTo>
                          <a:cubicBezTo>
                            <a:pt x="5139" y="467"/>
                            <a:pt x="5142" y="467"/>
                            <a:pt x="5144" y="466"/>
                          </a:cubicBezTo>
                          <a:cubicBezTo>
                            <a:pt x="5161" y="463"/>
                            <a:pt x="5170" y="463"/>
                            <a:pt x="5181" y="463"/>
                          </a:cubicBezTo>
                          <a:cubicBezTo>
                            <a:pt x="5192" y="463"/>
                            <a:pt x="5210" y="460"/>
                            <a:pt x="5219" y="465"/>
                          </a:cubicBezTo>
                          <a:cubicBezTo>
                            <a:pt x="5228" y="469"/>
                            <a:pt x="5239" y="471"/>
                            <a:pt x="5253" y="470"/>
                          </a:cubicBezTo>
                          <a:cubicBezTo>
                            <a:pt x="5266" y="470"/>
                            <a:pt x="5289" y="466"/>
                            <a:pt x="5294" y="458"/>
                          </a:cubicBezTo>
                          <a:cubicBezTo>
                            <a:pt x="5300" y="450"/>
                            <a:pt x="5308" y="449"/>
                            <a:pt x="5309" y="443"/>
                          </a:cubicBezTo>
                          <a:cubicBezTo>
                            <a:pt x="5310" y="436"/>
                            <a:pt x="5306" y="431"/>
                            <a:pt x="5310" y="425"/>
                          </a:cubicBezTo>
                          <a:cubicBezTo>
                            <a:pt x="5313" y="419"/>
                            <a:pt x="5319" y="424"/>
                            <a:pt x="5318" y="411"/>
                          </a:cubicBezTo>
                          <a:cubicBezTo>
                            <a:pt x="5318" y="406"/>
                            <a:pt x="5319" y="401"/>
                            <a:pt x="5319" y="397"/>
                          </a:cubicBezTo>
                          <a:cubicBezTo>
                            <a:pt x="5324" y="393"/>
                            <a:pt x="5331" y="388"/>
                            <a:pt x="5337" y="383"/>
                          </a:cubicBezTo>
                          <a:cubicBezTo>
                            <a:pt x="5360" y="366"/>
                            <a:pt x="5386" y="348"/>
                            <a:pt x="5390" y="347"/>
                          </a:cubicBezTo>
                          <a:cubicBezTo>
                            <a:pt x="5394" y="345"/>
                            <a:pt x="5406" y="344"/>
                            <a:pt x="5419" y="343"/>
                          </a:cubicBezTo>
                          <a:cubicBezTo>
                            <a:pt x="5430" y="342"/>
                            <a:pt x="5441" y="342"/>
                            <a:pt x="5448" y="343"/>
                          </a:cubicBezTo>
                          <a:cubicBezTo>
                            <a:pt x="5453" y="344"/>
                            <a:pt x="5473" y="344"/>
                            <a:pt x="5496" y="344"/>
                          </a:cubicBezTo>
                          <a:cubicBezTo>
                            <a:pt x="5536" y="343"/>
                            <a:pt x="5588" y="342"/>
                            <a:pt x="5593" y="341"/>
                          </a:cubicBezTo>
                          <a:cubicBezTo>
                            <a:pt x="5600" y="341"/>
                            <a:pt x="5604" y="334"/>
                            <a:pt x="5607" y="328"/>
                          </a:cubicBezTo>
                          <a:cubicBezTo>
                            <a:pt x="5609" y="325"/>
                            <a:pt x="5610" y="321"/>
                            <a:pt x="5612" y="320"/>
                          </a:cubicBezTo>
                          <a:cubicBezTo>
                            <a:pt x="5615" y="319"/>
                            <a:pt x="5618" y="319"/>
                            <a:pt x="5622" y="320"/>
                          </a:cubicBezTo>
                          <a:cubicBezTo>
                            <a:pt x="5625" y="321"/>
                            <a:pt x="5628" y="321"/>
                            <a:pt x="5633" y="322"/>
                          </a:cubicBezTo>
                          <a:cubicBezTo>
                            <a:pt x="5646" y="322"/>
                            <a:pt x="5666" y="290"/>
                            <a:pt x="5676" y="275"/>
                          </a:cubicBezTo>
                          <a:cubicBezTo>
                            <a:pt x="5677" y="273"/>
                            <a:pt x="5678" y="272"/>
                            <a:pt x="5679" y="271"/>
                          </a:cubicBezTo>
                          <a:cubicBezTo>
                            <a:pt x="5683" y="264"/>
                            <a:pt x="5683" y="260"/>
                            <a:pt x="5684" y="256"/>
                          </a:cubicBezTo>
                          <a:cubicBezTo>
                            <a:pt x="5684" y="253"/>
                            <a:pt x="5684" y="250"/>
                            <a:pt x="5687" y="247"/>
                          </a:cubicBezTo>
                          <a:cubicBezTo>
                            <a:pt x="5691" y="242"/>
                            <a:pt x="5696" y="231"/>
                            <a:pt x="5702" y="220"/>
                          </a:cubicBezTo>
                          <a:cubicBezTo>
                            <a:pt x="5706" y="212"/>
                            <a:pt x="5710" y="204"/>
                            <a:pt x="5713" y="198"/>
                          </a:cubicBezTo>
                          <a:cubicBezTo>
                            <a:pt x="5715" y="196"/>
                            <a:pt x="5716" y="193"/>
                            <a:pt x="5718" y="190"/>
                          </a:cubicBezTo>
                          <a:cubicBezTo>
                            <a:pt x="5726" y="177"/>
                            <a:pt x="5735" y="162"/>
                            <a:pt x="5742" y="158"/>
                          </a:cubicBezTo>
                          <a:cubicBezTo>
                            <a:pt x="5745" y="156"/>
                            <a:pt x="5747" y="159"/>
                            <a:pt x="5750" y="162"/>
                          </a:cubicBezTo>
                          <a:cubicBezTo>
                            <a:pt x="5753" y="165"/>
                            <a:pt x="5757" y="169"/>
                            <a:pt x="5761" y="170"/>
                          </a:cubicBezTo>
                          <a:cubicBezTo>
                            <a:pt x="5768" y="172"/>
                            <a:pt x="5776" y="170"/>
                            <a:pt x="5784" y="167"/>
                          </a:cubicBezTo>
                          <a:cubicBezTo>
                            <a:pt x="5789" y="165"/>
                            <a:pt x="5794" y="163"/>
                            <a:pt x="5798" y="163"/>
                          </a:cubicBezTo>
                          <a:cubicBezTo>
                            <a:pt x="5802" y="163"/>
                            <a:pt x="5806" y="165"/>
                            <a:pt x="5811" y="168"/>
                          </a:cubicBezTo>
                          <a:cubicBezTo>
                            <a:pt x="5816" y="172"/>
                            <a:pt x="5821" y="176"/>
                            <a:pt x="5826" y="181"/>
                          </a:cubicBezTo>
                          <a:cubicBezTo>
                            <a:pt x="5831" y="186"/>
                            <a:pt x="5830" y="218"/>
                            <a:pt x="5830" y="245"/>
                          </a:cubicBezTo>
                          <a:cubicBezTo>
                            <a:pt x="5829" y="264"/>
                            <a:pt x="5829" y="280"/>
                            <a:pt x="5832" y="284"/>
                          </a:cubicBezTo>
                          <a:cubicBezTo>
                            <a:pt x="5835" y="288"/>
                            <a:pt x="5838" y="289"/>
                            <a:pt x="5841" y="289"/>
                          </a:cubicBezTo>
                          <a:cubicBezTo>
                            <a:pt x="5844" y="290"/>
                            <a:pt x="5847" y="290"/>
                            <a:pt x="5849" y="295"/>
                          </a:cubicBezTo>
                          <a:cubicBezTo>
                            <a:pt x="5852" y="302"/>
                            <a:pt x="5853" y="309"/>
                            <a:pt x="5853" y="314"/>
                          </a:cubicBezTo>
                          <a:cubicBezTo>
                            <a:pt x="5853" y="314"/>
                            <a:pt x="5853" y="314"/>
                            <a:pt x="5853" y="314"/>
                          </a:cubicBezTo>
                          <a:cubicBezTo>
                            <a:pt x="5853" y="316"/>
                            <a:pt x="5853" y="319"/>
                            <a:pt x="5854" y="321"/>
                          </a:cubicBezTo>
                          <a:cubicBezTo>
                            <a:pt x="5856" y="328"/>
                            <a:pt x="5860" y="329"/>
                            <a:pt x="5865" y="329"/>
                          </a:cubicBezTo>
                          <a:cubicBezTo>
                            <a:pt x="5867" y="330"/>
                            <a:pt x="5869" y="330"/>
                            <a:pt x="5871" y="331"/>
                          </a:cubicBezTo>
                          <a:cubicBezTo>
                            <a:pt x="5871" y="331"/>
                            <a:pt x="5872" y="332"/>
                            <a:pt x="5874" y="333"/>
                          </a:cubicBezTo>
                          <a:cubicBezTo>
                            <a:pt x="5872" y="336"/>
                            <a:pt x="5872" y="340"/>
                            <a:pt x="5875" y="343"/>
                          </a:cubicBezTo>
                          <a:cubicBezTo>
                            <a:pt x="5879" y="347"/>
                            <a:pt x="5886" y="346"/>
                            <a:pt x="5887" y="351"/>
                          </a:cubicBezTo>
                          <a:cubicBezTo>
                            <a:pt x="5888" y="356"/>
                            <a:pt x="5888" y="358"/>
                            <a:pt x="5886" y="360"/>
                          </a:cubicBezTo>
                          <a:cubicBezTo>
                            <a:pt x="5883" y="362"/>
                            <a:pt x="5880" y="361"/>
                            <a:pt x="5876" y="363"/>
                          </a:cubicBezTo>
                          <a:cubicBezTo>
                            <a:pt x="5872" y="364"/>
                            <a:pt x="5869" y="363"/>
                            <a:pt x="5861" y="363"/>
                          </a:cubicBezTo>
                          <a:cubicBezTo>
                            <a:pt x="5853" y="362"/>
                            <a:pt x="5852" y="362"/>
                            <a:pt x="5845" y="367"/>
                          </a:cubicBezTo>
                          <a:cubicBezTo>
                            <a:pt x="5838" y="372"/>
                            <a:pt x="5831" y="376"/>
                            <a:pt x="5830" y="379"/>
                          </a:cubicBezTo>
                          <a:cubicBezTo>
                            <a:pt x="5828" y="382"/>
                            <a:pt x="5824" y="381"/>
                            <a:pt x="5821" y="382"/>
                          </a:cubicBezTo>
                          <a:cubicBezTo>
                            <a:pt x="5819" y="382"/>
                            <a:pt x="5814" y="378"/>
                            <a:pt x="5812" y="378"/>
                          </a:cubicBezTo>
                          <a:cubicBezTo>
                            <a:pt x="5809" y="378"/>
                            <a:pt x="5803" y="377"/>
                            <a:pt x="5802" y="379"/>
                          </a:cubicBezTo>
                          <a:cubicBezTo>
                            <a:pt x="5800" y="380"/>
                            <a:pt x="5796" y="381"/>
                            <a:pt x="5794" y="386"/>
                          </a:cubicBezTo>
                          <a:cubicBezTo>
                            <a:pt x="5792" y="390"/>
                            <a:pt x="5789" y="391"/>
                            <a:pt x="5786" y="391"/>
                          </a:cubicBezTo>
                          <a:cubicBezTo>
                            <a:pt x="5783" y="390"/>
                            <a:pt x="5778" y="387"/>
                            <a:pt x="5778" y="387"/>
                          </a:cubicBezTo>
                          <a:cubicBezTo>
                            <a:pt x="5778" y="387"/>
                            <a:pt x="5777" y="380"/>
                            <a:pt x="5776" y="376"/>
                          </a:cubicBezTo>
                          <a:cubicBezTo>
                            <a:pt x="5774" y="372"/>
                            <a:pt x="5765" y="367"/>
                            <a:pt x="5765" y="374"/>
                          </a:cubicBezTo>
                          <a:cubicBezTo>
                            <a:pt x="5765" y="380"/>
                            <a:pt x="5767" y="384"/>
                            <a:pt x="5763" y="389"/>
                          </a:cubicBezTo>
                          <a:cubicBezTo>
                            <a:pt x="5760" y="395"/>
                            <a:pt x="5758" y="403"/>
                            <a:pt x="5755" y="406"/>
                          </a:cubicBezTo>
                          <a:cubicBezTo>
                            <a:pt x="5752" y="409"/>
                            <a:pt x="5746" y="412"/>
                            <a:pt x="5742" y="412"/>
                          </a:cubicBezTo>
                          <a:cubicBezTo>
                            <a:pt x="5738" y="412"/>
                            <a:pt x="5732" y="411"/>
                            <a:pt x="5729" y="413"/>
                          </a:cubicBezTo>
                          <a:cubicBezTo>
                            <a:pt x="5725" y="414"/>
                            <a:pt x="5714" y="409"/>
                            <a:pt x="5711" y="415"/>
                          </a:cubicBezTo>
                          <a:cubicBezTo>
                            <a:pt x="5709" y="421"/>
                            <a:pt x="5707" y="428"/>
                            <a:pt x="5701" y="428"/>
                          </a:cubicBezTo>
                          <a:cubicBezTo>
                            <a:pt x="5695" y="429"/>
                            <a:pt x="5688" y="428"/>
                            <a:pt x="5687" y="432"/>
                          </a:cubicBezTo>
                          <a:cubicBezTo>
                            <a:pt x="5685" y="435"/>
                            <a:pt x="5683" y="448"/>
                            <a:pt x="5683" y="448"/>
                          </a:cubicBezTo>
                          <a:cubicBezTo>
                            <a:pt x="5683" y="448"/>
                            <a:pt x="5670" y="462"/>
                            <a:pt x="5667" y="466"/>
                          </a:cubicBezTo>
                          <a:cubicBezTo>
                            <a:pt x="5664" y="469"/>
                            <a:pt x="5655" y="477"/>
                            <a:pt x="5653" y="480"/>
                          </a:cubicBezTo>
                          <a:cubicBezTo>
                            <a:pt x="5651" y="484"/>
                            <a:pt x="5648" y="486"/>
                            <a:pt x="5647" y="491"/>
                          </a:cubicBezTo>
                          <a:cubicBezTo>
                            <a:pt x="5647" y="496"/>
                            <a:pt x="5645" y="496"/>
                            <a:pt x="5648" y="501"/>
                          </a:cubicBezTo>
                          <a:cubicBezTo>
                            <a:pt x="5650" y="506"/>
                            <a:pt x="5653" y="508"/>
                            <a:pt x="5654" y="512"/>
                          </a:cubicBezTo>
                          <a:cubicBezTo>
                            <a:pt x="5655" y="516"/>
                            <a:pt x="5656" y="518"/>
                            <a:pt x="5654" y="520"/>
                          </a:cubicBezTo>
                          <a:cubicBezTo>
                            <a:pt x="5652" y="522"/>
                            <a:pt x="5647" y="522"/>
                            <a:pt x="5643" y="527"/>
                          </a:cubicBezTo>
                          <a:cubicBezTo>
                            <a:pt x="5639" y="531"/>
                            <a:pt x="5637" y="532"/>
                            <a:pt x="5637" y="535"/>
                          </a:cubicBezTo>
                          <a:cubicBezTo>
                            <a:pt x="5637" y="539"/>
                            <a:pt x="5637" y="539"/>
                            <a:pt x="5642" y="544"/>
                          </a:cubicBezTo>
                          <a:cubicBezTo>
                            <a:pt x="5646" y="548"/>
                            <a:pt x="5650" y="552"/>
                            <a:pt x="5653" y="557"/>
                          </a:cubicBezTo>
                          <a:cubicBezTo>
                            <a:pt x="5656" y="563"/>
                            <a:pt x="5659" y="563"/>
                            <a:pt x="5660" y="568"/>
                          </a:cubicBezTo>
                          <a:cubicBezTo>
                            <a:pt x="5662" y="574"/>
                            <a:pt x="5663" y="574"/>
                            <a:pt x="5666" y="578"/>
                          </a:cubicBezTo>
                          <a:cubicBezTo>
                            <a:pt x="5668" y="581"/>
                            <a:pt x="5670" y="585"/>
                            <a:pt x="5667" y="585"/>
                          </a:cubicBezTo>
                          <a:cubicBezTo>
                            <a:pt x="5665" y="586"/>
                            <a:pt x="5654" y="584"/>
                            <a:pt x="5650" y="586"/>
                          </a:cubicBezTo>
                          <a:cubicBezTo>
                            <a:pt x="5646" y="588"/>
                            <a:pt x="5642" y="593"/>
                            <a:pt x="5641" y="597"/>
                          </a:cubicBezTo>
                          <a:cubicBezTo>
                            <a:pt x="5639" y="600"/>
                            <a:pt x="5633" y="601"/>
                            <a:pt x="5631" y="601"/>
                          </a:cubicBezTo>
                          <a:cubicBezTo>
                            <a:pt x="5629" y="601"/>
                            <a:pt x="5626" y="597"/>
                            <a:pt x="5626" y="594"/>
                          </a:cubicBezTo>
                          <a:cubicBezTo>
                            <a:pt x="5626" y="591"/>
                            <a:pt x="5630" y="587"/>
                            <a:pt x="5629" y="583"/>
                          </a:cubicBezTo>
                          <a:cubicBezTo>
                            <a:pt x="5628" y="580"/>
                            <a:pt x="5626" y="576"/>
                            <a:pt x="5624" y="580"/>
                          </a:cubicBezTo>
                          <a:cubicBezTo>
                            <a:pt x="5623" y="583"/>
                            <a:pt x="5621" y="587"/>
                            <a:pt x="5617" y="585"/>
                          </a:cubicBezTo>
                          <a:cubicBezTo>
                            <a:pt x="5613" y="584"/>
                            <a:pt x="5611" y="580"/>
                            <a:pt x="5611" y="580"/>
                          </a:cubicBezTo>
                          <a:cubicBezTo>
                            <a:pt x="5611" y="580"/>
                            <a:pt x="5607" y="579"/>
                            <a:pt x="5606" y="581"/>
                          </a:cubicBezTo>
                          <a:cubicBezTo>
                            <a:pt x="5605" y="584"/>
                            <a:pt x="5605" y="590"/>
                            <a:pt x="5606" y="594"/>
                          </a:cubicBezTo>
                          <a:cubicBezTo>
                            <a:pt x="5608" y="598"/>
                            <a:pt x="5607" y="603"/>
                            <a:pt x="5606" y="607"/>
                          </a:cubicBezTo>
                          <a:cubicBezTo>
                            <a:pt x="5604" y="611"/>
                            <a:pt x="5600" y="612"/>
                            <a:pt x="5596" y="613"/>
                          </a:cubicBezTo>
                          <a:cubicBezTo>
                            <a:pt x="5593" y="613"/>
                            <a:pt x="5581" y="614"/>
                            <a:pt x="5577" y="614"/>
                          </a:cubicBezTo>
                          <a:cubicBezTo>
                            <a:pt x="5573" y="614"/>
                            <a:pt x="5548" y="616"/>
                            <a:pt x="5544" y="616"/>
                          </a:cubicBezTo>
                          <a:cubicBezTo>
                            <a:pt x="5539" y="616"/>
                            <a:pt x="5515" y="616"/>
                            <a:pt x="5505" y="621"/>
                          </a:cubicBezTo>
                          <a:cubicBezTo>
                            <a:pt x="5495" y="625"/>
                            <a:pt x="5481" y="630"/>
                            <a:pt x="5477" y="634"/>
                          </a:cubicBezTo>
                          <a:cubicBezTo>
                            <a:pt x="5473" y="637"/>
                            <a:pt x="5466" y="640"/>
                            <a:pt x="5463" y="644"/>
                          </a:cubicBezTo>
                          <a:cubicBezTo>
                            <a:pt x="5460" y="647"/>
                            <a:pt x="5461" y="649"/>
                            <a:pt x="5457" y="652"/>
                          </a:cubicBezTo>
                          <a:cubicBezTo>
                            <a:pt x="5454" y="655"/>
                            <a:pt x="5454" y="657"/>
                            <a:pt x="5453" y="655"/>
                          </a:cubicBezTo>
                          <a:cubicBezTo>
                            <a:pt x="5452" y="652"/>
                            <a:pt x="5453" y="651"/>
                            <a:pt x="5450" y="650"/>
                          </a:cubicBezTo>
                          <a:cubicBezTo>
                            <a:pt x="5448" y="650"/>
                            <a:pt x="5445" y="648"/>
                            <a:pt x="5443" y="651"/>
                          </a:cubicBezTo>
                          <a:cubicBezTo>
                            <a:pt x="5440" y="653"/>
                            <a:pt x="5438" y="654"/>
                            <a:pt x="5440" y="659"/>
                          </a:cubicBezTo>
                          <a:cubicBezTo>
                            <a:pt x="5442" y="663"/>
                            <a:pt x="5445" y="664"/>
                            <a:pt x="5442" y="667"/>
                          </a:cubicBezTo>
                          <a:cubicBezTo>
                            <a:pt x="5438" y="669"/>
                            <a:pt x="5436" y="669"/>
                            <a:pt x="5436" y="672"/>
                          </a:cubicBezTo>
                          <a:cubicBezTo>
                            <a:pt x="5435" y="676"/>
                            <a:pt x="5440" y="682"/>
                            <a:pt x="5440" y="682"/>
                          </a:cubicBezTo>
                          <a:cubicBezTo>
                            <a:pt x="5440" y="682"/>
                            <a:pt x="5446" y="680"/>
                            <a:pt x="5446" y="683"/>
                          </a:cubicBezTo>
                          <a:cubicBezTo>
                            <a:pt x="5447" y="687"/>
                            <a:pt x="5448" y="691"/>
                            <a:pt x="5448" y="696"/>
                          </a:cubicBezTo>
                          <a:cubicBezTo>
                            <a:pt x="5448" y="701"/>
                            <a:pt x="5446" y="705"/>
                            <a:pt x="5445" y="710"/>
                          </a:cubicBezTo>
                          <a:cubicBezTo>
                            <a:pt x="5443" y="715"/>
                            <a:pt x="5443" y="718"/>
                            <a:pt x="5443" y="724"/>
                          </a:cubicBezTo>
                          <a:cubicBezTo>
                            <a:pt x="5443" y="730"/>
                            <a:pt x="5439" y="738"/>
                            <a:pt x="5437" y="741"/>
                          </a:cubicBezTo>
                          <a:cubicBezTo>
                            <a:pt x="5435" y="744"/>
                            <a:pt x="5426" y="751"/>
                            <a:pt x="5419" y="757"/>
                          </a:cubicBezTo>
                          <a:cubicBezTo>
                            <a:pt x="5412" y="763"/>
                            <a:pt x="5407" y="773"/>
                            <a:pt x="5404" y="777"/>
                          </a:cubicBezTo>
                          <a:cubicBezTo>
                            <a:pt x="5402" y="781"/>
                            <a:pt x="5399" y="787"/>
                            <a:pt x="5395" y="787"/>
                          </a:cubicBezTo>
                          <a:cubicBezTo>
                            <a:pt x="5391" y="788"/>
                            <a:pt x="5391" y="788"/>
                            <a:pt x="5391" y="784"/>
                          </a:cubicBezTo>
                          <a:cubicBezTo>
                            <a:pt x="5390" y="780"/>
                            <a:pt x="5391" y="777"/>
                            <a:pt x="5388" y="775"/>
                          </a:cubicBezTo>
                          <a:cubicBezTo>
                            <a:pt x="5384" y="773"/>
                            <a:pt x="5382" y="772"/>
                            <a:pt x="5377" y="770"/>
                          </a:cubicBezTo>
                          <a:cubicBezTo>
                            <a:pt x="5372" y="768"/>
                            <a:pt x="5368" y="769"/>
                            <a:pt x="5367" y="764"/>
                          </a:cubicBezTo>
                          <a:cubicBezTo>
                            <a:pt x="5366" y="759"/>
                            <a:pt x="5364" y="759"/>
                            <a:pt x="5363" y="756"/>
                          </a:cubicBezTo>
                          <a:cubicBezTo>
                            <a:pt x="5362" y="754"/>
                            <a:pt x="5362" y="751"/>
                            <a:pt x="5363" y="748"/>
                          </a:cubicBezTo>
                          <a:cubicBezTo>
                            <a:pt x="5363" y="745"/>
                            <a:pt x="5364" y="739"/>
                            <a:pt x="5366" y="737"/>
                          </a:cubicBezTo>
                          <a:cubicBezTo>
                            <a:pt x="5368" y="735"/>
                            <a:pt x="5365" y="734"/>
                            <a:pt x="5370" y="729"/>
                          </a:cubicBezTo>
                          <a:cubicBezTo>
                            <a:pt x="5376" y="725"/>
                            <a:pt x="5379" y="722"/>
                            <a:pt x="5381" y="720"/>
                          </a:cubicBezTo>
                          <a:cubicBezTo>
                            <a:pt x="5383" y="717"/>
                            <a:pt x="5385" y="713"/>
                            <a:pt x="5385" y="713"/>
                          </a:cubicBezTo>
                          <a:cubicBezTo>
                            <a:pt x="5385" y="713"/>
                            <a:pt x="5381" y="707"/>
                            <a:pt x="5378" y="712"/>
                          </a:cubicBezTo>
                          <a:cubicBezTo>
                            <a:pt x="5376" y="716"/>
                            <a:pt x="5369" y="721"/>
                            <a:pt x="5365" y="725"/>
                          </a:cubicBezTo>
                          <a:cubicBezTo>
                            <a:pt x="5361" y="728"/>
                            <a:pt x="5356" y="728"/>
                            <a:pt x="5355" y="735"/>
                          </a:cubicBezTo>
                          <a:cubicBezTo>
                            <a:pt x="5354" y="741"/>
                            <a:pt x="5348" y="747"/>
                            <a:pt x="5352" y="755"/>
                          </a:cubicBezTo>
                          <a:cubicBezTo>
                            <a:pt x="5355" y="763"/>
                            <a:pt x="5358" y="767"/>
                            <a:pt x="5359" y="771"/>
                          </a:cubicBezTo>
                          <a:cubicBezTo>
                            <a:pt x="5361" y="774"/>
                            <a:pt x="5359" y="776"/>
                            <a:pt x="5362" y="780"/>
                          </a:cubicBezTo>
                          <a:cubicBezTo>
                            <a:pt x="5365" y="783"/>
                            <a:pt x="5367" y="783"/>
                            <a:pt x="5371" y="787"/>
                          </a:cubicBezTo>
                          <a:cubicBezTo>
                            <a:pt x="5374" y="791"/>
                            <a:pt x="5376" y="792"/>
                            <a:pt x="5377" y="796"/>
                          </a:cubicBezTo>
                          <a:cubicBezTo>
                            <a:pt x="5377" y="801"/>
                            <a:pt x="5371" y="806"/>
                            <a:pt x="5372" y="809"/>
                          </a:cubicBezTo>
                          <a:cubicBezTo>
                            <a:pt x="5373" y="813"/>
                            <a:pt x="5375" y="813"/>
                            <a:pt x="5378" y="815"/>
                          </a:cubicBezTo>
                          <a:cubicBezTo>
                            <a:pt x="5381" y="818"/>
                            <a:pt x="5383" y="822"/>
                            <a:pt x="5381" y="827"/>
                          </a:cubicBezTo>
                          <a:cubicBezTo>
                            <a:pt x="5379" y="832"/>
                            <a:pt x="5374" y="838"/>
                            <a:pt x="5371" y="842"/>
                          </a:cubicBezTo>
                          <a:cubicBezTo>
                            <a:pt x="5369" y="846"/>
                            <a:pt x="5367" y="855"/>
                            <a:pt x="5366" y="859"/>
                          </a:cubicBezTo>
                          <a:cubicBezTo>
                            <a:pt x="5366" y="864"/>
                            <a:pt x="5359" y="869"/>
                            <a:pt x="5357" y="874"/>
                          </a:cubicBezTo>
                          <a:cubicBezTo>
                            <a:pt x="5354" y="880"/>
                            <a:pt x="5350" y="890"/>
                            <a:pt x="5347" y="895"/>
                          </a:cubicBezTo>
                          <a:cubicBezTo>
                            <a:pt x="5343" y="900"/>
                            <a:pt x="5336" y="910"/>
                            <a:pt x="5332" y="910"/>
                          </a:cubicBezTo>
                          <a:cubicBezTo>
                            <a:pt x="5328" y="909"/>
                            <a:pt x="5328" y="907"/>
                            <a:pt x="5329" y="900"/>
                          </a:cubicBezTo>
                          <a:cubicBezTo>
                            <a:pt x="5330" y="893"/>
                            <a:pt x="5332" y="889"/>
                            <a:pt x="5334" y="884"/>
                          </a:cubicBezTo>
                          <a:cubicBezTo>
                            <a:pt x="5336" y="879"/>
                            <a:pt x="5340" y="872"/>
                            <a:pt x="5340" y="872"/>
                          </a:cubicBezTo>
                          <a:cubicBezTo>
                            <a:pt x="5340" y="872"/>
                            <a:pt x="5349" y="868"/>
                            <a:pt x="5347" y="863"/>
                          </a:cubicBezTo>
                          <a:cubicBezTo>
                            <a:pt x="5344" y="859"/>
                            <a:pt x="5339" y="858"/>
                            <a:pt x="5339" y="856"/>
                          </a:cubicBezTo>
                          <a:cubicBezTo>
                            <a:pt x="5339" y="853"/>
                            <a:pt x="5343" y="853"/>
                            <a:pt x="5340" y="850"/>
                          </a:cubicBezTo>
                          <a:cubicBezTo>
                            <a:pt x="5336" y="846"/>
                            <a:pt x="5335" y="842"/>
                            <a:pt x="5335" y="839"/>
                          </a:cubicBezTo>
                          <a:cubicBezTo>
                            <a:pt x="5335" y="836"/>
                            <a:pt x="5337" y="831"/>
                            <a:pt x="5335" y="830"/>
                          </a:cubicBezTo>
                          <a:cubicBezTo>
                            <a:pt x="5333" y="829"/>
                            <a:pt x="5334" y="834"/>
                            <a:pt x="5329" y="834"/>
                          </a:cubicBezTo>
                          <a:cubicBezTo>
                            <a:pt x="5323" y="835"/>
                            <a:pt x="5316" y="833"/>
                            <a:pt x="5315" y="832"/>
                          </a:cubicBezTo>
                          <a:cubicBezTo>
                            <a:pt x="5314" y="831"/>
                            <a:pt x="5310" y="824"/>
                            <a:pt x="5311" y="821"/>
                          </a:cubicBezTo>
                          <a:cubicBezTo>
                            <a:pt x="5311" y="818"/>
                            <a:pt x="5314" y="814"/>
                            <a:pt x="5317" y="815"/>
                          </a:cubicBezTo>
                          <a:cubicBezTo>
                            <a:pt x="5321" y="817"/>
                            <a:pt x="5325" y="818"/>
                            <a:pt x="5326" y="816"/>
                          </a:cubicBezTo>
                          <a:cubicBezTo>
                            <a:pt x="5327" y="814"/>
                            <a:pt x="5321" y="807"/>
                            <a:pt x="5321" y="807"/>
                          </a:cubicBezTo>
                          <a:cubicBezTo>
                            <a:pt x="5321" y="807"/>
                            <a:pt x="5318" y="801"/>
                            <a:pt x="5318" y="799"/>
                          </a:cubicBezTo>
                          <a:cubicBezTo>
                            <a:pt x="5318" y="796"/>
                            <a:pt x="5315" y="792"/>
                            <a:pt x="5315" y="788"/>
                          </a:cubicBezTo>
                          <a:cubicBezTo>
                            <a:pt x="5315" y="784"/>
                            <a:pt x="5318" y="783"/>
                            <a:pt x="5319" y="779"/>
                          </a:cubicBezTo>
                          <a:cubicBezTo>
                            <a:pt x="5321" y="776"/>
                            <a:pt x="5320" y="774"/>
                            <a:pt x="5318" y="773"/>
                          </a:cubicBezTo>
                          <a:cubicBezTo>
                            <a:pt x="5315" y="771"/>
                            <a:pt x="5314" y="770"/>
                            <a:pt x="5314" y="766"/>
                          </a:cubicBezTo>
                          <a:cubicBezTo>
                            <a:pt x="5315" y="762"/>
                            <a:pt x="5315" y="759"/>
                            <a:pt x="5318" y="759"/>
                          </a:cubicBezTo>
                          <a:cubicBezTo>
                            <a:pt x="5321" y="759"/>
                            <a:pt x="5326" y="760"/>
                            <a:pt x="5327" y="759"/>
                          </a:cubicBezTo>
                          <a:cubicBezTo>
                            <a:pt x="5328" y="757"/>
                            <a:pt x="5328" y="755"/>
                            <a:pt x="5327" y="753"/>
                          </a:cubicBezTo>
                          <a:cubicBezTo>
                            <a:pt x="5327" y="751"/>
                            <a:pt x="5325" y="751"/>
                            <a:pt x="5327" y="749"/>
                          </a:cubicBezTo>
                          <a:cubicBezTo>
                            <a:pt x="5329" y="747"/>
                            <a:pt x="5327" y="743"/>
                            <a:pt x="5326" y="742"/>
                          </a:cubicBezTo>
                          <a:cubicBezTo>
                            <a:pt x="5326" y="741"/>
                            <a:pt x="5320" y="739"/>
                            <a:pt x="5316" y="743"/>
                          </a:cubicBezTo>
                          <a:cubicBezTo>
                            <a:pt x="5313" y="747"/>
                            <a:pt x="5314" y="750"/>
                            <a:pt x="5309" y="753"/>
                          </a:cubicBezTo>
                          <a:cubicBezTo>
                            <a:pt x="5304" y="757"/>
                            <a:pt x="5302" y="757"/>
                            <a:pt x="5298" y="759"/>
                          </a:cubicBezTo>
                          <a:cubicBezTo>
                            <a:pt x="5294" y="761"/>
                            <a:pt x="5291" y="759"/>
                            <a:pt x="5289" y="765"/>
                          </a:cubicBezTo>
                          <a:cubicBezTo>
                            <a:pt x="5288" y="770"/>
                            <a:pt x="5289" y="772"/>
                            <a:pt x="5292" y="776"/>
                          </a:cubicBezTo>
                          <a:cubicBezTo>
                            <a:pt x="5295" y="779"/>
                            <a:pt x="5296" y="781"/>
                            <a:pt x="5296" y="785"/>
                          </a:cubicBezTo>
                          <a:cubicBezTo>
                            <a:pt x="5297" y="788"/>
                            <a:pt x="5299" y="788"/>
                            <a:pt x="5299" y="792"/>
                          </a:cubicBezTo>
                          <a:cubicBezTo>
                            <a:pt x="5299" y="796"/>
                            <a:pt x="5298" y="801"/>
                            <a:pt x="5296" y="804"/>
                          </a:cubicBezTo>
                          <a:cubicBezTo>
                            <a:pt x="5294" y="807"/>
                            <a:pt x="5293" y="810"/>
                            <a:pt x="5295" y="814"/>
                          </a:cubicBezTo>
                          <a:cubicBezTo>
                            <a:pt x="5296" y="818"/>
                            <a:pt x="5297" y="823"/>
                            <a:pt x="5295" y="823"/>
                          </a:cubicBezTo>
                          <a:cubicBezTo>
                            <a:pt x="5293" y="823"/>
                            <a:pt x="5290" y="822"/>
                            <a:pt x="5289" y="820"/>
                          </a:cubicBezTo>
                          <a:cubicBezTo>
                            <a:pt x="5288" y="818"/>
                            <a:pt x="5289" y="815"/>
                            <a:pt x="5287" y="813"/>
                          </a:cubicBezTo>
                          <a:cubicBezTo>
                            <a:pt x="5285" y="811"/>
                            <a:pt x="5283" y="809"/>
                            <a:pt x="5281" y="811"/>
                          </a:cubicBezTo>
                          <a:cubicBezTo>
                            <a:pt x="5279" y="814"/>
                            <a:pt x="5276" y="819"/>
                            <a:pt x="5280" y="822"/>
                          </a:cubicBezTo>
                          <a:cubicBezTo>
                            <a:pt x="5283" y="826"/>
                            <a:pt x="5284" y="828"/>
                            <a:pt x="5288" y="830"/>
                          </a:cubicBezTo>
                          <a:cubicBezTo>
                            <a:pt x="5292" y="832"/>
                            <a:pt x="5295" y="831"/>
                            <a:pt x="5298" y="834"/>
                          </a:cubicBezTo>
                          <a:cubicBezTo>
                            <a:pt x="5302" y="837"/>
                            <a:pt x="5305" y="844"/>
                            <a:pt x="5305" y="846"/>
                          </a:cubicBezTo>
                          <a:cubicBezTo>
                            <a:pt x="5305" y="848"/>
                            <a:pt x="5304" y="850"/>
                            <a:pt x="5301" y="848"/>
                          </a:cubicBezTo>
                          <a:cubicBezTo>
                            <a:pt x="5298" y="847"/>
                            <a:pt x="5295" y="843"/>
                            <a:pt x="5289" y="841"/>
                          </a:cubicBezTo>
                          <a:cubicBezTo>
                            <a:pt x="5284" y="840"/>
                            <a:pt x="5280" y="839"/>
                            <a:pt x="5277" y="836"/>
                          </a:cubicBezTo>
                          <a:cubicBezTo>
                            <a:pt x="5274" y="832"/>
                            <a:pt x="5275" y="831"/>
                            <a:pt x="5270" y="829"/>
                          </a:cubicBezTo>
                          <a:cubicBezTo>
                            <a:pt x="5265" y="826"/>
                            <a:pt x="5260" y="824"/>
                            <a:pt x="5259" y="822"/>
                          </a:cubicBezTo>
                          <a:cubicBezTo>
                            <a:pt x="5258" y="820"/>
                            <a:pt x="5257" y="815"/>
                            <a:pt x="5257" y="812"/>
                          </a:cubicBezTo>
                          <a:cubicBezTo>
                            <a:pt x="5258" y="809"/>
                            <a:pt x="5258" y="807"/>
                            <a:pt x="5255" y="807"/>
                          </a:cubicBezTo>
                          <a:cubicBezTo>
                            <a:pt x="5253" y="807"/>
                            <a:pt x="5252" y="809"/>
                            <a:pt x="5250" y="814"/>
                          </a:cubicBezTo>
                          <a:cubicBezTo>
                            <a:pt x="5248" y="819"/>
                            <a:pt x="5246" y="820"/>
                            <a:pt x="5244" y="822"/>
                          </a:cubicBezTo>
                          <a:cubicBezTo>
                            <a:pt x="5241" y="825"/>
                            <a:pt x="5238" y="826"/>
                            <a:pt x="5240" y="830"/>
                          </a:cubicBezTo>
                          <a:cubicBezTo>
                            <a:pt x="5242" y="834"/>
                            <a:pt x="5241" y="835"/>
                            <a:pt x="5247" y="835"/>
                          </a:cubicBezTo>
                          <a:cubicBezTo>
                            <a:pt x="5253" y="835"/>
                            <a:pt x="5255" y="832"/>
                            <a:pt x="5260" y="836"/>
                          </a:cubicBezTo>
                          <a:cubicBezTo>
                            <a:pt x="5265" y="841"/>
                            <a:pt x="5265" y="844"/>
                            <a:pt x="5271" y="846"/>
                          </a:cubicBezTo>
                          <a:cubicBezTo>
                            <a:pt x="5277" y="848"/>
                            <a:pt x="5278" y="846"/>
                            <a:pt x="5282" y="850"/>
                          </a:cubicBezTo>
                          <a:cubicBezTo>
                            <a:pt x="5286" y="854"/>
                            <a:pt x="5293" y="856"/>
                            <a:pt x="5293" y="857"/>
                          </a:cubicBezTo>
                          <a:cubicBezTo>
                            <a:pt x="5294" y="857"/>
                            <a:pt x="5298" y="859"/>
                            <a:pt x="5300" y="861"/>
                          </a:cubicBezTo>
                          <a:cubicBezTo>
                            <a:pt x="5301" y="863"/>
                            <a:pt x="5305" y="865"/>
                            <a:pt x="5305" y="869"/>
                          </a:cubicBezTo>
                          <a:cubicBezTo>
                            <a:pt x="5306" y="873"/>
                            <a:pt x="5304" y="875"/>
                            <a:pt x="5302" y="876"/>
                          </a:cubicBezTo>
                          <a:cubicBezTo>
                            <a:pt x="5301" y="877"/>
                            <a:pt x="5293" y="876"/>
                            <a:pt x="5291" y="872"/>
                          </a:cubicBezTo>
                          <a:cubicBezTo>
                            <a:pt x="5289" y="869"/>
                            <a:pt x="5284" y="864"/>
                            <a:pt x="5283" y="863"/>
                          </a:cubicBezTo>
                          <a:cubicBezTo>
                            <a:pt x="5281" y="862"/>
                            <a:pt x="5275" y="861"/>
                            <a:pt x="5272" y="858"/>
                          </a:cubicBezTo>
                          <a:cubicBezTo>
                            <a:pt x="5269" y="856"/>
                            <a:pt x="5266" y="851"/>
                            <a:pt x="5264" y="849"/>
                          </a:cubicBezTo>
                          <a:cubicBezTo>
                            <a:pt x="5262" y="848"/>
                            <a:pt x="5257" y="845"/>
                            <a:pt x="5255" y="846"/>
                          </a:cubicBezTo>
                          <a:cubicBezTo>
                            <a:pt x="5253" y="848"/>
                            <a:pt x="5250" y="850"/>
                            <a:pt x="5256" y="853"/>
                          </a:cubicBezTo>
                          <a:cubicBezTo>
                            <a:pt x="5261" y="857"/>
                            <a:pt x="5263" y="856"/>
                            <a:pt x="5267" y="862"/>
                          </a:cubicBezTo>
                          <a:cubicBezTo>
                            <a:pt x="5272" y="869"/>
                            <a:pt x="5273" y="870"/>
                            <a:pt x="5278" y="873"/>
                          </a:cubicBezTo>
                          <a:cubicBezTo>
                            <a:pt x="5283" y="876"/>
                            <a:pt x="5290" y="877"/>
                            <a:pt x="5292" y="881"/>
                          </a:cubicBezTo>
                          <a:cubicBezTo>
                            <a:pt x="5295" y="885"/>
                            <a:pt x="5303" y="888"/>
                            <a:pt x="5305" y="890"/>
                          </a:cubicBezTo>
                          <a:cubicBezTo>
                            <a:pt x="5307" y="891"/>
                            <a:pt x="5309" y="896"/>
                            <a:pt x="5309" y="900"/>
                          </a:cubicBezTo>
                          <a:cubicBezTo>
                            <a:pt x="5309" y="903"/>
                            <a:pt x="5305" y="907"/>
                            <a:pt x="5304" y="907"/>
                          </a:cubicBezTo>
                          <a:cubicBezTo>
                            <a:pt x="5302" y="907"/>
                            <a:pt x="5296" y="906"/>
                            <a:pt x="5295" y="904"/>
                          </a:cubicBezTo>
                          <a:cubicBezTo>
                            <a:pt x="5294" y="902"/>
                            <a:pt x="5293" y="898"/>
                            <a:pt x="5290" y="897"/>
                          </a:cubicBezTo>
                          <a:cubicBezTo>
                            <a:pt x="5288" y="896"/>
                            <a:pt x="5283" y="891"/>
                            <a:pt x="5280" y="891"/>
                          </a:cubicBezTo>
                          <a:cubicBezTo>
                            <a:pt x="5277" y="891"/>
                            <a:pt x="5274" y="890"/>
                            <a:pt x="5274" y="893"/>
                          </a:cubicBezTo>
                          <a:cubicBezTo>
                            <a:pt x="5275" y="895"/>
                            <a:pt x="5275" y="897"/>
                            <a:pt x="5279" y="900"/>
                          </a:cubicBezTo>
                          <a:cubicBezTo>
                            <a:pt x="5283" y="902"/>
                            <a:pt x="5284" y="901"/>
                            <a:pt x="5287" y="905"/>
                          </a:cubicBezTo>
                          <a:cubicBezTo>
                            <a:pt x="5290" y="910"/>
                            <a:pt x="5290" y="909"/>
                            <a:pt x="5294" y="913"/>
                          </a:cubicBezTo>
                          <a:cubicBezTo>
                            <a:pt x="5297" y="916"/>
                            <a:pt x="5301" y="918"/>
                            <a:pt x="5301" y="921"/>
                          </a:cubicBezTo>
                          <a:cubicBezTo>
                            <a:pt x="5301" y="925"/>
                            <a:pt x="5298" y="927"/>
                            <a:pt x="5297" y="925"/>
                          </a:cubicBezTo>
                          <a:cubicBezTo>
                            <a:pt x="5295" y="923"/>
                            <a:pt x="5292" y="920"/>
                            <a:pt x="5290" y="917"/>
                          </a:cubicBezTo>
                          <a:cubicBezTo>
                            <a:pt x="5287" y="915"/>
                            <a:pt x="5283" y="912"/>
                            <a:pt x="5279" y="911"/>
                          </a:cubicBezTo>
                          <a:cubicBezTo>
                            <a:pt x="5274" y="909"/>
                            <a:pt x="5272" y="908"/>
                            <a:pt x="5267" y="908"/>
                          </a:cubicBezTo>
                          <a:cubicBezTo>
                            <a:pt x="5262" y="908"/>
                            <a:pt x="5260" y="906"/>
                            <a:pt x="5255" y="905"/>
                          </a:cubicBezTo>
                          <a:cubicBezTo>
                            <a:pt x="5251" y="905"/>
                            <a:pt x="5245" y="902"/>
                            <a:pt x="5246" y="906"/>
                          </a:cubicBezTo>
                          <a:cubicBezTo>
                            <a:pt x="5246" y="910"/>
                            <a:pt x="5245" y="913"/>
                            <a:pt x="5254" y="913"/>
                          </a:cubicBezTo>
                          <a:cubicBezTo>
                            <a:pt x="5262" y="913"/>
                            <a:pt x="5273" y="916"/>
                            <a:pt x="5276" y="918"/>
                          </a:cubicBezTo>
                          <a:cubicBezTo>
                            <a:pt x="5279" y="919"/>
                            <a:pt x="5282" y="918"/>
                            <a:pt x="5283" y="923"/>
                          </a:cubicBezTo>
                          <a:cubicBezTo>
                            <a:pt x="5285" y="927"/>
                            <a:pt x="5285" y="934"/>
                            <a:pt x="5288" y="936"/>
                          </a:cubicBezTo>
                          <a:cubicBezTo>
                            <a:pt x="5290" y="939"/>
                            <a:pt x="5292" y="941"/>
                            <a:pt x="5296" y="940"/>
                          </a:cubicBezTo>
                          <a:cubicBezTo>
                            <a:pt x="5300" y="939"/>
                            <a:pt x="5305" y="934"/>
                            <a:pt x="5310" y="935"/>
                          </a:cubicBezTo>
                          <a:cubicBezTo>
                            <a:pt x="5316" y="936"/>
                            <a:pt x="5320" y="934"/>
                            <a:pt x="5322" y="938"/>
                          </a:cubicBezTo>
                          <a:cubicBezTo>
                            <a:pt x="5325" y="942"/>
                            <a:pt x="5325" y="950"/>
                            <a:pt x="5326" y="951"/>
                          </a:cubicBezTo>
                          <a:cubicBezTo>
                            <a:pt x="5326" y="952"/>
                            <a:pt x="5324" y="954"/>
                            <a:pt x="5322" y="959"/>
                          </a:cubicBezTo>
                          <a:cubicBezTo>
                            <a:pt x="5321" y="964"/>
                            <a:pt x="5323" y="967"/>
                            <a:pt x="5324" y="970"/>
                          </a:cubicBezTo>
                          <a:cubicBezTo>
                            <a:pt x="5325" y="972"/>
                            <a:pt x="5327" y="975"/>
                            <a:pt x="5325" y="977"/>
                          </a:cubicBezTo>
                          <a:cubicBezTo>
                            <a:pt x="5323" y="979"/>
                            <a:pt x="5321" y="980"/>
                            <a:pt x="5319" y="980"/>
                          </a:cubicBezTo>
                          <a:cubicBezTo>
                            <a:pt x="5318" y="980"/>
                            <a:pt x="5316" y="977"/>
                            <a:pt x="5314" y="978"/>
                          </a:cubicBezTo>
                          <a:cubicBezTo>
                            <a:pt x="5312" y="978"/>
                            <a:pt x="5311" y="980"/>
                            <a:pt x="5310" y="982"/>
                          </a:cubicBezTo>
                          <a:cubicBezTo>
                            <a:pt x="5309" y="984"/>
                            <a:pt x="5310" y="986"/>
                            <a:pt x="5307" y="986"/>
                          </a:cubicBezTo>
                          <a:cubicBezTo>
                            <a:pt x="5304" y="985"/>
                            <a:pt x="5302" y="984"/>
                            <a:pt x="5301" y="984"/>
                          </a:cubicBezTo>
                          <a:cubicBezTo>
                            <a:pt x="5299" y="984"/>
                            <a:pt x="5297" y="982"/>
                            <a:pt x="5296" y="985"/>
                          </a:cubicBezTo>
                          <a:cubicBezTo>
                            <a:pt x="5295" y="988"/>
                            <a:pt x="5298" y="991"/>
                            <a:pt x="5295" y="992"/>
                          </a:cubicBezTo>
                          <a:cubicBezTo>
                            <a:pt x="5293" y="994"/>
                            <a:pt x="5290" y="994"/>
                            <a:pt x="5289" y="994"/>
                          </a:cubicBezTo>
                          <a:cubicBezTo>
                            <a:pt x="5287" y="994"/>
                            <a:pt x="5285" y="994"/>
                            <a:pt x="5284" y="992"/>
                          </a:cubicBezTo>
                          <a:cubicBezTo>
                            <a:pt x="5283" y="990"/>
                            <a:pt x="5283" y="991"/>
                            <a:pt x="5284" y="988"/>
                          </a:cubicBezTo>
                          <a:cubicBezTo>
                            <a:pt x="5284" y="984"/>
                            <a:pt x="5284" y="980"/>
                            <a:pt x="5284" y="979"/>
                          </a:cubicBezTo>
                          <a:cubicBezTo>
                            <a:pt x="5284" y="978"/>
                            <a:pt x="5283" y="975"/>
                            <a:pt x="5281" y="975"/>
                          </a:cubicBezTo>
                          <a:cubicBezTo>
                            <a:pt x="5280" y="975"/>
                            <a:pt x="5277" y="974"/>
                            <a:pt x="5277" y="978"/>
                          </a:cubicBezTo>
                          <a:cubicBezTo>
                            <a:pt x="5277" y="982"/>
                            <a:pt x="5279" y="985"/>
                            <a:pt x="5279" y="989"/>
                          </a:cubicBezTo>
                          <a:cubicBezTo>
                            <a:pt x="5280" y="993"/>
                            <a:pt x="5278" y="997"/>
                            <a:pt x="5278" y="1000"/>
                          </a:cubicBezTo>
                          <a:cubicBezTo>
                            <a:pt x="5277" y="1002"/>
                            <a:pt x="5276" y="1005"/>
                            <a:pt x="5279" y="1006"/>
                          </a:cubicBezTo>
                          <a:cubicBezTo>
                            <a:pt x="5282" y="1007"/>
                            <a:pt x="5289" y="1007"/>
                            <a:pt x="5291" y="1006"/>
                          </a:cubicBezTo>
                          <a:cubicBezTo>
                            <a:pt x="5294" y="1005"/>
                            <a:pt x="5297" y="1003"/>
                            <a:pt x="5303" y="1003"/>
                          </a:cubicBezTo>
                          <a:cubicBezTo>
                            <a:pt x="5308" y="1004"/>
                            <a:pt x="5311" y="1002"/>
                            <a:pt x="5314" y="1003"/>
                          </a:cubicBezTo>
                          <a:cubicBezTo>
                            <a:pt x="5318" y="1003"/>
                            <a:pt x="5321" y="1007"/>
                            <a:pt x="5320" y="1008"/>
                          </a:cubicBezTo>
                          <a:cubicBezTo>
                            <a:pt x="5320" y="1010"/>
                            <a:pt x="5318" y="1015"/>
                            <a:pt x="5318" y="1016"/>
                          </a:cubicBezTo>
                          <a:cubicBezTo>
                            <a:pt x="5318" y="1017"/>
                            <a:pt x="5318" y="1021"/>
                            <a:pt x="5320" y="1020"/>
                          </a:cubicBezTo>
                          <a:cubicBezTo>
                            <a:pt x="5322" y="1019"/>
                            <a:pt x="5325" y="1015"/>
                            <a:pt x="5326" y="1014"/>
                          </a:cubicBezTo>
                          <a:cubicBezTo>
                            <a:pt x="5326" y="1013"/>
                            <a:pt x="5328" y="1010"/>
                            <a:pt x="5330" y="1010"/>
                          </a:cubicBezTo>
                          <a:cubicBezTo>
                            <a:pt x="5332" y="1010"/>
                            <a:pt x="5338" y="1012"/>
                            <a:pt x="5339" y="1014"/>
                          </a:cubicBezTo>
                          <a:cubicBezTo>
                            <a:pt x="5339" y="1015"/>
                            <a:pt x="5339" y="1023"/>
                            <a:pt x="5339" y="1023"/>
                          </a:cubicBezTo>
                          <a:cubicBezTo>
                            <a:pt x="5339" y="1023"/>
                            <a:pt x="5337" y="1028"/>
                            <a:pt x="5333" y="1029"/>
                          </a:cubicBezTo>
                          <a:cubicBezTo>
                            <a:pt x="5328" y="1030"/>
                            <a:pt x="5323" y="1029"/>
                            <a:pt x="5320" y="1032"/>
                          </a:cubicBezTo>
                          <a:cubicBezTo>
                            <a:pt x="5317" y="1036"/>
                            <a:pt x="5314" y="1038"/>
                            <a:pt x="5311" y="1039"/>
                          </a:cubicBezTo>
                          <a:cubicBezTo>
                            <a:pt x="5309" y="1040"/>
                            <a:pt x="5305" y="1041"/>
                            <a:pt x="5303" y="1040"/>
                          </a:cubicBezTo>
                          <a:cubicBezTo>
                            <a:pt x="5301" y="1038"/>
                            <a:pt x="5302" y="1036"/>
                            <a:pt x="5298" y="1036"/>
                          </a:cubicBezTo>
                          <a:cubicBezTo>
                            <a:pt x="5293" y="1036"/>
                            <a:pt x="5293" y="1034"/>
                            <a:pt x="5292" y="1033"/>
                          </a:cubicBezTo>
                          <a:cubicBezTo>
                            <a:pt x="5291" y="1032"/>
                            <a:pt x="5291" y="1031"/>
                            <a:pt x="5287" y="1032"/>
                          </a:cubicBezTo>
                          <a:cubicBezTo>
                            <a:pt x="5283" y="1033"/>
                            <a:pt x="5283" y="1035"/>
                            <a:pt x="5280" y="1035"/>
                          </a:cubicBezTo>
                          <a:cubicBezTo>
                            <a:pt x="5277" y="1034"/>
                            <a:pt x="5278" y="1033"/>
                            <a:pt x="5274" y="1033"/>
                          </a:cubicBezTo>
                          <a:cubicBezTo>
                            <a:pt x="5271" y="1033"/>
                            <a:pt x="5268" y="1033"/>
                            <a:pt x="5266" y="1031"/>
                          </a:cubicBezTo>
                          <a:cubicBezTo>
                            <a:pt x="5263" y="1030"/>
                            <a:pt x="5260" y="1027"/>
                            <a:pt x="5259" y="1030"/>
                          </a:cubicBezTo>
                          <a:cubicBezTo>
                            <a:pt x="5257" y="1032"/>
                            <a:pt x="5257" y="1036"/>
                            <a:pt x="5261" y="1037"/>
                          </a:cubicBezTo>
                          <a:cubicBezTo>
                            <a:pt x="5265" y="1038"/>
                            <a:pt x="5264" y="1035"/>
                            <a:pt x="5269" y="1038"/>
                          </a:cubicBezTo>
                          <a:cubicBezTo>
                            <a:pt x="5273" y="1041"/>
                            <a:pt x="5274" y="1042"/>
                            <a:pt x="5278" y="1044"/>
                          </a:cubicBezTo>
                          <a:cubicBezTo>
                            <a:pt x="5281" y="1046"/>
                            <a:pt x="5285" y="1046"/>
                            <a:pt x="5289" y="1048"/>
                          </a:cubicBezTo>
                          <a:cubicBezTo>
                            <a:pt x="5292" y="1050"/>
                            <a:pt x="5295" y="1053"/>
                            <a:pt x="5294" y="1055"/>
                          </a:cubicBezTo>
                          <a:cubicBezTo>
                            <a:pt x="5292" y="1057"/>
                            <a:pt x="5288" y="1059"/>
                            <a:pt x="5285" y="1061"/>
                          </a:cubicBezTo>
                          <a:cubicBezTo>
                            <a:pt x="5282" y="1063"/>
                            <a:pt x="5278" y="1066"/>
                            <a:pt x="5274" y="1065"/>
                          </a:cubicBezTo>
                          <a:cubicBezTo>
                            <a:pt x="5271" y="1063"/>
                            <a:pt x="5267" y="1062"/>
                            <a:pt x="5266" y="1060"/>
                          </a:cubicBezTo>
                          <a:cubicBezTo>
                            <a:pt x="5265" y="1059"/>
                            <a:pt x="5260" y="1055"/>
                            <a:pt x="5259" y="1057"/>
                          </a:cubicBezTo>
                          <a:cubicBezTo>
                            <a:pt x="5257" y="1058"/>
                            <a:pt x="5256" y="1062"/>
                            <a:pt x="5260" y="1065"/>
                          </a:cubicBezTo>
                          <a:cubicBezTo>
                            <a:pt x="5263" y="1069"/>
                            <a:pt x="5266" y="1072"/>
                            <a:pt x="5269" y="1074"/>
                          </a:cubicBezTo>
                          <a:cubicBezTo>
                            <a:pt x="5271" y="1076"/>
                            <a:pt x="5274" y="1076"/>
                            <a:pt x="5278" y="1076"/>
                          </a:cubicBezTo>
                          <a:cubicBezTo>
                            <a:pt x="5281" y="1075"/>
                            <a:pt x="5287" y="1073"/>
                            <a:pt x="5290" y="1073"/>
                          </a:cubicBezTo>
                          <a:cubicBezTo>
                            <a:pt x="5294" y="1074"/>
                            <a:pt x="5297" y="1078"/>
                            <a:pt x="5295" y="1079"/>
                          </a:cubicBezTo>
                          <a:cubicBezTo>
                            <a:pt x="5293" y="1079"/>
                            <a:pt x="5285" y="1077"/>
                            <a:pt x="5283" y="1080"/>
                          </a:cubicBezTo>
                          <a:cubicBezTo>
                            <a:pt x="5282" y="1082"/>
                            <a:pt x="5274" y="1085"/>
                            <a:pt x="5273" y="1086"/>
                          </a:cubicBezTo>
                          <a:cubicBezTo>
                            <a:pt x="5271" y="1086"/>
                            <a:pt x="5266" y="1089"/>
                            <a:pt x="5264" y="1089"/>
                          </a:cubicBezTo>
                          <a:cubicBezTo>
                            <a:pt x="5261" y="1089"/>
                            <a:pt x="5263" y="1087"/>
                            <a:pt x="5258" y="1086"/>
                          </a:cubicBezTo>
                          <a:cubicBezTo>
                            <a:pt x="5253" y="1084"/>
                            <a:pt x="5249" y="1088"/>
                            <a:pt x="5245" y="1088"/>
                          </a:cubicBezTo>
                          <a:cubicBezTo>
                            <a:pt x="5242" y="1087"/>
                            <a:pt x="5244" y="1085"/>
                            <a:pt x="5240" y="1085"/>
                          </a:cubicBezTo>
                          <a:cubicBezTo>
                            <a:pt x="5237" y="1085"/>
                            <a:pt x="5229" y="1087"/>
                            <a:pt x="5230" y="1090"/>
                          </a:cubicBezTo>
                          <a:cubicBezTo>
                            <a:pt x="5231" y="1092"/>
                            <a:pt x="5234" y="1094"/>
                            <a:pt x="5235" y="1096"/>
                          </a:cubicBezTo>
                          <a:cubicBezTo>
                            <a:pt x="5237" y="1098"/>
                            <a:pt x="5238" y="1101"/>
                            <a:pt x="5236" y="1102"/>
                          </a:cubicBezTo>
                          <a:cubicBezTo>
                            <a:pt x="5235" y="1104"/>
                            <a:pt x="5229" y="1104"/>
                            <a:pt x="5227" y="1106"/>
                          </a:cubicBezTo>
                          <a:cubicBezTo>
                            <a:pt x="5225" y="1108"/>
                            <a:pt x="5224" y="1110"/>
                            <a:pt x="5222" y="1114"/>
                          </a:cubicBezTo>
                          <a:cubicBezTo>
                            <a:pt x="5220" y="1118"/>
                            <a:pt x="5217" y="1118"/>
                            <a:pt x="5215" y="1121"/>
                          </a:cubicBezTo>
                          <a:cubicBezTo>
                            <a:pt x="5212" y="1124"/>
                            <a:pt x="5207" y="1124"/>
                            <a:pt x="5205" y="1127"/>
                          </a:cubicBezTo>
                          <a:cubicBezTo>
                            <a:pt x="5203" y="1130"/>
                            <a:pt x="5203" y="1134"/>
                            <a:pt x="5201" y="1138"/>
                          </a:cubicBezTo>
                          <a:cubicBezTo>
                            <a:pt x="5200" y="1141"/>
                            <a:pt x="5198" y="1143"/>
                            <a:pt x="5194" y="1144"/>
                          </a:cubicBezTo>
                          <a:cubicBezTo>
                            <a:pt x="5190" y="1145"/>
                            <a:pt x="5185" y="1145"/>
                            <a:pt x="5181" y="1145"/>
                          </a:cubicBezTo>
                          <a:cubicBezTo>
                            <a:pt x="5177" y="1145"/>
                            <a:pt x="5176" y="1145"/>
                            <a:pt x="5172" y="1145"/>
                          </a:cubicBezTo>
                          <a:cubicBezTo>
                            <a:pt x="5168" y="1145"/>
                            <a:pt x="5164" y="1147"/>
                            <a:pt x="5161" y="1149"/>
                          </a:cubicBezTo>
                          <a:cubicBezTo>
                            <a:pt x="5159" y="1152"/>
                            <a:pt x="5154" y="1155"/>
                            <a:pt x="5150" y="1157"/>
                          </a:cubicBezTo>
                          <a:cubicBezTo>
                            <a:pt x="5147" y="1160"/>
                            <a:pt x="5139" y="1164"/>
                            <a:pt x="5137" y="1169"/>
                          </a:cubicBezTo>
                          <a:cubicBezTo>
                            <a:pt x="5134" y="1174"/>
                            <a:pt x="5133" y="1177"/>
                            <a:pt x="5130" y="1181"/>
                          </a:cubicBezTo>
                          <a:cubicBezTo>
                            <a:pt x="5127" y="1185"/>
                            <a:pt x="5127" y="1181"/>
                            <a:pt x="5123" y="1185"/>
                          </a:cubicBezTo>
                          <a:cubicBezTo>
                            <a:pt x="5119" y="1189"/>
                            <a:pt x="5120" y="1198"/>
                            <a:pt x="5119" y="1199"/>
                          </a:cubicBezTo>
                          <a:cubicBezTo>
                            <a:pt x="5117" y="1200"/>
                            <a:pt x="5112" y="1202"/>
                            <a:pt x="5110" y="1204"/>
                          </a:cubicBezTo>
                          <a:cubicBezTo>
                            <a:pt x="5109" y="1206"/>
                            <a:pt x="5101" y="1214"/>
                            <a:pt x="5097" y="1217"/>
                          </a:cubicBezTo>
                          <a:cubicBezTo>
                            <a:pt x="5093" y="1220"/>
                            <a:pt x="5093" y="1219"/>
                            <a:pt x="5087" y="1220"/>
                          </a:cubicBezTo>
                          <a:cubicBezTo>
                            <a:pt x="5081" y="1220"/>
                            <a:pt x="5079" y="1221"/>
                            <a:pt x="5077" y="1223"/>
                          </a:cubicBezTo>
                          <a:cubicBezTo>
                            <a:pt x="5075" y="1226"/>
                            <a:pt x="5073" y="1232"/>
                            <a:pt x="5071" y="1232"/>
                          </a:cubicBezTo>
                          <a:cubicBezTo>
                            <a:pt x="5069" y="1233"/>
                            <a:pt x="5064" y="1233"/>
                            <a:pt x="5061" y="1233"/>
                          </a:cubicBezTo>
                          <a:cubicBezTo>
                            <a:pt x="5058" y="1233"/>
                            <a:pt x="5055" y="1232"/>
                            <a:pt x="5051" y="1235"/>
                          </a:cubicBezTo>
                          <a:cubicBezTo>
                            <a:pt x="5046" y="1238"/>
                            <a:pt x="5045" y="1237"/>
                            <a:pt x="5040" y="1239"/>
                          </a:cubicBezTo>
                          <a:cubicBezTo>
                            <a:pt x="5036" y="1240"/>
                            <a:pt x="5033" y="1243"/>
                            <a:pt x="5031" y="1242"/>
                          </a:cubicBezTo>
                          <a:cubicBezTo>
                            <a:pt x="5029" y="1241"/>
                            <a:pt x="5026" y="1239"/>
                            <a:pt x="5024" y="1241"/>
                          </a:cubicBezTo>
                          <a:cubicBezTo>
                            <a:pt x="5023" y="1243"/>
                            <a:pt x="5026" y="1249"/>
                            <a:pt x="5027" y="1253"/>
                          </a:cubicBezTo>
                          <a:cubicBezTo>
                            <a:pt x="5029" y="1258"/>
                            <a:pt x="5029" y="1265"/>
                            <a:pt x="5026" y="1267"/>
                          </a:cubicBezTo>
                          <a:cubicBezTo>
                            <a:pt x="5024" y="1269"/>
                            <a:pt x="5018" y="1274"/>
                            <a:pt x="5015" y="1280"/>
                          </a:cubicBezTo>
                          <a:cubicBezTo>
                            <a:pt x="5012" y="1285"/>
                            <a:pt x="5009" y="1289"/>
                            <a:pt x="5006" y="1291"/>
                          </a:cubicBezTo>
                          <a:cubicBezTo>
                            <a:pt x="5003" y="1293"/>
                            <a:pt x="4997" y="1291"/>
                            <a:pt x="4996" y="1295"/>
                          </a:cubicBezTo>
                          <a:cubicBezTo>
                            <a:pt x="4995" y="1300"/>
                            <a:pt x="4995" y="1301"/>
                            <a:pt x="4995" y="1307"/>
                          </a:cubicBezTo>
                          <a:cubicBezTo>
                            <a:pt x="4994" y="1312"/>
                            <a:pt x="4995" y="1314"/>
                            <a:pt x="4992" y="1315"/>
                          </a:cubicBezTo>
                          <a:cubicBezTo>
                            <a:pt x="4989" y="1316"/>
                            <a:pt x="4984" y="1315"/>
                            <a:pt x="4984" y="1319"/>
                          </a:cubicBezTo>
                          <a:cubicBezTo>
                            <a:pt x="4983" y="1322"/>
                            <a:pt x="4990" y="1324"/>
                            <a:pt x="4990" y="1327"/>
                          </a:cubicBezTo>
                          <a:cubicBezTo>
                            <a:pt x="4990" y="1331"/>
                            <a:pt x="4984" y="1327"/>
                            <a:pt x="4983" y="1334"/>
                          </a:cubicBezTo>
                          <a:cubicBezTo>
                            <a:pt x="4981" y="1341"/>
                            <a:pt x="4980" y="1345"/>
                            <a:pt x="4980" y="1350"/>
                          </a:cubicBezTo>
                          <a:cubicBezTo>
                            <a:pt x="4980" y="1355"/>
                            <a:pt x="4979" y="1358"/>
                            <a:pt x="4981" y="1368"/>
                          </a:cubicBezTo>
                          <a:cubicBezTo>
                            <a:pt x="4983" y="1377"/>
                            <a:pt x="4986" y="1381"/>
                            <a:pt x="4988" y="1387"/>
                          </a:cubicBezTo>
                          <a:cubicBezTo>
                            <a:pt x="4989" y="1392"/>
                            <a:pt x="4989" y="1409"/>
                            <a:pt x="4994" y="1422"/>
                          </a:cubicBezTo>
                          <a:cubicBezTo>
                            <a:pt x="5000" y="1434"/>
                            <a:pt x="5001" y="1439"/>
                            <a:pt x="5006" y="1450"/>
                          </a:cubicBezTo>
                          <a:cubicBezTo>
                            <a:pt x="5010" y="1460"/>
                            <a:pt x="5015" y="1470"/>
                            <a:pt x="5020" y="1476"/>
                          </a:cubicBezTo>
                          <a:cubicBezTo>
                            <a:pt x="5026" y="1483"/>
                            <a:pt x="5033" y="1491"/>
                            <a:pt x="5035" y="1497"/>
                          </a:cubicBezTo>
                          <a:cubicBezTo>
                            <a:pt x="5038" y="1503"/>
                            <a:pt x="5040" y="1509"/>
                            <a:pt x="5037" y="1508"/>
                          </a:cubicBezTo>
                          <a:cubicBezTo>
                            <a:pt x="5035" y="1506"/>
                            <a:pt x="5035" y="1505"/>
                            <a:pt x="5033" y="1504"/>
                          </a:cubicBezTo>
                          <a:cubicBezTo>
                            <a:pt x="5032" y="1502"/>
                            <a:pt x="5030" y="1498"/>
                            <a:pt x="5028" y="1496"/>
                          </a:cubicBezTo>
                          <a:cubicBezTo>
                            <a:pt x="5026" y="1493"/>
                            <a:pt x="5024" y="1491"/>
                            <a:pt x="5023" y="1492"/>
                          </a:cubicBezTo>
                          <a:cubicBezTo>
                            <a:pt x="5022" y="1493"/>
                            <a:pt x="5021" y="1494"/>
                            <a:pt x="5023" y="1499"/>
                          </a:cubicBezTo>
                          <a:cubicBezTo>
                            <a:pt x="5025" y="1503"/>
                            <a:pt x="5028" y="1506"/>
                            <a:pt x="5029" y="1510"/>
                          </a:cubicBezTo>
                          <a:cubicBezTo>
                            <a:pt x="5029" y="1513"/>
                            <a:pt x="5029" y="1515"/>
                            <a:pt x="5035" y="1528"/>
                          </a:cubicBezTo>
                          <a:cubicBezTo>
                            <a:pt x="5040" y="1541"/>
                            <a:pt x="5040" y="1547"/>
                            <a:pt x="5046" y="1557"/>
                          </a:cubicBezTo>
                          <a:cubicBezTo>
                            <a:pt x="5052" y="1566"/>
                            <a:pt x="5055" y="1575"/>
                            <a:pt x="5056" y="1577"/>
                          </a:cubicBezTo>
                          <a:cubicBezTo>
                            <a:pt x="5057" y="1579"/>
                            <a:pt x="5060" y="1585"/>
                            <a:pt x="5060" y="1590"/>
                          </a:cubicBezTo>
                          <a:cubicBezTo>
                            <a:pt x="5060" y="1596"/>
                            <a:pt x="5055" y="1598"/>
                            <a:pt x="5056" y="1601"/>
                          </a:cubicBezTo>
                          <a:cubicBezTo>
                            <a:pt x="5057" y="1605"/>
                            <a:pt x="5058" y="1603"/>
                            <a:pt x="5062" y="1609"/>
                          </a:cubicBezTo>
                          <a:cubicBezTo>
                            <a:pt x="5066" y="1615"/>
                            <a:pt x="5068" y="1617"/>
                            <a:pt x="5069" y="1623"/>
                          </a:cubicBezTo>
                          <a:cubicBezTo>
                            <a:pt x="5071" y="1629"/>
                            <a:pt x="5071" y="1630"/>
                            <a:pt x="5071" y="1637"/>
                          </a:cubicBezTo>
                          <a:cubicBezTo>
                            <a:pt x="5070" y="1644"/>
                            <a:pt x="5069" y="1647"/>
                            <a:pt x="5069" y="1655"/>
                          </a:cubicBezTo>
                          <a:cubicBezTo>
                            <a:pt x="5069" y="1664"/>
                            <a:pt x="5069" y="1675"/>
                            <a:pt x="5069" y="1676"/>
                          </a:cubicBezTo>
                          <a:cubicBezTo>
                            <a:pt x="5069" y="1678"/>
                            <a:pt x="5073" y="1691"/>
                            <a:pt x="5070" y="1697"/>
                          </a:cubicBezTo>
                          <a:cubicBezTo>
                            <a:pt x="5067" y="1704"/>
                            <a:pt x="5066" y="1703"/>
                            <a:pt x="5063" y="1709"/>
                          </a:cubicBezTo>
                          <a:cubicBezTo>
                            <a:pt x="5061" y="1715"/>
                            <a:pt x="5059" y="1721"/>
                            <a:pt x="5059" y="1724"/>
                          </a:cubicBezTo>
                          <a:cubicBezTo>
                            <a:pt x="5059" y="1727"/>
                            <a:pt x="5060" y="1732"/>
                            <a:pt x="5056" y="1734"/>
                          </a:cubicBezTo>
                          <a:cubicBezTo>
                            <a:pt x="5052" y="1737"/>
                            <a:pt x="5045" y="1747"/>
                            <a:pt x="5043" y="1748"/>
                          </a:cubicBezTo>
                          <a:cubicBezTo>
                            <a:pt x="5042" y="1750"/>
                            <a:pt x="5039" y="1752"/>
                            <a:pt x="5039" y="1750"/>
                          </a:cubicBezTo>
                          <a:cubicBezTo>
                            <a:pt x="5038" y="1749"/>
                            <a:pt x="5039" y="1747"/>
                            <a:pt x="5041" y="1744"/>
                          </a:cubicBezTo>
                          <a:cubicBezTo>
                            <a:pt x="5043" y="1740"/>
                            <a:pt x="5046" y="1739"/>
                            <a:pt x="5047" y="1736"/>
                          </a:cubicBezTo>
                          <a:cubicBezTo>
                            <a:pt x="5048" y="1733"/>
                            <a:pt x="5046" y="1729"/>
                            <a:pt x="5043" y="1729"/>
                          </a:cubicBezTo>
                          <a:cubicBezTo>
                            <a:pt x="5040" y="1729"/>
                            <a:pt x="5040" y="1734"/>
                            <a:pt x="5037" y="1737"/>
                          </a:cubicBezTo>
                          <a:cubicBezTo>
                            <a:pt x="5034" y="1739"/>
                            <a:pt x="5024" y="1743"/>
                            <a:pt x="5020" y="1740"/>
                          </a:cubicBezTo>
                          <a:cubicBezTo>
                            <a:pt x="5016" y="1737"/>
                            <a:pt x="5006" y="1734"/>
                            <a:pt x="5008" y="1732"/>
                          </a:cubicBezTo>
                          <a:cubicBezTo>
                            <a:pt x="5010" y="1730"/>
                            <a:pt x="5019" y="1732"/>
                            <a:pt x="5017" y="1727"/>
                          </a:cubicBezTo>
                          <a:cubicBezTo>
                            <a:pt x="5016" y="1722"/>
                            <a:pt x="5012" y="1722"/>
                            <a:pt x="5005" y="1719"/>
                          </a:cubicBezTo>
                          <a:cubicBezTo>
                            <a:pt x="4998" y="1715"/>
                            <a:pt x="4999" y="1714"/>
                            <a:pt x="4994" y="1707"/>
                          </a:cubicBezTo>
                          <a:cubicBezTo>
                            <a:pt x="4989" y="1700"/>
                            <a:pt x="4987" y="1695"/>
                            <a:pt x="4981" y="1694"/>
                          </a:cubicBezTo>
                          <a:cubicBezTo>
                            <a:pt x="4975" y="1693"/>
                            <a:pt x="4971" y="1697"/>
                            <a:pt x="4969" y="1691"/>
                          </a:cubicBezTo>
                          <a:cubicBezTo>
                            <a:pt x="4967" y="1685"/>
                            <a:pt x="4966" y="1684"/>
                            <a:pt x="4967" y="1678"/>
                          </a:cubicBezTo>
                          <a:cubicBezTo>
                            <a:pt x="4968" y="1672"/>
                            <a:pt x="4970" y="1670"/>
                            <a:pt x="4966" y="1665"/>
                          </a:cubicBezTo>
                          <a:cubicBezTo>
                            <a:pt x="4962" y="1660"/>
                            <a:pt x="4960" y="1657"/>
                            <a:pt x="4960" y="1654"/>
                          </a:cubicBezTo>
                          <a:cubicBezTo>
                            <a:pt x="4960" y="1652"/>
                            <a:pt x="4960" y="1649"/>
                            <a:pt x="4963" y="1646"/>
                          </a:cubicBezTo>
                          <a:cubicBezTo>
                            <a:pt x="4965" y="1644"/>
                            <a:pt x="4970" y="1643"/>
                            <a:pt x="4969" y="1639"/>
                          </a:cubicBezTo>
                          <a:cubicBezTo>
                            <a:pt x="4969" y="1635"/>
                            <a:pt x="4964" y="1634"/>
                            <a:pt x="4962" y="1636"/>
                          </a:cubicBezTo>
                          <a:cubicBezTo>
                            <a:pt x="4959" y="1638"/>
                            <a:pt x="4953" y="1638"/>
                            <a:pt x="4952" y="1637"/>
                          </a:cubicBezTo>
                          <a:cubicBezTo>
                            <a:pt x="4950" y="1636"/>
                            <a:pt x="4949" y="1632"/>
                            <a:pt x="4950" y="1630"/>
                          </a:cubicBezTo>
                          <a:cubicBezTo>
                            <a:pt x="4950" y="1628"/>
                            <a:pt x="4950" y="1624"/>
                            <a:pt x="4952" y="1623"/>
                          </a:cubicBezTo>
                          <a:cubicBezTo>
                            <a:pt x="4955" y="1621"/>
                            <a:pt x="4957" y="1618"/>
                            <a:pt x="4957" y="1617"/>
                          </a:cubicBezTo>
                          <a:cubicBezTo>
                            <a:pt x="4957" y="1615"/>
                            <a:pt x="4956" y="1613"/>
                            <a:pt x="4952" y="1615"/>
                          </a:cubicBezTo>
                          <a:cubicBezTo>
                            <a:pt x="4949" y="1617"/>
                            <a:pt x="4947" y="1621"/>
                            <a:pt x="4942" y="1621"/>
                          </a:cubicBezTo>
                          <a:cubicBezTo>
                            <a:pt x="4938" y="1621"/>
                            <a:pt x="4932" y="1619"/>
                            <a:pt x="4929" y="1615"/>
                          </a:cubicBezTo>
                          <a:cubicBezTo>
                            <a:pt x="4925" y="1611"/>
                            <a:pt x="4922" y="1598"/>
                            <a:pt x="4919" y="1595"/>
                          </a:cubicBezTo>
                          <a:cubicBezTo>
                            <a:pt x="4916" y="1591"/>
                            <a:pt x="4909" y="1588"/>
                            <a:pt x="4910" y="1584"/>
                          </a:cubicBezTo>
                          <a:cubicBezTo>
                            <a:pt x="4911" y="1581"/>
                            <a:pt x="4913" y="1581"/>
                            <a:pt x="4917" y="1576"/>
                          </a:cubicBezTo>
                          <a:cubicBezTo>
                            <a:pt x="4922" y="1572"/>
                            <a:pt x="4926" y="1573"/>
                            <a:pt x="4929" y="1567"/>
                          </a:cubicBezTo>
                          <a:cubicBezTo>
                            <a:pt x="4931" y="1560"/>
                            <a:pt x="4933" y="1553"/>
                            <a:pt x="4930" y="1553"/>
                          </a:cubicBezTo>
                          <a:cubicBezTo>
                            <a:pt x="4927" y="1553"/>
                            <a:pt x="4925" y="1559"/>
                            <a:pt x="4923" y="1559"/>
                          </a:cubicBezTo>
                          <a:cubicBezTo>
                            <a:pt x="4921" y="1560"/>
                            <a:pt x="4918" y="1556"/>
                            <a:pt x="4916" y="1556"/>
                          </a:cubicBezTo>
                          <a:cubicBezTo>
                            <a:pt x="4914" y="1556"/>
                            <a:pt x="4914" y="1557"/>
                            <a:pt x="4913" y="1562"/>
                          </a:cubicBezTo>
                          <a:cubicBezTo>
                            <a:pt x="4912" y="1568"/>
                            <a:pt x="4906" y="1569"/>
                            <a:pt x="4904" y="1566"/>
                          </a:cubicBezTo>
                          <a:cubicBezTo>
                            <a:pt x="4902" y="1562"/>
                            <a:pt x="4901" y="1549"/>
                            <a:pt x="4902" y="1544"/>
                          </a:cubicBezTo>
                          <a:cubicBezTo>
                            <a:pt x="4903" y="1539"/>
                            <a:pt x="4901" y="1533"/>
                            <a:pt x="4906" y="1525"/>
                          </a:cubicBezTo>
                          <a:cubicBezTo>
                            <a:pt x="4910" y="1517"/>
                            <a:pt x="4911" y="1512"/>
                            <a:pt x="4912" y="1508"/>
                          </a:cubicBezTo>
                          <a:cubicBezTo>
                            <a:pt x="4913" y="1504"/>
                            <a:pt x="4914" y="1499"/>
                            <a:pt x="4910" y="1493"/>
                          </a:cubicBezTo>
                          <a:cubicBezTo>
                            <a:pt x="4906" y="1487"/>
                            <a:pt x="4903" y="1487"/>
                            <a:pt x="4903" y="1479"/>
                          </a:cubicBezTo>
                          <a:cubicBezTo>
                            <a:pt x="4903" y="1471"/>
                            <a:pt x="4898" y="1466"/>
                            <a:pt x="4897" y="1465"/>
                          </a:cubicBezTo>
                          <a:cubicBezTo>
                            <a:pt x="4895" y="1464"/>
                            <a:pt x="4872" y="1454"/>
                            <a:pt x="4870" y="1448"/>
                          </a:cubicBezTo>
                          <a:cubicBezTo>
                            <a:pt x="4867" y="1441"/>
                            <a:pt x="4868" y="1438"/>
                            <a:pt x="4867" y="1436"/>
                          </a:cubicBezTo>
                          <a:cubicBezTo>
                            <a:pt x="4865" y="1433"/>
                            <a:pt x="4854" y="1422"/>
                            <a:pt x="4852" y="1421"/>
                          </a:cubicBezTo>
                          <a:cubicBezTo>
                            <a:pt x="4849" y="1421"/>
                            <a:pt x="4839" y="1418"/>
                            <a:pt x="4836" y="1413"/>
                          </a:cubicBezTo>
                          <a:cubicBezTo>
                            <a:pt x="4834" y="1409"/>
                            <a:pt x="4832" y="1407"/>
                            <a:pt x="4828" y="1408"/>
                          </a:cubicBezTo>
                          <a:cubicBezTo>
                            <a:pt x="4824" y="1408"/>
                            <a:pt x="4818" y="1406"/>
                            <a:pt x="4815" y="1411"/>
                          </a:cubicBezTo>
                          <a:cubicBezTo>
                            <a:pt x="4811" y="1416"/>
                            <a:pt x="4811" y="1417"/>
                            <a:pt x="4807" y="1417"/>
                          </a:cubicBezTo>
                          <a:cubicBezTo>
                            <a:pt x="4803" y="1418"/>
                            <a:pt x="4795" y="1418"/>
                            <a:pt x="4792" y="1421"/>
                          </a:cubicBezTo>
                          <a:cubicBezTo>
                            <a:pt x="4789" y="1423"/>
                            <a:pt x="4786" y="1429"/>
                            <a:pt x="4784" y="1431"/>
                          </a:cubicBezTo>
                          <a:cubicBezTo>
                            <a:pt x="4782" y="1433"/>
                            <a:pt x="4779" y="1435"/>
                            <a:pt x="4775" y="1436"/>
                          </a:cubicBezTo>
                          <a:cubicBezTo>
                            <a:pt x="4771" y="1437"/>
                            <a:pt x="4772" y="1442"/>
                            <a:pt x="4765" y="1438"/>
                          </a:cubicBezTo>
                          <a:cubicBezTo>
                            <a:pt x="4759" y="1434"/>
                            <a:pt x="4750" y="1431"/>
                            <a:pt x="4747" y="1429"/>
                          </a:cubicBezTo>
                          <a:cubicBezTo>
                            <a:pt x="4743" y="1427"/>
                            <a:pt x="4739" y="1420"/>
                            <a:pt x="4739" y="1417"/>
                          </a:cubicBezTo>
                          <a:cubicBezTo>
                            <a:pt x="4739" y="1415"/>
                            <a:pt x="4741" y="1414"/>
                            <a:pt x="4738" y="1410"/>
                          </a:cubicBezTo>
                          <a:cubicBezTo>
                            <a:pt x="4735" y="1407"/>
                            <a:pt x="4734" y="1407"/>
                            <a:pt x="4733" y="1404"/>
                          </a:cubicBezTo>
                          <a:cubicBezTo>
                            <a:pt x="4733" y="1401"/>
                            <a:pt x="4730" y="1400"/>
                            <a:pt x="4731" y="1397"/>
                          </a:cubicBezTo>
                          <a:cubicBezTo>
                            <a:pt x="4732" y="1395"/>
                            <a:pt x="4734" y="1393"/>
                            <a:pt x="4731" y="1392"/>
                          </a:cubicBezTo>
                          <a:cubicBezTo>
                            <a:pt x="4727" y="1392"/>
                            <a:pt x="4723" y="1393"/>
                            <a:pt x="4721" y="1395"/>
                          </a:cubicBezTo>
                          <a:cubicBezTo>
                            <a:pt x="4718" y="1397"/>
                            <a:pt x="4717" y="1398"/>
                            <a:pt x="4713" y="1398"/>
                          </a:cubicBezTo>
                          <a:cubicBezTo>
                            <a:pt x="4708" y="1398"/>
                            <a:pt x="4702" y="1396"/>
                            <a:pt x="4701" y="1394"/>
                          </a:cubicBezTo>
                          <a:cubicBezTo>
                            <a:pt x="4699" y="1393"/>
                            <a:pt x="4698" y="1393"/>
                            <a:pt x="4698" y="1388"/>
                          </a:cubicBezTo>
                          <a:cubicBezTo>
                            <a:pt x="4698" y="1384"/>
                            <a:pt x="4699" y="1382"/>
                            <a:pt x="4696" y="1381"/>
                          </a:cubicBezTo>
                          <a:cubicBezTo>
                            <a:pt x="4693" y="1380"/>
                            <a:pt x="4693" y="1379"/>
                            <a:pt x="4688" y="1382"/>
                          </a:cubicBezTo>
                          <a:cubicBezTo>
                            <a:pt x="4683" y="1384"/>
                            <a:pt x="4680" y="1384"/>
                            <a:pt x="4675" y="1384"/>
                          </a:cubicBezTo>
                          <a:cubicBezTo>
                            <a:pt x="4671" y="1384"/>
                            <a:pt x="4671" y="1384"/>
                            <a:pt x="4665" y="1386"/>
                          </a:cubicBezTo>
                          <a:cubicBezTo>
                            <a:pt x="4660" y="1387"/>
                            <a:pt x="4656" y="1388"/>
                            <a:pt x="4653" y="1386"/>
                          </a:cubicBezTo>
                          <a:cubicBezTo>
                            <a:pt x="4651" y="1385"/>
                            <a:pt x="4649" y="1383"/>
                            <a:pt x="4647" y="1380"/>
                          </a:cubicBezTo>
                          <a:cubicBezTo>
                            <a:pt x="4646" y="1377"/>
                            <a:pt x="4642" y="1373"/>
                            <a:pt x="4639" y="1374"/>
                          </a:cubicBezTo>
                          <a:cubicBezTo>
                            <a:pt x="4635" y="1375"/>
                            <a:pt x="4633" y="1381"/>
                            <a:pt x="4629" y="1385"/>
                          </a:cubicBezTo>
                          <a:cubicBezTo>
                            <a:pt x="4625" y="1389"/>
                            <a:pt x="4623" y="1388"/>
                            <a:pt x="4621" y="1387"/>
                          </a:cubicBezTo>
                          <a:cubicBezTo>
                            <a:pt x="4618" y="1385"/>
                            <a:pt x="4615" y="1385"/>
                            <a:pt x="4611" y="1389"/>
                          </a:cubicBezTo>
                          <a:cubicBezTo>
                            <a:pt x="4607" y="1394"/>
                            <a:pt x="4605" y="1396"/>
                            <a:pt x="4602" y="1395"/>
                          </a:cubicBezTo>
                          <a:cubicBezTo>
                            <a:pt x="4600" y="1394"/>
                            <a:pt x="4595" y="1388"/>
                            <a:pt x="4595" y="1388"/>
                          </a:cubicBezTo>
                          <a:cubicBezTo>
                            <a:pt x="4595" y="1388"/>
                            <a:pt x="4589" y="1382"/>
                            <a:pt x="4587" y="1378"/>
                          </a:cubicBezTo>
                          <a:cubicBezTo>
                            <a:pt x="4586" y="1374"/>
                            <a:pt x="4586" y="1365"/>
                            <a:pt x="4581" y="1368"/>
                          </a:cubicBezTo>
                          <a:cubicBezTo>
                            <a:pt x="4575" y="1371"/>
                            <a:pt x="4577" y="1378"/>
                            <a:pt x="4577" y="1384"/>
                          </a:cubicBezTo>
                          <a:cubicBezTo>
                            <a:pt x="4576" y="1389"/>
                            <a:pt x="4576" y="1394"/>
                            <a:pt x="4572" y="1394"/>
                          </a:cubicBezTo>
                          <a:cubicBezTo>
                            <a:pt x="4568" y="1394"/>
                            <a:pt x="4565" y="1390"/>
                            <a:pt x="4563" y="1388"/>
                          </a:cubicBezTo>
                          <a:cubicBezTo>
                            <a:pt x="4561" y="1386"/>
                            <a:pt x="4552" y="1383"/>
                            <a:pt x="4543" y="1385"/>
                          </a:cubicBezTo>
                          <a:cubicBezTo>
                            <a:pt x="4534" y="1387"/>
                            <a:pt x="4533" y="1389"/>
                            <a:pt x="4526" y="1387"/>
                          </a:cubicBezTo>
                          <a:cubicBezTo>
                            <a:pt x="4518" y="1386"/>
                            <a:pt x="4511" y="1384"/>
                            <a:pt x="4507" y="1387"/>
                          </a:cubicBezTo>
                          <a:cubicBezTo>
                            <a:pt x="4504" y="1390"/>
                            <a:pt x="4499" y="1392"/>
                            <a:pt x="4496" y="1395"/>
                          </a:cubicBezTo>
                          <a:cubicBezTo>
                            <a:pt x="4494" y="1397"/>
                            <a:pt x="4493" y="1401"/>
                            <a:pt x="4483" y="1398"/>
                          </a:cubicBezTo>
                          <a:cubicBezTo>
                            <a:pt x="4473" y="1394"/>
                            <a:pt x="4456" y="1392"/>
                            <a:pt x="4452" y="1395"/>
                          </a:cubicBezTo>
                          <a:cubicBezTo>
                            <a:pt x="4448" y="1397"/>
                            <a:pt x="4440" y="1396"/>
                            <a:pt x="4437" y="1401"/>
                          </a:cubicBezTo>
                          <a:cubicBezTo>
                            <a:pt x="4433" y="1406"/>
                            <a:pt x="4437" y="1409"/>
                            <a:pt x="4444" y="1409"/>
                          </a:cubicBezTo>
                          <a:cubicBezTo>
                            <a:pt x="4452" y="1409"/>
                            <a:pt x="4456" y="1408"/>
                            <a:pt x="4461" y="1407"/>
                          </a:cubicBezTo>
                          <a:cubicBezTo>
                            <a:pt x="4467" y="1406"/>
                            <a:pt x="4469" y="1405"/>
                            <a:pt x="4471" y="1408"/>
                          </a:cubicBezTo>
                          <a:cubicBezTo>
                            <a:pt x="4473" y="1410"/>
                            <a:pt x="4476" y="1410"/>
                            <a:pt x="4474" y="1414"/>
                          </a:cubicBezTo>
                          <a:cubicBezTo>
                            <a:pt x="4473" y="1418"/>
                            <a:pt x="4473" y="1422"/>
                            <a:pt x="4477" y="1422"/>
                          </a:cubicBezTo>
                          <a:cubicBezTo>
                            <a:pt x="4481" y="1421"/>
                            <a:pt x="4483" y="1418"/>
                            <a:pt x="4487" y="1415"/>
                          </a:cubicBezTo>
                          <a:cubicBezTo>
                            <a:pt x="4491" y="1412"/>
                            <a:pt x="4497" y="1412"/>
                            <a:pt x="4503" y="1410"/>
                          </a:cubicBezTo>
                          <a:cubicBezTo>
                            <a:pt x="4508" y="1408"/>
                            <a:pt x="4503" y="1413"/>
                            <a:pt x="4500" y="1416"/>
                          </a:cubicBezTo>
                          <a:cubicBezTo>
                            <a:pt x="4497" y="1419"/>
                            <a:pt x="4497" y="1422"/>
                            <a:pt x="4497" y="1424"/>
                          </a:cubicBezTo>
                          <a:cubicBezTo>
                            <a:pt x="4497" y="1427"/>
                            <a:pt x="4494" y="1429"/>
                            <a:pt x="4491" y="1429"/>
                          </a:cubicBezTo>
                          <a:cubicBezTo>
                            <a:pt x="4489" y="1429"/>
                            <a:pt x="4484" y="1430"/>
                            <a:pt x="4484" y="1433"/>
                          </a:cubicBezTo>
                          <a:cubicBezTo>
                            <a:pt x="4484" y="1436"/>
                            <a:pt x="4488" y="1439"/>
                            <a:pt x="4483" y="1439"/>
                          </a:cubicBezTo>
                          <a:cubicBezTo>
                            <a:pt x="4479" y="1440"/>
                            <a:pt x="4475" y="1439"/>
                            <a:pt x="4476" y="1442"/>
                          </a:cubicBezTo>
                          <a:cubicBezTo>
                            <a:pt x="4476" y="1445"/>
                            <a:pt x="4476" y="1448"/>
                            <a:pt x="4481" y="1451"/>
                          </a:cubicBezTo>
                          <a:cubicBezTo>
                            <a:pt x="4486" y="1453"/>
                            <a:pt x="4487" y="1453"/>
                            <a:pt x="4492" y="1454"/>
                          </a:cubicBezTo>
                          <a:cubicBezTo>
                            <a:pt x="4497" y="1454"/>
                            <a:pt x="4499" y="1450"/>
                            <a:pt x="4504" y="1456"/>
                          </a:cubicBezTo>
                          <a:cubicBezTo>
                            <a:pt x="4509" y="1462"/>
                            <a:pt x="4508" y="1462"/>
                            <a:pt x="4513" y="1465"/>
                          </a:cubicBezTo>
                          <a:cubicBezTo>
                            <a:pt x="4518" y="1468"/>
                            <a:pt x="4519" y="1471"/>
                            <a:pt x="4518" y="1474"/>
                          </a:cubicBezTo>
                          <a:cubicBezTo>
                            <a:pt x="4517" y="1478"/>
                            <a:pt x="4515" y="1479"/>
                            <a:pt x="4510" y="1482"/>
                          </a:cubicBezTo>
                          <a:cubicBezTo>
                            <a:pt x="4505" y="1484"/>
                            <a:pt x="4495" y="1488"/>
                            <a:pt x="4496" y="1484"/>
                          </a:cubicBezTo>
                          <a:cubicBezTo>
                            <a:pt x="4496" y="1479"/>
                            <a:pt x="4505" y="1477"/>
                            <a:pt x="4500" y="1473"/>
                          </a:cubicBezTo>
                          <a:cubicBezTo>
                            <a:pt x="4494" y="1469"/>
                            <a:pt x="4485" y="1467"/>
                            <a:pt x="4483" y="1465"/>
                          </a:cubicBezTo>
                          <a:cubicBezTo>
                            <a:pt x="4481" y="1463"/>
                            <a:pt x="4480" y="1457"/>
                            <a:pt x="4478" y="1455"/>
                          </a:cubicBezTo>
                          <a:cubicBezTo>
                            <a:pt x="4475" y="1454"/>
                            <a:pt x="4473" y="1450"/>
                            <a:pt x="4469" y="1450"/>
                          </a:cubicBezTo>
                          <a:cubicBezTo>
                            <a:pt x="4465" y="1449"/>
                            <a:pt x="4463" y="1444"/>
                            <a:pt x="4459" y="1443"/>
                          </a:cubicBezTo>
                          <a:cubicBezTo>
                            <a:pt x="4455" y="1442"/>
                            <a:pt x="4445" y="1438"/>
                            <a:pt x="4445" y="1442"/>
                          </a:cubicBezTo>
                          <a:cubicBezTo>
                            <a:pt x="4445" y="1445"/>
                            <a:pt x="4448" y="1447"/>
                            <a:pt x="4451" y="1450"/>
                          </a:cubicBezTo>
                          <a:cubicBezTo>
                            <a:pt x="4455" y="1453"/>
                            <a:pt x="4458" y="1455"/>
                            <a:pt x="4457" y="1459"/>
                          </a:cubicBezTo>
                          <a:cubicBezTo>
                            <a:pt x="4456" y="1463"/>
                            <a:pt x="4456" y="1465"/>
                            <a:pt x="4453" y="1468"/>
                          </a:cubicBezTo>
                          <a:cubicBezTo>
                            <a:pt x="4451" y="1471"/>
                            <a:pt x="4445" y="1477"/>
                            <a:pt x="4443" y="1474"/>
                          </a:cubicBezTo>
                          <a:cubicBezTo>
                            <a:pt x="4441" y="1470"/>
                            <a:pt x="4443" y="1465"/>
                            <a:pt x="4441" y="1462"/>
                          </a:cubicBezTo>
                          <a:cubicBezTo>
                            <a:pt x="4439" y="1459"/>
                            <a:pt x="4432" y="1456"/>
                            <a:pt x="4430" y="1457"/>
                          </a:cubicBezTo>
                          <a:cubicBezTo>
                            <a:pt x="4427" y="1458"/>
                            <a:pt x="4421" y="1465"/>
                            <a:pt x="4419" y="1466"/>
                          </a:cubicBezTo>
                          <a:cubicBezTo>
                            <a:pt x="4417" y="1467"/>
                            <a:pt x="4413" y="1475"/>
                            <a:pt x="4408" y="1471"/>
                          </a:cubicBezTo>
                          <a:cubicBezTo>
                            <a:pt x="4404" y="1467"/>
                            <a:pt x="4400" y="1464"/>
                            <a:pt x="4395" y="1460"/>
                          </a:cubicBezTo>
                          <a:cubicBezTo>
                            <a:pt x="4389" y="1456"/>
                            <a:pt x="4385" y="1459"/>
                            <a:pt x="4386" y="1451"/>
                          </a:cubicBezTo>
                          <a:cubicBezTo>
                            <a:pt x="4387" y="1443"/>
                            <a:pt x="4381" y="1434"/>
                            <a:pt x="4380" y="1437"/>
                          </a:cubicBezTo>
                          <a:cubicBezTo>
                            <a:pt x="4378" y="1440"/>
                            <a:pt x="4380" y="1448"/>
                            <a:pt x="4375" y="1447"/>
                          </a:cubicBezTo>
                          <a:cubicBezTo>
                            <a:pt x="4370" y="1445"/>
                            <a:pt x="4365" y="1443"/>
                            <a:pt x="4362" y="1437"/>
                          </a:cubicBezTo>
                          <a:cubicBezTo>
                            <a:pt x="4359" y="1431"/>
                            <a:pt x="4358" y="1432"/>
                            <a:pt x="4351" y="1429"/>
                          </a:cubicBezTo>
                          <a:cubicBezTo>
                            <a:pt x="4344" y="1425"/>
                            <a:pt x="4341" y="1425"/>
                            <a:pt x="4332" y="1428"/>
                          </a:cubicBezTo>
                          <a:cubicBezTo>
                            <a:pt x="4324" y="1431"/>
                            <a:pt x="4319" y="1433"/>
                            <a:pt x="4323" y="1435"/>
                          </a:cubicBezTo>
                          <a:cubicBezTo>
                            <a:pt x="4327" y="1437"/>
                            <a:pt x="4328" y="1439"/>
                            <a:pt x="4334" y="1438"/>
                          </a:cubicBezTo>
                          <a:cubicBezTo>
                            <a:pt x="4340" y="1437"/>
                            <a:pt x="4340" y="1436"/>
                            <a:pt x="4344" y="1437"/>
                          </a:cubicBezTo>
                          <a:cubicBezTo>
                            <a:pt x="4349" y="1438"/>
                            <a:pt x="4354" y="1440"/>
                            <a:pt x="4353" y="1442"/>
                          </a:cubicBezTo>
                          <a:cubicBezTo>
                            <a:pt x="4352" y="1443"/>
                            <a:pt x="4347" y="1446"/>
                            <a:pt x="4344" y="1443"/>
                          </a:cubicBezTo>
                          <a:cubicBezTo>
                            <a:pt x="4341" y="1441"/>
                            <a:pt x="4338" y="1440"/>
                            <a:pt x="4334" y="1441"/>
                          </a:cubicBezTo>
                          <a:cubicBezTo>
                            <a:pt x="4329" y="1443"/>
                            <a:pt x="4328" y="1444"/>
                            <a:pt x="4320" y="1444"/>
                          </a:cubicBezTo>
                          <a:cubicBezTo>
                            <a:pt x="4313" y="1444"/>
                            <a:pt x="4305" y="1442"/>
                            <a:pt x="4299" y="1438"/>
                          </a:cubicBezTo>
                          <a:cubicBezTo>
                            <a:pt x="4292" y="1435"/>
                            <a:pt x="4291" y="1432"/>
                            <a:pt x="4280" y="1430"/>
                          </a:cubicBezTo>
                          <a:cubicBezTo>
                            <a:pt x="4269" y="1428"/>
                            <a:pt x="4263" y="1424"/>
                            <a:pt x="4261" y="1421"/>
                          </a:cubicBezTo>
                          <a:cubicBezTo>
                            <a:pt x="4260" y="1418"/>
                            <a:pt x="4257" y="1408"/>
                            <a:pt x="4253" y="1409"/>
                          </a:cubicBezTo>
                          <a:cubicBezTo>
                            <a:pt x="4250" y="1410"/>
                            <a:pt x="4249" y="1412"/>
                            <a:pt x="4249" y="1419"/>
                          </a:cubicBezTo>
                          <a:cubicBezTo>
                            <a:pt x="4248" y="1426"/>
                            <a:pt x="4250" y="1431"/>
                            <a:pt x="4245" y="1431"/>
                          </a:cubicBezTo>
                          <a:cubicBezTo>
                            <a:pt x="4240" y="1431"/>
                            <a:pt x="4230" y="1432"/>
                            <a:pt x="4229" y="1431"/>
                          </a:cubicBezTo>
                          <a:cubicBezTo>
                            <a:pt x="4227" y="1431"/>
                            <a:pt x="4225" y="1427"/>
                            <a:pt x="4225" y="1425"/>
                          </a:cubicBezTo>
                          <a:cubicBezTo>
                            <a:pt x="4226" y="1422"/>
                            <a:pt x="4224" y="1415"/>
                            <a:pt x="4223" y="1417"/>
                          </a:cubicBezTo>
                          <a:cubicBezTo>
                            <a:pt x="4221" y="1419"/>
                            <a:pt x="4224" y="1426"/>
                            <a:pt x="4221" y="1430"/>
                          </a:cubicBezTo>
                          <a:cubicBezTo>
                            <a:pt x="4217" y="1433"/>
                            <a:pt x="4218" y="1433"/>
                            <a:pt x="4212" y="1436"/>
                          </a:cubicBezTo>
                          <a:cubicBezTo>
                            <a:pt x="4206" y="1439"/>
                            <a:pt x="4196" y="1439"/>
                            <a:pt x="4191" y="1443"/>
                          </a:cubicBezTo>
                          <a:cubicBezTo>
                            <a:pt x="4187" y="1446"/>
                            <a:pt x="4179" y="1447"/>
                            <a:pt x="4175" y="1445"/>
                          </a:cubicBezTo>
                          <a:cubicBezTo>
                            <a:pt x="4171" y="1442"/>
                            <a:pt x="4163" y="1444"/>
                            <a:pt x="4163" y="1440"/>
                          </a:cubicBezTo>
                          <a:cubicBezTo>
                            <a:pt x="4163" y="1436"/>
                            <a:pt x="4169" y="1429"/>
                            <a:pt x="4164" y="1428"/>
                          </a:cubicBezTo>
                          <a:cubicBezTo>
                            <a:pt x="4159" y="1428"/>
                            <a:pt x="4161" y="1436"/>
                            <a:pt x="4155" y="1436"/>
                          </a:cubicBezTo>
                          <a:cubicBezTo>
                            <a:pt x="4149" y="1436"/>
                            <a:pt x="4143" y="1429"/>
                            <a:pt x="4144" y="1436"/>
                          </a:cubicBezTo>
                          <a:cubicBezTo>
                            <a:pt x="4146" y="1443"/>
                            <a:pt x="4150" y="1448"/>
                            <a:pt x="4151" y="1451"/>
                          </a:cubicBezTo>
                          <a:cubicBezTo>
                            <a:pt x="4152" y="1454"/>
                            <a:pt x="4155" y="1457"/>
                            <a:pt x="4149" y="1459"/>
                          </a:cubicBezTo>
                          <a:cubicBezTo>
                            <a:pt x="4143" y="1461"/>
                            <a:pt x="4136" y="1466"/>
                            <a:pt x="4134" y="1471"/>
                          </a:cubicBezTo>
                          <a:cubicBezTo>
                            <a:pt x="4133" y="1476"/>
                            <a:pt x="4131" y="1479"/>
                            <a:pt x="4129" y="1482"/>
                          </a:cubicBezTo>
                          <a:cubicBezTo>
                            <a:pt x="4127" y="1485"/>
                            <a:pt x="4128" y="1486"/>
                            <a:pt x="4126" y="1488"/>
                          </a:cubicBezTo>
                          <a:cubicBezTo>
                            <a:pt x="4124" y="1488"/>
                            <a:pt x="4120" y="1490"/>
                            <a:pt x="4116" y="1490"/>
                          </a:cubicBezTo>
                          <a:cubicBezTo>
                            <a:pt x="4114" y="1491"/>
                            <a:pt x="4110" y="1493"/>
                            <a:pt x="4106" y="1495"/>
                          </a:cubicBezTo>
                          <a:cubicBezTo>
                            <a:pt x="4095" y="1499"/>
                            <a:pt x="4090" y="1504"/>
                            <a:pt x="4087" y="1507"/>
                          </a:cubicBezTo>
                          <a:cubicBezTo>
                            <a:pt x="4083" y="1510"/>
                            <a:pt x="4080" y="1512"/>
                            <a:pt x="4078" y="1508"/>
                          </a:cubicBezTo>
                          <a:cubicBezTo>
                            <a:pt x="4076" y="1505"/>
                            <a:pt x="4074" y="1503"/>
                            <a:pt x="4070" y="1503"/>
                          </a:cubicBezTo>
                          <a:cubicBezTo>
                            <a:pt x="4067" y="1502"/>
                            <a:pt x="4063" y="1497"/>
                            <a:pt x="4060" y="1497"/>
                          </a:cubicBezTo>
                          <a:cubicBezTo>
                            <a:pt x="4058" y="1497"/>
                            <a:pt x="4055" y="1501"/>
                            <a:pt x="4055" y="1501"/>
                          </a:cubicBezTo>
                          <a:cubicBezTo>
                            <a:pt x="4055" y="1501"/>
                            <a:pt x="4048" y="1501"/>
                            <a:pt x="4050" y="1503"/>
                          </a:cubicBezTo>
                          <a:cubicBezTo>
                            <a:pt x="4052" y="1506"/>
                            <a:pt x="4056" y="1508"/>
                            <a:pt x="4058" y="1512"/>
                          </a:cubicBezTo>
                          <a:cubicBezTo>
                            <a:pt x="4060" y="1515"/>
                            <a:pt x="4057" y="1517"/>
                            <a:pt x="4063" y="1516"/>
                          </a:cubicBezTo>
                          <a:cubicBezTo>
                            <a:pt x="4068" y="1516"/>
                            <a:pt x="4073" y="1514"/>
                            <a:pt x="4072" y="1516"/>
                          </a:cubicBezTo>
                          <a:cubicBezTo>
                            <a:pt x="4070" y="1518"/>
                            <a:pt x="4068" y="1518"/>
                            <a:pt x="4064" y="1520"/>
                          </a:cubicBezTo>
                          <a:cubicBezTo>
                            <a:pt x="4059" y="1522"/>
                            <a:pt x="4056" y="1523"/>
                            <a:pt x="4054" y="1526"/>
                          </a:cubicBezTo>
                          <a:cubicBezTo>
                            <a:pt x="4052" y="1529"/>
                            <a:pt x="4047" y="1535"/>
                            <a:pt x="4046" y="1529"/>
                          </a:cubicBezTo>
                          <a:cubicBezTo>
                            <a:pt x="4045" y="1524"/>
                            <a:pt x="4045" y="1524"/>
                            <a:pt x="4044" y="1521"/>
                          </a:cubicBezTo>
                          <a:cubicBezTo>
                            <a:pt x="4043" y="1519"/>
                            <a:pt x="4042" y="1515"/>
                            <a:pt x="4038" y="1519"/>
                          </a:cubicBezTo>
                          <a:cubicBezTo>
                            <a:pt x="4035" y="1522"/>
                            <a:pt x="4036" y="1524"/>
                            <a:pt x="4034" y="1527"/>
                          </a:cubicBezTo>
                          <a:cubicBezTo>
                            <a:pt x="4032" y="1531"/>
                            <a:pt x="4030" y="1533"/>
                            <a:pt x="4027" y="1533"/>
                          </a:cubicBezTo>
                          <a:cubicBezTo>
                            <a:pt x="4025" y="1533"/>
                            <a:pt x="4022" y="1532"/>
                            <a:pt x="4023" y="1535"/>
                          </a:cubicBezTo>
                          <a:cubicBezTo>
                            <a:pt x="4024" y="1539"/>
                            <a:pt x="4031" y="1541"/>
                            <a:pt x="4034" y="1541"/>
                          </a:cubicBezTo>
                          <a:cubicBezTo>
                            <a:pt x="4037" y="1540"/>
                            <a:pt x="4040" y="1536"/>
                            <a:pt x="4040" y="1538"/>
                          </a:cubicBezTo>
                          <a:cubicBezTo>
                            <a:pt x="4040" y="1541"/>
                            <a:pt x="4036" y="1542"/>
                            <a:pt x="4034" y="1545"/>
                          </a:cubicBezTo>
                          <a:cubicBezTo>
                            <a:pt x="4031" y="1548"/>
                            <a:pt x="4030" y="1551"/>
                            <a:pt x="4027" y="1550"/>
                          </a:cubicBezTo>
                          <a:cubicBezTo>
                            <a:pt x="4024" y="1549"/>
                            <a:pt x="4021" y="1544"/>
                            <a:pt x="4021" y="1544"/>
                          </a:cubicBezTo>
                          <a:cubicBezTo>
                            <a:pt x="4021" y="1544"/>
                            <a:pt x="4019" y="1543"/>
                            <a:pt x="4018" y="1548"/>
                          </a:cubicBezTo>
                          <a:cubicBezTo>
                            <a:pt x="4017" y="1552"/>
                            <a:pt x="4017" y="1555"/>
                            <a:pt x="4013" y="1556"/>
                          </a:cubicBezTo>
                          <a:cubicBezTo>
                            <a:pt x="4009" y="1557"/>
                            <a:pt x="4001" y="1556"/>
                            <a:pt x="4001" y="1556"/>
                          </a:cubicBezTo>
                          <a:cubicBezTo>
                            <a:pt x="4001" y="1556"/>
                            <a:pt x="3995" y="1555"/>
                            <a:pt x="3997" y="1558"/>
                          </a:cubicBezTo>
                          <a:cubicBezTo>
                            <a:pt x="3999" y="1562"/>
                            <a:pt x="4002" y="1563"/>
                            <a:pt x="4006" y="1566"/>
                          </a:cubicBezTo>
                          <a:cubicBezTo>
                            <a:pt x="4011" y="1568"/>
                            <a:pt x="4013" y="1566"/>
                            <a:pt x="4017" y="1563"/>
                          </a:cubicBezTo>
                          <a:cubicBezTo>
                            <a:pt x="4020" y="1561"/>
                            <a:pt x="4024" y="1557"/>
                            <a:pt x="4023" y="1561"/>
                          </a:cubicBezTo>
                          <a:cubicBezTo>
                            <a:pt x="4022" y="1565"/>
                            <a:pt x="4014" y="1568"/>
                            <a:pt x="4013" y="1572"/>
                          </a:cubicBezTo>
                          <a:cubicBezTo>
                            <a:pt x="4011" y="1576"/>
                            <a:pt x="4007" y="1576"/>
                            <a:pt x="4006" y="1581"/>
                          </a:cubicBezTo>
                          <a:cubicBezTo>
                            <a:pt x="4005" y="1585"/>
                            <a:pt x="4006" y="1589"/>
                            <a:pt x="4003" y="1590"/>
                          </a:cubicBezTo>
                          <a:cubicBezTo>
                            <a:pt x="3999" y="1591"/>
                            <a:pt x="3997" y="1592"/>
                            <a:pt x="3995" y="1592"/>
                          </a:cubicBezTo>
                          <a:cubicBezTo>
                            <a:pt x="3993" y="1592"/>
                            <a:pt x="3989" y="1594"/>
                            <a:pt x="3987" y="1590"/>
                          </a:cubicBezTo>
                          <a:cubicBezTo>
                            <a:pt x="3984" y="1586"/>
                            <a:pt x="3980" y="1580"/>
                            <a:pt x="3978" y="1585"/>
                          </a:cubicBezTo>
                          <a:cubicBezTo>
                            <a:pt x="3976" y="1590"/>
                            <a:pt x="3974" y="1597"/>
                            <a:pt x="3977" y="1599"/>
                          </a:cubicBezTo>
                          <a:cubicBezTo>
                            <a:pt x="3980" y="1600"/>
                            <a:pt x="3988" y="1600"/>
                            <a:pt x="3990" y="1600"/>
                          </a:cubicBezTo>
                          <a:cubicBezTo>
                            <a:pt x="3992" y="1601"/>
                            <a:pt x="3992" y="1605"/>
                            <a:pt x="3992" y="1609"/>
                          </a:cubicBezTo>
                          <a:cubicBezTo>
                            <a:pt x="3992" y="1612"/>
                            <a:pt x="3991" y="1611"/>
                            <a:pt x="3993" y="1617"/>
                          </a:cubicBezTo>
                          <a:cubicBezTo>
                            <a:pt x="3994" y="1624"/>
                            <a:pt x="3993" y="1629"/>
                            <a:pt x="3996" y="1632"/>
                          </a:cubicBezTo>
                          <a:cubicBezTo>
                            <a:pt x="4000" y="1636"/>
                            <a:pt x="3996" y="1639"/>
                            <a:pt x="3999" y="1646"/>
                          </a:cubicBezTo>
                          <a:cubicBezTo>
                            <a:pt x="4002" y="1652"/>
                            <a:pt x="4000" y="1656"/>
                            <a:pt x="4005" y="1664"/>
                          </a:cubicBezTo>
                          <a:cubicBezTo>
                            <a:pt x="4011" y="1672"/>
                            <a:pt x="4011" y="1675"/>
                            <a:pt x="4012" y="1680"/>
                          </a:cubicBezTo>
                          <a:cubicBezTo>
                            <a:pt x="4012" y="1682"/>
                            <a:pt x="4012" y="1685"/>
                            <a:pt x="4012" y="1688"/>
                          </a:cubicBezTo>
                          <a:cubicBezTo>
                            <a:pt x="4006" y="1689"/>
                            <a:pt x="4001" y="1691"/>
                            <a:pt x="3998" y="1689"/>
                          </a:cubicBezTo>
                          <a:cubicBezTo>
                            <a:pt x="3996" y="1688"/>
                            <a:pt x="3994" y="1686"/>
                            <a:pt x="3992" y="1684"/>
                          </a:cubicBezTo>
                          <a:cubicBezTo>
                            <a:pt x="3988" y="1681"/>
                            <a:pt x="3984" y="1677"/>
                            <a:pt x="3979" y="1675"/>
                          </a:cubicBezTo>
                          <a:cubicBezTo>
                            <a:pt x="3976" y="1674"/>
                            <a:pt x="3971" y="1674"/>
                            <a:pt x="3966" y="1674"/>
                          </a:cubicBezTo>
                          <a:cubicBezTo>
                            <a:pt x="3960" y="1674"/>
                            <a:pt x="3952" y="1674"/>
                            <a:pt x="3946" y="1671"/>
                          </a:cubicBezTo>
                          <a:cubicBezTo>
                            <a:pt x="3942" y="1669"/>
                            <a:pt x="3936" y="1667"/>
                            <a:pt x="3930" y="1664"/>
                          </a:cubicBezTo>
                          <a:cubicBezTo>
                            <a:pt x="3916" y="1659"/>
                            <a:pt x="3900" y="1652"/>
                            <a:pt x="3898" y="1649"/>
                          </a:cubicBezTo>
                          <a:cubicBezTo>
                            <a:pt x="3895" y="1646"/>
                            <a:pt x="3890" y="1636"/>
                            <a:pt x="3886" y="1626"/>
                          </a:cubicBezTo>
                          <a:cubicBezTo>
                            <a:pt x="3883" y="1618"/>
                            <a:pt x="3881" y="1610"/>
                            <a:pt x="3881" y="1605"/>
                          </a:cubicBezTo>
                          <a:cubicBezTo>
                            <a:pt x="3881" y="1599"/>
                            <a:pt x="3880" y="1594"/>
                            <a:pt x="3880" y="1589"/>
                          </a:cubicBezTo>
                          <a:cubicBezTo>
                            <a:pt x="3879" y="1585"/>
                            <a:pt x="3878" y="1580"/>
                            <a:pt x="3876" y="1576"/>
                          </a:cubicBezTo>
                          <a:cubicBezTo>
                            <a:pt x="3874" y="1570"/>
                            <a:pt x="3867" y="1568"/>
                            <a:pt x="3861" y="1566"/>
                          </a:cubicBezTo>
                          <a:cubicBezTo>
                            <a:pt x="3857" y="1565"/>
                            <a:pt x="3853" y="1564"/>
                            <a:pt x="3851" y="1562"/>
                          </a:cubicBezTo>
                          <a:cubicBezTo>
                            <a:pt x="3848" y="1558"/>
                            <a:pt x="3834" y="1534"/>
                            <a:pt x="3820" y="1511"/>
                          </a:cubicBezTo>
                          <a:cubicBezTo>
                            <a:pt x="3807" y="1489"/>
                            <a:pt x="3794" y="1468"/>
                            <a:pt x="3791" y="1464"/>
                          </a:cubicBezTo>
                          <a:cubicBezTo>
                            <a:pt x="3786" y="1458"/>
                            <a:pt x="3776" y="1446"/>
                            <a:pt x="3765" y="1437"/>
                          </a:cubicBezTo>
                          <a:cubicBezTo>
                            <a:pt x="3758" y="1430"/>
                            <a:pt x="3750" y="1425"/>
                            <a:pt x="3743" y="1423"/>
                          </a:cubicBezTo>
                          <a:cubicBezTo>
                            <a:pt x="3734" y="1420"/>
                            <a:pt x="3718" y="1419"/>
                            <a:pt x="3703" y="1421"/>
                          </a:cubicBezTo>
                          <a:cubicBezTo>
                            <a:pt x="3690" y="1422"/>
                            <a:pt x="3678" y="1425"/>
                            <a:pt x="3672" y="1430"/>
                          </a:cubicBezTo>
                          <a:cubicBezTo>
                            <a:pt x="3667" y="1435"/>
                            <a:pt x="3662" y="1443"/>
                            <a:pt x="3657" y="1451"/>
                          </a:cubicBezTo>
                          <a:cubicBezTo>
                            <a:pt x="3649" y="1463"/>
                            <a:pt x="3641" y="1476"/>
                            <a:pt x="3637" y="1475"/>
                          </a:cubicBezTo>
                          <a:cubicBezTo>
                            <a:pt x="3632" y="1475"/>
                            <a:pt x="3619" y="1469"/>
                            <a:pt x="3606" y="1462"/>
                          </a:cubicBezTo>
                          <a:cubicBezTo>
                            <a:pt x="3593" y="1455"/>
                            <a:pt x="3580" y="1447"/>
                            <a:pt x="3572" y="1440"/>
                          </a:cubicBezTo>
                          <a:cubicBezTo>
                            <a:pt x="3559" y="1428"/>
                            <a:pt x="3557" y="1422"/>
                            <a:pt x="3554" y="1410"/>
                          </a:cubicBezTo>
                          <a:cubicBezTo>
                            <a:pt x="3554" y="1408"/>
                            <a:pt x="3553" y="1406"/>
                            <a:pt x="3553" y="1405"/>
                          </a:cubicBezTo>
                          <a:cubicBezTo>
                            <a:pt x="3550" y="1397"/>
                            <a:pt x="3548" y="1389"/>
                            <a:pt x="3545" y="1383"/>
                          </a:cubicBezTo>
                          <a:cubicBezTo>
                            <a:pt x="3541" y="1377"/>
                            <a:pt x="3537" y="1372"/>
                            <a:pt x="3534" y="1369"/>
                          </a:cubicBezTo>
                          <a:cubicBezTo>
                            <a:pt x="3529" y="1365"/>
                            <a:pt x="3490" y="1333"/>
                            <a:pt x="3461" y="1311"/>
                          </a:cubicBezTo>
                          <a:cubicBezTo>
                            <a:pt x="3445" y="1298"/>
                            <a:pt x="3432" y="1289"/>
                            <a:pt x="3428" y="1289"/>
                          </a:cubicBezTo>
                          <a:cubicBezTo>
                            <a:pt x="3421" y="1289"/>
                            <a:pt x="3333" y="1289"/>
                            <a:pt x="3332" y="1289"/>
                          </a:cubicBezTo>
                          <a:cubicBezTo>
                            <a:pt x="3329" y="1289"/>
                            <a:pt x="3329" y="1289"/>
                            <a:pt x="3329" y="1289"/>
                          </a:cubicBezTo>
                          <a:cubicBezTo>
                            <a:pt x="3329" y="1292"/>
                            <a:pt x="3329" y="1292"/>
                            <a:pt x="3329" y="1292"/>
                          </a:cubicBezTo>
                          <a:cubicBezTo>
                            <a:pt x="3329" y="1293"/>
                            <a:pt x="3325" y="1315"/>
                            <a:pt x="3323" y="1316"/>
                          </a:cubicBezTo>
                          <a:cubicBezTo>
                            <a:pt x="3321" y="1317"/>
                            <a:pt x="3171" y="1318"/>
                            <a:pt x="3160" y="1318"/>
                          </a:cubicBezTo>
                          <a:cubicBezTo>
                            <a:pt x="2932" y="1243"/>
                            <a:pt x="2932" y="1243"/>
                            <a:pt x="2932" y="1243"/>
                          </a:cubicBezTo>
                          <a:cubicBezTo>
                            <a:pt x="2925" y="1229"/>
                            <a:pt x="2925" y="1229"/>
                            <a:pt x="2925" y="1229"/>
                          </a:cubicBezTo>
                          <a:cubicBezTo>
                            <a:pt x="2924" y="1227"/>
                            <a:pt x="2924" y="1227"/>
                            <a:pt x="2924" y="1227"/>
                          </a:cubicBezTo>
                          <a:cubicBezTo>
                            <a:pt x="2921" y="1227"/>
                            <a:pt x="2921" y="1227"/>
                            <a:pt x="2921" y="1227"/>
                          </a:cubicBezTo>
                          <a:cubicBezTo>
                            <a:pt x="2781" y="1239"/>
                            <a:pt x="2781" y="1239"/>
                            <a:pt x="2781" y="1239"/>
                          </a:cubicBezTo>
                          <a:cubicBezTo>
                            <a:pt x="2780" y="1235"/>
                            <a:pt x="2778" y="1232"/>
                            <a:pt x="2778" y="1229"/>
                          </a:cubicBezTo>
                          <a:cubicBezTo>
                            <a:pt x="2775" y="1218"/>
                            <a:pt x="2768" y="1197"/>
                            <a:pt x="2759" y="1188"/>
                          </a:cubicBezTo>
                          <a:cubicBezTo>
                            <a:pt x="2750" y="1178"/>
                            <a:pt x="2737" y="1168"/>
                            <a:pt x="2730" y="1163"/>
                          </a:cubicBezTo>
                          <a:cubicBezTo>
                            <a:pt x="2723" y="1159"/>
                            <a:pt x="2716" y="1162"/>
                            <a:pt x="2710" y="1158"/>
                          </a:cubicBezTo>
                          <a:cubicBezTo>
                            <a:pt x="2705" y="1153"/>
                            <a:pt x="2700" y="1143"/>
                            <a:pt x="2697" y="1140"/>
                          </a:cubicBezTo>
                          <a:cubicBezTo>
                            <a:pt x="2693" y="1137"/>
                            <a:pt x="2680" y="1146"/>
                            <a:pt x="2672" y="1139"/>
                          </a:cubicBezTo>
                          <a:cubicBezTo>
                            <a:pt x="2665" y="1132"/>
                            <a:pt x="2661" y="1131"/>
                            <a:pt x="2653" y="1122"/>
                          </a:cubicBezTo>
                          <a:cubicBezTo>
                            <a:pt x="2644" y="1114"/>
                            <a:pt x="2634" y="1109"/>
                            <a:pt x="2624" y="1108"/>
                          </a:cubicBezTo>
                          <a:cubicBezTo>
                            <a:pt x="2614" y="1106"/>
                            <a:pt x="2609" y="1110"/>
                            <a:pt x="2596" y="1106"/>
                          </a:cubicBezTo>
                          <a:cubicBezTo>
                            <a:pt x="2583" y="1102"/>
                            <a:pt x="2576" y="1105"/>
                            <a:pt x="2570" y="1100"/>
                          </a:cubicBezTo>
                          <a:cubicBezTo>
                            <a:pt x="2565" y="1095"/>
                            <a:pt x="2563" y="1092"/>
                            <a:pt x="2564" y="1085"/>
                          </a:cubicBezTo>
                          <a:cubicBezTo>
                            <a:pt x="2565" y="1077"/>
                            <a:pt x="2565" y="1069"/>
                            <a:pt x="2562" y="1064"/>
                          </a:cubicBezTo>
                          <a:cubicBezTo>
                            <a:pt x="2559" y="1058"/>
                            <a:pt x="2550" y="1049"/>
                            <a:pt x="2536" y="1031"/>
                          </a:cubicBezTo>
                          <a:cubicBezTo>
                            <a:pt x="2521" y="1014"/>
                            <a:pt x="2511" y="1003"/>
                            <a:pt x="2507" y="999"/>
                          </a:cubicBezTo>
                          <a:cubicBezTo>
                            <a:pt x="2504" y="995"/>
                            <a:pt x="2491" y="985"/>
                            <a:pt x="2488" y="973"/>
                          </a:cubicBezTo>
                          <a:cubicBezTo>
                            <a:pt x="2484" y="961"/>
                            <a:pt x="2483" y="960"/>
                            <a:pt x="2486" y="955"/>
                          </a:cubicBezTo>
                          <a:cubicBezTo>
                            <a:pt x="2489" y="951"/>
                            <a:pt x="2493" y="954"/>
                            <a:pt x="2492" y="947"/>
                          </a:cubicBezTo>
                          <a:cubicBezTo>
                            <a:pt x="2492" y="941"/>
                            <a:pt x="2493" y="937"/>
                            <a:pt x="2489" y="932"/>
                          </a:cubicBezTo>
                          <a:cubicBezTo>
                            <a:pt x="2486" y="927"/>
                            <a:pt x="2478" y="928"/>
                            <a:pt x="2474" y="925"/>
                          </a:cubicBezTo>
                          <a:cubicBezTo>
                            <a:pt x="2470" y="922"/>
                            <a:pt x="2459" y="919"/>
                            <a:pt x="2457" y="915"/>
                          </a:cubicBezTo>
                          <a:cubicBezTo>
                            <a:pt x="2454" y="911"/>
                            <a:pt x="2452" y="893"/>
                            <a:pt x="2453" y="888"/>
                          </a:cubicBezTo>
                          <a:cubicBezTo>
                            <a:pt x="2454" y="882"/>
                            <a:pt x="2457" y="882"/>
                            <a:pt x="2459" y="884"/>
                          </a:cubicBezTo>
                          <a:cubicBezTo>
                            <a:pt x="2461" y="886"/>
                            <a:pt x="2464" y="890"/>
                            <a:pt x="2470" y="892"/>
                          </a:cubicBezTo>
                          <a:cubicBezTo>
                            <a:pt x="2475" y="894"/>
                            <a:pt x="2479" y="893"/>
                            <a:pt x="2477" y="889"/>
                          </a:cubicBezTo>
                          <a:cubicBezTo>
                            <a:pt x="2475" y="885"/>
                            <a:pt x="2469" y="879"/>
                            <a:pt x="2466" y="874"/>
                          </a:cubicBezTo>
                          <a:cubicBezTo>
                            <a:pt x="2463" y="870"/>
                            <a:pt x="2459" y="865"/>
                            <a:pt x="2464" y="862"/>
                          </a:cubicBezTo>
                          <a:cubicBezTo>
                            <a:pt x="2469" y="860"/>
                            <a:pt x="2468" y="858"/>
                            <a:pt x="2478" y="860"/>
                          </a:cubicBezTo>
                          <a:cubicBezTo>
                            <a:pt x="2487" y="861"/>
                            <a:pt x="2492" y="862"/>
                            <a:pt x="2495" y="859"/>
                          </a:cubicBezTo>
                          <a:cubicBezTo>
                            <a:pt x="2499" y="856"/>
                            <a:pt x="2500" y="855"/>
                            <a:pt x="2505" y="854"/>
                          </a:cubicBezTo>
                          <a:cubicBezTo>
                            <a:pt x="2511" y="854"/>
                            <a:pt x="2514" y="855"/>
                            <a:pt x="2512" y="851"/>
                          </a:cubicBezTo>
                          <a:cubicBezTo>
                            <a:pt x="2509" y="847"/>
                            <a:pt x="2507" y="844"/>
                            <a:pt x="2501" y="846"/>
                          </a:cubicBezTo>
                          <a:cubicBezTo>
                            <a:pt x="2496" y="847"/>
                            <a:pt x="2484" y="850"/>
                            <a:pt x="2480" y="849"/>
                          </a:cubicBezTo>
                          <a:cubicBezTo>
                            <a:pt x="2476" y="848"/>
                            <a:pt x="2480" y="845"/>
                            <a:pt x="2473" y="847"/>
                          </a:cubicBezTo>
                          <a:cubicBezTo>
                            <a:pt x="2466" y="848"/>
                            <a:pt x="2461" y="847"/>
                            <a:pt x="2459" y="845"/>
                          </a:cubicBezTo>
                          <a:cubicBezTo>
                            <a:pt x="2457" y="844"/>
                            <a:pt x="2455" y="841"/>
                            <a:pt x="2453" y="845"/>
                          </a:cubicBezTo>
                          <a:cubicBezTo>
                            <a:pt x="2451" y="849"/>
                            <a:pt x="2450" y="851"/>
                            <a:pt x="2451" y="856"/>
                          </a:cubicBezTo>
                          <a:cubicBezTo>
                            <a:pt x="2453" y="861"/>
                            <a:pt x="2455" y="868"/>
                            <a:pt x="2451" y="867"/>
                          </a:cubicBezTo>
                          <a:cubicBezTo>
                            <a:pt x="2446" y="866"/>
                            <a:pt x="2442" y="866"/>
                            <a:pt x="2436" y="861"/>
                          </a:cubicBezTo>
                          <a:cubicBezTo>
                            <a:pt x="2431" y="856"/>
                            <a:pt x="2427" y="852"/>
                            <a:pt x="2418" y="844"/>
                          </a:cubicBezTo>
                          <a:cubicBezTo>
                            <a:pt x="2410" y="836"/>
                            <a:pt x="2402" y="835"/>
                            <a:pt x="2398" y="825"/>
                          </a:cubicBezTo>
                          <a:cubicBezTo>
                            <a:pt x="2395" y="815"/>
                            <a:pt x="2383" y="806"/>
                            <a:pt x="2379" y="798"/>
                          </a:cubicBezTo>
                          <a:cubicBezTo>
                            <a:pt x="2374" y="791"/>
                            <a:pt x="2368" y="780"/>
                            <a:pt x="2368" y="771"/>
                          </a:cubicBezTo>
                          <a:cubicBezTo>
                            <a:pt x="2368" y="762"/>
                            <a:pt x="2370" y="752"/>
                            <a:pt x="2370" y="745"/>
                          </a:cubicBezTo>
                          <a:cubicBezTo>
                            <a:pt x="2370" y="739"/>
                            <a:pt x="2370" y="733"/>
                            <a:pt x="2362" y="725"/>
                          </a:cubicBezTo>
                          <a:cubicBezTo>
                            <a:pt x="2355" y="716"/>
                            <a:pt x="2350" y="706"/>
                            <a:pt x="2344" y="697"/>
                          </a:cubicBezTo>
                          <a:cubicBezTo>
                            <a:pt x="2337" y="688"/>
                            <a:pt x="2335" y="680"/>
                            <a:pt x="2335" y="676"/>
                          </a:cubicBezTo>
                          <a:cubicBezTo>
                            <a:pt x="2335" y="672"/>
                            <a:pt x="2340" y="666"/>
                            <a:pt x="2343" y="663"/>
                          </a:cubicBezTo>
                          <a:cubicBezTo>
                            <a:pt x="2345" y="659"/>
                            <a:pt x="2351" y="657"/>
                            <a:pt x="2351" y="654"/>
                          </a:cubicBezTo>
                          <a:cubicBezTo>
                            <a:pt x="2351" y="650"/>
                            <a:pt x="2346" y="651"/>
                            <a:pt x="2346" y="644"/>
                          </a:cubicBezTo>
                          <a:cubicBezTo>
                            <a:pt x="2345" y="638"/>
                            <a:pt x="2343" y="635"/>
                            <a:pt x="2345" y="629"/>
                          </a:cubicBezTo>
                          <a:cubicBezTo>
                            <a:pt x="2347" y="622"/>
                            <a:pt x="2349" y="615"/>
                            <a:pt x="2347" y="603"/>
                          </a:cubicBezTo>
                          <a:cubicBezTo>
                            <a:pt x="2346" y="591"/>
                            <a:pt x="2343" y="582"/>
                            <a:pt x="2345" y="577"/>
                          </a:cubicBezTo>
                          <a:cubicBezTo>
                            <a:pt x="2347" y="572"/>
                            <a:pt x="2351" y="569"/>
                            <a:pt x="2344" y="561"/>
                          </a:cubicBezTo>
                          <a:cubicBezTo>
                            <a:pt x="2337" y="553"/>
                            <a:pt x="2332" y="554"/>
                            <a:pt x="2332" y="544"/>
                          </a:cubicBezTo>
                          <a:cubicBezTo>
                            <a:pt x="2332" y="533"/>
                            <a:pt x="2332" y="525"/>
                            <a:pt x="2332" y="520"/>
                          </a:cubicBezTo>
                          <a:cubicBezTo>
                            <a:pt x="2332" y="516"/>
                            <a:pt x="2329" y="511"/>
                            <a:pt x="2327" y="507"/>
                          </a:cubicBezTo>
                          <a:cubicBezTo>
                            <a:pt x="2325" y="504"/>
                            <a:pt x="2325" y="494"/>
                            <a:pt x="2330" y="488"/>
                          </a:cubicBezTo>
                          <a:cubicBezTo>
                            <a:pt x="2334" y="483"/>
                            <a:pt x="2341" y="475"/>
                            <a:pt x="2344" y="470"/>
                          </a:cubicBezTo>
                          <a:cubicBezTo>
                            <a:pt x="2347" y="465"/>
                            <a:pt x="2348" y="465"/>
                            <a:pt x="2344" y="458"/>
                          </a:cubicBezTo>
                          <a:cubicBezTo>
                            <a:pt x="2340" y="451"/>
                            <a:pt x="2346" y="441"/>
                            <a:pt x="2348" y="432"/>
                          </a:cubicBezTo>
                          <a:cubicBezTo>
                            <a:pt x="2350" y="423"/>
                            <a:pt x="2354" y="409"/>
                            <a:pt x="2355" y="395"/>
                          </a:cubicBezTo>
                          <a:cubicBezTo>
                            <a:pt x="2356" y="380"/>
                            <a:pt x="2355" y="376"/>
                            <a:pt x="2357" y="368"/>
                          </a:cubicBezTo>
                          <a:cubicBezTo>
                            <a:pt x="2358" y="359"/>
                            <a:pt x="2360" y="347"/>
                            <a:pt x="2360" y="331"/>
                          </a:cubicBezTo>
                          <a:cubicBezTo>
                            <a:pt x="2360" y="314"/>
                            <a:pt x="2362" y="292"/>
                            <a:pt x="2361" y="280"/>
                          </a:cubicBezTo>
                          <a:cubicBezTo>
                            <a:pt x="2360" y="269"/>
                            <a:pt x="2357" y="256"/>
                            <a:pt x="2359" y="251"/>
                          </a:cubicBezTo>
                          <a:cubicBezTo>
                            <a:pt x="2362" y="245"/>
                            <a:pt x="2367" y="249"/>
                            <a:pt x="2373" y="251"/>
                          </a:cubicBezTo>
                          <a:cubicBezTo>
                            <a:pt x="2379" y="253"/>
                            <a:pt x="2379" y="253"/>
                            <a:pt x="2386" y="250"/>
                          </a:cubicBezTo>
                          <a:cubicBezTo>
                            <a:pt x="2393" y="247"/>
                            <a:pt x="2403" y="250"/>
                            <a:pt x="2404" y="245"/>
                          </a:cubicBezTo>
                          <a:cubicBezTo>
                            <a:pt x="2405" y="241"/>
                            <a:pt x="2393" y="241"/>
                            <a:pt x="2386" y="242"/>
                          </a:cubicBezTo>
                          <a:cubicBezTo>
                            <a:pt x="2380" y="243"/>
                            <a:pt x="2377" y="246"/>
                            <a:pt x="2370" y="242"/>
                          </a:cubicBezTo>
                          <a:cubicBezTo>
                            <a:pt x="2364" y="239"/>
                            <a:pt x="2360" y="244"/>
                            <a:pt x="2357" y="236"/>
                          </a:cubicBezTo>
                          <a:cubicBezTo>
                            <a:pt x="2354" y="229"/>
                            <a:pt x="2356" y="224"/>
                            <a:pt x="2358" y="220"/>
                          </a:cubicBezTo>
                          <a:cubicBezTo>
                            <a:pt x="2361" y="215"/>
                            <a:pt x="2360" y="214"/>
                            <a:pt x="2364" y="211"/>
                          </a:cubicBezTo>
                          <a:cubicBezTo>
                            <a:pt x="2368" y="208"/>
                            <a:pt x="2371" y="206"/>
                            <a:pt x="2365" y="204"/>
                          </a:cubicBezTo>
                          <a:cubicBezTo>
                            <a:pt x="2358" y="203"/>
                            <a:pt x="2352" y="206"/>
                            <a:pt x="2352" y="202"/>
                          </a:cubicBezTo>
                          <a:cubicBezTo>
                            <a:pt x="2352" y="197"/>
                            <a:pt x="2358" y="190"/>
                            <a:pt x="2362" y="189"/>
                          </a:cubicBezTo>
                          <a:cubicBezTo>
                            <a:pt x="2366" y="187"/>
                            <a:pt x="2370" y="189"/>
                            <a:pt x="2366" y="184"/>
                          </a:cubicBezTo>
                          <a:cubicBezTo>
                            <a:pt x="2361" y="180"/>
                            <a:pt x="2360" y="177"/>
                            <a:pt x="2355" y="177"/>
                          </a:cubicBezTo>
                          <a:cubicBezTo>
                            <a:pt x="2350" y="177"/>
                            <a:pt x="2342" y="178"/>
                            <a:pt x="2342" y="172"/>
                          </a:cubicBezTo>
                          <a:cubicBezTo>
                            <a:pt x="2342" y="166"/>
                            <a:pt x="2337" y="148"/>
                            <a:pt x="2333" y="138"/>
                          </a:cubicBezTo>
                          <a:cubicBezTo>
                            <a:pt x="2328" y="127"/>
                            <a:pt x="2323" y="127"/>
                            <a:pt x="2318" y="116"/>
                          </a:cubicBezTo>
                          <a:cubicBezTo>
                            <a:pt x="2313" y="106"/>
                            <a:pt x="2310" y="102"/>
                            <a:pt x="2312" y="91"/>
                          </a:cubicBezTo>
                          <a:cubicBezTo>
                            <a:pt x="2313" y="80"/>
                            <a:pt x="2315" y="77"/>
                            <a:pt x="2321" y="80"/>
                          </a:cubicBezTo>
                          <a:cubicBezTo>
                            <a:pt x="2327" y="83"/>
                            <a:pt x="2326" y="84"/>
                            <a:pt x="2336" y="88"/>
                          </a:cubicBezTo>
                          <a:cubicBezTo>
                            <a:pt x="2346" y="92"/>
                            <a:pt x="2348" y="92"/>
                            <a:pt x="2361" y="93"/>
                          </a:cubicBezTo>
                          <a:cubicBezTo>
                            <a:pt x="2373" y="95"/>
                            <a:pt x="2372" y="95"/>
                            <a:pt x="2384" y="95"/>
                          </a:cubicBezTo>
                          <a:cubicBezTo>
                            <a:pt x="2397" y="96"/>
                            <a:pt x="2399" y="95"/>
                            <a:pt x="2405" y="96"/>
                          </a:cubicBezTo>
                          <a:cubicBezTo>
                            <a:pt x="2412" y="97"/>
                            <a:pt x="2413" y="95"/>
                            <a:pt x="2417" y="101"/>
                          </a:cubicBezTo>
                          <a:cubicBezTo>
                            <a:pt x="2421" y="106"/>
                            <a:pt x="2418" y="105"/>
                            <a:pt x="2426" y="107"/>
                          </a:cubicBezTo>
                          <a:cubicBezTo>
                            <a:pt x="2433" y="108"/>
                            <a:pt x="2435" y="109"/>
                            <a:pt x="2435" y="113"/>
                          </a:cubicBezTo>
                          <a:cubicBezTo>
                            <a:pt x="2434" y="117"/>
                            <a:pt x="2429" y="117"/>
                            <a:pt x="2425" y="119"/>
                          </a:cubicBezTo>
                          <a:cubicBezTo>
                            <a:pt x="2422" y="122"/>
                            <a:pt x="2417" y="131"/>
                            <a:pt x="2416" y="134"/>
                          </a:cubicBezTo>
                          <a:cubicBezTo>
                            <a:pt x="2416" y="137"/>
                            <a:pt x="2412" y="141"/>
                            <a:pt x="2410" y="145"/>
                          </a:cubicBezTo>
                          <a:cubicBezTo>
                            <a:pt x="2408" y="149"/>
                            <a:pt x="2406" y="149"/>
                            <a:pt x="2409" y="153"/>
                          </a:cubicBezTo>
                          <a:cubicBezTo>
                            <a:pt x="2411" y="157"/>
                            <a:pt x="2415" y="153"/>
                            <a:pt x="2418" y="156"/>
                          </a:cubicBezTo>
                          <a:cubicBezTo>
                            <a:pt x="2422" y="160"/>
                            <a:pt x="2423" y="161"/>
                            <a:pt x="2420" y="167"/>
                          </a:cubicBezTo>
                          <a:cubicBezTo>
                            <a:pt x="2417" y="172"/>
                            <a:pt x="2415" y="176"/>
                            <a:pt x="2419" y="178"/>
                          </a:cubicBezTo>
                          <a:cubicBezTo>
                            <a:pt x="2423" y="179"/>
                            <a:pt x="2429" y="182"/>
                            <a:pt x="2433" y="179"/>
                          </a:cubicBezTo>
                          <a:cubicBezTo>
                            <a:pt x="2438" y="177"/>
                            <a:pt x="2443" y="170"/>
                            <a:pt x="2448" y="165"/>
                          </a:cubicBezTo>
                          <a:cubicBezTo>
                            <a:pt x="2453" y="160"/>
                            <a:pt x="2458" y="162"/>
                            <a:pt x="2460" y="158"/>
                          </a:cubicBezTo>
                          <a:cubicBezTo>
                            <a:pt x="2463" y="154"/>
                            <a:pt x="2464" y="152"/>
                            <a:pt x="2460" y="144"/>
                          </a:cubicBezTo>
                          <a:cubicBezTo>
                            <a:pt x="2457" y="135"/>
                            <a:pt x="2451" y="135"/>
                            <a:pt x="2456" y="126"/>
                          </a:cubicBezTo>
                          <a:cubicBezTo>
                            <a:pt x="2462" y="117"/>
                            <a:pt x="2467" y="114"/>
                            <a:pt x="2468" y="110"/>
                          </a:cubicBezTo>
                          <a:cubicBezTo>
                            <a:pt x="2469" y="106"/>
                            <a:pt x="2468" y="102"/>
                            <a:pt x="2465" y="96"/>
                          </a:cubicBezTo>
                          <a:cubicBezTo>
                            <a:pt x="2461" y="91"/>
                            <a:pt x="2459" y="95"/>
                            <a:pt x="2458" y="86"/>
                          </a:cubicBezTo>
                          <a:cubicBezTo>
                            <a:pt x="2457" y="78"/>
                            <a:pt x="2457" y="78"/>
                            <a:pt x="2453" y="75"/>
                          </a:cubicBezTo>
                          <a:cubicBezTo>
                            <a:pt x="2449" y="72"/>
                            <a:pt x="2443" y="70"/>
                            <a:pt x="2447" y="63"/>
                          </a:cubicBezTo>
                          <a:cubicBezTo>
                            <a:pt x="2450" y="56"/>
                            <a:pt x="2453" y="52"/>
                            <a:pt x="2451" y="49"/>
                          </a:cubicBezTo>
                          <a:cubicBezTo>
                            <a:pt x="2449" y="46"/>
                            <a:pt x="2449" y="45"/>
                            <a:pt x="2446" y="43"/>
                          </a:cubicBezTo>
                          <a:cubicBezTo>
                            <a:pt x="2442" y="40"/>
                            <a:pt x="2436" y="30"/>
                            <a:pt x="2435" y="29"/>
                          </a:cubicBezTo>
                          <a:cubicBezTo>
                            <a:pt x="2435" y="29"/>
                            <a:pt x="2435" y="29"/>
                            <a:pt x="2435" y="29"/>
                          </a:cubicBezTo>
                          <a:cubicBezTo>
                            <a:pt x="2562" y="30"/>
                            <a:pt x="2562" y="30"/>
                            <a:pt x="2562" y="30"/>
                          </a:cubicBezTo>
                          <a:cubicBezTo>
                            <a:pt x="2562" y="30"/>
                            <a:pt x="2562" y="30"/>
                            <a:pt x="2562" y="30"/>
                          </a:cubicBezTo>
                          <a:cubicBezTo>
                            <a:pt x="2943" y="32"/>
                            <a:pt x="2943" y="32"/>
                            <a:pt x="2943" y="32"/>
                          </a:cubicBezTo>
                          <a:cubicBezTo>
                            <a:pt x="3020" y="32"/>
                            <a:pt x="3833" y="31"/>
                            <a:pt x="3835" y="31"/>
                          </a:cubicBezTo>
                          <a:cubicBezTo>
                            <a:pt x="3835" y="31"/>
                            <a:pt x="3835" y="31"/>
                            <a:pt x="3835" y="31"/>
                          </a:cubicBezTo>
                          <a:cubicBezTo>
                            <a:pt x="4136" y="28"/>
                            <a:pt x="4136" y="28"/>
                            <a:pt x="4136" y="28"/>
                          </a:cubicBezTo>
                          <a:cubicBezTo>
                            <a:pt x="4140" y="28"/>
                            <a:pt x="4140" y="28"/>
                            <a:pt x="4140" y="28"/>
                          </a:cubicBezTo>
                          <a:cubicBezTo>
                            <a:pt x="4140" y="23"/>
                            <a:pt x="4140" y="23"/>
                            <a:pt x="4140" y="23"/>
                          </a:cubicBezTo>
                          <a:cubicBezTo>
                            <a:pt x="4140" y="23"/>
                            <a:pt x="4139" y="6"/>
                            <a:pt x="4142" y="2"/>
                          </a:cubicBezTo>
                          <a:cubicBezTo>
                            <a:pt x="4142" y="2"/>
                            <a:pt x="4142" y="1"/>
                            <a:pt x="4143" y="1"/>
                          </a:cubicBezTo>
                          <a:cubicBezTo>
                            <a:pt x="4144" y="1"/>
                            <a:pt x="4147" y="0"/>
                            <a:pt x="4149" y="1"/>
                          </a:cubicBezTo>
                          <a:cubicBezTo>
                            <a:pt x="4152" y="1"/>
                            <a:pt x="4154" y="2"/>
                            <a:pt x="4156" y="3"/>
                          </a:cubicBezTo>
                          <a:cubicBezTo>
                            <a:pt x="4156" y="3"/>
                            <a:pt x="4156" y="3"/>
                            <a:pt x="4156" y="3"/>
                          </a:cubicBezTo>
                          <a:cubicBezTo>
                            <a:pt x="4157" y="4"/>
                            <a:pt x="4157" y="5"/>
                            <a:pt x="4158" y="5"/>
                          </a:cubicBezTo>
                          <a:cubicBezTo>
                            <a:pt x="4158" y="7"/>
                            <a:pt x="4159" y="11"/>
                            <a:pt x="4160" y="14"/>
                          </a:cubicBezTo>
                          <a:cubicBezTo>
                            <a:pt x="4160" y="14"/>
                            <a:pt x="4160" y="14"/>
                            <a:pt x="4160" y="14"/>
                          </a:cubicBezTo>
                          <a:cubicBezTo>
                            <a:pt x="4162" y="22"/>
                            <a:pt x="4165" y="31"/>
                            <a:pt x="4170" y="39"/>
                          </a:cubicBezTo>
                          <a:cubicBezTo>
                            <a:pt x="4174" y="45"/>
                            <a:pt x="4179" y="50"/>
                            <a:pt x="4184" y="53"/>
                          </a:cubicBezTo>
                          <a:cubicBezTo>
                            <a:pt x="4190" y="57"/>
                            <a:pt x="4197" y="59"/>
                            <a:pt x="4204" y="61"/>
                          </a:cubicBezTo>
                          <a:cubicBezTo>
                            <a:pt x="4211" y="63"/>
                            <a:pt x="4218" y="65"/>
                            <a:pt x="4226" y="66"/>
                          </a:cubicBezTo>
                          <a:cubicBezTo>
                            <a:pt x="4233" y="67"/>
                            <a:pt x="4240" y="67"/>
                            <a:pt x="4245" y="65"/>
                          </a:cubicBezTo>
                          <a:cubicBezTo>
                            <a:pt x="4250" y="64"/>
                            <a:pt x="4258" y="62"/>
                            <a:pt x="4266" y="62"/>
                          </a:cubicBezTo>
                          <a:cubicBezTo>
                            <a:pt x="4272" y="62"/>
                            <a:pt x="4277" y="62"/>
                            <a:pt x="4281" y="65"/>
                          </a:cubicBezTo>
                          <a:cubicBezTo>
                            <a:pt x="4286" y="67"/>
                            <a:pt x="4288" y="71"/>
                            <a:pt x="4291" y="74"/>
                          </a:cubicBezTo>
                          <a:cubicBezTo>
                            <a:pt x="4295" y="79"/>
                            <a:pt x="4298" y="84"/>
                            <a:pt x="4308" y="85"/>
                          </a:cubicBezTo>
                          <a:cubicBezTo>
                            <a:pt x="4314" y="86"/>
                            <a:pt x="4318" y="85"/>
                            <a:pt x="4322" y="84"/>
                          </a:cubicBezTo>
                          <a:cubicBezTo>
                            <a:pt x="4326" y="84"/>
                            <a:pt x="4328" y="83"/>
                            <a:pt x="4331" y="85"/>
                          </a:cubicBezTo>
                          <a:cubicBezTo>
                            <a:pt x="4333" y="87"/>
                            <a:pt x="4335" y="89"/>
                            <a:pt x="4337" y="91"/>
                          </a:cubicBezTo>
                          <a:cubicBezTo>
                            <a:pt x="4343" y="96"/>
                            <a:pt x="4348" y="102"/>
                            <a:pt x="4361" y="102"/>
                          </a:cubicBezTo>
                          <a:cubicBezTo>
                            <a:pt x="4371" y="102"/>
                            <a:pt x="4377" y="100"/>
                            <a:pt x="4383" y="98"/>
                          </a:cubicBezTo>
                          <a:cubicBezTo>
                            <a:pt x="4387" y="97"/>
                            <a:pt x="4390" y="96"/>
                            <a:pt x="4395" y="95"/>
                          </a:cubicBezTo>
                          <a:cubicBezTo>
                            <a:pt x="4399" y="95"/>
                            <a:pt x="4405" y="97"/>
                            <a:pt x="4412" y="99"/>
                          </a:cubicBezTo>
                          <a:cubicBezTo>
                            <a:pt x="4422" y="103"/>
                            <a:pt x="4434" y="107"/>
                            <a:pt x="4450" y="107"/>
                          </a:cubicBezTo>
                          <a:cubicBezTo>
                            <a:pt x="4459" y="107"/>
                            <a:pt x="4465" y="108"/>
                            <a:pt x="4471" y="108"/>
                          </a:cubicBezTo>
                          <a:cubicBezTo>
                            <a:pt x="4475" y="108"/>
                            <a:pt x="4479" y="109"/>
                            <a:pt x="4483" y="109"/>
                          </a:cubicBezTo>
                          <a:cubicBezTo>
                            <a:pt x="4482" y="110"/>
                            <a:pt x="4482" y="110"/>
                            <a:pt x="4482" y="110"/>
                          </a:cubicBezTo>
                          <a:cubicBezTo>
                            <a:pt x="4474" y="119"/>
                            <a:pt x="4473" y="116"/>
                            <a:pt x="4460" y="119"/>
                          </a:cubicBezTo>
                          <a:cubicBezTo>
                            <a:pt x="4446" y="121"/>
                            <a:pt x="4439" y="131"/>
                            <a:pt x="4418" y="132"/>
                          </a:cubicBezTo>
                          <a:close/>
                          <a:moveTo>
                            <a:pt x="5" y="1869"/>
                          </a:moveTo>
                          <a:cubicBezTo>
                            <a:pt x="0" y="1873"/>
                            <a:pt x="0" y="1875"/>
                            <a:pt x="4" y="1875"/>
                          </a:cubicBezTo>
                          <a:cubicBezTo>
                            <a:pt x="8" y="1876"/>
                            <a:pt x="16" y="1875"/>
                            <a:pt x="16" y="1873"/>
                          </a:cubicBezTo>
                          <a:cubicBezTo>
                            <a:pt x="16" y="1870"/>
                            <a:pt x="10" y="1863"/>
                            <a:pt x="5" y="1869"/>
                          </a:cubicBezTo>
                          <a:close/>
                          <a:moveTo>
                            <a:pt x="398" y="2063"/>
                          </a:moveTo>
                          <a:cubicBezTo>
                            <a:pt x="409" y="2070"/>
                            <a:pt x="415" y="2071"/>
                            <a:pt x="418" y="2072"/>
                          </a:cubicBezTo>
                          <a:cubicBezTo>
                            <a:pt x="422" y="2073"/>
                            <a:pt x="424" y="2067"/>
                            <a:pt x="432" y="2083"/>
                          </a:cubicBezTo>
                          <a:cubicBezTo>
                            <a:pt x="440" y="2098"/>
                            <a:pt x="445" y="2095"/>
                            <a:pt x="445" y="2102"/>
                          </a:cubicBezTo>
                          <a:cubicBezTo>
                            <a:pt x="446" y="2110"/>
                            <a:pt x="446" y="2112"/>
                            <a:pt x="435" y="2116"/>
                          </a:cubicBezTo>
                          <a:cubicBezTo>
                            <a:pt x="424" y="2121"/>
                            <a:pt x="419" y="2120"/>
                            <a:pt x="413" y="2130"/>
                          </a:cubicBezTo>
                          <a:cubicBezTo>
                            <a:pt x="407" y="2141"/>
                            <a:pt x="403" y="2144"/>
                            <a:pt x="399" y="2143"/>
                          </a:cubicBezTo>
                          <a:cubicBezTo>
                            <a:pt x="394" y="2142"/>
                            <a:pt x="387" y="2142"/>
                            <a:pt x="387" y="2132"/>
                          </a:cubicBezTo>
                          <a:cubicBezTo>
                            <a:pt x="387" y="2122"/>
                            <a:pt x="388" y="2119"/>
                            <a:pt x="383" y="2112"/>
                          </a:cubicBezTo>
                          <a:cubicBezTo>
                            <a:pt x="378" y="2106"/>
                            <a:pt x="374" y="2101"/>
                            <a:pt x="379" y="2093"/>
                          </a:cubicBezTo>
                          <a:cubicBezTo>
                            <a:pt x="384" y="2086"/>
                            <a:pt x="391" y="2083"/>
                            <a:pt x="390" y="2078"/>
                          </a:cubicBezTo>
                          <a:cubicBezTo>
                            <a:pt x="390" y="2074"/>
                            <a:pt x="385" y="2056"/>
                            <a:pt x="398" y="2063"/>
                          </a:cubicBezTo>
                          <a:close/>
                          <a:moveTo>
                            <a:pt x="345" y="2009"/>
                          </a:moveTo>
                          <a:cubicBezTo>
                            <a:pt x="337" y="2010"/>
                            <a:pt x="334" y="2011"/>
                            <a:pt x="336" y="2016"/>
                          </a:cubicBezTo>
                          <a:cubicBezTo>
                            <a:pt x="338" y="2020"/>
                            <a:pt x="339" y="2020"/>
                            <a:pt x="345" y="2025"/>
                          </a:cubicBezTo>
                          <a:cubicBezTo>
                            <a:pt x="351" y="2029"/>
                            <a:pt x="350" y="2034"/>
                            <a:pt x="354" y="2035"/>
                          </a:cubicBezTo>
                          <a:cubicBezTo>
                            <a:pt x="358" y="2036"/>
                            <a:pt x="360" y="2035"/>
                            <a:pt x="363" y="2031"/>
                          </a:cubicBezTo>
                          <a:cubicBezTo>
                            <a:pt x="367" y="2026"/>
                            <a:pt x="374" y="2029"/>
                            <a:pt x="374" y="2024"/>
                          </a:cubicBezTo>
                          <a:cubicBezTo>
                            <a:pt x="375" y="2020"/>
                            <a:pt x="371" y="2019"/>
                            <a:pt x="365" y="2015"/>
                          </a:cubicBezTo>
                          <a:cubicBezTo>
                            <a:pt x="358" y="2010"/>
                            <a:pt x="352" y="2007"/>
                            <a:pt x="345" y="2009"/>
                          </a:cubicBezTo>
                          <a:close/>
                          <a:moveTo>
                            <a:pt x="304" y="1994"/>
                          </a:moveTo>
                          <a:cubicBezTo>
                            <a:pt x="311" y="1992"/>
                            <a:pt x="311" y="1990"/>
                            <a:pt x="315" y="1992"/>
                          </a:cubicBezTo>
                          <a:cubicBezTo>
                            <a:pt x="320" y="1994"/>
                            <a:pt x="321" y="1994"/>
                            <a:pt x="325" y="1994"/>
                          </a:cubicBezTo>
                          <a:cubicBezTo>
                            <a:pt x="328" y="1995"/>
                            <a:pt x="331" y="1992"/>
                            <a:pt x="331" y="1997"/>
                          </a:cubicBezTo>
                          <a:cubicBezTo>
                            <a:pt x="330" y="2001"/>
                            <a:pt x="328" y="2002"/>
                            <a:pt x="321" y="2002"/>
                          </a:cubicBezTo>
                          <a:cubicBezTo>
                            <a:pt x="315" y="2002"/>
                            <a:pt x="316" y="2001"/>
                            <a:pt x="310" y="2003"/>
                          </a:cubicBezTo>
                          <a:cubicBezTo>
                            <a:pt x="304" y="2005"/>
                            <a:pt x="299" y="2008"/>
                            <a:pt x="296" y="2003"/>
                          </a:cubicBezTo>
                          <a:cubicBezTo>
                            <a:pt x="294" y="1999"/>
                            <a:pt x="298" y="1994"/>
                            <a:pt x="304" y="1994"/>
                          </a:cubicBezTo>
                          <a:close/>
                          <a:moveTo>
                            <a:pt x="316" y="2015"/>
                          </a:moveTo>
                          <a:cubicBezTo>
                            <a:pt x="313" y="2016"/>
                            <a:pt x="309" y="2017"/>
                            <a:pt x="313" y="2021"/>
                          </a:cubicBezTo>
                          <a:cubicBezTo>
                            <a:pt x="317" y="2026"/>
                            <a:pt x="327" y="2028"/>
                            <a:pt x="326" y="2023"/>
                          </a:cubicBezTo>
                          <a:cubicBezTo>
                            <a:pt x="325" y="2017"/>
                            <a:pt x="323" y="2014"/>
                            <a:pt x="316" y="2015"/>
                          </a:cubicBezTo>
                          <a:close/>
                          <a:moveTo>
                            <a:pt x="245" y="1967"/>
                          </a:moveTo>
                          <a:cubicBezTo>
                            <a:pt x="240" y="1971"/>
                            <a:pt x="234" y="1969"/>
                            <a:pt x="239" y="1975"/>
                          </a:cubicBezTo>
                          <a:cubicBezTo>
                            <a:pt x="244" y="1981"/>
                            <a:pt x="241" y="1983"/>
                            <a:pt x="248" y="1984"/>
                          </a:cubicBezTo>
                          <a:cubicBezTo>
                            <a:pt x="254" y="1985"/>
                            <a:pt x="255" y="1980"/>
                            <a:pt x="259" y="1984"/>
                          </a:cubicBezTo>
                          <a:cubicBezTo>
                            <a:pt x="263" y="1989"/>
                            <a:pt x="268" y="1993"/>
                            <a:pt x="269" y="1989"/>
                          </a:cubicBezTo>
                          <a:cubicBezTo>
                            <a:pt x="271" y="1985"/>
                            <a:pt x="272" y="1985"/>
                            <a:pt x="268" y="1980"/>
                          </a:cubicBezTo>
                          <a:cubicBezTo>
                            <a:pt x="263" y="1975"/>
                            <a:pt x="264" y="1974"/>
                            <a:pt x="260" y="1970"/>
                          </a:cubicBezTo>
                          <a:cubicBezTo>
                            <a:pt x="256" y="1966"/>
                            <a:pt x="254" y="1962"/>
                            <a:pt x="245" y="1967"/>
                          </a:cubicBezTo>
                          <a:close/>
                          <a:moveTo>
                            <a:pt x="151" y="1931"/>
                          </a:moveTo>
                          <a:cubicBezTo>
                            <a:pt x="164" y="1935"/>
                            <a:pt x="166" y="1929"/>
                            <a:pt x="170" y="1934"/>
                          </a:cubicBezTo>
                          <a:cubicBezTo>
                            <a:pt x="174" y="1938"/>
                            <a:pt x="171" y="1949"/>
                            <a:pt x="164" y="1949"/>
                          </a:cubicBezTo>
                          <a:cubicBezTo>
                            <a:pt x="157" y="1948"/>
                            <a:pt x="151" y="1948"/>
                            <a:pt x="149" y="1946"/>
                          </a:cubicBezTo>
                          <a:cubicBezTo>
                            <a:pt x="146" y="1945"/>
                            <a:pt x="142" y="1946"/>
                            <a:pt x="143" y="1942"/>
                          </a:cubicBezTo>
                          <a:cubicBezTo>
                            <a:pt x="143" y="1937"/>
                            <a:pt x="147" y="1930"/>
                            <a:pt x="151" y="1931"/>
                          </a:cubicBezTo>
                          <a:close/>
                          <a:moveTo>
                            <a:pt x="117" y="1947"/>
                          </a:moveTo>
                          <a:cubicBezTo>
                            <a:pt x="115" y="1950"/>
                            <a:pt x="114" y="1952"/>
                            <a:pt x="114" y="1955"/>
                          </a:cubicBezTo>
                          <a:cubicBezTo>
                            <a:pt x="114" y="1959"/>
                            <a:pt x="109" y="1961"/>
                            <a:pt x="114" y="1961"/>
                          </a:cubicBezTo>
                          <a:cubicBezTo>
                            <a:pt x="118" y="1961"/>
                            <a:pt x="118" y="1961"/>
                            <a:pt x="120" y="1956"/>
                          </a:cubicBezTo>
                          <a:cubicBezTo>
                            <a:pt x="122" y="1952"/>
                            <a:pt x="125" y="1952"/>
                            <a:pt x="124" y="1948"/>
                          </a:cubicBezTo>
                          <a:cubicBezTo>
                            <a:pt x="124" y="1945"/>
                            <a:pt x="125" y="1943"/>
                            <a:pt x="117" y="1947"/>
                          </a:cubicBezTo>
                          <a:close/>
                          <a:moveTo>
                            <a:pt x="2577" y="1134"/>
                          </a:moveTo>
                          <a:cubicBezTo>
                            <a:pt x="2575" y="1135"/>
                            <a:pt x="2577" y="1138"/>
                            <a:pt x="2579" y="1139"/>
                          </a:cubicBezTo>
                          <a:cubicBezTo>
                            <a:pt x="2582" y="1141"/>
                            <a:pt x="2584" y="1140"/>
                            <a:pt x="2588" y="1142"/>
                          </a:cubicBezTo>
                          <a:cubicBezTo>
                            <a:pt x="2591" y="1144"/>
                            <a:pt x="2589" y="1145"/>
                            <a:pt x="2591" y="1148"/>
                          </a:cubicBezTo>
                          <a:cubicBezTo>
                            <a:pt x="2594" y="1151"/>
                            <a:pt x="2595" y="1146"/>
                            <a:pt x="2596" y="1143"/>
                          </a:cubicBezTo>
                          <a:cubicBezTo>
                            <a:pt x="2597" y="1141"/>
                            <a:pt x="2595" y="1141"/>
                            <a:pt x="2593" y="1139"/>
                          </a:cubicBezTo>
                          <a:cubicBezTo>
                            <a:pt x="2590" y="1138"/>
                            <a:pt x="2587" y="1138"/>
                            <a:pt x="2583" y="1135"/>
                          </a:cubicBezTo>
                          <a:cubicBezTo>
                            <a:pt x="2579" y="1132"/>
                            <a:pt x="2580" y="1134"/>
                            <a:pt x="2577" y="1134"/>
                          </a:cubicBezTo>
                          <a:close/>
                          <a:moveTo>
                            <a:pt x="2613" y="1134"/>
                          </a:moveTo>
                          <a:cubicBezTo>
                            <a:pt x="2611" y="1137"/>
                            <a:pt x="2612" y="1138"/>
                            <a:pt x="2613" y="1139"/>
                          </a:cubicBezTo>
                          <a:cubicBezTo>
                            <a:pt x="2615" y="1141"/>
                            <a:pt x="2613" y="1143"/>
                            <a:pt x="2618" y="1143"/>
                          </a:cubicBezTo>
                          <a:cubicBezTo>
                            <a:pt x="2623" y="1142"/>
                            <a:pt x="2622" y="1141"/>
                            <a:pt x="2625" y="1140"/>
                          </a:cubicBezTo>
                          <a:cubicBezTo>
                            <a:pt x="2628" y="1138"/>
                            <a:pt x="2632" y="1139"/>
                            <a:pt x="2631" y="1136"/>
                          </a:cubicBezTo>
                          <a:cubicBezTo>
                            <a:pt x="2630" y="1133"/>
                            <a:pt x="2629" y="1134"/>
                            <a:pt x="2623" y="1134"/>
                          </a:cubicBezTo>
                          <a:cubicBezTo>
                            <a:pt x="2618" y="1134"/>
                            <a:pt x="2617" y="1131"/>
                            <a:pt x="2613" y="1134"/>
                          </a:cubicBezTo>
                          <a:close/>
                          <a:moveTo>
                            <a:pt x="2691" y="1213"/>
                          </a:moveTo>
                          <a:cubicBezTo>
                            <a:pt x="2695" y="1225"/>
                            <a:pt x="2694" y="1229"/>
                            <a:pt x="2698" y="1227"/>
                          </a:cubicBezTo>
                          <a:cubicBezTo>
                            <a:pt x="2703" y="1224"/>
                            <a:pt x="2705" y="1222"/>
                            <a:pt x="2702" y="1216"/>
                          </a:cubicBezTo>
                          <a:cubicBezTo>
                            <a:pt x="2699" y="1209"/>
                            <a:pt x="2689" y="1206"/>
                            <a:pt x="2691" y="1213"/>
                          </a:cubicBezTo>
                          <a:close/>
                          <a:moveTo>
                            <a:pt x="2692" y="1180"/>
                          </a:moveTo>
                          <a:cubicBezTo>
                            <a:pt x="2695" y="1184"/>
                            <a:pt x="2697" y="1181"/>
                            <a:pt x="2702" y="1187"/>
                          </a:cubicBezTo>
                          <a:cubicBezTo>
                            <a:pt x="2707" y="1192"/>
                            <a:pt x="2713" y="1194"/>
                            <a:pt x="2711" y="1190"/>
                          </a:cubicBezTo>
                          <a:cubicBezTo>
                            <a:pt x="2709" y="1185"/>
                            <a:pt x="2706" y="1186"/>
                            <a:pt x="2703" y="1180"/>
                          </a:cubicBezTo>
                          <a:cubicBezTo>
                            <a:pt x="2701" y="1174"/>
                            <a:pt x="2685" y="1173"/>
                            <a:pt x="2692" y="1180"/>
                          </a:cubicBezTo>
                          <a:close/>
                          <a:moveTo>
                            <a:pt x="2433" y="134"/>
                          </a:moveTo>
                          <a:cubicBezTo>
                            <a:pt x="2429" y="139"/>
                            <a:pt x="2426" y="136"/>
                            <a:pt x="2425" y="141"/>
                          </a:cubicBezTo>
                          <a:cubicBezTo>
                            <a:pt x="2423" y="146"/>
                            <a:pt x="2422" y="149"/>
                            <a:pt x="2426" y="151"/>
                          </a:cubicBezTo>
                          <a:cubicBezTo>
                            <a:pt x="2429" y="152"/>
                            <a:pt x="2427" y="155"/>
                            <a:pt x="2432" y="154"/>
                          </a:cubicBezTo>
                          <a:cubicBezTo>
                            <a:pt x="2438" y="154"/>
                            <a:pt x="2442" y="157"/>
                            <a:pt x="2442" y="151"/>
                          </a:cubicBezTo>
                          <a:cubicBezTo>
                            <a:pt x="2443" y="144"/>
                            <a:pt x="2442" y="144"/>
                            <a:pt x="2441" y="140"/>
                          </a:cubicBezTo>
                          <a:cubicBezTo>
                            <a:pt x="2439" y="136"/>
                            <a:pt x="2437" y="128"/>
                            <a:pt x="2433" y="134"/>
                          </a:cubicBezTo>
                          <a:close/>
                          <a:moveTo>
                            <a:pt x="6022" y="1249"/>
                          </a:moveTo>
                          <a:cubicBezTo>
                            <a:pt x="6021" y="1251"/>
                            <a:pt x="6021" y="1253"/>
                            <a:pt x="6017" y="1254"/>
                          </a:cubicBezTo>
                          <a:cubicBezTo>
                            <a:pt x="6013" y="1254"/>
                            <a:pt x="6010" y="1257"/>
                            <a:pt x="6012" y="1260"/>
                          </a:cubicBezTo>
                          <a:cubicBezTo>
                            <a:pt x="6013" y="1263"/>
                            <a:pt x="6017" y="1266"/>
                            <a:pt x="6020" y="1263"/>
                          </a:cubicBezTo>
                          <a:cubicBezTo>
                            <a:pt x="6022" y="1259"/>
                            <a:pt x="6027" y="1256"/>
                            <a:pt x="6028" y="1253"/>
                          </a:cubicBezTo>
                          <a:cubicBezTo>
                            <a:pt x="6029" y="1249"/>
                            <a:pt x="6026" y="1237"/>
                            <a:pt x="6022" y="1249"/>
                          </a:cubicBezTo>
                          <a:close/>
                          <a:moveTo>
                            <a:pt x="5461" y="658"/>
                          </a:moveTo>
                          <a:cubicBezTo>
                            <a:pt x="5456" y="660"/>
                            <a:pt x="5455" y="663"/>
                            <a:pt x="5462" y="665"/>
                          </a:cubicBezTo>
                          <a:cubicBezTo>
                            <a:pt x="5470" y="667"/>
                            <a:pt x="5476" y="665"/>
                            <a:pt x="5485" y="663"/>
                          </a:cubicBezTo>
                          <a:cubicBezTo>
                            <a:pt x="5493" y="660"/>
                            <a:pt x="5500" y="661"/>
                            <a:pt x="5508" y="656"/>
                          </a:cubicBezTo>
                          <a:cubicBezTo>
                            <a:pt x="5516" y="651"/>
                            <a:pt x="5519" y="655"/>
                            <a:pt x="5531" y="654"/>
                          </a:cubicBezTo>
                          <a:cubicBezTo>
                            <a:pt x="5543" y="653"/>
                            <a:pt x="5540" y="653"/>
                            <a:pt x="5550" y="648"/>
                          </a:cubicBezTo>
                          <a:cubicBezTo>
                            <a:pt x="5559" y="644"/>
                            <a:pt x="5560" y="645"/>
                            <a:pt x="5569" y="643"/>
                          </a:cubicBezTo>
                          <a:cubicBezTo>
                            <a:pt x="5578" y="641"/>
                            <a:pt x="5580" y="637"/>
                            <a:pt x="5577" y="637"/>
                          </a:cubicBezTo>
                          <a:cubicBezTo>
                            <a:pt x="5574" y="636"/>
                            <a:pt x="5566" y="637"/>
                            <a:pt x="5560" y="639"/>
                          </a:cubicBezTo>
                          <a:cubicBezTo>
                            <a:pt x="5554" y="640"/>
                            <a:pt x="5550" y="639"/>
                            <a:pt x="5549" y="637"/>
                          </a:cubicBezTo>
                          <a:cubicBezTo>
                            <a:pt x="5548" y="634"/>
                            <a:pt x="5551" y="634"/>
                            <a:pt x="5549" y="631"/>
                          </a:cubicBezTo>
                          <a:cubicBezTo>
                            <a:pt x="5547" y="628"/>
                            <a:pt x="5541" y="631"/>
                            <a:pt x="5538" y="632"/>
                          </a:cubicBezTo>
                          <a:cubicBezTo>
                            <a:pt x="5534" y="634"/>
                            <a:pt x="5531" y="633"/>
                            <a:pt x="5526" y="637"/>
                          </a:cubicBezTo>
                          <a:cubicBezTo>
                            <a:pt x="5520" y="641"/>
                            <a:pt x="5519" y="640"/>
                            <a:pt x="5513" y="643"/>
                          </a:cubicBezTo>
                          <a:cubicBezTo>
                            <a:pt x="5507" y="646"/>
                            <a:pt x="5503" y="645"/>
                            <a:pt x="5497" y="643"/>
                          </a:cubicBezTo>
                          <a:cubicBezTo>
                            <a:pt x="5491" y="642"/>
                            <a:pt x="5487" y="642"/>
                            <a:pt x="5481" y="643"/>
                          </a:cubicBezTo>
                          <a:cubicBezTo>
                            <a:pt x="5475" y="645"/>
                            <a:pt x="5476" y="649"/>
                            <a:pt x="5472" y="653"/>
                          </a:cubicBezTo>
                          <a:cubicBezTo>
                            <a:pt x="5469" y="657"/>
                            <a:pt x="5465" y="657"/>
                            <a:pt x="5461" y="658"/>
                          </a:cubicBezTo>
                          <a:close/>
                          <a:moveTo>
                            <a:pt x="5656" y="606"/>
                          </a:moveTo>
                          <a:cubicBezTo>
                            <a:pt x="5651" y="608"/>
                            <a:pt x="5649" y="608"/>
                            <a:pt x="5647" y="609"/>
                          </a:cubicBezTo>
                          <a:cubicBezTo>
                            <a:pt x="5645" y="610"/>
                            <a:pt x="5642" y="612"/>
                            <a:pt x="5645" y="613"/>
                          </a:cubicBezTo>
                          <a:cubicBezTo>
                            <a:pt x="5648" y="614"/>
                            <a:pt x="5650" y="613"/>
                            <a:pt x="5652" y="612"/>
                          </a:cubicBezTo>
                          <a:cubicBezTo>
                            <a:pt x="5655" y="612"/>
                            <a:pt x="5657" y="615"/>
                            <a:pt x="5659" y="612"/>
                          </a:cubicBezTo>
                          <a:cubicBezTo>
                            <a:pt x="5661" y="608"/>
                            <a:pt x="5661" y="603"/>
                            <a:pt x="5656" y="606"/>
                          </a:cubicBezTo>
                          <a:close/>
                          <a:moveTo>
                            <a:pt x="5688" y="612"/>
                          </a:moveTo>
                          <a:cubicBezTo>
                            <a:pt x="5687" y="616"/>
                            <a:pt x="5685" y="614"/>
                            <a:pt x="5685" y="617"/>
                          </a:cubicBezTo>
                          <a:cubicBezTo>
                            <a:pt x="5685" y="621"/>
                            <a:pt x="5690" y="622"/>
                            <a:pt x="5691" y="620"/>
                          </a:cubicBezTo>
                          <a:cubicBezTo>
                            <a:pt x="5692" y="619"/>
                            <a:pt x="5693" y="618"/>
                            <a:pt x="5693" y="615"/>
                          </a:cubicBezTo>
                          <a:cubicBezTo>
                            <a:pt x="5693" y="612"/>
                            <a:pt x="5689" y="608"/>
                            <a:pt x="5688" y="612"/>
                          </a:cubicBezTo>
                          <a:close/>
                          <a:moveTo>
                            <a:pt x="5682" y="559"/>
                          </a:moveTo>
                          <a:cubicBezTo>
                            <a:pt x="5682" y="561"/>
                            <a:pt x="5685" y="562"/>
                            <a:pt x="5688" y="563"/>
                          </a:cubicBezTo>
                          <a:cubicBezTo>
                            <a:pt x="5690" y="565"/>
                            <a:pt x="5695" y="565"/>
                            <a:pt x="5693" y="563"/>
                          </a:cubicBezTo>
                          <a:cubicBezTo>
                            <a:pt x="5692" y="561"/>
                            <a:pt x="5691" y="562"/>
                            <a:pt x="5690" y="560"/>
                          </a:cubicBezTo>
                          <a:cubicBezTo>
                            <a:pt x="5688" y="557"/>
                            <a:pt x="5680" y="554"/>
                            <a:pt x="5682" y="559"/>
                          </a:cubicBezTo>
                          <a:close/>
                          <a:moveTo>
                            <a:pt x="5689" y="583"/>
                          </a:moveTo>
                          <a:cubicBezTo>
                            <a:pt x="5687" y="585"/>
                            <a:pt x="5687" y="586"/>
                            <a:pt x="5689" y="587"/>
                          </a:cubicBezTo>
                          <a:cubicBezTo>
                            <a:pt x="5691" y="588"/>
                            <a:pt x="5695" y="589"/>
                            <a:pt x="5697" y="587"/>
                          </a:cubicBezTo>
                          <a:cubicBezTo>
                            <a:pt x="5697" y="585"/>
                            <a:pt x="5693" y="579"/>
                            <a:pt x="5689" y="583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63" name="Freeform 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258728" y="4048813"/>
                      <a:ext cx="563166" cy="339328"/>
                    </a:xfrm>
                    <a:custGeom>
                      <a:avLst/>
                      <a:gdLst>
                        <a:gd name="T0" fmla="*/ 1248 w 1963"/>
                        <a:gd name="T1" fmla="*/ 443 h 1183"/>
                        <a:gd name="T2" fmla="*/ 1174 w 1963"/>
                        <a:gd name="T3" fmla="*/ 344 h 1183"/>
                        <a:gd name="T4" fmla="*/ 1045 w 1963"/>
                        <a:gd name="T5" fmla="*/ 196 h 1183"/>
                        <a:gd name="T6" fmla="*/ 872 w 1963"/>
                        <a:gd name="T7" fmla="*/ 211 h 1183"/>
                        <a:gd name="T8" fmla="*/ 733 w 1963"/>
                        <a:gd name="T9" fmla="*/ 62 h 1183"/>
                        <a:gd name="T10" fmla="*/ 233 w 1963"/>
                        <a:gd name="T11" fmla="*/ 15 h 1183"/>
                        <a:gd name="T12" fmla="*/ 128 w 1963"/>
                        <a:gd name="T13" fmla="*/ 96 h 1183"/>
                        <a:gd name="T14" fmla="*/ 180 w 1963"/>
                        <a:gd name="T15" fmla="*/ 196 h 1183"/>
                        <a:gd name="T16" fmla="*/ 270 w 1963"/>
                        <a:gd name="T17" fmla="*/ 291 h 1183"/>
                        <a:gd name="T18" fmla="*/ 292 w 1963"/>
                        <a:gd name="T19" fmla="*/ 342 h 1183"/>
                        <a:gd name="T20" fmla="*/ 236 w 1963"/>
                        <a:gd name="T21" fmla="*/ 325 h 1183"/>
                        <a:gd name="T22" fmla="*/ 324 w 1963"/>
                        <a:gd name="T23" fmla="*/ 389 h 1183"/>
                        <a:gd name="T24" fmla="*/ 398 w 1963"/>
                        <a:gd name="T25" fmla="*/ 488 h 1183"/>
                        <a:gd name="T26" fmla="*/ 500 w 1963"/>
                        <a:gd name="T27" fmla="*/ 602 h 1183"/>
                        <a:gd name="T28" fmla="*/ 541 w 1963"/>
                        <a:gd name="T29" fmla="*/ 585 h 1183"/>
                        <a:gd name="T30" fmla="*/ 487 w 1963"/>
                        <a:gd name="T31" fmla="*/ 555 h 1183"/>
                        <a:gd name="T32" fmla="*/ 456 w 1963"/>
                        <a:gd name="T33" fmla="*/ 450 h 1183"/>
                        <a:gd name="T34" fmla="*/ 408 w 1963"/>
                        <a:gd name="T35" fmla="*/ 382 h 1183"/>
                        <a:gd name="T36" fmla="*/ 324 w 1963"/>
                        <a:gd name="T37" fmla="*/ 267 h 1183"/>
                        <a:gd name="T38" fmla="*/ 227 w 1963"/>
                        <a:gd name="T39" fmla="*/ 129 h 1183"/>
                        <a:gd name="T40" fmla="*/ 276 w 1963"/>
                        <a:gd name="T41" fmla="*/ 77 h 1183"/>
                        <a:gd name="T42" fmla="*/ 336 w 1963"/>
                        <a:gd name="T43" fmla="*/ 130 h 1183"/>
                        <a:gd name="T44" fmla="*/ 403 w 1963"/>
                        <a:gd name="T45" fmla="*/ 254 h 1183"/>
                        <a:gd name="T46" fmla="*/ 488 w 1963"/>
                        <a:gd name="T47" fmla="*/ 345 h 1183"/>
                        <a:gd name="T48" fmla="*/ 572 w 1963"/>
                        <a:gd name="T49" fmla="*/ 415 h 1183"/>
                        <a:gd name="T50" fmla="*/ 575 w 1963"/>
                        <a:gd name="T51" fmla="*/ 464 h 1183"/>
                        <a:gd name="T52" fmla="*/ 639 w 1963"/>
                        <a:gd name="T53" fmla="*/ 504 h 1183"/>
                        <a:gd name="T54" fmla="*/ 701 w 1963"/>
                        <a:gd name="T55" fmla="*/ 574 h 1183"/>
                        <a:gd name="T56" fmla="*/ 802 w 1963"/>
                        <a:gd name="T57" fmla="*/ 725 h 1183"/>
                        <a:gd name="T58" fmla="*/ 816 w 1963"/>
                        <a:gd name="T59" fmla="*/ 803 h 1183"/>
                        <a:gd name="T60" fmla="*/ 871 w 1963"/>
                        <a:gd name="T61" fmla="*/ 899 h 1183"/>
                        <a:gd name="T62" fmla="*/ 1019 w 1963"/>
                        <a:gd name="T63" fmla="*/ 969 h 1183"/>
                        <a:gd name="T64" fmla="*/ 1191 w 1963"/>
                        <a:gd name="T65" fmla="*/ 1053 h 1183"/>
                        <a:gd name="T66" fmla="*/ 1321 w 1963"/>
                        <a:gd name="T67" fmla="*/ 1100 h 1183"/>
                        <a:gd name="T68" fmla="*/ 1460 w 1963"/>
                        <a:gd name="T69" fmla="*/ 1072 h 1183"/>
                        <a:gd name="T70" fmla="*/ 1584 w 1963"/>
                        <a:gd name="T71" fmla="*/ 1138 h 1183"/>
                        <a:gd name="T72" fmla="*/ 1648 w 1963"/>
                        <a:gd name="T73" fmla="*/ 1098 h 1183"/>
                        <a:gd name="T74" fmla="*/ 1674 w 1963"/>
                        <a:gd name="T75" fmla="*/ 1019 h 1183"/>
                        <a:gd name="T76" fmla="*/ 1697 w 1963"/>
                        <a:gd name="T77" fmla="*/ 999 h 1183"/>
                        <a:gd name="T78" fmla="*/ 1842 w 1963"/>
                        <a:gd name="T79" fmla="*/ 947 h 1183"/>
                        <a:gd name="T80" fmla="*/ 1900 w 1963"/>
                        <a:gd name="T81" fmla="*/ 940 h 1183"/>
                        <a:gd name="T82" fmla="*/ 1920 w 1963"/>
                        <a:gd name="T83" fmla="*/ 844 h 1183"/>
                        <a:gd name="T84" fmla="*/ 1903 w 1963"/>
                        <a:gd name="T85" fmla="*/ 738 h 1183"/>
                        <a:gd name="T86" fmla="*/ 1735 w 1963"/>
                        <a:gd name="T87" fmla="*/ 806 h 1183"/>
                        <a:gd name="T88" fmla="*/ 1683 w 1963"/>
                        <a:gd name="T89" fmla="*/ 928 h 1183"/>
                        <a:gd name="T90" fmla="*/ 1544 w 1963"/>
                        <a:gd name="T91" fmla="*/ 945 h 1183"/>
                        <a:gd name="T92" fmla="*/ 1392 w 1963"/>
                        <a:gd name="T93" fmla="*/ 932 h 1183"/>
                        <a:gd name="T94" fmla="*/ 1346 w 1963"/>
                        <a:gd name="T95" fmla="*/ 823 h 1183"/>
                        <a:gd name="T96" fmla="*/ 1281 w 1963"/>
                        <a:gd name="T97" fmla="*/ 674 h 1183"/>
                        <a:gd name="T98" fmla="*/ 1289 w 1963"/>
                        <a:gd name="T99" fmla="*/ 513 h 1183"/>
                        <a:gd name="T100" fmla="*/ 1316 w 1963"/>
                        <a:gd name="T101" fmla="*/ 461 h 1183"/>
                        <a:gd name="T102" fmla="*/ 328 w 1963"/>
                        <a:gd name="T103" fmla="*/ 229 h 1183"/>
                        <a:gd name="T104" fmla="*/ 199 w 1963"/>
                        <a:gd name="T105" fmla="*/ 310 h 1183"/>
                        <a:gd name="T106" fmla="*/ 382 w 1963"/>
                        <a:gd name="T107" fmla="*/ 244 h 1183"/>
                        <a:gd name="T108" fmla="*/ 165 w 1963"/>
                        <a:gd name="T109" fmla="*/ 506 h 1183"/>
                        <a:gd name="T110" fmla="*/ 233 w 1963"/>
                        <a:gd name="T111" fmla="*/ 949 h 1183"/>
                        <a:gd name="T112" fmla="*/ 727 w 1963"/>
                        <a:gd name="T113" fmla="*/ 720 h 1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963" h="1183">
                          <a:moveTo>
                            <a:pt x="1316" y="461"/>
                          </a:moveTo>
                          <a:cubicBezTo>
                            <a:pt x="1309" y="463"/>
                            <a:pt x="1303" y="463"/>
                            <a:pt x="1299" y="461"/>
                          </a:cubicBezTo>
                          <a:cubicBezTo>
                            <a:pt x="1296" y="459"/>
                            <a:pt x="1294" y="457"/>
                            <a:pt x="1292" y="455"/>
                          </a:cubicBezTo>
                          <a:cubicBezTo>
                            <a:pt x="1288" y="452"/>
                            <a:pt x="1285" y="449"/>
                            <a:pt x="1281" y="448"/>
                          </a:cubicBezTo>
                          <a:cubicBezTo>
                            <a:pt x="1279" y="447"/>
                            <a:pt x="1276" y="447"/>
                            <a:pt x="1271" y="447"/>
                          </a:cubicBezTo>
                          <a:cubicBezTo>
                            <a:pt x="1264" y="447"/>
                            <a:pt x="1256" y="447"/>
                            <a:pt x="1248" y="443"/>
                          </a:cubicBezTo>
                          <a:cubicBezTo>
                            <a:pt x="1244" y="442"/>
                            <a:pt x="1238" y="439"/>
                            <a:pt x="1232" y="436"/>
                          </a:cubicBezTo>
                          <a:cubicBezTo>
                            <a:pt x="1217" y="431"/>
                            <a:pt x="1201" y="424"/>
                            <a:pt x="1197" y="419"/>
                          </a:cubicBezTo>
                          <a:cubicBezTo>
                            <a:pt x="1194" y="416"/>
                            <a:pt x="1188" y="405"/>
                            <a:pt x="1184" y="394"/>
                          </a:cubicBezTo>
                          <a:cubicBezTo>
                            <a:pt x="1180" y="385"/>
                            <a:pt x="1178" y="376"/>
                            <a:pt x="1178" y="370"/>
                          </a:cubicBezTo>
                          <a:cubicBezTo>
                            <a:pt x="1178" y="364"/>
                            <a:pt x="1177" y="360"/>
                            <a:pt x="1177" y="355"/>
                          </a:cubicBezTo>
                          <a:cubicBezTo>
                            <a:pt x="1176" y="351"/>
                            <a:pt x="1176" y="348"/>
                            <a:pt x="1174" y="344"/>
                          </a:cubicBezTo>
                          <a:cubicBezTo>
                            <a:pt x="1173" y="342"/>
                            <a:pt x="1168" y="340"/>
                            <a:pt x="1164" y="339"/>
                          </a:cubicBezTo>
                          <a:cubicBezTo>
                            <a:pt x="1159" y="337"/>
                            <a:pt x="1154" y="336"/>
                            <a:pt x="1150" y="332"/>
                          </a:cubicBezTo>
                          <a:cubicBezTo>
                            <a:pt x="1147" y="328"/>
                            <a:pt x="1132" y="304"/>
                            <a:pt x="1118" y="280"/>
                          </a:cubicBezTo>
                          <a:cubicBezTo>
                            <a:pt x="1105" y="259"/>
                            <a:pt x="1093" y="238"/>
                            <a:pt x="1089" y="234"/>
                          </a:cubicBezTo>
                          <a:cubicBezTo>
                            <a:pt x="1085" y="228"/>
                            <a:pt x="1075" y="217"/>
                            <a:pt x="1065" y="208"/>
                          </a:cubicBezTo>
                          <a:cubicBezTo>
                            <a:pt x="1058" y="202"/>
                            <a:pt x="1051" y="197"/>
                            <a:pt x="1045" y="196"/>
                          </a:cubicBezTo>
                          <a:cubicBezTo>
                            <a:pt x="1037" y="193"/>
                            <a:pt x="1023" y="192"/>
                            <a:pt x="1009" y="194"/>
                          </a:cubicBezTo>
                          <a:cubicBezTo>
                            <a:pt x="998" y="195"/>
                            <a:pt x="987" y="197"/>
                            <a:pt x="983" y="201"/>
                          </a:cubicBezTo>
                          <a:cubicBezTo>
                            <a:pt x="979" y="205"/>
                            <a:pt x="974" y="213"/>
                            <a:pt x="969" y="221"/>
                          </a:cubicBezTo>
                          <a:cubicBezTo>
                            <a:pt x="960" y="235"/>
                            <a:pt x="951" y="249"/>
                            <a:pt x="941" y="248"/>
                          </a:cubicBezTo>
                          <a:cubicBezTo>
                            <a:pt x="935" y="248"/>
                            <a:pt x="921" y="242"/>
                            <a:pt x="908" y="234"/>
                          </a:cubicBezTo>
                          <a:cubicBezTo>
                            <a:pt x="894" y="227"/>
                            <a:pt x="880" y="218"/>
                            <a:pt x="872" y="211"/>
                          </a:cubicBezTo>
                          <a:cubicBezTo>
                            <a:pt x="857" y="197"/>
                            <a:pt x="855" y="191"/>
                            <a:pt x="851" y="177"/>
                          </a:cubicBezTo>
                          <a:cubicBezTo>
                            <a:pt x="851" y="176"/>
                            <a:pt x="851" y="175"/>
                            <a:pt x="850" y="172"/>
                          </a:cubicBezTo>
                          <a:cubicBezTo>
                            <a:pt x="848" y="164"/>
                            <a:pt x="845" y="158"/>
                            <a:pt x="842" y="152"/>
                          </a:cubicBezTo>
                          <a:cubicBezTo>
                            <a:pt x="840" y="146"/>
                            <a:pt x="836" y="142"/>
                            <a:pt x="833" y="140"/>
                          </a:cubicBezTo>
                          <a:cubicBezTo>
                            <a:pt x="829" y="136"/>
                            <a:pt x="790" y="104"/>
                            <a:pt x="761" y="82"/>
                          </a:cubicBezTo>
                          <a:cubicBezTo>
                            <a:pt x="746" y="70"/>
                            <a:pt x="735" y="62"/>
                            <a:pt x="733" y="62"/>
                          </a:cubicBezTo>
                          <a:cubicBezTo>
                            <a:pt x="729" y="62"/>
                            <a:pt x="657" y="62"/>
                            <a:pt x="641" y="62"/>
                          </a:cubicBezTo>
                          <a:cubicBezTo>
                            <a:pt x="639" y="69"/>
                            <a:pt x="636" y="85"/>
                            <a:pt x="633" y="87"/>
                          </a:cubicBezTo>
                          <a:cubicBezTo>
                            <a:pt x="629" y="90"/>
                            <a:pt x="465" y="91"/>
                            <a:pt x="465" y="91"/>
                          </a:cubicBezTo>
                          <a:cubicBezTo>
                            <a:pt x="464" y="91"/>
                            <a:pt x="464" y="91"/>
                            <a:pt x="464" y="91"/>
                          </a:cubicBezTo>
                          <a:cubicBezTo>
                            <a:pt x="463" y="91"/>
                            <a:pt x="463" y="91"/>
                            <a:pt x="463" y="91"/>
                          </a:cubicBezTo>
                          <a:cubicBezTo>
                            <a:pt x="233" y="15"/>
                            <a:pt x="233" y="15"/>
                            <a:pt x="233" y="15"/>
                          </a:cubicBezTo>
                          <a:cubicBezTo>
                            <a:pt x="231" y="15"/>
                            <a:pt x="231" y="15"/>
                            <a:pt x="231" y="15"/>
                          </a:cubicBezTo>
                          <a:cubicBezTo>
                            <a:pt x="230" y="13"/>
                            <a:pt x="230" y="13"/>
                            <a:pt x="230" y="13"/>
                          </a:cubicBezTo>
                          <a:cubicBezTo>
                            <a:pt x="224" y="0"/>
                            <a:pt x="224" y="0"/>
                            <a:pt x="224" y="0"/>
                          </a:cubicBezTo>
                          <a:cubicBezTo>
                            <a:pt x="90" y="12"/>
                            <a:pt x="90" y="12"/>
                            <a:pt x="90" y="12"/>
                          </a:cubicBezTo>
                          <a:cubicBezTo>
                            <a:pt x="95" y="22"/>
                            <a:pt x="101" y="34"/>
                            <a:pt x="104" y="44"/>
                          </a:cubicBezTo>
                          <a:cubicBezTo>
                            <a:pt x="111" y="62"/>
                            <a:pt x="123" y="82"/>
                            <a:pt x="128" y="96"/>
                          </a:cubicBezTo>
                          <a:cubicBezTo>
                            <a:pt x="132" y="110"/>
                            <a:pt x="130" y="104"/>
                            <a:pt x="137" y="113"/>
                          </a:cubicBezTo>
                          <a:cubicBezTo>
                            <a:pt x="144" y="121"/>
                            <a:pt x="149" y="121"/>
                            <a:pt x="150" y="126"/>
                          </a:cubicBezTo>
                          <a:cubicBezTo>
                            <a:pt x="151" y="131"/>
                            <a:pt x="150" y="138"/>
                            <a:pt x="153" y="148"/>
                          </a:cubicBezTo>
                          <a:cubicBezTo>
                            <a:pt x="155" y="158"/>
                            <a:pt x="163" y="152"/>
                            <a:pt x="167" y="157"/>
                          </a:cubicBezTo>
                          <a:cubicBezTo>
                            <a:pt x="171" y="161"/>
                            <a:pt x="170" y="167"/>
                            <a:pt x="170" y="173"/>
                          </a:cubicBezTo>
                          <a:cubicBezTo>
                            <a:pt x="170" y="180"/>
                            <a:pt x="170" y="183"/>
                            <a:pt x="180" y="196"/>
                          </a:cubicBezTo>
                          <a:cubicBezTo>
                            <a:pt x="191" y="209"/>
                            <a:pt x="191" y="201"/>
                            <a:pt x="198" y="206"/>
                          </a:cubicBezTo>
                          <a:cubicBezTo>
                            <a:pt x="205" y="211"/>
                            <a:pt x="213" y="215"/>
                            <a:pt x="222" y="222"/>
                          </a:cubicBezTo>
                          <a:cubicBezTo>
                            <a:pt x="230" y="228"/>
                            <a:pt x="234" y="234"/>
                            <a:pt x="240" y="243"/>
                          </a:cubicBezTo>
                          <a:cubicBezTo>
                            <a:pt x="246" y="252"/>
                            <a:pt x="259" y="264"/>
                            <a:pt x="261" y="266"/>
                          </a:cubicBezTo>
                          <a:cubicBezTo>
                            <a:pt x="264" y="268"/>
                            <a:pt x="275" y="275"/>
                            <a:pt x="275" y="280"/>
                          </a:cubicBezTo>
                          <a:cubicBezTo>
                            <a:pt x="275" y="285"/>
                            <a:pt x="273" y="286"/>
                            <a:pt x="270" y="291"/>
                          </a:cubicBezTo>
                          <a:cubicBezTo>
                            <a:pt x="266" y="296"/>
                            <a:pt x="269" y="295"/>
                            <a:pt x="269" y="301"/>
                          </a:cubicBezTo>
                          <a:cubicBezTo>
                            <a:pt x="269" y="307"/>
                            <a:pt x="268" y="307"/>
                            <a:pt x="266" y="310"/>
                          </a:cubicBezTo>
                          <a:cubicBezTo>
                            <a:pt x="263" y="312"/>
                            <a:pt x="264" y="315"/>
                            <a:pt x="264" y="320"/>
                          </a:cubicBezTo>
                          <a:cubicBezTo>
                            <a:pt x="265" y="325"/>
                            <a:pt x="270" y="325"/>
                            <a:pt x="278" y="327"/>
                          </a:cubicBezTo>
                          <a:cubicBezTo>
                            <a:pt x="285" y="329"/>
                            <a:pt x="282" y="327"/>
                            <a:pt x="285" y="329"/>
                          </a:cubicBezTo>
                          <a:cubicBezTo>
                            <a:pt x="288" y="332"/>
                            <a:pt x="292" y="338"/>
                            <a:pt x="292" y="342"/>
                          </a:cubicBezTo>
                          <a:cubicBezTo>
                            <a:pt x="293" y="346"/>
                            <a:pt x="289" y="346"/>
                            <a:pt x="286" y="346"/>
                          </a:cubicBezTo>
                          <a:cubicBezTo>
                            <a:pt x="283" y="345"/>
                            <a:pt x="284" y="343"/>
                            <a:pt x="282" y="341"/>
                          </a:cubicBezTo>
                          <a:cubicBezTo>
                            <a:pt x="279" y="339"/>
                            <a:pt x="274" y="339"/>
                            <a:pt x="270" y="339"/>
                          </a:cubicBezTo>
                          <a:cubicBezTo>
                            <a:pt x="265" y="339"/>
                            <a:pt x="264" y="335"/>
                            <a:pt x="261" y="333"/>
                          </a:cubicBezTo>
                          <a:cubicBezTo>
                            <a:pt x="258" y="330"/>
                            <a:pt x="258" y="329"/>
                            <a:pt x="254" y="327"/>
                          </a:cubicBezTo>
                          <a:cubicBezTo>
                            <a:pt x="250" y="326"/>
                            <a:pt x="241" y="325"/>
                            <a:pt x="236" y="325"/>
                          </a:cubicBezTo>
                          <a:cubicBezTo>
                            <a:pt x="231" y="325"/>
                            <a:pt x="225" y="326"/>
                            <a:pt x="223" y="326"/>
                          </a:cubicBezTo>
                          <a:cubicBezTo>
                            <a:pt x="221" y="327"/>
                            <a:pt x="217" y="330"/>
                            <a:pt x="219" y="333"/>
                          </a:cubicBezTo>
                          <a:cubicBezTo>
                            <a:pt x="221" y="336"/>
                            <a:pt x="237" y="352"/>
                            <a:pt x="244" y="359"/>
                          </a:cubicBezTo>
                          <a:cubicBezTo>
                            <a:pt x="252" y="367"/>
                            <a:pt x="279" y="385"/>
                            <a:pt x="283" y="388"/>
                          </a:cubicBezTo>
                          <a:cubicBezTo>
                            <a:pt x="287" y="392"/>
                            <a:pt x="304" y="395"/>
                            <a:pt x="310" y="393"/>
                          </a:cubicBezTo>
                          <a:cubicBezTo>
                            <a:pt x="317" y="392"/>
                            <a:pt x="321" y="392"/>
                            <a:pt x="324" y="389"/>
                          </a:cubicBezTo>
                          <a:cubicBezTo>
                            <a:pt x="327" y="385"/>
                            <a:pt x="330" y="382"/>
                            <a:pt x="332" y="386"/>
                          </a:cubicBezTo>
                          <a:cubicBezTo>
                            <a:pt x="333" y="390"/>
                            <a:pt x="331" y="395"/>
                            <a:pt x="335" y="403"/>
                          </a:cubicBezTo>
                          <a:cubicBezTo>
                            <a:pt x="339" y="412"/>
                            <a:pt x="354" y="417"/>
                            <a:pt x="365" y="424"/>
                          </a:cubicBezTo>
                          <a:cubicBezTo>
                            <a:pt x="377" y="432"/>
                            <a:pt x="383" y="438"/>
                            <a:pt x="389" y="444"/>
                          </a:cubicBezTo>
                          <a:cubicBezTo>
                            <a:pt x="396" y="450"/>
                            <a:pt x="392" y="458"/>
                            <a:pt x="395" y="467"/>
                          </a:cubicBezTo>
                          <a:cubicBezTo>
                            <a:pt x="397" y="477"/>
                            <a:pt x="398" y="479"/>
                            <a:pt x="398" y="488"/>
                          </a:cubicBezTo>
                          <a:cubicBezTo>
                            <a:pt x="399" y="497"/>
                            <a:pt x="392" y="494"/>
                            <a:pt x="393" y="511"/>
                          </a:cubicBezTo>
                          <a:cubicBezTo>
                            <a:pt x="394" y="528"/>
                            <a:pt x="396" y="529"/>
                            <a:pt x="400" y="529"/>
                          </a:cubicBezTo>
                          <a:cubicBezTo>
                            <a:pt x="404" y="529"/>
                            <a:pt x="408" y="531"/>
                            <a:pt x="417" y="538"/>
                          </a:cubicBezTo>
                          <a:cubicBezTo>
                            <a:pt x="427" y="545"/>
                            <a:pt x="441" y="555"/>
                            <a:pt x="451" y="564"/>
                          </a:cubicBezTo>
                          <a:cubicBezTo>
                            <a:pt x="462" y="572"/>
                            <a:pt x="468" y="576"/>
                            <a:pt x="479" y="584"/>
                          </a:cubicBezTo>
                          <a:cubicBezTo>
                            <a:pt x="490" y="592"/>
                            <a:pt x="493" y="596"/>
                            <a:pt x="500" y="602"/>
                          </a:cubicBezTo>
                          <a:cubicBezTo>
                            <a:pt x="506" y="608"/>
                            <a:pt x="516" y="620"/>
                            <a:pt x="521" y="625"/>
                          </a:cubicBezTo>
                          <a:cubicBezTo>
                            <a:pt x="526" y="630"/>
                            <a:pt x="529" y="650"/>
                            <a:pt x="534" y="644"/>
                          </a:cubicBezTo>
                          <a:cubicBezTo>
                            <a:pt x="538" y="638"/>
                            <a:pt x="545" y="638"/>
                            <a:pt x="554" y="635"/>
                          </a:cubicBezTo>
                          <a:cubicBezTo>
                            <a:pt x="562" y="633"/>
                            <a:pt x="560" y="624"/>
                            <a:pt x="559" y="616"/>
                          </a:cubicBezTo>
                          <a:cubicBezTo>
                            <a:pt x="558" y="608"/>
                            <a:pt x="558" y="607"/>
                            <a:pt x="553" y="602"/>
                          </a:cubicBezTo>
                          <a:cubicBezTo>
                            <a:pt x="548" y="597"/>
                            <a:pt x="545" y="596"/>
                            <a:pt x="541" y="585"/>
                          </a:cubicBezTo>
                          <a:cubicBezTo>
                            <a:pt x="537" y="573"/>
                            <a:pt x="535" y="575"/>
                            <a:pt x="531" y="574"/>
                          </a:cubicBezTo>
                          <a:cubicBezTo>
                            <a:pt x="527" y="572"/>
                            <a:pt x="524" y="571"/>
                            <a:pt x="520" y="568"/>
                          </a:cubicBezTo>
                          <a:cubicBezTo>
                            <a:pt x="516" y="564"/>
                            <a:pt x="517" y="564"/>
                            <a:pt x="512" y="561"/>
                          </a:cubicBezTo>
                          <a:cubicBezTo>
                            <a:pt x="508" y="558"/>
                            <a:pt x="507" y="562"/>
                            <a:pt x="504" y="564"/>
                          </a:cubicBezTo>
                          <a:cubicBezTo>
                            <a:pt x="501" y="566"/>
                            <a:pt x="499" y="564"/>
                            <a:pt x="495" y="561"/>
                          </a:cubicBezTo>
                          <a:cubicBezTo>
                            <a:pt x="491" y="559"/>
                            <a:pt x="491" y="559"/>
                            <a:pt x="487" y="555"/>
                          </a:cubicBezTo>
                          <a:cubicBezTo>
                            <a:pt x="484" y="550"/>
                            <a:pt x="485" y="547"/>
                            <a:pt x="484" y="543"/>
                          </a:cubicBezTo>
                          <a:cubicBezTo>
                            <a:pt x="483" y="538"/>
                            <a:pt x="484" y="529"/>
                            <a:pt x="483" y="520"/>
                          </a:cubicBezTo>
                          <a:cubicBezTo>
                            <a:pt x="482" y="511"/>
                            <a:pt x="480" y="510"/>
                            <a:pt x="475" y="503"/>
                          </a:cubicBezTo>
                          <a:cubicBezTo>
                            <a:pt x="470" y="496"/>
                            <a:pt x="467" y="491"/>
                            <a:pt x="462" y="482"/>
                          </a:cubicBezTo>
                          <a:cubicBezTo>
                            <a:pt x="456" y="472"/>
                            <a:pt x="458" y="466"/>
                            <a:pt x="456" y="461"/>
                          </a:cubicBezTo>
                          <a:cubicBezTo>
                            <a:pt x="455" y="455"/>
                            <a:pt x="457" y="453"/>
                            <a:pt x="456" y="450"/>
                          </a:cubicBezTo>
                          <a:cubicBezTo>
                            <a:pt x="454" y="446"/>
                            <a:pt x="452" y="447"/>
                            <a:pt x="448" y="443"/>
                          </a:cubicBezTo>
                          <a:cubicBezTo>
                            <a:pt x="444" y="439"/>
                            <a:pt x="447" y="435"/>
                            <a:pt x="445" y="427"/>
                          </a:cubicBezTo>
                          <a:cubicBezTo>
                            <a:pt x="442" y="419"/>
                            <a:pt x="438" y="414"/>
                            <a:pt x="433" y="409"/>
                          </a:cubicBezTo>
                          <a:cubicBezTo>
                            <a:pt x="428" y="404"/>
                            <a:pt x="424" y="403"/>
                            <a:pt x="421" y="403"/>
                          </a:cubicBezTo>
                          <a:cubicBezTo>
                            <a:pt x="419" y="403"/>
                            <a:pt x="415" y="402"/>
                            <a:pt x="411" y="398"/>
                          </a:cubicBezTo>
                          <a:cubicBezTo>
                            <a:pt x="408" y="393"/>
                            <a:pt x="409" y="389"/>
                            <a:pt x="408" y="382"/>
                          </a:cubicBezTo>
                          <a:cubicBezTo>
                            <a:pt x="408" y="375"/>
                            <a:pt x="400" y="373"/>
                            <a:pt x="394" y="369"/>
                          </a:cubicBezTo>
                          <a:cubicBezTo>
                            <a:pt x="389" y="365"/>
                            <a:pt x="384" y="365"/>
                            <a:pt x="378" y="355"/>
                          </a:cubicBezTo>
                          <a:cubicBezTo>
                            <a:pt x="372" y="345"/>
                            <a:pt x="372" y="342"/>
                            <a:pt x="365" y="333"/>
                          </a:cubicBezTo>
                          <a:cubicBezTo>
                            <a:pt x="358" y="323"/>
                            <a:pt x="357" y="317"/>
                            <a:pt x="354" y="307"/>
                          </a:cubicBezTo>
                          <a:cubicBezTo>
                            <a:pt x="351" y="297"/>
                            <a:pt x="350" y="286"/>
                            <a:pt x="342" y="282"/>
                          </a:cubicBezTo>
                          <a:cubicBezTo>
                            <a:pt x="333" y="277"/>
                            <a:pt x="332" y="275"/>
                            <a:pt x="324" y="267"/>
                          </a:cubicBezTo>
                          <a:cubicBezTo>
                            <a:pt x="316" y="259"/>
                            <a:pt x="308" y="250"/>
                            <a:pt x="299" y="238"/>
                          </a:cubicBezTo>
                          <a:cubicBezTo>
                            <a:pt x="291" y="226"/>
                            <a:pt x="284" y="214"/>
                            <a:pt x="277" y="207"/>
                          </a:cubicBezTo>
                          <a:cubicBezTo>
                            <a:pt x="269" y="200"/>
                            <a:pt x="263" y="194"/>
                            <a:pt x="249" y="185"/>
                          </a:cubicBezTo>
                          <a:cubicBezTo>
                            <a:pt x="236" y="176"/>
                            <a:pt x="244" y="178"/>
                            <a:pt x="241" y="169"/>
                          </a:cubicBezTo>
                          <a:cubicBezTo>
                            <a:pt x="237" y="159"/>
                            <a:pt x="240" y="156"/>
                            <a:pt x="236" y="145"/>
                          </a:cubicBezTo>
                          <a:cubicBezTo>
                            <a:pt x="232" y="135"/>
                            <a:pt x="231" y="136"/>
                            <a:pt x="227" y="129"/>
                          </a:cubicBezTo>
                          <a:cubicBezTo>
                            <a:pt x="224" y="123"/>
                            <a:pt x="224" y="117"/>
                            <a:pt x="223" y="108"/>
                          </a:cubicBezTo>
                          <a:cubicBezTo>
                            <a:pt x="222" y="98"/>
                            <a:pt x="227" y="86"/>
                            <a:pt x="227" y="77"/>
                          </a:cubicBezTo>
                          <a:cubicBezTo>
                            <a:pt x="227" y="69"/>
                            <a:pt x="227" y="67"/>
                            <a:pt x="224" y="64"/>
                          </a:cubicBezTo>
                          <a:cubicBezTo>
                            <a:pt x="222" y="61"/>
                            <a:pt x="222" y="54"/>
                            <a:pt x="226" y="54"/>
                          </a:cubicBezTo>
                          <a:cubicBezTo>
                            <a:pt x="230" y="53"/>
                            <a:pt x="239" y="58"/>
                            <a:pt x="245" y="63"/>
                          </a:cubicBezTo>
                          <a:cubicBezTo>
                            <a:pt x="252" y="67"/>
                            <a:pt x="270" y="78"/>
                            <a:pt x="276" y="77"/>
                          </a:cubicBezTo>
                          <a:cubicBezTo>
                            <a:pt x="282" y="76"/>
                            <a:pt x="280" y="70"/>
                            <a:pt x="285" y="69"/>
                          </a:cubicBezTo>
                          <a:cubicBezTo>
                            <a:pt x="289" y="67"/>
                            <a:pt x="301" y="77"/>
                            <a:pt x="304" y="83"/>
                          </a:cubicBezTo>
                          <a:cubicBezTo>
                            <a:pt x="308" y="89"/>
                            <a:pt x="311" y="88"/>
                            <a:pt x="320" y="92"/>
                          </a:cubicBezTo>
                          <a:cubicBezTo>
                            <a:pt x="328" y="96"/>
                            <a:pt x="329" y="96"/>
                            <a:pt x="334" y="101"/>
                          </a:cubicBezTo>
                          <a:cubicBezTo>
                            <a:pt x="340" y="105"/>
                            <a:pt x="336" y="106"/>
                            <a:pt x="336" y="112"/>
                          </a:cubicBezTo>
                          <a:cubicBezTo>
                            <a:pt x="335" y="118"/>
                            <a:pt x="336" y="121"/>
                            <a:pt x="336" y="130"/>
                          </a:cubicBezTo>
                          <a:cubicBezTo>
                            <a:pt x="337" y="138"/>
                            <a:pt x="347" y="150"/>
                            <a:pt x="349" y="158"/>
                          </a:cubicBezTo>
                          <a:cubicBezTo>
                            <a:pt x="351" y="166"/>
                            <a:pt x="357" y="173"/>
                            <a:pt x="361" y="180"/>
                          </a:cubicBezTo>
                          <a:cubicBezTo>
                            <a:pt x="366" y="186"/>
                            <a:pt x="367" y="193"/>
                            <a:pt x="372" y="203"/>
                          </a:cubicBezTo>
                          <a:cubicBezTo>
                            <a:pt x="377" y="213"/>
                            <a:pt x="376" y="213"/>
                            <a:pt x="382" y="218"/>
                          </a:cubicBezTo>
                          <a:cubicBezTo>
                            <a:pt x="387" y="224"/>
                            <a:pt x="389" y="227"/>
                            <a:pt x="390" y="233"/>
                          </a:cubicBezTo>
                          <a:cubicBezTo>
                            <a:pt x="391" y="239"/>
                            <a:pt x="397" y="249"/>
                            <a:pt x="403" y="254"/>
                          </a:cubicBezTo>
                          <a:cubicBezTo>
                            <a:pt x="408" y="260"/>
                            <a:pt x="410" y="262"/>
                            <a:pt x="418" y="269"/>
                          </a:cubicBezTo>
                          <a:cubicBezTo>
                            <a:pt x="425" y="276"/>
                            <a:pt x="432" y="280"/>
                            <a:pt x="440" y="288"/>
                          </a:cubicBezTo>
                          <a:cubicBezTo>
                            <a:pt x="448" y="295"/>
                            <a:pt x="451" y="300"/>
                            <a:pt x="460" y="310"/>
                          </a:cubicBezTo>
                          <a:cubicBezTo>
                            <a:pt x="469" y="320"/>
                            <a:pt x="475" y="318"/>
                            <a:pt x="484" y="320"/>
                          </a:cubicBezTo>
                          <a:cubicBezTo>
                            <a:pt x="493" y="322"/>
                            <a:pt x="491" y="322"/>
                            <a:pt x="491" y="327"/>
                          </a:cubicBezTo>
                          <a:cubicBezTo>
                            <a:pt x="491" y="332"/>
                            <a:pt x="488" y="336"/>
                            <a:pt x="488" y="345"/>
                          </a:cubicBezTo>
                          <a:cubicBezTo>
                            <a:pt x="489" y="354"/>
                            <a:pt x="498" y="354"/>
                            <a:pt x="501" y="359"/>
                          </a:cubicBezTo>
                          <a:cubicBezTo>
                            <a:pt x="505" y="363"/>
                            <a:pt x="508" y="367"/>
                            <a:pt x="514" y="369"/>
                          </a:cubicBezTo>
                          <a:cubicBezTo>
                            <a:pt x="520" y="371"/>
                            <a:pt x="528" y="370"/>
                            <a:pt x="531" y="373"/>
                          </a:cubicBezTo>
                          <a:cubicBezTo>
                            <a:pt x="535" y="375"/>
                            <a:pt x="534" y="388"/>
                            <a:pt x="538" y="389"/>
                          </a:cubicBezTo>
                          <a:cubicBezTo>
                            <a:pt x="543" y="391"/>
                            <a:pt x="554" y="391"/>
                            <a:pt x="560" y="396"/>
                          </a:cubicBezTo>
                          <a:cubicBezTo>
                            <a:pt x="565" y="401"/>
                            <a:pt x="567" y="407"/>
                            <a:pt x="572" y="415"/>
                          </a:cubicBezTo>
                          <a:cubicBezTo>
                            <a:pt x="578" y="423"/>
                            <a:pt x="584" y="426"/>
                            <a:pt x="582" y="430"/>
                          </a:cubicBezTo>
                          <a:cubicBezTo>
                            <a:pt x="579" y="435"/>
                            <a:pt x="578" y="430"/>
                            <a:pt x="574" y="430"/>
                          </a:cubicBezTo>
                          <a:cubicBezTo>
                            <a:pt x="571" y="431"/>
                            <a:pt x="570" y="435"/>
                            <a:pt x="567" y="437"/>
                          </a:cubicBezTo>
                          <a:cubicBezTo>
                            <a:pt x="565" y="440"/>
                            <a:pt x="564" y="447"/>
                            <a:pt x="563" y="451"/>
                          </a:cubicBezTo>
                          <a:cubicBezTo>
                            <a:pt x="562" y="456"/>
                            <a:pt x="563" y="458"/>
                            <a:pt x="568" y="462"/>
                          </a:cubicBezTo>
                          <a:cubicBezTo>
                            <a:pt x="574" y="466"/>
                            <a:pt x="571" y="463"/>
                            <a:pt x="575" y="464"/>
                          </a:cubicBezTo>
                          <a:cubicBezTo>
                            <a:pt x="578" y="466"/>
                            <a:pt x="579" y="467"/>
                            <a:pt x="585" y="468"/>
                          </a:cubicBezTo>
                          <a:cubicBezTo>
                            <a:pt x="591" y="468"/>
                            <a:pt x="591" y="470"/>
                            <a:pt x="593" y="472"/>
                          </a:cubicBezTo>
                          <a:cubicBezTo>
                            <a:pt x="595" y="474"/>
                            <a:pt x="593" y="476"/>
                            <a:pt x="593" y="480"/>
                          </a:cubicBezTo>
                          <a:cubicBezTo>
                            <a:pt x="593" y="483"/>
                            <a:pt x="593" y="485"/>
                            <a:pt x="602" y="488"/>
                          </a:cubicBezTo>
                          <a:cubicBezTo>
                            <a:pt x="611" y="491"/>
                            <a:pt x="614" y="490"/>
                            <a:pt x="622" y="494"/>
                          </a:cubicBezTo>
                          <a:cubicBezTo>
                            <a:pt x="631" y="498"/>
                            <a:pt x="632" y="500"/>
                            <a:pt x="639" y="504"/>
                          </a:cubicBezTo>
                          <a:cubicBezTo>
                            <a:pt x="645" y="509"/>
                            <a:pt x="649" y="511"/>
                            <a:pt x="651" y="520"/>
                          </a:cubicBezTo>
                          <a:cubicBezTo>
                            <a:pt x="654" y="529"/>
                            <a:pt x="653" y="534"/>
                            <a:pt x="657" y="538"/>
                          </a:cubicBezTo>
                          <a:cubicBezTo>
                            <a:pt x="661" y="542"/>
                            <a:pt x="664" y="544"/>
                            <a:pt x="668" y="545"/>
                          </a:cubicBezTo>
                          <a:cubicBezTo>
                            <a:pt x="671" y="546"/>
                            <a:pt x="677" y="545"/>
                            <a:pt x="679" y="546"/>
                          </a:cubicBezTo>
                          <a:cubicBezTo>
                            <a:pt x="680" y="547"/>
                            <a:pt x="682" y="550"/>
                            <a:pt x="683" y="555"/>
                          </a:cubicBezTo>
                          <a:cubicBezTo>
                            <a:pt x="685" y="559"/>
                            <a:pt x="695" y="567"/>
                            <a:pt x="701" y="574"/>
                          </a:cubicBezTo>
                          <a:cubicBezTo>
                            <a:pt x="708" y="581"/>
                            <a:pt x="720" y="593"/>
                            <a:pt x="725" y="602"/>
                          </a:cubicBezTo>
                          <a:cubicBezTo>
                            <a:pt x="730" y="611"/>
                            <a:pt x="739" y="620"/>
                            <a:pt x="745" y="626"/>
                          </a:cubicBezTo>
                          <a:cubicBezTo>
                            <a:pt x="751" y="633"/>
                            <a:pt x="760" y="645"/>
                            <a:pt x="771" y="655"/>
                          </a:cubicBezTo>
                          <a:cubicBezTo>
                            <a:pt x="781" y="665"/>
                            <a:pt x="794" y="676"/>
                            <a:pt x="795" y="682"/>
                          </a:cubicBezTo>
                          <a:cubicBezTo>
                            <a:pt x="796" y="688"/>
                            <a:pt x="796" y="701"/>
                            <a:pt x="796" y="709"/>
                          </a:cubicBezTo>
                          <a:cubicBezTo>
                            <a:pt x="797" y="716"/>
                            <a:pt x="799" y="719"/>
                            <a:pt x="802" y="725"/>
                          </a:cubicBezTo>
                          <a:cubicBezTo>
                            <a:pt x="805" y="731"/>
                            <a:pt x="812" y="733"/>
                            <a:pt x="817" y="741"/>
                          </a:cubicBezTo>
                          <a:cubicBezTo>
                            <a:pt x="821" y="749"/>
                            <a:pt x="818" y="750"/>
                            <a:pt x="817" y="757"/>
                          </a:cubicBezTo>
                          <a:cubicBezTo>
                            <a:pt x="817" y="763"/>
                            <a:pt x="814" y="774"/>
                            <a:pt x="810" y="777"/>
                          </a:cubicBezTo>
                          <a:cubicBezTo>
                            <a:pt x="807" y="781"/>
                            <a:pt x="806" y="787"/>
                            <a:pt x="807" y="790"/>
                          </a:cubicBezTo>
                          <a:cubicBezTo>
                            <a:pt x="809" y="793"/>
                            <a:pt x="817" y="793"/>
                            <a:pt x="818" y="796"/>
                          </a:cubicBezTo>
                          <a:cubicBezTo>
                            <a:pt x="819" y="799"/>
                            <a:pt x="818" y="801"/>
                            <a:pt x="816" y="803"/>
                          </a:cubicBezTo>
                          <a:cubicBezTo>
                            <a:pt x="814" y="805"/>
                            <a:pt x="806" y="805"/>
                            <a:pt x="800" y="810"/>
                          </a:cubicBezTo>
                          <a:cubicBezTo>
                            <a:pt x="795" y="815"/>
                            <a:pt x="798" y="816"/>
                            <a:pt x="800" y="822"/>
                          </a:cubicBezTo>
                          <a:cubicBezTo>
                            <a:pt x="801" y="828"/>
                            <a:pt x="806" y="837"/>
                            <a:pt x="809" y="842"/>
                          </a:cubicBezTo>
                          <a:cubicBezTo>
                            <a:pt x="813" y="847"/>
                            <a:pt x="818" y="856"/>
                            <a:pt x="825" y="864"/>
                          </a:cubicBezTo>
                          <a:cubicBezTo>
                            <a:pt x="832" y="872"/>
                            <a:pt x="836" y="882"/>
                            <a:pt x="841" y="886"/>
                          </a:cubicBezTo>
                          <a:cubicBezTo>
                            <a:pt x="847" y="889"/>
                            <a:pt x="858" y="889"/>
                            <a:pt x="871" y="899"/>
                          </a:cubicBezTo>
                          <a:cubicBezTo>
                            <a:pt x="883" y="909"/>
                            <a:pt x="896" y="908"/>
                            <a:pt x="907" y="917"/>
                          </a:cubicBezTo>
                          <a:cubicBezTo>
                            <a:pt x="918" y="926"/>
                            <a:pt x="918" y="930"/>
                            <a:pt x="920" y="935"/>
                          </a:cubicBezTo>
                          <a:cubicBezTo>
                            <a:pt x="923" y="941"/>
                            <a:pt x="931" y="947"/>
                            <a:pt x="939" y="948"/>
                          </a:cubicBezTo>
                          <a:cubicBezTo>
                            <a:pt x="947" y="950"/>
                            <a:pt x="956" y="955"/>
                            <a:pt x="969" y="961"/>
                          </a:cubicBezTo>
                          <a:cubicBezTo>
                            <a:pt x="982" y="968"/>
                            <a:pt x="983" y="966"/>
                            <a:pt x="994" y="970"/>
                          </a:cubicBezTo>
                          <a:cubicBezTo>
                            <a:pt x="1004" y="974"/>
                            <a:pt x="1012" y="971"/>
                            <a:pt x="1019" y="969"/>
                          </a:cubicBezTo>
                          <a:cubicBezTo>
                            <a:pt x="1026" y="968"/>
                            <a:pt x="1028" y="973"/>
                            <a:pt x="1035" y="979"/>
                          </a:cubicBezTo>
                          <a:cubicBezTo>
                            <a:pt x="1042" y="986"/>
                            <a:pt x="1058" y="996"/>
                            <a:pt x="1067" y="1003"/>
                          </a:cubicBezTo>
                          <a:cubicBezTo>
                            <a:pt x="1077" y="1009"/>
                            <a:pt x="1088" y="1015"/>
                            <a:pt x="1097" y="1021"/>
                          </a:cubicBezTo>
                          <a:cubicBezTo>
                            <a:pt x="1106" y="1026"/>
                            <a:pt x="1123" y="1031"/>
                            <a:pt x="1130" y="1032"/>
                          </a:cubicBezTo>
                          <a:cubicBezTo>
                            <a:pt x="1137" y="1034"/>
                            <a:pt x="1147" y="1040"/>
                            <a:pt x="1155" y="1045"/>
                          </a:cubicBezTo>
                          <a:cubicBezTo>
                            <a:pt x="1162" y="1049"/>
                            <a:pt x="1179" y="1053"/>
                            <a:pt x="1191" y="1053"/>
                          </a:cubicBezTo>
                          <a:cubicBezTo>
                            <a:pt x="1202" y="1053"/>
                            <a:pt x="1214" y="1060"/>
                            <a:pt x="1219" y="1062"/>
                          </a:cubicBezTo>
                          <a:cubicBezTo>
                            <a:pt x="1224" y="1064"/>
                            <a:pt x="1227" y="1068"/>
                            <a:pt x="1231" y="1073"/>
                          </a:cubicBezTo>
                          <a:cubicBezTo>
                            <a:pt x="1235" y="1078"/>
                            <a:pt x="1241" y="1077"/>
                            <a:pt x="1250" y="1078"/>
                          </a:cubicBezTo>
                          <a:cubicBezTo>
                            <a:pt x="1258" y="1080"/>
                            <a:pt x="1266" y="1084"/>
                            <a:pt x="1271" y="1090"/>
                          </a:cubicBezTo>
                          <a:cubicBezTo>
                            <a:pt x="1277" y="1096"/>
                            <a:pt x="1287" y="1097"/>
                            <a:pt x="1295" y="1097"/>
                          </a:cubicBezTo>
                          <a:cubicBezTo>
                            <a:pt x="1304" y="1098"/>
                            <a:pt x="1315" y="1098"/>
                            <a:pt x="1321" y="1100"/>
                          </a:cubicBezTo>
                          <a:cubicBezTo>
                            <a:pt x="1327" y="1103"/>
                            <a:pt x="1338" y="1109"/>
                            <a:pt x="1346" y="1113"/>
                          </a:cubicBezTo>
                          <a:cubicBezTo>
                            <a:pt x="1354" y="1117"/>
                            <a:pt x="1360" y="1116"/>
                            <a:pt x="1372" y="1113"/>
                          </a:cubicBezTo>
                          <a:cubicBezTo>
                            <a:pt x="1383" y="1110"/>
                            <a:pt x="1383" y="1108"/>
                            <a:pt x="1396" y="1105"/>
                          </a:cubicBezTo>
                          <a:cubicBezTo>
                            <a:pt x="1410" y="1101"/>
                            <a:pt x="1419" y="1094"/>
                            <a:pt x="1428" y="1091"/>
                          </a:cubicBezTo>
                          <a:cubicBezTo>
                            <a:pt x="1436" y="1088"/>
                            <a:pt x="1438" y="1086"/>
                            <a:pt x="1447" y="1082"/>
                          </a:cubicBezTo>
                          <a:cubicBezTo>
                            <a:pt x="1457" y="1078"/>
                            <a:pt x="1455" y="1074"/>
                            <a:pt x="1460" y="1072"/>
                          </a:cubicBezTo>
                          <a:cubicBezTo>
                            <a:pt x="1465" y="1071"/>
                            <a:pt x="1469" y="1072"/>
                            <a:pt x="1472" y="1074"/>
                          </a:cubicBezTo>
                          <a:cubicBezTo>
                            <a:pt x="1475" y="1076"/>
                            <a:pt x="1478" y="1082"/>
                            <a:pt x="1480" y="1082"/>
                          </a:cubicBezTo>
                          <a:cubicBezTo>
                            <a:pt x="1483" y="1082"/>
                            <a:pt x="1493" y="1079"/>
                            <a:pt x="1497" y="1079"/>
                          </a:cubicBezTo>
                          <a:cubicBezTo>
                            <a:pt x="1501" y="1080"/>
                            <a:pt x="1510" y="1083"/>
                            <a:pt x="1515" y="1087"/>
                          </a:cubicBezTo>
                          <a:cubicBezTo>
                            <a:pt x="1521" y="1091"/>
                            <a:pt x="1529" y="1096"/>
                            <a:pt x="1540" y="1106"/>
                          </a:cubicBezTo>
                          <a:cubicBezTo>
                            <a:pt x="1550" y="1116"/>
                            <a:pt x="1566" y="1124"/>
                            <a:pt x="1584" y="1138"/>
                          </a:cubicBezTo>
                          <a:cubicBezTo>
                            <a:pt x="1602" y="1151"/>
                            <a:pt x="1607" y="1166"/>
                            <a:pt x="1616" y="1176"/>
                          </a:cubicBezTo>
                          <a:cubicBezTo>
                            <a:pt x="1618" y="1179"/>
                            <a:pt x="1620" y="1181"/>
                            <a:pt x="1622" y="1183"/>
                          </a:cubicBezTo>
                          <a:cubicBezTo>
                            <a:pt x="1622" y="1182"/>
                            <a:pt x="1623" y="1181"/>
                            <a:pt x="1623" y="1180"/>
                          </a:cubicBezTo>
                          <a:cubicBezTo>
                            <a:pt x="1628" y="1172"/>
                            <a:pt x="1631" y="1164"/>
                            <a:pt x="1633" y="1157"/>
                          </a:cubicBezTo>
                          <a:cubicBezTo>
                            <a:pt x="1634" y="1153"/>
                            <a:pt x="1635" y="1146"/>
                            <a:pt x="1637" y="1139"/>
                          </a:cubicBezTo>
                          <a:cubicBezTo>
                            <a:pt x="1640" y="1124"/>
                            <a:pt x="1644" y="1106"/>
                            <a:pt x="1648" y="1098"/>
                          </a:cubicBezTo>
                          <a:cubicBezTo>
                            <a:pt x="1654" y="1084"/>
                            <a:pt x="1702" y="1085"/>
                            <a:pt x="1718" y="1086"/>
                          </a:cubicBezTo>
                          <a:cubicBezTo>
                            <a:pt x="1718" y="1086"/>
                            <a:pt x="1718" y="1086"/>
                            <a:pt x="1718" y="1086"/>
                          </a:cubicBezTo>
                          <a:cubicBezTo>
                            <a:pt x="1725" y="1086"/>
                            <a:pt x="1730" y="1086"/>
                            <a:pt x="1731" y="1085"/>
                          </a:cubicBezTo>
                          <a:cubicBezTo>
                            <a:pt x="1733" y="1084"/>
                            <a:pt x="1733" y="1081"/>
                            <a:pt x="1732" y="1076"/>
                          </a:cubicBezTo>
                          <a:cubicBezTo>
                            <a:pt x="1732" y="1069"/>
                            <a:pt x="1714" y="1055"/>
                            <a:pt x="1699" y="1043"/>
                          </a:cubicBezTo>
                          <a:cubicBezTo>
                            <a:pt x="1687" y="1034"/>
                            <a:pt x="1676" y="1025"/>
                            <a:pt x="1674" y="1019"/>
                          </a:cubicBezTo>
                          <a:cubicBezTo>
                            <a:pt x="1672" y="1012"/>
                            <a:pt x="1675" y="1008"/>
                            <a:pt x="1680" y="1006"/>
                          </a:cubicBezTo>
                          <a:cubicBezTo>
                            <a:pt x="1683" y="1005"/>
                            <a:pt x="1688" y="1004"/>
                            <a:pt x="1693" y="1004"/>
                          </a:cubicBezTo>
                          <a:cubicBezTo>
                            <a:pt x="1693" y="1004"/>
                            <a:pt x="1693" y="1004"/>
                            <a:pt x="1693" y="1004"/>
                          </a:cubicBezTo>
                          <a:cubicBezTo>
                            <a:pt x="1693" y="1004"/>
                            <a:pt x="1693" y="1004"/>
                            <a:pt x="1693" y="1004"/>
                          </a:cubicBezTo>
                          <a:cubicBezTo>
                            <a:pt x="1693" y="1004"/>
                            <a:pt x="1693" y="1004"/>
                            <a:pt x="1693" y="1004"/>
                          </a:cubicBezTo>
                          <a:cubicBezTo>
                            <a:pt x="1695" y="1004"/>
                            <a:pt x="1696" y="1002"/>
                            <a:pt x="1697" y="999"/>
                          </a:cubicBezTo>
                          <a:cubicBezTo>
                            <a:pt x="1698" y="995"/>
                            <a:pt x="1699" y="989"/>
                            <a:pt x="1699" y="985"/>
                          </a:cubicBezTo>
                          <a:cubicBezTo>
                            <a:pt x="1699" y="984"/>
                            <a:pt x="1699" y="983"/>
                            <a:pt x="1699" y="983"/>
                          </a:cubicBezTo>
                          <a:cubicBezTo>
                            <a:pt x="1699" y="976"/>
                            <a:pt x="1714" y="973"/>
                            <a:pt x="1734" y="972"/>
                          </a:cubicBezTo>
                          <a:cubicBezTo>
                            <a:pt x="1752" y="971"/>
                            <a:pt x="1775" y="971"/>
                            <a:pt x="1792" y="971"/>
                          </a:cubicBezTo>
                          <a:cubicBezTo>
                            <a:pt x="1804" y="971"/>
                            <a:pt x="1813" y="971"/>
                            <a:pt x="1815" y="971"/>
                          </a:cubicBezTo>
                          <a:cubicBezTo>
                            <a:pt x="1821" y="970"/>
                            <a:pt x="1833" y="957"/>
                            <a:pt x="1842" y="947"/>
                          </a:cubicBezTo>
                          <a:cubicBezTo>
                            <a:pt x="1846" y="943"/>
                            <a:pt x="1849" y="939"/>
                            <a:pt x="1851" y="937"/>
                          </a:cubicBezTo>
                          <a:cubicBezTo>
                            <a:pt x="1855" y="934"/>
                            <a:pt x="1866" y="933"/>
                            <a:pt x="1878" y="935"/>
                          </a:cubicBezTo>
                          <a:cubicBezTo>
                            <a:pt x="1878" y="934"/>
                            <a:pt x="1878" y="933"/>
                            <a:pt x="1879" y="932"/>
                          </a:cubicBezTo>
                          <a:cubicBezTo>
                            <a:pt x="1879" y="920"/>
                            <a:pt x="1880" y="917"/>
                            <a:pt x="1884" y="914"/>
                          </a:cubicBezTo>
                          <a:cubicBezTo>
                            <a:pt x="1887" y="913"/>
                            <a:pt x="1886" y="924"/>
                            <a:pt x="1885" y="936"/>
                          </a:cubicBezTo>
                          <a:cubicBezTo>
                            <a:pt x="1890" y="937"/>
                            <a:pt x="1895" y="938"/>
                            <a:pt x="1900" y="940"/>
                          </a:cubicBezTo>
                          <a:cubicBezTo>
                            <a:pt x="1901" y="930"/>
                            <a:pt x="1903" y="927"/>
                            <a:pt x="1905" y="917"/>
                          </a:cubicBezTo>
                          <a:cubicBezTo>
                            <a:pt x="1906" y="907"/>
                            <a:pt x="1919" y="902"/>
                            <a:pt x="1918" y="894"/>
                          </a:cubicBezTo>
                          <a:cubicBezTo>
                            <a:pt x="1916" y="886"/>
                            <a:pt x="1915" y="881"/>
                            <a:pt x="1918" y="877"/>
                          </a:cubicBezTo>
                          <a:cubicBezTo>
                            <a:pt x="1921" y="873"/>
                            <a:pt x="1915" y="863"/>
                            <a:pt x="1915" y="863"/>
                          </a:cubicBezTo>
                          <a:cubicBezTo>
                            <a:pt x="1915" y="863"/>
                            <a:pt x="1908" y="860"/>
                            <a:pt x="1907" y="851"/>
                          </a:cubicBezTo>
                          <a:cubicBezTo>
                            <a:pt x="1906" y="841"/>
                            <a:pt x="1912" y="849"/>
                            <a:pt x="1920" y="844"/>
                          </a:cubicBezTo>
                          <a:cubicBezTo>
                            <a:pt x="1927" y="839"/>
                            <a:pt x="1920" y="831"/>
                            <a:pt x="1922" y="819"/>
                          </a:cubicBezTo>
                          <a:cubicBezTo>
                            <a:pt x="1924" y="807"/>
                            <a:pt x="1938" y="801"/>
                            <a:pt x="1946" y="793"/>
                          </a:cubicBezTo>
                          <a:cubicBezTo>
                            <a:pt x="1954" y="785"/>
                            <a:pt x="1963" y="775"/>
                            <a:pt x="1963" y="764"/>
                          </a:cubicBezTo>
                          <a:cubicBezTo>
                            <a:pt x="1963" y="754"/>
                            <a:pt x="1958" y="746"/>
                            <a:pt x="1952" y="738"/>
                          </a:cubicBezTo>
                          <a:cubicBezTo>
                            <a:pt x="1946" y="731"/>
                            <a:pt x="1941" y="737"/>
                            <a:pt x="1925" y="741"/>
                          </a:cubicBezTo>
                          <a:cubicBezTo>
                            <a:pt x="1909" y="745"/>
                            <a:pt x="1913" y="741"/>
                            <a:pt x="1903" y="738"/>
                          </a:cubicBezTo>
                          <a:cubicBezTo>
                            <a:pt x="1894" y="735"/>
                            <a:pt x="1877" y="735"/>
                            <a:pt x="1864" y="736"/>
                          </a:cubicBezTo>
                          <a:cubicBezTo>
                            <a:pt x="1850" y="737"/>
                            <a:pt x="1852" y="741"/>
                            <a:pt x="1839" y="744"/>
                          </a:cubicBezTo>
                          <a:cubicBezTo>
                            <a:pt x="1826" y="747"/>
                            <a:pt x="1820" y="750"/>
                            <a:pt x="1804" y="751"/>
                          </a:cubicBezTo>
                          <a:cubicBezTo>
                            <a:pt x="1789" y="752"/>
                            <a:pt x="1791" y="754"/>
                            <a:pt x="1773" y="758"/>
                          </a:cubicBezTo>
                          <a:cubicBezTo>
                            <a:pt x="1755" y="763"/>
                            <a:pt x="1752" y="770"/>
                            <a:pt x="1744" y="774"/>
                          </a:cubicBezTo>
                          <a:cubicBezTo>
                            <a:pt x="1737" y="779"/>
                            <a:pt x="1738" y="794"/>
                            <a:pt x="1735" y="806"/>
                          </a:cubicBezTo>
                          <a:cubicBezTo>
                            <a:pt x="1732" y="817"/>
                            <a:pt x="1735" y="818"/>
                            <a:pt x="1735" y="830"/>
                          </a:cubicBezTo>
                          <a:cubicBezTo>
                            <a:pt x="1734" y="842"/>
                            <a:pt x="1729" y="842"/>
                            <a:pt x="1721" y="850"/>
                          </a:cubicBezTo>
                          <a:cubicBezTo>
                            <a:pt x="1713" y="857"/>
                            <a:pt x="1719" y="867"/>
                            <a:pt x="1719" y="875"/>
                          </a:cubicBezTo>
                          <a:cubicBezTo>
                            <a:pt x="1719" y="882"/>
                            <a:pt x="1714" y="884"/>
                            <a:pt x="1705" y="887"/>
                          </a:cubicBezTo>
                          <a:cubicBezTo>
                            <a:pt x="1697" y="891"/>
                            <a:pt x="1685" y="900"/>
                            <a:pt x="1684" y="909"/>
                          </a:cubicBezTo>
                          <a:cubicBezTo>
                            <a:pt x="1684" y="918"/>
                            <a:pt x="1693" y="926"/>
                            <a:pt x="1683" y="928"/>
                          </a:cubicBezTo>
                          <a:cubicBezTo>
                            <a:pt x="1672" y="930"/>
                            <a:pt x="1665" y="941"/>
                            <a:pt x="1654" y="940"/>
                          </a:cubicBezTo>
                          <a:cubicBezTo>
                            <a:pt x="1644" y="939"/>
                            <a:pt x="1649" y="926"/>
                            <a:pt x="1640" y="923"/>
                          </a:cubicBezTo>
                          <a:cubicBezTo>
                            <a:pt x="1631" y="921"/>
                            <a:pt x="1630" y="925"/>
                            <a:pt x="1611" y="928"/>
                          </a:cubicBezTo>
                          <a:cubicBezTo>
                            <a:pt x="1592" y="931"/>
                            <a:pt x="1597" y="935"/>
                            <a:pt x="1592" y="935"/>
                          </a:cubicBezTo>
                          <a:cubicBezTo>
                            <a:pt x="1587" y="935"/>
                            <a:pt x="1585" y="936"/>
                            <a:pt x="1573" y="936"/>
                          </a:cubicBezTo>
                          <a:cubicBezTo>
                            <a:pt x="1562" y="936"/>
                            <a:pt x="1557" y="941"/>
                            <a:pt x="1544" y="945"/>
                          </a:cubicBezTo>
                          <a:cubicBezTo>
                            <a:pt x="1531" y="949"/>
                            <a:pt x="1520" y="952"/>
                            <a:pt x="1505" y="951"/>
                          </a:cubicBezTo>
                          <a:cubicBezTo>
                            <a:pt x="1490" y="950"/>
                            <a:pt x="1485" y="951"/>
                            <a:pt x="1475" y="939"/>
                          </a:cubicBezTo>
                          <a:cubicBezTo>
                            <a:pt x="1465" y="927"/>
                            <a:pt x="1448" y="925"/>
                            <a:pt x="1445" y="923"/>
                          </a:cubicBezTo>
                          <a:cubicBezTo>
                            <a:pt x="1442" y="921"/>
                            <a:pt x="1439" y="922"/>
                            <a:pt x="1426" y="921"/>
                          </a:cubicBezTo>
                          <a:cubicBezTo>
                            <a:pt x="1413" y="920"/>
                            <a:pt x="1411" y="922"/>
                            <a:pt x="1407" y="925"/>
                          </a:cubicBezTo>
                          <a:cubicBezTo>
                            <a:pt x="1402" y="927"/>
                            <a:pt x="1396" y="933"/>
                            <a:pt x="1392" y="932"/>
                          </a:cubicBezTo>
                          <a:cubicBezTo>
                            <a:pt x="1388" y="931"/>
                            <a:pt x="1392" y="921"/>
                            <a:pt x="1392" y="916"/>
                          </a:cubicBezTo>
                          <a:cubicBezTo>
                            <a:pt x="1393" y="911"/>
                            <a:pt x="1394" y="904"/>
                            <a:pt x="1391" y="898"/>
                          </a:cubicBezTo>
                          <a:cubicBezTo>
                            <a:pt x="1388" y="892"/>
                            <a:pt x="1385" y="892"/>
                            <a:pt x="1378" y="884"/>
                          </a:cubicBezTo>
                          <a:cubicBezTo>
                            <a:pt x="1370" y="877"/>
                            <a:pt x="1374" y="873"/>
                            <a:pt x="1370" y="862"/>
                          </a:cubicBezTo>
                          <a:cubicBezTo>
                            <a:pt x="1367" y="851"/>
                            <a:pt x="1365" y="850"/>
                            <a:pt x="1360" y="840"/>
                          </a:cubicBezTo>
                          <a:cubicBezTo>
                            <a:pt x="1354" y="831"/>
                            <a:pt x="1354" y="830"/>
                            <a:pt x="1346" y="823"/>
                          </a:cubicBezTo>
                          <a:cubicBezTo>
                            <a:pt x="1339" y="816"/>
                            <a:pt x="1334" y="808"/>
                            <a:pt x="1324" y="796"/>
                          </a:cubicBezTo>
                          <a:cubicBezTo>
                            <a:pt x="1314" y="785"/>
                            <a:pt x="1313" y="772"/>
                            <a:pt x="1310" y="764"/>
                          </a:cubicBezTo>
                          <a:cubicBezTo>
                            <a:pt x="1306" y="755"/>
                            <a:pt x="1307" y="749"/>
                            <a:pt x="1307" y="742"/>
                          </a:cubicBezTo>
                          <a:cubicBezTo>
                            <a:pt x="1306" y="735"/>
                            <a:pt x="1305" y="728"/>
                            <a:pt x="1300" y="722"/>
                          </a:cubicBezTo>
                          <a:cubicBezTo>
                            <a:pt x="1295" y="716"/>
                            <a:pt x="1292" y="710"/>
                            <a:pt x="1289" y="703"/>
                          </a:cubicBezTo>
                          <a:cubicBezTo>
                            <a:pt x="1285" y="697"/>
                            <a:pt x="1281" y="684"/>
                            <a:pt x="1281" y="674"/>
                          </a:cubicBezTo>
                          <a:cubicBezTo>
                            <a:pt x="1281" y="663"/>
                            <a:pt x="1282" y="643"/>
                            <a:pt x="1284" y="628"/>
                          </a:cubicBezTo>
                          <a:cubicBezTo>
                            <a:pt x="1285" y="613"/>
                            <a:pt x="1288" y="601"/>
                            <a:pt x="1288" y="595"/>
                          </a:cubicBezTo>
                          <a:cubicBezTo>
                            <a:pt x="1288" y="588"/>
                            <a:pt x="1288" y="582"/>
                            <a:pt x="1285" y="571"/>
                          </a:cubicBezTo>
                          <a:cubicBezTo>
                            <a:pt x="1281" y="559"/>
                            <a:pt x="1282" y="554"/>
                            <a:pt x="1283" y="544"/>
                          </a:cubicBezTo>
                          <a:cubicBezTo>
                            <a:pt x="1284" y="533"/>
                            <a:pt x="1285" y="538"/>
                            <a:pt x="1287" y="529"/>
                          </a:cubicBezTo>
                          <a:cubicBezTo>
                            <a:pt x="1290" y="520"/>
                            <a:pt x="1290" y="519"/>
                            <a:pt x="1289" y="513"/>
                          </a:cubicBezTo>
                          <a:cubicBezTo>
                            <a:pt x="1288" y="507"/>
                            <a:pt x="1286" y="500"/>
                            <a:pt x="1286" y="494"/>
                          </a:cubicBezTo>
                          <a:cubicBezTo>
                            <a:pt x="1287" y="489"/>
                            <a:pt x="1296" y="493"/>
                            <a:pt x="1296" y="493"/>
                          </a:cubicBezTo>
                          <a:cubicBezTo>
                            <a:pt x="1297" y="482"/>
                            <a:pt x="1297" y="482"/>
                            <a:pt x="1297" y="482"/>
                          </a:cubicBezTo>
                          <a:cubicBezTo>
                            <a:pt x="1297" y="482"/>
                            <a:pt x="1307" y="480"/>
                            <a:pt x="1310" y="479"/>
                          </a:cubicBezTo>
                          <a:cubicBezTo>
                            <a:pt x="1313" y="478"/>
                            <a:pt x="1314" y="469"/>
                            <a:pt x="1315" y="464"/>
                          </a:cubicBezTo>
                          <a:cubicBezTo>
                            <a:pt x="1315" y="463"/>
                            <a:pt x="1315" y="462"/>
                            <a:pt x="1316" y="461"/>
                          </a:cubicBezTo>
                          <a:close/>
                          <a:moveTo>
                            <a:pt x="306" y="211"/>
                          </a:moveTo>
                          <a:cubicBezTo>
                            <a:pt x="306" y="218"/>
                            <a:pt x="301" y="219"/>
                            <a:pt x="306" y="224"/>
                          </a:cubicBezTo>
                          <a:cubicBezTo>
                            <a:pt x="311" y="230"/>
                            <a:pt x="313" y="228"/>
                            <a:pt x="317" y="231"/>
                          </a:cubicBezTo>
                          <a:cubicBezTo>
                            <a:pt x="321" y="234"/>
                            <a:pt x="319" y="233"/>
                            <a:pt x="324" y="238"/>
                          </a:cubicBezTo>
                          <a:cubicBezTo>
                            <a:pt x="328" y="242"/>
                            <a:pt x="333" y="250"/>
                            <a:pt x="333" y="243"/>
                          </a:cubicBezTo>
                          <a:cubicBezTo>
                            <a:pt x="333" y="237"/>
                            <a:pt x="329" y="233"/>
                            <a:pt x="328" y="229"/>
                          </a:cubicBezTo>
                          <a:cubicBezTo>
                            <a:pt x="326" y="225"/>
                            <a:pt x="326" y="230"/>
                            <a:pt x="321" y="225"/>
                          </a:cubicBezTo>
                          <a:cubicBezTo>
                            <a:pt x="315" y="220"/>
                            <a:pt x="318" y="221"/>
                            <a:pt x="314" y="215"/>
                          </a:cubicBezTo>
                          <a:cubicBezTo>
                            <a:pt x="310" y="209"/>
                            <a:pt x="306" y="205"/>
                            <a:pt x="306" y="211"/>
                          </a:cubicBezTo>
                          <a:close/>
                          <a:moveTo>
                            <a:pt x="200" y="292"/>
                          </a:moveTo>
                          <a:cubicBezTo>
                            <a:pt x="194" y="297"/>
                            <a:pt x="187" y="296"/>
                            <a:pt x="190" y="301"/>
                          </a:cubicBezTo>
                          <a:cubicBezTo>
                            <a:pt x="193" y="307"/>
                            <a:pt x="196" y="313"/>
                            <a:pt x="199" y="310"/>
                          </a:cubicBezTo>
                          <a:cubicBezTo>
                            <a:pt x="202" y="307"/>
                            <a:pt x="199" y="305"/>
                            <a:pt x="204" y="299"/>
                          </a:cubicBezTo>
                          <a:cubicBezTo>
                            <a:pt x="208" y="293"/>
                            <a:pt x="204" y="288"/>
                            <a:pt x="200" y="292"/>
                          </a:cubicBezTo>
                          <a:close/>
                          <a:moveTo>
                            <a:pt x="369" y="250"/>
                          </a:moveTo>
                          <a:cubicBezTo>
                            <a:pt x="370" y="257"/>
                            <a:pt x="371" y="257"/>
                            <a:pt x="375" y="259"/>
                          </a:cubicBezTo>
                          <a:cubicBezTo>
                            <a:pt x="380" y="260"/>
                            <a:pt x="383" y="261"/>
                            <a:pt x="383" y="255"/>
                          </a:cubicBezTo>
                          <a:cubicBezTo>
                            <a:pt x="382" y="249"/>
                            <a:pt x="384" y="250"/>
                            <a:pt x="382" y="244"/>
                          </a:cubicBezTo>
                          <a:cubicBezTo>
                            <a:pt x="378" y="232"/>
                            <a:pt x="368" y="246"/>
                            <a:pt x="369" y="250"/>
                          </a:cubicBezTo>
                          <a:close/>
                          <a:moveTo>
                            <a:pt x="9" y="228"/>
                          </a:moveTo>
                          <a:cubicBezTo>
                            <a:pt x="5" y="232"/>
                            <a:pt x="0" y="234"/>
                            <a:pt x="6" y="243"/>
                          </a:cubicBezTo>
                          <a:cubicBezTo>
                            <a:pt x="12" y="252"/>
                            <a:pt x="19" y="257"/>
                            <a:pt x="19" y="247"/>
                          </a:cubicBezTo>
                          <a:cubicBezTo>
                            <a:pt x="19" y="237"/>
                            <a:pt x="15" y="220"/>
                            <a:pt x="9" y="228"/>
                          </a:cubicBezTo>
                          <a:close/>
                          <a:moveTo>
                            <a:pt x="165" y="506"/>
                          </a:moveTo>
                          <a:cubicBezTo>
                            <a:pt x="161" y="516"/>
                            <a:pt x="159" y="519"/>
                            <a:pt x="165" y="520"/>
                          </a:cubicBezTo>
                          <a:cubicBezTo>
                            <a:pt x="170" y="520"/>
                            <a:pt x="177" y="519"/>
                            <a:pt x="177" y="513"/>
                          </a:cubicBezTo>
                          <a:cubicBezTo>
                            <a:pt x="176" y="508"/>
                            <a:pt x="168" y="495"/>
                            <a:pt x="165" y="506"/>
                          </a:cubicBezTo>
                          <a:close/>
                          <a:moveTo>
                            <a:pt x="229" y="938"/>
                          </a:moveTo>
                          <a:cubicBezTo>
                            <a:pt x="231" y="925"/>
                            <a:pt x="240" y="940"/>
                            <a:pt x="240" y="946"/>
                          </a:cubicBezTo>
                          <a:cubicBezTo>
                            <a:pt x="240" y="952"/>
                            <a:pt x="238" y="952"/>
                            <a:pt x="233" y="949"/>
                          </a:cubicBezTo>
                          <a:cubicBezTo>
                            <a:pt x="228" y="946"/>
                            <a:pt x="228" y="945"/>
                            <a:pt x="229" y="938"/>
                          </a:cubicBezTo>
                          <a:close/>
                          <a:moveTo>
                            <a:pt x="459" y="912"/>
                          </a:moveTo>
                          <a:cubicBezTo>
                            <a:pt x="460" y="902"/>
                            <a:pt x="469" y="906"/>
                            <a:pt x="472" y="916"/>
                          </a:cubicBezTo>
                          <a:cubicBezTo>
                            <a:pt x="474" y="926"/>
                            <a:pt x="469" y="923"/>
                            <a:pt x="465" y="923"/>
                          </a:cubicBezTo>
                          <a:cubicBezTo>
                            <a:pt x="461" y="923"/>
                            <a:pt x="459" y="919"/>
                            <a:pt x="459" y="912"/>
                          </a:cubicBezTo>
                          <a:close/>
                          <a:moveTo>
                            <a:pt x="727" y="720"/>
                          </a:moveTo>
                          <a:cubicBezTo>
                            <a:pt x="728" y="715"/>
                            <a:pt x="734" y="721"/>
                            <a:pt x="734" y="725"/>
                          </a:cubicBezTo>
                          <a:cubicBezTo>
                            <a:pt x="734" y="729"/>
                            <a:pt x="740" y="730"/>
                            <a:pt x="741" y="737"/>
                          </a:cubicBezTo>
                          <a:cubicBezTo>
                            <a:pt x="741" y="745"/>
                            <a:pt x="739" y="740"/>
                            <a:pt x="734" y="738"/>
                          </a:cubicBezTo>
                          <a:cubicBezTo>
                            <a:pt x="730" y="735"/>
                            <a:pt x="730" y="730"/>
                            <a:pt x="727" y="720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64" name="Freeform 17"/>
                    <p:cNvSpPr>
                      <a:spLocks/>
                    </p:cNvSpPr>
                    <p:nvPr/>
                  </p:nvSpPr>
                  <p:spPr bwMode="auto">
                    <a:xfrm>
                      <a:off x="2962388" y="4426241"/>
                      <a:ext cx="204787" cy="296466"/>
                    </a:xfrm>
                    <a:custGeom>
                      <a:avLst/>
                      <a:gdLst>
                        <a:gd name="T0" fmla="*/ 110 w 717"/>
                        <a:gd name="T1" fmla="*/ 286 h 1035"/>
                        <a:gd name="T2" fmla="*/ 73 w 717"/>
                        <a:gd name="T3" fmla="*/ 305 h 1035"/>
                        <a:gd name="T4" fmla="*/ 94 w 717"/>
                        <a:gd name="T5" fmla="*/ 368 h 1035"/>
                        <a:gd name="T6" fmla="*/ 89 w 717"/>
                        <a:gd name="T7" fmla="*/ 438 h 1035"/>
                        <a:gd name="T8" fmla="*/ 99 w 717"/>
                        <a:gd name="T9" fmla="*/ 517 h 1035"/>
                        <a:gd name="T10" fmla="*/ 99 w 717"/>
                        <a:gd name="T11" fmla="*/ 562 h 1035"/>
                        <a:gd name="T12" fmla="*/ 55 w 717"/>
                        <a:gd name="T13" fmla="*/ 619 h 1035"/>
                        <a:gd name="T14" fmla="*/ 20 w 717"/>
                        <a:gd name="T15" fmla="*/ 662 h 1035"/>
                        <a:gd name="T16" fmla="*/ 37 w 717"/>
                        <a:gd name="T17" fmla="*/ 706 h 1035"/>
                        <a:gd name="T18" fmla="*/ 86 w 717"/>
                        <a:gd name="T19" fmla="*/ 735 h 1035"/>
                        <a:gd name="T20" fmla="*/ 142 w 717"/>
                        <a:gd name="T21" fmla="*/ 751 h 1035"/>
                        <a:gd name="T22" fmla="*/ 236 w 717"/>
                        <a:gd name="T23" fmla="*/ 780 h 1035"/>
                        <a:gd name="T24" fmla="*/ 289 w 717"/>
                        <a:gd name="T25" fmla="*/ 831 h 1035"/>
                        <a:gd name="T26" fmla="*/ 344 w 717"/>
                        <a:gd name="T27" fmla="*/ 887 h 1035"/>
                        <a:gd name="T28" fmla="*/ 365 w 717"/>
                        <a:gd name="T29" fmla="*/ 910 h 1035"/>
                        <a:gd name="T30" fmla="*/ 424 w 717"/>
                        <a:gd name="T31" fmla="*/ 920 h 1035"/>
                        <a:gd name="T32" fmla="*/ 480 w 717"/>
                        <a:gd name="T33" fmla="*/ 917 h 1035"/>
                        <a:gd name="T34" fmla="*/ 537 w 717"/>
                        <a:gd name="T35" fmla="*/ 967 h 1035"/>
                        <a:gd name="T36" fmla="*/ 518 w 717"/>
                        <a:gd name="T37" fmla="*/ 1005 h 1035"/>
                        <a:gd name="T38" fmla="*/ 556 w 717"/>
                        <a:gd name="T39" fmla="*/ 1012 h 1035"/>
                        <a:gd name="T40" fmla="*/ 579 w 717"/>
                        <a:gd name="T41" fmla="*/ 852 h 1035"/>
                        <a:gd name="T42" fmla="*/ 542 w 717"/>
                        <a:gd name="T43" fmla="*/ 785 h 1035"/>
                        <a:gd name="T44" fmla="*/ 575 w 717"/>
                        <a:gd name="T45" fmla="*/ 729 h 1035"/>
                        <a:gd name="T46" fmla="*/ 600 w 717"/>
                        <a:gd name="T47" fmla="*/ 733 h 1035"/>
                        <a:gd name="T48" fmla="*/ 577 w 717"/>
                        <a:gd name="T49" fmla="*/ 715 h 1035"/>
                        <a:gd name="T50" fmla="*/ 563 w 717"/>
                        <a:gd name="T51" fmla="*/ 670 h 1035"/>
                        <a:gd name="T52" fmla="*/ 651 w 717"/>
                        <a:gd name="T53" fmla="*/ 665 h 1035"/>
                        <a:gd name="T54" fmla="*/ 653 w 717"/>
                        <a:gd name="T55" fmla="*/ 662 h 1035"/>
                        <a:gd name="T56" fmla="*/ 688 w 717"/>
                        <a:gd name="T57" fmla="*/ 654 h 1035"/>
                        <a:gd name="T58" fmla="*/ 691 w 717"/>
                        <a:gd name="T59" fmla="*/ 609 h 1035"/>
                        <a:gd name="T60" fmla="*/ 700 w 717"/>
                        <a:gd name="T61" fmla="*/ 580 h 1035"/>
                        <a:gd name="T62" fmla="*/ 691 w 717"/>
                        <a:gd name="T63" fmla="*/ 535 h 1035"/>
                        <a:gd name="T64" fmla="*/ 681 w 717"/>
                        <a:gd name="T65" fmla="*/ 442 h 1035"/>
                        <a:gd name="T66" fmla="*/ 699 w 717"/>
                        <a:gd name="T67" fmla="*/ 395 h 1035"/>
                        <a:gd name="T68" fmla="*/ 627 w 717"/>
                        <a:gd name="T69" fmla="*/ 396 h 1035"/>
                        <a:gd name="T70" fmla="*/ 540 w 717"/>
                        <a:gd name="T71" fmla="*/ 347 h 1035"/>
                        <a:gd name="T72" fmla="*/ 460 w 717"/>
                        <a:gd name="T73" fmla="*/ 346 h 1035"/>
                        <a:gd name="T74" fmla="*/ 409 w 717"/>
                        <a:gd name="T75" fmla="*/ 322 h 1035"/>
                        <a:gd name="T76" fmla="*/ 394 w 717"/>
                        <a:gd name="T77" fmla="*/ 295 h 1035"/>
                        <a:gd name="T78" fmla="*/ 386 w 717"/>
                        <a:gd name="T79" fmla="*/ 239 h 1035"/>
                        <a:gd name="T80" fmla="*/ 353 w 717"/>
                        <a:gd name="T81" fmla="*/ 210 h 1035"/>
                        <a:gd name="T82" fmla="*/ 363 w 717"/>
                        <a:gd name="T83" fmla="*/ 149 h 1035"/>
                        <a:gd name="T84" fmla="*/ 398 w 717"/>
                        <a:gd name="T85" fmla="*/ 84 h 1035"/>
                        <a:gd name="T86" fmla="*/ 422 w 717"/>
                        <a:gd name="T87" fmla="*/ 52 h 1035"/>
                        <a:gd name="T88" fmla="*/ 476 w 717"/>
                        <a:gd name="T89" fmla="*/ 23 h 1035"/>
                        <a:gd name="T90" fmla="*/ 411 w 717"/>
                        <a:gd name="T91" fmla="*/ 24 h 1035"/>
                        <a:gd name="T92" fmla="*/ 342 w 717"/>
                        <a:gd name="T93" fmla="*/ 74 h 1035"/>
                        <a:gd name="T94" fmla="*/ 271 w 717"/>
                        <a:gd name="T95" fmla="*/ 107 h 1035"/>
                        <a:gd name="T96" fmla="*/ 238 w 717"/>
                        <a:gd name="T97" fmla="*/ 99 h 1035"/>
                        <a:gd name="T98" fmla="*/ 204 w 717"/>
                        <a:gd name="T99" fmla="*/ 142 h 1035"/>
                        <a:gd name="T100" fmla="*/ 196 w 717"/>
                        <a:gd name="T101" fmla="*/ 191 h 1035"/>
                        <a:gd name="T102" fmla="*/ 139 w 717"/>
                        <a:gd name="T103" fmla="*/ 235 h 1035"/>
                        <a:gd name="T104" fmla="*/ 126 w 717"/>
                        <a:gd name="T105" fmla="*/ 279 h 10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717" h="1035">
                          <a:moveTo>
                            <a:pt x="97" y="244"/>
                          </a:moveTo>
                          <a:cubicBezTo>
                            <a:pt x="97" y="245"/>
                            <a:pt x="97" y="247"/>
                            <a:pt x="98" y="249"/>
                          </a:cubicBezTo>
                          <a:cubicBezTo>
                            <a:pt x="99" y="254"/>
                            <a:pt x="102" y="260"/>
                            <a:pt x="105" y="265"/>
                          </a:cubicBezTo>
                          <a:cubicBezTo>
                            <a:pt x="110" y="273"/>
                            <a:pt x="114" y="280"/>
                            <a:pt x="110" y="286"/>
                          </a:cubicBezTo>
                          <a:cubicBezTo>
                            <a:pt x="108" y="290"/>
                            <a:pt x="104" y="294"/>
                            <a:pt x="99" y="298"/>
                          </a:cubicBezTo>
                          <a:cubicBezTo>
                            <a:pt x="95" y="302"/>
                            <a:pt x="91" y="305"/>
                            <a:pt x="87" y="306"/>
                          </a:cubicBezTo>
                          <a:cubicBezTo>
                            <a:pt x="82" y="308"/>
                            <a:pt x="80" y="306"/>
                            <a:pt x="78" y="304"/>
                          </a:cubicBezTo>
                          <a:cubicBezTo>
                            <a:pt x="77" y="304"/>
                            <a:pt x="76" y="303"/>
                            <a:pt x="73" y="305"/>
                          </a:cubicBezTo>
                          <a:cubicBezTo>
                            <a:pt x="68" y="307"/>
                            <a:pt x="64" y="318"/>
                            <a:pt x="62" y="327"/>
                          </a:cubicBezTo>
                          <a:cubicBezTo>
                            <a:pt x="65" y="329"/>
                            <a:pt x="67" y="332"/>
                            <a:pt x="70" y="335"/>
                          </a:cubicBezTo>
                          <a:cubicBezTo>
                            <a:pt x="73" y="341"/>
                            <a:pt x="79" y="347"/>
                            <a:pt x="85" y="354"/>
                          </a:cubicBezTo>
                          <a:cubicBezTo>
                            <a:pt x="92" y="360"/>
                            <a:pt x="93" y="361"/>
                            <a:pt x="94" y="368"/>
                          </a:cubicBezTo>
                          <a:cubicBezTo>
                            <a:pt x="95" y="375"/>
                            <a:pt x="91" y="383"/>
                            <a:pt x="89" y="389"/>
                          </a:cubicBezTo>
                          <a:cubicBezTo>
                            <a:pt x="86" y="394"/>
                            <a:pt x="90" y="399"/>
                            <a:pt x="96" y="405"/>
                          </a:cubicBezTo>
                          <a:cubicBezTo>
                            <a:pt x="101" y="412"/>
                            <a:pt x="101" y="421"/>
                            <a:pt x="99" y="425"/>
                          </a:cubicBezTo>
                          <a:cubicBezTo>
                            <a:pt x="97" y="430"/>
                            <a:pt x="90" y="433"/>
                            <a:pt x="89" y="438"/>
                          </a:cubicBezTo>
                          <a:cubicBezTo>
                            <a:pt x="89" y="442"/>
                            <a:pt x="94" y="447"/>
                            <a:pt x="97" y="455"/>
                          </a:cubicBezTo>
                          <a:cubicBezTo>
                            <a:pt x="99" y="463"/>
                            <a:pt x="98" y="473"/>
                            <a:pt x="98" y="480"/>
                          </a:cubicBezTo>
                          <a:cubicBezTo>
                            <a:pt x="97" y="487"/>
                            <a:pt x="98" y="496"/>
                            <a:pt x="98" y="504"/>
                          </a:cubicBezTo>
                          <a:cubicBezTo>
                            <a:pt x="99" y="511"/>
                            <a:pt x="99" y="511"/>
                            <a:pt x="99" y="517"/>
                          </a:cubicBezTo>
                          <a:cubicBezTo>
                            <a:pt x="99" y="523"/>
                            <a:pt x="102" y="527"/>
                            <a:pt x="105" y="529"/>
                          </a:cubicBezTo>
                          <a:cubicBezTo>
                            <a:pt x="108" y="530"/>
                            <a:pt x="110" y="531"/>
                            <a:pt x="112" y="534"/>
                          </a:cubicBezTo>
                          <a:cubicBezTo>
                            <a:pt x="115" y="537"/>
                            <a:pt x="113" y="539"/>
                            <a:pt x="109" y="546"/>
                          </a:cubicBezTo>
                          <a:cubicBezTo>
                            <a:pt x="106" y="552"/>
                            <a:pt x="102" y="555"/>
                            <a:pt x="99" y="562"/>
                          </a:cubicBezTo>
                          <a:cubicBezTo>
                            <a:pt x="96" y="570"/>
                            <a:pt x="93" y="572"/>
                            <a:pt x="89" y="576"/>
                          </a:cubicBezTo>
                          <a:cubicBezTo>
                            <a:pt x="84" y="580"/>
                            <a:pt x="83" y="581"/>
                            <a:pt x="79" y="586"/>
                          </a:cubicBezTo>
                          <a:cubicBezTo>
                            <a:pt x="76" y="592"/>
                            <a:pt x="76" y="600"/>
                            <a:pt x="73" y="605"/>
                          </a:cubicBezTo>
                          <a:cubicBezTo>
                            <a:pt x="70" y="611"/>
                            <a:pt x="65" y="614"/>
                            <a:pt x="55" y="619"/>
                          </a:cubicBezTo>
                          <a:cubicBezTo>
                            <a:pt x="46" y="623"/>
                            <a:pt x="45" y="620"/>
                            <a:pt x="38" y="621"/>
                          </a:cubicBezTo>
                          <a:cubicBezTo>
                            <a:pt x="32" y="622"/>
                            <a:pt x="27" y="627"/>
                            <a:pt x="23" y="632"/>
                          </a:cubicBezTo>
                          <a:cubicBezTo>
                            <a:pt x="19" y="637"/>
                            <a:pt x="19" y="639"/>
                            <a:pt x="19" y="645"/>
                          </a:cubicBezTo>
                          <a:cubicBezTo>
                            <a:pt x="18" y="651"/>
                            <a:pt x="21" y="656"/>
                            <a:pt x="20" y="662"/>
                          </a:cubicBezTo>
                          <a:cubicBezTo>
                            <a:pt x="18" y="667"/>
                            <a:pt x="13" y="669"/>
                            <a:pt x="7" y="673"/>
                          </a:cubicBezTo>
                          <a:cubicBezTo>
                            <a:pt x="4" y="674"/>
                            <a:pt x="2" y="675"/>
                            <a:pt x="0" y="677"/>
                          </a:cubicBezTo>
                          <a:cubicBezTo>
                            <a:pt x="4" y="680"/>
                            <a:pt x="7" y="682"/>
                            <a:pt x="11" y="685"/>
                          </a:cubicBezTo>
                          <a:cubicBezTo>
                            <a:pt x="19" y="692"/>
                            <a:pt x="27" y="699"/>
                            <a:pt x="37" y="706"/>
                          </a:cubicBezTo>
                          <a:cubicBezTo>
                            <a:pt x="50" y="715"/>
                            <a:pt x="59" y="717"/>
                            <a:pt x="66" y="719"/>
                          </a:cubicBezTo>
                          <a:cubicBezTo>
                            <a:pt x="71" y="720"/>
                            <a:pt x="75" y="721"/>
                            <a:pt x="78" y="723"/>
                          </a:cubicBezTo>
                          <a:cubicBezTo>
                            <a:pt x="83" y="726"/>
                            <a:pt x="84" y="731"/>
                            <a:pt x="86" y="735"/>
                          </a:cubicBezTo>
                          <a:cubicBezTo>
                            <a:pt x="86" y="735"/>
                            <a:pt x="86" y="735"/>
                            <a:pt x="86" y="735"/>
                          </a:cubicBezTo>
                          <a:cubicBezTo>
                            <a:pt x="88" y="740"/>
                            <a:pt x="90" y="745"/>
                            <a:pt x="95" y="748"/>
                          </a:cubicBezTo>
                          <a:cubicBezTo>
                            <a:pt x="101" y="751"/>
                            <a:pt x="109" y="753"/>
                            <a:pt x="117" y="754"/>
                          </a:cubicBezTo>
                          <a:cubicBezTo>
                            <a:pt x="125" y="755"/>
                            <a:pt x="132" y="755"/>
                            <a:pt x="137" y="754"/>
                          </a:cubicBezTo>
                          <a:cubicBezTo>
                            <a:pt x="139" y="753"/>
                            <a:pt x="141" y="752"/>
                            <a:pt x="142" y="751"/>
                          </a:cubicBezTo>
                          <a:cubicBezTo>
                            <a:pt x="150" y="748"/>
                            <a:pt x="157" y="744"/>
                            <a:pt x="174" y="753"/>
                          </a:cubicBezTo>
                          <a:cubicBezTo>
                            <a:pt x="186" y="759"/>
                            <a:pt x="194" y="763"/>
                            <a:pt x="202" y="767"/>
                          </a:cubicBezTo>
                          <a:cubicBezTo>
                            <a:pt x="208" y="770"/>
                            <a:pt x="213" y="772"/>
                            <a:pt x="219" y="776"/>
                          </a:cubicBezTo>
                          <a:cubicBezTo>
                            <a:pt x="226" y="779"/>
                            <a:pt x="231" y="779"/>
                            <a:pt x="236" y="780"/>
                          </a:cubicBezTo>
                          <a:cubicBezTo>
                            <a:pt x="243" y="780"/>
                            <a:pt x="250" y="781"/>
                            <a:pt x="259" y="787"/>
                          </a:cubicBezTo>
                          <a:cubicBezTo>
                            <a:pt x="267" y="792"/>
                            <a:pt x="274" y="797"/>
                            <a:pt x="278" y="802"/>
                          </a:cubicBezTo>
                          <a:cubicBezTo>
                            <a:pt x="283" y="808"/>
                            <a:pt x="287" y="813"/>
                            <a:pt x="289" y="819"/>
                          </a:cubicBezTo>
                          <a:cubicBezTo>
                            <a:pt x="292" y="825"/>
                            <a:pt x="290" y="828"/>
                            <a:pt x="289" y="831"/>
                          </a:cubicBezTo>
                          <a:cubicBezTo>
                            <a:pt x="288" y="834"/>
                            <a:pt x="288" y="835"/>
                            <a:pt x="295" y="841"/>
                          </a:cubicBezTo>
                          <a:cubicBezTo>
                            <a:pt x="301" y="846"/>
                            <a:pt x="306" y="847"/>
                            <a:pt x="310" y="848"/>
                          </a:cubicBezTo>
                          <a:cubicBezTo>
                            <a:pt x="317" y="849"/>
                            <a:pt x="323" y="851"/>
                            <a:pt x="331" y="861"/>
                          </a:cubicBezTo>
                          <a:cubicBezTo>
                            <a:pt x="340" y="872"/>
                            <a:pt x="342" y="881"/>
                            <a:pt x="344" y="887"/>
                          </a:cubicBezTo>
                          <a:cubicBezTo>
                            <a:pt x="344" y="889"/>
                            <a:pt x="344" y="890"/>
                            <a:pt x="344" y="891"/>
                          </a:cubicBezTo>
                          <a:cubicBezTo>
                            <a:pt x="345" y="891"/>
                            <a:pt x="346" y="891"/>
                            <a:pt x="347" y="891"/>
                          </a:cubicBezTo>
                          <a:cubicBezTo>
                            <a:pt x="351" y="893"/>
                            <a:pt x="358" y="894"/>
                            <a:pt x="362" y="904"/>
                          </a:cubicBezTo>
                          <a:cubicBezTo>
                            <a:pt x="363" y="906"/>
                            <a:pt x="364" y="908"/>
                            <a:pt x="365" y="910"/>
                          </a:cubicBezTo>
                          <a:cubicBezTo>
                            <a:pt x="369" y="918"/>
                            <a:pt x="372" y="925"/>
                            <a:pt x="381" y="926"/>
                          </a:cubicBezTo>
                          <a:cubicBezTo>
                            <a:pt x="390" y="927"/>
                            <a:pt x="400" y="926"/>
                            <a:pt x="407" y="925"/>
                          </a:cubicBezTo>
                          <a:cubicBezTo>
                            <a:pt x="411" y="925"/>
                            <a:pt x="415" y="925"/>
                            <a:pt x="418" y="925"/>
                          </a:cubicBezTo>
                          <a:cubicBezTo>
                            <a:pt x="420" y="925"/>
                            <a:pt x="422" y="923"/>
                            <a:pt x="424" y="920"/>
                          </a:cubicBezTo>
                          <a:cubicBezTo>
                            <a:pt x="429" y="916"/>
                            <a:pt x="434" y="912"/>
                            <a:pt x="443" y="913"/>
                          </a:cubicBezTo>
                          <a:cubicBezTo>
                            <a:pt x="448" y="914"/>
                            <a:pt x="453" y="915"/>
                            <a:pt x="458" y="916"/>
                          </a:cubicBezTo>
                          <a:cubicBezTo>
                            <a:pt x="462" y="918"/>
                            <a:pt x="467" y="919"/>
                            <a:pt x="471" y="919"/>
                          </a:cubicBezTo>
                          <a:cubicBezTo>
                            <a:pt x="475" y="919"/>
                            <a:pt x="477" y="918"/>
                            <a:pt x="480" y="917"/>
                          </a:cubicBezTo>
                          <a:cubicBezTo>
                            <a:pt x="483" y="915"/>
                            <a:pt x="486" y="914"/>
                            <a:pt x="492" y="913"/>
                          </a:cubicBezTo>
                          <a:cubicBezTo>
                            <a:pt x="497" y="913"/>
                            <a:pt x="505" y="917"/>
                            <a:pt x="514" y="922"/>
                          </a:cubicBezTo>
                          <a:cubicBezTo>
                            <a:pt x="526" y="928"/>
                            <a:pt x="538" y="937"/>
                            <a:pt x="541" y="940"/>
                          </a:cubicBezTo>
                          <a:cubicBezTo>
                            <a:pt x="547" y="947"/>
                            <a:pt x="541" y="958"/>
                            <a:pt x="537" y="967"/>
                          </a:cubicBezTo>
                          <a:cubicBezTo>
                            <a:pt x="535" y="969"/>
                            <a:pt x="535" y="970"/>
                            <a:pt x="534" y="971"/>
                          </a:cubicBezTo>
                          <a:cubicBezTo>
                            <a:pt x="533" y="974"/>
                            <a:pt x="530" y="979"/>
                            <a:pt x="527" y="984"/>
                          </a:cubicBezTo>
                          <a:cubicBezTo>
                            <a:pt x="523" y="992"/>
                            <a:pt x="518" y="1000"/>
                            <a:pt x="518" y="1002"/>
                          </a:cubicBezTo>
                          <a:cubicBezTo>
                            <a:pt x="518" y="1003"/>
                            <a:pt x="518" y="1004"/>
                            <a:pt x="518" y="1005"/>
                          </a:cubicBezTo>
                          <a:cubicBezTo>
                            <a:pt x="518" y="1006"/>
                            <a:pt x="517" y="1006"/>
                            <a:pt x="525" y="1008"/>
                          </a:cubicBezTo>
                          <a:cubicBezTo>
                            <a:pt x="536" y="1012"/>
                            <a:pt x="546" y="1027"/>
                            <a:pt x="550" y="1035"/>
                          </a:cubicBezTo>
                          <a:cubicBezTo>
                            <a:pt x="552" y="1030"/>
                            <a:pt x="554" y="1021"/>
                            <a:pt x="555" y="1013"/>
                          </a:cubicBezTo>
                          <a:cubicBezTo>
                            <a:pt x="556" y="1012"/>
                            <a:pt x="556" y="1012"/>
                            <a:pt x="556" y="1012"/>
                          </a:cubicBezTo>
                          <a:cubicBezTo>
                            <a:pt x="556" y="1008"/>
                            <a:pt x="557" y="1002"/>
                            <a:pt x="558" y="995"/>
                          </a:cubicBezTo>
                          <a:cubicBezTo>
                            <a:pt x="561" y="975"/>
                            <a:pt x="564" y="949"/>
                            <a:pt x="569" y="935"/>
                          </a:cubicBezTo>
                          <a:cubicBezTo>
                            <a:pt x="576" y="917"/>
                            <a:pt x="578" y="879"/>
                            <a:pt x="579" y="854"/>
                          </a:cubicBezTo>
                          <a:cubicBezTo>
                            <a:pt x="579" y="852"/>
                            <a:pt x="579" y="852"/>
                            <a:pt x="579" y="852"/>
                          </a:cubicBezTo>
                          <a:cubicBezTo>
                            <a:pt x="579" y="842"/>
                            <a:pt x="577" y="832"/>
                            <a:pt x="574" y="824"/>
                          </a:cubicBezTo>
                          <a:cubicBezTo>
                            <a:pt x="569" y="813"/>
                            <a:pt x="563" y="805"/>
                            <a:pt x="559" y="801"/>
                          </a:cubicBezTo>
                          <a:cubicBezTo>
                            <a:pt x="557" y="799"/>
                            <a:pt x="554" y="798"/>
                            <a:pt x="552" y="796"/>
                          </a:cubicBezTo>
                          <a:cubicBezTo>
                            <a:pt x="546" y="794"/>
                            <a:pt x="542" y="792"/>
                            <a:pt x="542" y="785"/>
                          </a:cubicBezTo>
                          <a:cubicBezTo>
                            <a:pt x="542" y="782"/>
                            <a:pt x="542" y="776"/>
                            <a:pt x="543" y="770"/>
                          </a:cubicBezTo>
                          <a:cubicBezTo>
                            <a:pt x="543" y="761"/>
                            <a:pt x="544" y="751"/>
                            <a:pt x="545" y="746"/>
                          </a:cubicBezTo>
                          <a:cubicBezTo>
                            <a:pt x="545" y="741"/>
                            <a:pt x="549" y="737"/>
                            <a:pt x="555" y="734"/>
                          </a:cubicBezTo>
                          <a:cubicBezTo>
                            <a:pt x="561" y="731"/>
                            <a:pt x="570" y="729"/>
                            <a:pt x="575" y="729"/>
                          </a:cubicBezTo>
                          <a:cubicBezTo>
                            <a:pt x="577" y="729"/>
                            <a:pt x="577" y="729"/>
                            <a:pt x="577" y="729"/>
                          </a:cubicBezTo>
                          <a:cubicBezTo>
                            <a:pt x="583" y="729"/>
                            <a:pt x="591" y="729"/>
                            <a:pt x="597" y="731"/>
                          </a:cubicBezTo>
                          <a:cubicBezTo>
                            <a:pt x="599" y="732"/>
                            <a:pt x="599" y="733"/>
                            <a:pt x="600" y="733"/>
                          </a:cubicBezTo>
                          <a:cubicBezTo>
                            <a:pt x="600" y="733"/>
                            <a:pt x="600" y="733"/>
                            <a:pt x="600" y="733"/>
                          </a:cubicBezTo>
                          <a:cubicBezTo>
                            <a:pt x="600" y="733"/>
                            <a:pt x="599" y="732"/>
                            <a:pt x="599" y="730"/>
                          </a:cubicBezTo>
                          <a:cubicBezTo>
                            <a:pt x="598" y="727"/>
                            <a:pt x="597" y="724"/>
                            <a:pt x="595" y="722"/>
                          </a:cubicBezTo>
                          <a:cubicBezTo>
                            <a:pt x="594" y="720"/>
                            <a:pt x="592" y="718"/>
                            <a:pt x="589" y="717"/>
                          </a:cubicBezTo>
                          <a:cubicBezTo>
                            <a:pt x="586" y="716"/>
                            <a:pt x="581" y="716"/>
                            <a:pt x="577" y="715"/>
                          </a:cubicBezTo>
                          <a:cubicBezTo>
                            <a:pt x="570" y="715"/>
                            <a:pt x="564" y="715"/>
                            <a:pt x="561" y="711"/>
                          </a:cubicBezTo>
                          <a:cubicBezTo>
                            <a:pt x="557" y="706"/>
                            <a:pt x="557" y="690"/>
                            <a:pt x="558" y="682"/>
                          </a:cubicBezTo>
                          <a:cubicBezTo>
                            <a:pt x="558" y="680"/>
                            <a:pt x="558" y="680"/>
                            <a:pt x="558" y="680"/>
                          </a:cubicBezTo>
                          <a:cubicBezTo>
                            <a:pt x="558" y="676"/>
                            <a:pt x="560" y="672"/>
                            <a:pt x="563" y="670"/>
                          </a:cubicBezTo>
                          <a:cubicBezTo>
                            <a:pt x="566" y="667"/>
                            <a:pt x="570" y="666"/>
                            <a:pt x="574" y="666"/>
                          </a:cubicBezTo>
                          <a:cubicBezTo>
                            <a:pt x="576" y="666"/>
                            <a:pt x="582" y="666"/>
                            <a:pt x="588" y="666"/>
                          </a:cubicBezTo>
                          <a:cubicBezTo>
                            <a:pt x="601" y="667"/>
                            <a:pt x="618" y="667"/>
                            <a:pt x="633" y="667"/>
                          </a:cubicBezTo>
                          <a:cubicBezTo>
                            <a:pt x="650" y="667"/>
                            <a:pt x="650" y="667"/>
                            <a:pt x="651" y="665"/>
                          </a:cubicBezTo>
                          <a:cubicBezTo>
                            <a:pt x="652" y="664"/>
                            <a:pt x="652" y="663"/>
                            <a:pt x="653" y="662"/>
                          </a:cubicBezTo>
                          <a:cubicBezTo>
                            <a:pt x="653" y="662"/>
                            <a:pt x="653" y="662"/>
                            <a:pt x="653" y="662"/>
                          </a:cubicBezTo>
                          <a:cubicBezTo>
                            <a:pt x="653" y="662"/>
                            <a:pt x="653" y="662"/>
                            <a:pt x="653" y="662"/>
                          </a:cubicBezTo>
                          <a:cubicBezTo>
                            <a:pt x="653" y="662"/>
                            <a:pt x="653" y="662"/>
                            <a:pt x="653" y="662"/>
                          </a:cubicBezTo>
                          <a:cubicBezTo>
                            <a:pt x="658" y="654"/>
                            <a:pt x="661" y="651"/>
                            <a:pt x="667" y="653"/>
                          </a:cubicBezTo>
                          <a:cubicBezTo>
                            <a:pt x="670" y="654"/>
                            <a:pt x="671" y="656"/>
                            <a:pt x="673" y="658"/>
                          </a:cubicBezTo>
                          <a:cubicBezTo>
                            <a:pt x="674" y="659"/>
                            <a:pt x="676" y="661"/>
                            <a:pt x="678" y="660"/>
                          </a:cubicBezTo>
                          <a:cubicBezTo>
                            <a:pt x="680" y="660"/>
                            <a:pt x="683" y="657"/>
                            <a:pt x="688" y="654"/>
                          </a:cubicBezTo>
                          <a:cubicBezTo>
                            <a:pt x="695" y="649"/>
                            <a:pt x="706" y="642"/>
                            <a:pt x="717" y="638"/>
                          </a:cubicBezTo>
                          <a:cubicBezTo>
                            <a:pt x="716" y="634"/>
                            <a:pt x="714" y="630"/>
                            <a:pt x="712" y="626"/>
                          </a:cubicBezTo>
                          <a:cubicBezTo>
                            <a:pt x="709" y="622"/>
                            <a:pt x="706" y="618"/>
                            <a:pt x="701" y="615"/>
                          </a:cubicBezTo>
                          <a:cubicBezTo>
                            <a:pt x="697" y="611"/>
                            <a:pt x="694" y="610"/>
                            <a:pt x="691" y="609"/>
                          </a:cubicBezTo>
                          <a:cubicBezTo>
                            <a:pt x="687" y="608"/>
                            <a:pt x="684" y="607"/>
                            <a:pt x="682" y="602"/>
                          </a:cubicBezTo>
                          <a:cubicBezTo>
                            <a:pt x="679" y="595"/>
                            <a:pt x="684" y="592"/>
                            <a:pt x="691" y="587"/>
                          </a:cubicBezTo>
                          <a:cubicBezTo>
                            <a:pt x="693" y="586"/>
                            <a:pt x="696" y="584"/>
                            <a:pt x="698" y="582"/>
                          </a:cubicBezTo>
                          <a:cubicBezTo>
                            <a:pt x="700" y="580"/>
                            <a:pt x="700" y="580"/>
                            <a:pt x="700" y="580"/>
                          </a:cubicBezTo>
                          <a:cubicBezTo>
                            <a:pt x="707" y="574"/>
                            <a:pt x="713" y="569"/>
                            <a:pt x="711" y="563"/>
                          </a:cubicBezTo>
                          <a:cubicBezTo>
                            <a:pt x="710" y="558"/>
                            <a:pt x="704" y="551"/>
                            <a:pt x="699" y="545"/>
                          </a:cubicBezTo>
                          <a:cubicBezTo>
                            <a:pt x="699" y="545"/>
                            <a:pt x="699" y="545"/>
                            <a:pt x="699" y="545"/>
                          </a:cubicBezTo>
                          <a:cubicBezTo>
                            <a:pt x="695" y="541"/>
                            <a:pt x="692" y="538"/>
                            <a:pt x="691" y="535"/>
                          </a:cubicBezTo>
                          <a:cubicBezTo>
                            <a:pt x="688" y="532"/>
                            <a:pt x="686" y="524"/>
                            <a:pt x="683" y="514"/>
                          </a:cubicBezTo>
                          <a:cubicBezTo>
                            <a:pt x="681" y="504"/>
                            <a:pt x="678" y="492"/>
                            <a:pt x="677" y="485"/>
                          </a:cubicBezTo>
                          <a:cubicBezTo>
                            <a:pt x="677" y="479"/>
                            <a:pt x="677" y="472"/>
                            <a:pt x="677" y="465"/>
                          </a:cubicBezTo>
                          <a:cubicBezTo>
                            <a:pt x="678" y="455"/>
                            <a:pt x="680" y="446"/>
                            <a:pt x="681" y="442"/>
                          </a:cubicBezTo>
                          <a:cubicBezTo>
                            <a:pt x="682" y="438"/>
                            <a:pt x="688" y="430"/>
                            <a:pt x="694" y="423"/>
                          </a:cubicBezTo>
                          <a:cubicBezTo>
                            <a:pt x="698" y="419"/>
                            <a:pt x="702" y="414"/>
                            <a:pt x="704" y="411"/>
                          </a:cubicBezTo>
                          <a:cubicBezTo>
                            <a:pt x="705" y="408"/>
                            <a:pt x="705" y="406"/>
                            <a:pt x="705" y="404"/>
                          </a:cubicBezTo>
                          <a:cubicBezTo>
                            <a:pt x="704" y="401"/>
                            <a:pt x="702" y="398"/>
                            <a:pt x="699" y="395"/>
                          </a:cubicBezTo>
                          <a:cubicBezTo>
                            <a:pt x="695" y="391"/>
                            <a:pt x="691" y="391"/>
                            <a:pt x="687" y="390"/>
                          </a:cubicBezTo>
                          <a:cubicBezTo>
                            <a:pt x="686" y="390"/>
                            <a:pt x="686" y="390"/>
                            <a:pt x="685" y="390"/>
                          </a:cubicBezTo>
                          <a:cubicBezTo>
                            <a:pt x="682" y="390"/>
                            <a:pt x="667" y="391"/>
                            <a:pt x="654" y="392"/>
                          </a:cubicBezTo>
                          <a:cubicBezTo>
                            <a:pt x="641" y="393"/>
                            <a:pt x="629" y="395"/>
                            <a:pt x="627" y="396"/>
                          </a:cubicBezTo>
                          <a:cubicBezTo>
                            <a:pt x="623" y="397"/>
                            <a:pt x="613" y="400"/>
                            <a:pt x="602" y="401"/>
                          </a:cubicBezTo>
                          <a:cubicBezTo>
                            <a:pt x="595" y="401"/>
                            <a:pt x="588" y="399"/>
                            <a:pt x="582" y="396"/>
                          </a:cubicBezTo>
                          <a:cubicBezTo>
                            <a:pt x="573" y="391"/>
                            <a:pt x="563" y="376"/>
                            <a:pt x="554" y="364"/>
                          </a:cubicBezTo>
                          <a:cubicBezTo>
                            <a:pt x="548" y="356"/>
                            <a:pt x="543" y="349"/>
                            <a:pt x="540" y="347"/>
                          </a:cubicBezTo>
                          <a:cubicBezTo>
                            <a:pt x="536" y="345"/>
                            <a:pt x="527" y="342"/>
                            <a:pt x="517" y="341"/>
                          </a:cubicBezTo>
                          <a:cubicBezTo>
                            <a:pt x="509" y="340"/>
                            <a:pt x="501" y="340"/>
                            <a:pt x="495" y="342"/>
                          </a:cubicBezTo>
                          <a:cubicBezTo>
                            <a:pt x="481" y="347"/>
                            <a:pt x="480" y="347"/>
                            <a:pt x="462" y="346"/>
                          </a:cubicBezTo>
                          <a:cubicBezTo>
                            <a:pt x="460" y="346"/>
                            <a:pt x="460" y="346"/>
                            <a:pt x="460" y="346"/>
                          </a:cubicBezTo>
                          <a:cubicBezTo>
                            <a:pt x="451" y="346"/>
                            <a:pt x="442" y="344"/>
                            <a:pt x="436" y="343"/>
                          </a:cubicBezTo>
                          <a:cubicBezTo>
                            <a:pt x="426" y="341"/>
                            <a:pt x="420" y="338"/>
                            <a:pt x="419" y="335"/>
                          </a:cubicBezTo>
                          <a:cubicBezTo>
                            <a:pt x="419" y="334"/>
                            <a:pt x="417" y="330"/>
                            <a:pt x="415" y="327"/>
                          </a:cubicBezTo>
                          <a:cubicBezTo>
                            <a:pt x="413" y="325"/>
                            <a:pt x="411" y="323"/>
                            <a:pt x="409" y="322"/>
                          </a:cubicBezTo>
                          <a:cubicBezTo>
                            <a:pt x="405" y="320"/>
                            <a:pt x="403" y="319"/>
                            <a:pt x="401" y="317"/>
                          </a:cubicBezTo>
                          <a:cubicBezTo>
                            <a:pt x="399" y="314"/>
                            <a:pt x="397" y="312"/>
                            <a:pt x="396" y="308"/>
                          </a:cubicBezTo>
                          <a:cubicBezTo>
                            <a:pt x="394" y="304"/>
                            <a:pt x="394" y="299"/>
                            <a:pt x="394" y="295"/>
                          </a:cubicBezTo>
                          <a:cubicBezTo>
                            <a:pt x="394" y="295"/>
                            <a:pt x="394" y="295"/>
                            <a:pt x="394" y="295"/>
                          </a:cubicBezTo>
                          <a:cubicBezTo>
                            <a:pt x="395" y="289"/>
                            <a:pt x="396" y="284"/>
                            <a:pt x="398" y="279"/>
                          </a:cubicBezTo>
                          <a:cubicBezTo>
                            <a:pt x="400" y="276"/>
                            <a:pt x="401" y="272"/>
                            <a:pt x="401" y="269"/>
                          </a:cubicBezTo>
                          <a:cubicBezTo>
                            <a:pt x="401" y="266"/>
                            <a:pt x="399" y="262"/>
                            <a:pt x="396" y="257"/>
                          </a:cubicBezTo>
                          <a:cubicBezTo>
                            <a:pt x="393" y="252"/>
                            <a:pt x="389" y="245"/>
                            <a:pt x="386" y="239"/>
                          </a:cubicBezTo>
                          <a:cubicBezTo>
                            <a:pt x="382" y="230"/>
                            <a:pt x="378" y="222"/>
                            <a:pt x="375" y="218"/>
                          </a:cubicBezTo>
                          <a:cubicBezTo>
                            <a:pt x="371" y="214"/>
                            <a:pt x="369" y="212"/>
                            <a:pt x="367" y="210"/>
                          </a:cubicBezTo>
                          <a:cubicBezTo>
                            <a:pt x="366" y="209"/>
                            <a:pt x="364" y="209"/>
                            <a:pt x="362" y="209"/>
                          </a:cubicBezTo>
                          <a:cubicBezTo>
                            <a:pt x="360" y="209"/>
                            <a:pt x="356" y="209"/>
                            <a:pt x="353" y="210"/>
                          </a:cubicBezTo>
                          <a:cubicBezTo>
                            <a:pt x="345" y="211"/>
                            <a:pt x="337" y="213"/>
                            <a:pt x="335" y="206"/>
                          </a:cubicBezTo>
                          <a:cubicBezTo>
                            <a:pt x="333" y="200"/>
                            <a:pt x="341" y="192"/>
                            <a:pt x="349" y="183"/>
                          </a:cubicBezTo>
                          <a:cubicBezTo>
                            <a:pt x="354" y="178"/>
                            <a:pt x="358" y="173"/>
                            <a:pt x="359" y="171"/>
                          </a:cubicBezTo>
                          <a:cubicBezTo>
                            <a:pt x="360" y="167"/>
                            <a:pt x="362" y="158"/>
                            <a:pt x="363" y="149"/>
                          </a:cubicBezTo>
                          <a:cubicBezTo>
                            <a:pt x="364" y="139"/>
                            <a:pt x="365" y="129"/>
                            <a:pt x="367" y="125"/>
                          </a:cubicBezTo>
                          <a:cubicBezTo>
                            <a:pt x="369" y="120"/>
                            <a:pt x="374" y="111"/>
                            <a:pt x="378" y="103"/>
                          </a:cubicBezTo>
                          <a:cubicBezTo>
                            <a:pt x="382" y="97"/>
                            <a:pt x="386" y="91"/>
                            <a:pt x="388" y="88"/>
                          </a:cubicBezTo>
                          <a:cubicBezTo>
                            <a:pt x="392" y="85"/>
                            <a:pt x="395" y="84"/>
                            <a:pt x="398" y="84"/>
                          </a:cubicBezTo>
                          <a:cubicBezTo>
                            <a:pt x="398" y="84"/>
                            <a:pt x="398" y="84"/>
                            <a:pt x="398" y="84"/>
                          </a:cubicBezTo>
                          <a:cubicBezTo>
                            <a:pt x="399" y="83"/>
                            <a:pt x="400" y="83"/>
                            <a:pt x="402" y="82"/>
                          </a:cubicBezTo>
                          <a:cubicBezTo>
                            <a:pt x="403" y="80"/>
                            <a:pt x="405" y="77"/>
                            <a:pt x="407" y="73"/>
                          </a:cubicBezTo>
                          <a:cubicBezTo>
                            <a:pt x="411" y="65"/>
                            <a:pt x="416" y="56"/>
                            <a:pt x="422" y="52"/>
                          </a:cubicBezTo>
                          <a:cubicBezTo>
                            <a:pt x="424" y="50"/>
                            <a:pt x="429" y="48"/>
                            <a:pt x="435" y="46"/>
                          </a:cubicBezTo>
                          <a:cubicBezTo>
                            <a:pt x="437" y="44"/>
                            <a:pt x="442" y="44"/>
                            <a:pt x="448" y="41"/>
                          </a:cubicBezTo>
                          <a:cubicBezTo>
                            <a:pt x="456" y="37"/>
                            <a:pt x="464" y="37"/>
                            <a:pt x="472" y="34"/>
                          </a:cubicBezTo>
                          <a:cubicBezTo>
                            <a:pt x="479" y="30"/>
                            <a:pt x="476" y="30"/>
                            <a:pt x="476" y="23"/>
                          </a:cubicBezTo>
                          <a:cubicBezTo>
                            <a:pt x="477" y="16"/>
                            <a:pt x="475" y="16"/>
                            <a:pt x="469" y="8"/>
                          </a:cubicBezTo>
                          <a:cubicBezTo>
                            <a:pt x="463" y="0"/>
                            <a:pt x="456" y="3"/>
                            <a:pt x="450" y="2"/>
                          </a:cubicBezTo>
                          <a:cubicBezTo>
                            <a:pt x="444" y="1"/>
                            <a:pt x="436" y="5"/>
                            <a:pt x="430" y="7"/>
                          </a:cubicBezTo>
                          <a:cubicBezTo>
                            <a:pt x="423" y="9"/>
                            <a:pt x="414" y="18"/>
                            <a:pt x="411" y="24"/>
                          </a:cubicBezTo>
                          <a:cubicBezTo>
                            <a:pt x="409" y="29"/>
                            <a:pt x="407" y="33"/>
                            <a:pt x="404" y="37"/>
                          </a:cubicBezTo>
                          <a:cubicBezTo>
                            <a:pt x="400" y="42"/>
                            <a:pt x="396" y="42"/>
                            <a:pt x="386" y="46"/>
                          </a:cubicBezTo>
                          <a:cubicBezTo>
                            <a:pt x="376" y="49"/>
                            <a:pt x="376" y="54"/>
                            <a:pt x="367" y="58"/>
                          </a:cubicBezTo>
                          <a:cubicBezTo>
                            <a:pt x="359" y="63"/>
                            <a:pt x="357" y="71"/>
                            <a:pt x="342" y="74"/>
                          </a:cubicBezTo>
                          <a:cubicBezTo>
                            <a:pt x="327" y="76"/>
                            <a:pt x="330" y="73"/>
                            <a:pt x="319" y="73"/>
                          </a:cubicBezTo>
                          <a:cubicBezTo>
                            <a:pt x="309" y="73"/>
                            <a:pt x="301" y="73"/>
                            <a:pt x="294" y="77"/>
                          </a:cubicBezTo>
                          <a:cubicBezTo>
                            <a:pt x="288" y="81"/>
                            <a:pt x="289" y="85"/>
                            <a:pt x="288" y="93"/>
                          </a:cubicBezTo>
                          <a:cubicBezTo>
                            <a:pt x="286" y="101"/>
                            <a:pt x="280" y="109"/>
                            <a:pt x="271" y="107"/>
                          </a:cubicBezTo>
                          <a:cubicBezTo>
                            <a:pt x="261" y="104"/>
                            <a:pt x="269" y="104"/>
                            <a:pt x="274" y="98"/>
                          </a:cubicBezTo>
                          <a:cubicBezTo>
                            <a:pt x="278" y="92"/>
                            <a:pt x="274" y="93"/>
                            <a:pt x="269" y="90"/>
                          </a:cubicBezTo>
                          <a:cubicBezTo>
                            <a:pt x="265" y="87"/>
                            <a:pt x="257" y="87"/>
                            <a:pt x="250" y="90"/>
                          </a:cubicBezTo>
                          <a:cubicBezTo>
                            <a:pt x="243" y="93"/>
                            <a:pt x="243" y="96"/>
                            <a:pt x="238" y="99"/>
                          </a:cubicBezTo>
                          <a:cubicBezTo>
                            <a:pt x="232" y="103"/>
                            <a:pt x="229" y="104"/>
                            <a:pt x="226" y="107"/>
                          </a:cubicBezTo>
                          <a:cubicBezTo>
                            <a:pt x="222" y="110"/>
                            <a:pt x="218" y="117"/>
                            <a:pt x="211" y="122"/>
                          </a:cubicBezTo>
                          <a:cubicBezTo>
                            <a:pt x="204" y="127"/>
                            <a:pt x="205" y="128"/>
                            <a:pt x="202" y="132"/>
                          </a:cubicBezTo>
                          <a:cubicBezTo>
                            <a:pt x="199" y="136"/>
                            <a:pt x="202" y="138"/>
                            <a:pt x="204" y="142"/>
                          </a:cubicBezTo>
                          <a:cubicBezTo>
                            <a:pt x="205" y="146"/>
                            <a:pt x="207" y="148"/>
                            <a:pt x="206" y="152"/>
                          </a:cubicBezTo>
                          <a:cubicBezTo>
                            <a:pt x="205" y="157"/>
                            <a:pt x="202" y="161"/>
                            <a:pt x="198" y="166"/>
                          </a:cubicBezTo>
                          <a:cubicBezTo>
                            <a:pt x="195" y="172"/>
                            <a:pt x="201" y="173"/>
                            <a:pt x="203" y="176"/>
                          </a:cubicBezTo>
                          <a:cubicBezTo>
                            <a:pt x="205" y="179"/>
                            <a:pt x="202" y="185"/>
                            <a:pt x="196" y="191"/>
                          </a:cubicBezTo>
                          <a:cubicBezTo>
                            <a:pt x="191" y="198"/>
                            <a:pt x="190" y="194"/>
                            <a:pt x="183" y="194"/>
                          </a:cubicBezTo>
                          <a:cubicBezTo>
                            <a:pt x="175" y="194"/>
                            <a:pt x="172" y="200"/>
                            <a:pt x="168" y="205"/>
                          </a:cubicBezTo>
                          <a:cubicBezTo>
                            <a:pt x="164" y="211"/>
                            <a:pt x="164" y="219"/>
                            <a:pt x="160" y="227"/>
                          </a:cubicBezTo>
                          <a:cubicBezTo>
                            <a:pt x="157" y="235"/>
                            <a:pt x="150" y="233"/>
                            <a:pt x="139" y="235"/>
                          </a:cubicBezTo>
                          <a:cubicBezTo>
                            <a:pt x="129" y="238"/>
                            <a:pt x="128" y="239"/>
                            <a:pt x="126" y="242"/>
                          </a:cubicBezTo>
                          <a:cubicBezTo>
                            <a:pt x="124" y="245"/>
                            <a:pt x="127" y="250"/>
                            <a:pt x="131" y="255"/>
                          </a:cubicBezTo>
                          <a:cubicBezTo>
                            <a:pt x="135" y="259"/>
                            <a:pt x="133" y="269"/>
                            <a:pt x="133" y="274"/>
                          </a:cubicBezTo>
                          <a:cubicBezTo>
                            <a:pt x="133" y="278"/>
                            <a:pt x="132" y="281"/>
                            <a:pt x="126" y="279"/>
                          </a:cubicBezTo>
                          <a:cubicBezTo>
                            <a:pt x="119" y="276"/>
                            <a:pt x="123" y="272"/>
                            <a:pt x="116" y="263"/>
                          </a:cubicBezTo>
                          <a:cubicBezTo>
                            <a:pt x="110" y="253"/>
                            <a:pt x="112" y="256"/>
                            <a:pt x="104" y="250"/>
                          </a:cubicBezTo>
                          <a:cubicBezTo>
                            <a:pt x="101" y="247"/>
                            <a:pt x="99" y="246"/>
                            <a:pt x="97" y="244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65" name="Freeform 2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3050494" y="4556019"/>
                      <a:ext cx="695325" cy="714375"/>
                    </a:xfrm>
                    <a:custGeom>
                      <a:avLst/>
                      <a:gdLst>
                        <a:gd name="T0" fmla="*/ 1481 w 2421"/>
                        <a:gd name="T1" fmla="*/ 224 h 2487"/>
                        <a:gd name="T2" fmla="*/ 1311 w 2421"/>
                        <a:gd name="T3" fmla="*/ 418 h 2487"/>
                        <a:gd name="T4" fmla="*/ 1481 w 2421"/>
                        <a:gd name="T5" fmla="*/ 439 h 2487"/>
                        <a:gd name="T6" fmla="*/ 1582 w 2421"/>
                        <a:gd name="T7" fmla="*/ 410 h 2487"/>
                        <a:gd name="T8" fmla="*/ 1704 w 2421"/>
                        <a:gd name="T9" fmla="*/ 382 h 2487"/>
                        <a:gd name="T10" fmla="*/ 1812 w 2421"/>
                        <a:gd name="T11" fmla="*/ 436 h 2487"/>
                        <a:gd name="T12" fmla="*/ 1890 w 2421"/>
                        <a:gd name="T13" fmla="*/ 471 h 2487"/>
                        <a:gd name="T14" fmla="*/ 2099 w 2421"/>
                        <a:gd name="T15" fmla="*/ 501 h 2487"/>
                        <a:gd name="T16" fmla="*/ 2417 w 2421"/>
                        <a:gd name="T17" fmla="*/ 802 h 2487"/>
                        <a:gd name="T18" fmla="*/ 2280 w 2421"/>
                        <a:gd name="T19" fmla="*/ 994 h 2487"/>
                        <a:gd name="T20" fmla="*/ 2197 w 2421"/>
                        <a:gd name="T21" fmla="*/ 1124 h 2487"/>
                        <a:gd name="T22" fmla="*/ 2149 w 2421"/>
                        <a:gd name="T23" fmla="*/ 1175 h 2487"/>
                        <a:gd name="T24" fmla="*/ 2147 w 2421"/>
                        <a:gd name="T25" fmla="*/ 1419 h 2487"/>
                        <a:gd name="T26" fmla="*/ 2073 w 2421"/>
                        <a:gd name="T27" fmla="*/ 1596 h 2487"/>
                        <a:gd name="T28" fmla="*/ 1975 w 2421"/>
                        <a:gd name="T29" fmla="*/ 1763 h 2487"/>
                        <a:gd name="T30" fmla="*/ 1830 w 2421"/>
                        <a:gd name="T31" fmla="*/ 1763 h 2487"/>
                        <a:gd name="T32" fmla="*/ 1698 w 2421"/>
                        <a:gd name="T33" fmla="*/ 1834 h 2487"/>
                        <a:gd name="T34" fmla="*/ 1569 w 2421"/>
                        <a:gd name="T35" fmla="*/ 1934 h 2487"/>
                        <a:gd name="T36" fmla="*/ 1559 w 2421"/>
                        <a:gd name="T37" fmla="*/ 2013 h 2487"/>
                        <a:gd name="T38" fmla="*/ 1562 w 2421"/>
                        <a:gd name="T39" fmla="*/ 2100 h 2487"/>
                        <a:gd name="T40" fmla="*/ 1458 w 2421"/>
                        <a:gd name="T41" fmla="*/ 2268 h 2487"/>
                        <a:gd name="T42" fmla="*/ 1415 w 2421"/>
                        <a:gd name="T43" fmla="*/ 2307 h 2487"/>
                        <a:gd name="T44" fmla="*/ 1401 w 2421"/>
                        <a:gd name="T45" fmla="*/ 2254 h 2487"/>
                        <a:gd name="T46" fmla="*/ 1351 w 2421"/>
                        <a:gd name="T47" fmla="*/ 2344 h 2487"/>
                        <a:gd name="T48" fmla="*/ 1264 w 2421"/>
                        <a:gd name="T49" fmla="*/ 2466 h 2487"/>
                        <a:gd name="T50" fmla="*/ 1135 w 2421"/>
                        <a:gd name="T51" fmla="*/ 2292 h 2487"/>
                        <a:gd name="T52" fmla="*/ 1066 w 2421"/>
                        <a:gd name="T53" fmla="*/ 2245 h 2487"/>
                        <a:gd name="T54" fmla="*/ 1133 w 2421"/>
                        <a:gd name="T55" fmla="*/ 2109 h 2487"/>
                        <a:gd name="T56" fmla="*/ 1254 w 2421"/>
                        <a:gd name="T57" fmla="*/ 1973 h 2487"/>
                        <a:gd name="T58" fmla="*/ 1180 w 2421"/>
                        <a:gd name="T59" fmla="*/ 1826 h 2487"/>
                        <a:gd name="T60" fmla="*/ 1095 w 2421"/>
                        <a:gd name="T61" fmla="*/ 1716 h 2487"/>
                        <a:gd name="T62" fmla="*/ 993 w 2421"/>
                        <a:gd name="T63" fmla="*/ 1674 h 2487"/>
                        <a:gd name="T64" fmla="*/ 1012 w 2421"/>
                        <a:gd name="T65" fmla="*/ 1450 h 2487"/>
                        <a:gd name="T66" fmla="*/ 857 w 2421"/>
                        <a:gd name="T67" fmla="*/ 1334 h 2487"/>
                        <a:gd name="T68" fmla="*/ 782 w 2421"/>
                        <a:gd name="T69" fmla="*/ 1160 h 2487"/>
                        <a:gd name="T70" fmla="*/ 591 w 2421"/>
                        <a:gd name="T71" fmla="*/ 1091 h 2487"/>
                        <a:gd name="T72" fmla="*/ 420 w 2421"/>
                        <a:gd name="T73" fmla="*/ 956 h 2487"/>
                        <a:gd name="T74" fmla="*/ 255 w 2421"/>
                        <a:gd name="T75" fmla="*/ 997 h 2487"/>
                        <a:gd name="T76" fmla="*/ 181 w 2421"/>
                        <a:gd name="T77" fmla="*/ 921 h 2487"/>
                        <a:gd name="T78" fmla="*/ 35 w 2421"/>
                        <a:gd name="T79" fmla="*/ 851 h 2487"/>
                        <a:gd name="T80" fmla="*/ 13 w 2421"/>
                        <a:gd name="T81" fmla="*/ 769 h 2487"/>
                        <a:gd name="T82" fmla="*/ 64 w 2421"/>
                        <a:gd name="T83" fmla="*/ 654 h 2487"/>
                        <a:gd name="T84" fmla="*/ 205 w 2421"/>
                        <a:gd name="T85" fmla="*/ 582 h 2487"/>
                        <a:gd name="T86" fmla="*/ 254 w 2421"/>
                        <a:gd name="T87" fmla="*/ 558 h 2487"/>
                        <a:gd name="T88" fmla="*/ 248 w 2421"/>
                        <a:gd name="T89" fmla="*/ 286 h 2487"/>
                        <a:gd name="T90" fmla="*/ 256 w 2421"/>
                        <a:gd name="T91" fmla="*/ 226 h 2487"/>
                        <a:gd name="T92" fmla="*/ 357 w 2421"/>
                        <a:gd name="T93" fmla="*/ 208 h 2487"/>
                        <a:gd name="T94" fmla="*/ 510 w 2421"/>
                        <a:gd name="T95" fmla="*/ 269 h 2487"/>
                        <a:gd name="T96" fmla="*/ 631 w 2421"/>
                        <a:gd name="T97" fmla="*/ 199 h 2487"/>
                        <a:gd name="T98" fmla="*/ 573 w 2421"/>
                        <a:gd name="T99" fmla="*/ 65 h 2487"/>
                        <a:gd name="T100" fmla="*/ 675 w 2421"/>
                        <a:gd name="T101" fmla="*/ 101 h 2487"/>
                        <a:gd name="T102" fmla="*/ 800 w 2421"/>
                        <a:gd name="T103" fmla="*/ 45 h 2487"/>
                        <a:gd name="T104" fmla="*/ 851 w 2421"/>
                        <a:gd name="T105" fmla="*/ 26 h 2487"/>
                        <a:gd name="T106" fmla="*/ 862 w 2421"/>
                        <a:gd name="T107" fmla="*/ 126 h 2487"/>
                        <a:gd name="T108" fmla="*/ 927 w 2421"/>
                        <a:gd name="T109" fmla="*/ 246 h 2487"/>
                        <a:gd name="T110" fmla="*/ 1028 w 2421"/>
                        <a:gd name="T111" fmla="*/ 206 h 2487"/>
                        <a:gd name="T112" fmla="*/ 1109 w 2421"/>
                        <a:gd name="T113" fmla="*/ 174 h 2487"/>
                        <a:gd name="T114" fmla="*/ 1239 w 2421"/>
                        <a:gd name="T115" fmla="*/ 190 h 2487"/>
                        <a:gd name="T116" fmla="*/ 1481 w 2421"/>
                        <a:gd name="T117" fmla="*/ 335 h 2487"/>
                        <a:gd name="T118" fmla="*/ 1450 w 2421"/>
                        <a:gd name="T119" fmla="*/ 429 h 2487"/>
                        <a:gd name="T120" fmla="*/ 1548 w 2421"/>
                        <a:gd name="T121" fmla="*/ 335 h 2487"/>
                        <a:gd name="T122" fmla="*/ 1383 w 2421"/>
                        <a:gd name="T123" fmla="*/ 366 h 2487"/>
                        <a:gd name="T124" fmla="*/ 1421 w 2421"/>
                        <a:gd name="T125" fmla="*/ 326 h 24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2421" h="2487">
                          <a:moveTo>
                            <a:pt x="1382" y="55"/>
                          </a:moveTo>
                          <a:cubicBezTo>
                            <a:pt x="1382" y="55"/>
                            <a:pt x="1382" y="55"/>
                            <a:pt x="1382" y="55"/>
                          </a:cubicBezTo>
                          <a:cubicBezTo>
                            <a:pt x="1390" y="54"/>
                            <a:pt x="1396" y="62"/>
                            <a:pt x="1399" y="69"/>
                          </a:cubicBezTo>
                          <a:cubicBezTo>
                            <a:pt x="1403" y="76"/>
                            <a:pt x="1402" y="75"/>
                            <a:pt x="1404" y="81"/>
                          </a:cubicBezTo>
                          <a:cubicBezTo>
                            <a:pt x="1406" y="87"/>
                            <a:pt x="1412" y="91"/>
                            <a:pt x="1417" y="105"/>
                          </a:cubicBezTo>
                          <a:cubicBezTo>
                            <a:pt x="1421" y="119"/>
                            <a:pt x="1422" y="147"/>
                            <a:pt x="1424" y="154"/>
                          </a:cubicBezTo>
                          <a:cubicBezTo>
                            <a:pt x="1426" y="160"/>
                            <a:pt x="1425" y="181"/>
                            <a:pt x="1429" y="186"/>
                          </a:cubicBezTo>
                          <a:cubicBezTo>
                            <a:pt x="1434" y="191"/>
                            <a:pt x="1432" y="182"/>
                            <a:pt x="1440" y="193"/>
                          </a:cubicBezTo>
                          <a:cubicBezTo>
                            <a:pt x="1449" y="203"/>
                            <a:pt x="1450" y="206"/>
                            <a:pt x="1456" y="208"/>
                          </a:cubicBezTo>
                          <a:cubicBezTo>
                            <a:pt x="1463" y="209"/>
                            <a:pt x="1465" y="208"/>
                            <a:pt x="1472" y="211"/>
                          </a:cubicBezTo>
                          <a:cubicBezTo>
                            <a:pt x="1479" y="214"/>
                            <a:pt x="1482" y="216"/>
                            <a:pt x="1481" y="224"/>
                          </a:cubicBezTo>
                          <a:cubicBezTo>
                            <a:pt x="1481" y="232"/>
                            <a:pt x="1485" y="233"/>
                            <a:pt x="1479" y="237"/>
                          </a:cubicBezTo>
                          <a:cubicBezTo>
                            <a:pt x="1473" y="242"/>
                            <a:pt x="1473" y="248"/>
                            <a:pt x="1474" y="252"/>
                          </a:cubicBezTo>
                          <a:cubicBezTo>
                            <a:pt x="1476" y="256"/>
                            <a:pt x="1473" y="259"/>
                            <a:pt x="1468" y="263"/>
                          </a:cubicBezTo>
                          <a:cubicBezTo>
                            <a:pt x="1464" y="267"/>
                            <a:pt x="1452" y="275"/>
                            <a:pt x="1445" y="283"/>
                          </a:cubicBezTo>
                          <a:cubicBezTo>
                            <a:pt x="1439" y="291"/>
                            <a:pt x="1420" y="308"/>
                            <a:pt x="1414" y="316"/>
                          </a:cubicBezTo>
                          <a:cubicBezTo>
                            <a:pt x="1409" y="323"/>
                            <a:pt x="1399" y="329"/>
                            <a:pt x="1392" y="342"/>
                          </a:cubicBezTo>
                          <a:cubicBezTo>
                            <a:pt x="1385" y="354"/>
                            <a:pt x="1373" y="361"/>
                            <a:pt x="1371" y="367"/>
                          </a:cubicBezTo>
                          <a:cubicBezTo>
                            <a:pt x="1369" y="373"/>
                            <a:pt x="1357" y="388"/>
                            <a:pt x="1355" y="397"/>
                          </a:cubicBezTo>
                          <a:cubicBezTo>
                            <a:pt x="1354" y="406"/>
                            <a:pt x="1350" y="407"/>
                            <a:pt x="1344" y="408"/>
                          </a:cubicBezTo>
                          <a:cubicBezTo>
                            <a:pt x="1338" y="408"/>
                            <a:pt x="1333" y="405"/>
                            <a:pt x="1325" y="409"/>
                          </a:cubicBezTo>
                          <a:cubicBezTo>
                            <a:pt x="1317" y="412"/>
                            <a:pt x="1304" y="416"/>
                            <a:pt x="1311" y="418"/>
                          </a:cubicBezTo>
                          <a:cubicBezTo>
                            <a:pt x="1318" y="421"/>
                            <a:pt x="1317" y="418"/>
                            <a:pt x="1325" y="420"/>
                          </a:cubicBezTo>
                          <a:cubicBezTo>
                            <a:pt x="1334" y="421"/>
                            <a:pt x="1336" y="427"/>
                            <a:pt x="1343" y="426"/>
                          </a:cubicBezTo>
                          <a:cubicBezTo>
                            <a:pt x="1349" y="424"/>
                            <a:pt x="1352" y="422"/>
                            <a:pt x="1359" y="418"/>
                          </a:cubicBezTo>
                          <a:cubicBezTo>
                            <a:pt x="1367" y="414"/>
                            <a:pt x="1371" y="415"/>
                            <a:pt x="1378" y="410"/>
                          </a:cubicBezTo>
                          <a:cubicBezTo>
                            <a:pt x="1384" y="405"/>
                            <a:pt x="1391" y="399"/>
                            <a:pt x="1397" y="396"/>
                          </a:cubicBezTo>
                          <a:cubicBezTo>
                            <a:pt x="1403" y="393"/>
                            <a:pt x="1409" y="391"/>
                            <a:pt x="1413" y="386"/>
                          </a:cubicBezTo>
                          <a:cubicBezTo>
                            <a:pt x="1418" y="381"/>
                            <a:pt x="1421" y="378"/>
                            <a:pt x="1422" y="387"/>
                          </a:cubicBezTo>
                          <a:cubicBezTo>
                            <a:pt x="1423" y="397"/>
                            <a:pt x="1421" y="398"/>
                            <a:pt x="1427" y="411"/>
                          </a:cubicBezTo>
                          <a:cubicBezTo>
                            <a:pt x="1433" y="425"/>
                            <a:pt x="1433" y="432"/>
                            <a:pt x="1440" y="434"/>
                          </a:cubicBezTo>
                          <a:cubicBezTo>
                            <a:pt x="1448" y="436"/>
                            <a:pt x="1445" y="435"/>
                            <a:pt x="1457" y="436"/>
                          </a:cubicBezTo>
                          <a:cubicBezTo>
                            <a:pt x="1468" y="437"/>
                            <a:pt x="1475" y="439"/>
                            <a:pt x="1481" y="439"/>
                          </a:cubicBezTo>
                          <a:cubicBezTo>
                            <a:pt x="1487" y="440"/>
                            <a:pt x="1490" y="442"/>
                            <a:pt x="1498" y="438"/>
                          </a:cubicBezTo>
                          <a:cubicBezTo>
                            <a:pt x="1506" y="434"/>
                            <a:pt x="1508" y="430"/>
                            <a:pt x="1511" y="429"/>
                          </a:cubicBezTo>
                          <a:cubicBezTo>
                            <a:pt x="1514" y="428"/>
                            <a:pt x="1522" y="430"/>
                            <a:pt x="1519" y="435"/>
                          </a:cubicBezTo>
                          <a:cubicBezTo>
                            <a:pt x="1516" y="440"/>
                            <a:pt x="1510" y="451"/>
                            <a:pt x="1510" y="459"/>
                          </a:cubicBezTo>
                          <a:cubicBezTo>
                            <a:pt x="1510" y="466"/>
                            <a:pt x="1507" y="484"/>
                            <a:pt x="1511" y="478"/>
                          </a:cubicBezTo>
                          <a:cubicBezTo>
                            <a:pt x="1515" y="473"/>
                            <a:pt x="1517" y="459"/>
                            <a:pt x="1519" y="452"/>
                          </a:cubicBezTo>
                          <a:cubicBezTo>
                            <a:pt x="1520" y="446"/>
                            <a:pt x="1529" y="432"/>
                            <a:pt x="1536" y="430"/>
                          </a:cubicBezTo>
                          <a:cubicBezTo>
                            <a:pt x="1543" y="427"/>
                            <a:pt x="1549" y="420"/>
                            <a:pt x="1557" y="419"/>
                          </a:cubicBezTo>
                          <a:cubicBezTo>
                            <a:pt x="1565" y="418"/>
                            <a:pt x="1567" y="422"/>
                            <a:pt x="1571" y="420"/>
                          </a:cubicBezTo>
                          <a:cubicBezTo>
                            <a:pt x="1574" y="418"/>
                            <a:pt x="1578" y="419"/>
                            <a:pt x="1582" y="417"/>
                          </a:cubicBezTo>
                          <a:cubicBezTo>
                            <a:pt x="1586" y="414"/>
                            <a:pt x="1588" y="415"/>
                            <a:pt x="1582" y="410"/>
                          </a:cubicBezTo>
                          <a:cubicBezTo>
                            <a:pt x="1576" y="406"/>
                            <a:pt x="1573" y="405"/>
                            <a:pt x="1576" y="402"/>
                          </a:cubicBezTo>
                          <a:cubicBezTo>
                            <a:pt x="1580" y="399"/>
                            <a:pt x="1585" y="406"/>
                            <a:pt x="1586" y="396"/>
                          </a:cubicBezTo>
                          <a:cubicBezTo>
                            <a:pt x="1588" y="387"/>
                            <a:pt x="1583" y="386"/>
                            <a:pt x="1585" y="379"/>
                          </a:cubicBezTo>
                          <a:cubicBezTo>
                            <a:pt x="1586" y="372"/>
                            <a:pt x="1591" y="369"/>
                            <a:pt x="1600" y="366"/>
                          </a:cubicBezTo>
                          <a:cubicBezTo>
                            <a:pt x="1609" y="363"/>
                            <a:pt x="1614" y="365"/>
                            <a:pt x="1620" y="363"/>
                          </a:cubicBezTo>
                          <a:cubicBezTo>
                            <a:pt x="1625" y="361"/>
                            <a:pt x="1624" y="355"/>
                            <a:pt x="1635" y="358"/>
                          </a:cubicBezTo>
                          <a:cubicBezTo>
                            <a:pt x="1646" y="360"/>
                            <a:pt x="1647" y="370"/>
                            <a:pt x="1654" y="370"/>
                          </a:cubicBezTo>
                          <a:cubicBezTo>
                            <a:pt x="1662" y="370"/>
                            <a:pt x="1663" y="369"/>
                            <a:pt x="1670" y="369"/>
                          </a:cubicBezTo>
                          <a:cubicBezTo>
                            <a:pt x="1677" y="370"/>
                            <a:pt x="1680" y="376"/>
                            <a:pt x="1681" y="379"/>
                          </a:cubicBezTo>
                          <a:cubicBezTo>
                            <a:pt x="1681" y="382"/>
                            <a:pt x="1683" y="385"/>
                            <a:pt x="1689" y="385"/>
                          </a:cubicBezTo>
                          <a:cubicBezTo>
                            <a:pt x="1696" y="384"/>
                            <a:pt x="1697" y="383"/>
                            <a:pt x="1704" y="382"/>
                          </a:cubicBezTo>
                          <a:cubicBezTo>
                            <a:pt x="1710" y="382"/>
                            <a:pt x="1711" y="383"/>
                            <a:pt x="1716" y="387"/>
                          </a:cubicBezTo>
                          <a:cubicBezTo>
                            <a:pt x="1720" y="391"/>
                            <a:pt x="1729" y="394"/>
                            <a:pt x="1735" y="394"/>
                          </a:cubicBezTo>
                          <a:cubicBezTo>
                            <a:pt x="1741" y="394"/>
                            <a:pt x="1740" y="394"/>
                            <a:pt x="1745" y="401"/>
                          </a:cubicBezTo>
                          <a:cubicBezTo>
                            <a:pt x="1750" y="407"/>
                            <a:pt x="1753" y="400"/>
                            <a:pt x="1758" y="405"/>
                          </a:cubicBezTo>
                          <a:cubicBezTo>
                            <a:pt x="1762" y="410"/>
                            <a:pt x="1763" y="412"/>
                            <a:pt x="1763" y="416"/>
                          </a:cubicBezTo>
                          <a:cubicBezTo>
                            <a:pt x="1763" y="419"/>
                            <a:pt x="1764" y="426"/>
                            <a:pt x="1766" y="424"/>
                          </a:cubicBezTo>
                          <a:cubicBezTo>
                            <a:pt x="1768" y="423"/>
                            <a:pt x="1768" y="416"/>
                            <a:pt x="1772" y="414"/>
                          </a:cubicBezTo>
                          <a:cubicBezTo>
                            <a:pt x="1776" y="412"/>
                            <a:pt x="1784" y="407"/>
                            <a:pt x="1786" y="410"/>
                          </a:cubicBezTo>
                          <a:cubicBezTo>
                            <a:pt x="1788" y="413"/>
                            <a:pt x="1787" y="417"/>
                            <a:pt x="1792" y="421"/>
                          </a:cubicBezTo>
                          <a:cubicBezTo>
                            <a:pt x="1797" y="425"/>
                            <a:pt x="1802" y="420"/>
                            <a:pt x="1803" y="427"/>
                          </a:cubicBezTo>
                          <a:cubicBezTo>
                            <a:pt x="1803" y="433"/>
                            <a:pt x="1808" y="430"/>
                            <a:pt x="1812" y="436"/>
                          </a:cubicBezTo>
                          <a:cubicBezTo>
                            <a:pt x="1815" y="442"/>
                            <a:pt x="1810" y="448"/>
                            <a:pt x="1807" y="451"/>
                          </a:cubicBezTo>
                          <a:cubicBezTo>
                            <a:pt x="1804" y="454"/>
                            <a:pt x="1797" y="462"/>
                            <a:pt x="1801" y="463"/>
                          </a:cubicBezTo>
                          <a:cubicBezTo>
                            <a:pt x="1806" y="464"/>
                            <a:pt x="1819" y="456"/>
                            <a:pt x="1818" y="461"/>
                          </a:cubicBezTo>
                          <a:cubicBezTo>
                            <a:pt x="1817" y="466"/>
                            <a:pt x="1805" y="478"/>
                            <a:pt x="1805" y="485"/>
                          </a:cubicBezTo>
                          <a:cubicBezTo>
                            <a:pt x="1805" y="492"/>
                            <a:pt x="1807" y="497"/>
                            <a:pt x="1806" y="504"/>
                          </a:cubicBezTo>
                          <a:cubicBezTo>
                            <a:pt x="1806" y="512"/>
                            <a:pt x="1804" y="521"/>
                            <a:pt x="1810" y="515"/>
                          </a:cubicBezTo>
                          <a:cubicBezTo>
                            <a:pt x="1816" y="509"/>
                            <a:pt x="1816" y="502"/>
                            <a:pt x="1820" y="497"/>
                          </a:cubicBezTo>
                          <a:cubicBezTo>
                            <a:pt x="1825" y="491"/>
                            <a:pt x="1827" y="492"/>
                            <a:pt x="1833" y="491"/>
                          </a:cubicBezTo>
                          <a:cubicBezTo>
                            <a:pt x="1839" y="491"/>
                            <a:pt x="1844" y="495"/>
                            <a:pt x="1850" y="485"/>
                          </a:cubicBezTo>
                          <a:cubicBezTo>
                            <a:pt x="1855" y="476"/>
                            <a:pt x="1858" y="472"/>
                            <a:pt x="1869" y="471"/>
                          </a:cubicBezTo>
                          <a:cubicBezTo>
                            <a:pt x="1880" y="471"/>
                            <a:pt x="1881" y="469"/>
                            <a:pt x="1890" y="471"/>
                          </a:cubicBezTo>
                          <a:cubicBezTo>
                            <a:pt x="1899" y="473"/>
                            <a:pt x="1907" y="478"/>
                            <a:pt x="1913" y="481"/>
                          </a:cubicBezTo>
                          <a:cubicBezTo>
                            <a:pt x="1919" y="484"/>
                            <a:pt x="1922" y="486"/>
                            <a:pt x="1935" y="490"/>
                          </a:cubicBezTo>
                          <a:cubicBezTo>
                            <a:pt x="1948" y="493"/>
                            <a:pt x="1946" y="496"/>
                            <a:pt x="1956" y="495"/>
                          </a:cubicBezTo>
                          <a:cubicBezTo>
                            <a:pt x="1966" y="494"/>
                            <a:pt x="1973" y="491"/>
                            <a:pt x="1979" y="493"/>
                          </a:cubicBezTo>
                          <a:cubicBezTo>
                            <a:pt x="1985" y="495"/>
                            <a:pt x="1995" y="500"/>
                            <a:pt x="2004" y="503"/>
                          </a:cubicBezTo>
                          <a:cubicBezTo>
                            <a:pt x="2013" y="506"/>
                            <a:pt x="2014" y="509"/>
                            <a:pt x="2018" y="509"/>
                          </a:cubicBezTo>
                          <a:cubicBezTo>
                            <a:pt x="2022" y="508"/>
                            <a:pt x="2021" y="503"/>
                            <a:pt x="2024" y="501"/>
                          </a:cubicBezTo>
                          <a:cubicBezTo>
                            <a:pt x="2028" y="499"/>
                            <a:pt x="2036" y="496"/>
                            <a:pt x="2042" y="496"/>
                          </a:cubicBezTo>
                          <a:cubicBezTo>
                            <a:pt x="2048" y="496"/>
                            <a:pt x="2049" y="498"/>
                            <a:pt x="2058" y="496"/>
                          </a:cubicBezTo>
                          <a:cubicBezTo>
                            <a:pt x="2066" y="494"/>
                            <a:pt x="2070" y="492"/>
                            <a:pt x="2078" y="494"/>
                          </a:cubicBezTo>
                          <a:cubicBezTo>
                            <a:pt x="2086" y="496"/>
                            <a:pt x="2094" y="497"/>
                            <a:pt x="2099" y="501"/>
                          </a:cubicBezTo>
                          <a:cubicBezTo>
                            <a:pt x="2104" y="505"/>
                            <a:pt x="2120" y="511"/>
                            <a:pt x="2120" y="511"/>
                          </a:cubicBezTo>
                          <a:cubicBezTo>
                            <a:pt x="2140" y="516"/>
                            <a:pt x="2156" y="534"/>
                            <a:pt x="2173" y="544"/>
                          </a:cubicBezTo>
                          <a:cubicBezTo>
                            <a:pt x="2189" y="555"/>
                            <a:pt x="2204" y="557"/>
                            <a:pt x="2221" y="575"/>
                          </a:cubicBezTo>
                          <a:cubicBezTo>
                            <a:pt x="2237" y="593"/>
                            <a:pt x="2245" y="605"/>
                            <a:pt x="2265" y="617"/>
                          </a:cubicBezTo>
                          <a:cubicBezTo>
                            <a:pt x="2284" y="629"/>
                            <a:pt x="2285" y="636"/>
                            <a:pt x="2304" y="637"/>
                          </a:cubicBezTo>
                          <a:cubicBezTo>
                            <a:pt x="2323" y="639"/>
                            <a:pt x="2343" y="638"/>
                            <a:pt x="2356" y="639"/>
                          </a:cubicBezTo>
                          <a:cubicBezTo>
                            <a:pt x="2368" y="639"/>
                            <a:pt x="2378" y="643"/>
                            <a:pt x="2381" y="648"/>
                          </a:cubicBezTo>
                          <a:cubicBezTo>
                            <a:pt x="2384" y="652"/>
                            <a:pt x="2385" y="659"/>
                            <a:pt x="2392" y="681"/>
                          </a:cubicBezTo>
                          <a:cubicBezTo>
                            <a:pt x="2398" y="704"/>
                            <a:pt x="2405" y="718"/>
                            <a:pt x="2412" y="730"/>
                          </a:cubicBezTo>
                          <a:cubicBezTo>
                            <a:pt x="2419" y="742"/>
                            <a:pt x="2421" y="761"/>
                            <a:pt x="2420" y="771"/>
                          </a:cubicBezTo>
                          <a:cubicBezTo>
                            <a:pt x="2419" y="780"/>
                            <a:pt x="2418" y="786"/>
                            <a:pt x="2417" y="802"/>
                          </a:cubicBezTo>
                          <a:cubicBezTo>
                            <a:pt x="2416" y="819"/>
                            <a:pt x="2418" y="830"/>
                            <a:pt x="2413" y="841"/>
                          </a:cubicBezTo>
                          <a:cubicBezTo>
                            <a:pt x="2407" y="852"/>
                            <a:pt x="2400" y="859"/>
                            <a:pt x="2395" y="874"/>
                          </a:cubicBezTo>
                          <a:cubicBezTo>
                            <a:pt x="2391" y="889"/>
                            <a:pt x="2373" y="905"/>
                            <a:pt x="2373" y="905"/>
                          </a:cubicBezTo>
                          <a:cubicBezTo>
                            <a:pt x="2373" y="905"/>
                            <a:pt x="2356" y="914"/>
                            <a:pt x="2353" y="917"/>
                          </a:cubicBezTo>
                          <a:cubicBezTo>
                            <a:pt x="2351" y="919"/>
                            <a:pt x="2354" y="921"/>
                            <a:pt x="2353" y="927"/>
                          </a:cubicBezTo>
                          <a:cubicBezTo>
                            <a:pt x="2353" y="934"/>
                            <a:pt x="2350" y="939"/>
                            <a:pt x="2346" y="943"/>
                          </a:cubicBezTo>
                          <a:cubicBezTo>
                            <a:pt x="2342" y="947"/>
                            <a:pt x="2333" y="954"/>
                            <a:pt x="2329" y="961"/>
                          </a:cubicBezTo>
                          <a:cubicBezTo>
                            <a:pt x="2325" y="967"/>
                            <a:pt x="2323" y="970"/>
                            <a:pt x="2320" y="974"/>
                          </a:cubicBezTo>
                          <a:cubicBezTo>
                            <a:pt x="2318" y="977"/>
                            <a:pt x="2307" y="980"/>
                            <a:pt x="2302" y="983"/>
                          </a:cubicBezTo>
                          <a:cubicBezTo>
                            <a:pt x="2298" y="986"/>
                            <a:pt x="2291" y="989"/>
                            <a:pt x="2288" y="993"/>
                          </a:cubicBezTo>
                          <a:cubicBezTo>
                            <a:pt x="2285" y="997"/>
                            <a:pt x="2282" y="997"/>
                            <a:pt x="2280" y="994"/>
                          </a:cubicBezTo>
                          <a:cubicBezTo>
                            <a:pt x="2278" y="992"/>
                            <a:pt x="2274" y="989"/>
                            <a:pt x="2271" y="994"/>
                          </a:cubicBezTo>
                          <a:cubicBezTo>
                            <a:pt x="2268" y="999"/>
                            <a:pt x="2265" y="1000"/>
                            <a:pt x="2265" y="1004"/>
                          </a:cubicBezTo>
                          <a:cubicBezTo>
                            <a:pt x="2266" y="1008"/>
                            <a:pt x="2268" y="1008"/>
                            <a:pt x="2269" y="1011"/>
                          </a:cubicBezTo>
                          <a:cubicBezTo>
                            <a:pt x="2269" y="1015"/>
                            <a:pt x="2265" y="1017"/>
                            <a:pt x="2264" y="1019"/>
                          </a:cubicBezTo>
                          <a:cubicBezTo>
                            <a:pt x="2262" y="1020"/>
                            <a:pt x="2258" y="1021"/>
                            <a:pt x="2256" y="1026"/>
                          </a:cubicBezTo>
                          <a:cubicBezTo>
                            <a:pt x="2254" y="1032"/>
                            <a:pt x="2254" y="1041"/>
                            <a:pt x="2253" y="1044"/>
                          </a:cubicBezTo>
                          <a:cubicBezTo>
                            <a:pt x="2252" y="1048"/>
                            <a:pt x="2249" y="1053"/>
                            <a:pt x="2244" y="1059"/>
                          </a:cubicBezTo>
                          <a:cubicBezTo>
                            <a:pt x="2240" y="1064"/>
                            <a:pt x="2238" y="1068"/>
                            <a:pt x="2235" y="1075"/>
                          </a:cubicBezTo>
                          <a:cubicBezTo>
                            <a:pt x="2232" y="1082"/>
                            <a:pt x="2229" y="1083"/>
                            <a:pt x="2224" y="1091"/>
                          </a:cubicBezTo>
                          <a:cubicBezTo>
                            <a:pt x="2220" y="1099"/>
                            <a:pt x="2216" y="1101"/>
                            <a:pt x="2211" y="1109"/>
                          </a:cubicBezTo>
                          <a:cubicBezTo>
                            <a:pt x="2206" y="1116"/>
                            <a:pt x="2201" y="1121"/>
                            <a:pt x="2197" y="1124"/>
                          </a:cubicBezTo>
                          <a:cubicBezTo>
                            <a:pt x="2192" y="1128"/>
                            <a:pt x="2190" y="1124"/>
                            <a:pt x="2190" y="1119"/>
                          </a:cubicBezTo>
                          <a:cubicBezTo>
                            <a:pt x="2190" y="1115"/>
                            <a:pt x="2191" y="1112"/>
                            <a:pt x="2187" y="1109"/>
                          </a:cubicBezTo>
                          <a:cubicBezTo>
                            <a:pt x="2184" y="1107"/>
                            <a:pt x="2184" y="1102"/>
                            <a:pt x="2179" y="1103"/>
                          </a:cubicBezTo>
                          <a:cubicBezTo>
                            <a:pt x="2174" y="1103"/>
                            <a:pt x="2173" y="1105"/>
                            <a:pt x="2171" y="1108"/>
                          </a:cubicBezTo>
                          <a:cubicBezTo>
                            <a:pt x="2169" y="1111"/>
                            <a:pt x="2164" y="1112"/>
                            <a:pt x="2164" y="1114"/>
                          </a:cubicBezTo>
                          <a:cubicBezTo>
                            <a:pt x="2163" y="1117"/>
                            <a:pt x="2164" y="1123"/>
                            <a:pt x="2168" y="1123"/>
                          </a:cubicBezTo>
                          <a:cubicBezTo>
                            <a:pt x="2173" y="1124"/>
                            <a:pt x="2173" y="1125"/>
                            <a:pt x="2172" y="1129"/>
                          </a:cubicBezTo>
                          <a:cubicBezTo>
                            <a:pt x="2171" y="1133"/>
                            <a:pt x="2169" y="1137"/>
                            <a:pt x="2165" y="1139"/>
                          </a:cubicBezTo>
                          <a:cubicBezTo>
                            <a:pt x="2162" y="1142"/>
                            <a:pt x="2158" y="1142"/>
                            <a:pt x="2158" y="1149"/>
                          </a:cubicBezTo>
                          <a:cubicBezTo>
                            <a:pt x="2158" y="1156"/>
                            <a:pt x="2153" y="1158"/>
                            <a:pt x="2151" y="1162"/>
                          </a:cubicBezTo>
                          <a:cubicBezTo>
                            <a:pt x="2150" y="1167"/>
                            <a:pt x="2149" y="1171"/>
                            <a:pt x="2149" y="1175"/>
                          </a:cubicBezTo>
                          <a:cubicBezTo>
                            <a:pt x="2150" y="1178"/>
                            <a:pt x="2151" y="1180"/>
                            <a:pt x="2155" y="1183"/>
                          </a:cubicBezTo>
                          <a:cubicBezTo>
                            <a:pt x="2160" y="1187"/>
                            <a:pt x="2161" y="1185"/>
                            <a:pt x="2161" y="1191"/>
                          </a:cubicBezTo>
                          <a:cubicBezTo>
                            <a:pt x="2161" y="1197"/>
                            <a:pt x="2159" y="1197"/>
                            <a:pt x="2158" y="1203"/>
                          </a:cubicBezTo>
                          <a:cubicBezTo>
                            <a:pt x="2157" y="1208"/>
                            <a:pt x="2154" y="1215"/>
                            <a:pt x="2156" y="1222"/>
                          </a:cubicBezTo>
                          <a:cubicBezTo>
                            <a:pt x="2157" y="1230"/>
                            <a:pt x="2156" y="1235"/>
                            <a:pt x="2158" y="1245"/>
                          </a:cubicBezTo>
                          <a:cubicBezTo>
                            <a:pt x="2159" y="1254"/>
                            <a:pt x="2160" y="1265"/>
                            <a:pt x="2160" y="1279"/>
                          </a:cubicBezTo>
                          <a:cubicBezTo>
                            <a:pt x="2160" y="1292"/>
                            <a:pt x="2158" y="1295"/>
                            <a:pt x="2160" y="1305"/>
                          </a:cubicBezTo>
                          <a:cubicBezTo>
                            <a:pt x="2162" y="1314"/>
                            <a:pt x="2164" y="1317"/>
                            <a:pt x="2161" y="1329"/>
                          </a:cubicBezTo>
                          <a:cubicBezTo>
                            <a:pt x="2158" y="1341"/>
                            <a:pt x="2152" y="1364"/>
                            <a:pt x="2149" y="1376"/>
                          </a:cubicBezTo>
                          <a:cubicBezTo>
                            <a:pt x="2146" y="1387"/>
                            <a:pt x="2140" y="1391"/>
                            <a:pt x="2141" y="1399"/>
                          </a:cubicBezTo>
                          <a:cubicBezTo>
                            <a:pt x="2142" y="1406"/>
                            <a:pt x="2145" y="1413"/>
                            <a:pt x="2147" y="1419"/>
                          </a:cubicBezTo>
                          <a:cubicBezTo>
                            <a:pt x="2148" y="1424"/>
                            <a:pt x="2149" y="1431"/>
                            <a:pt x="2146" y="1435"/>
                          </a:cubicBezTo>
                          <a:cubicBezTo>
                            <a:pt x="2143" y="1439"/>
                            <a:pt x="2131" y="1447"/>
                            <a:pt x="2126" y="1451"/>
                          </a:cubicBezTo>
                          <a:cubicBezTo>
                            <a:pt x="2122" y="1456"/>
                            <a:pt x="2118" y="1457"/>
                            <a:pt x="2116" y="1464"/>
                          </a:cubicBezTo>
                          <a:cubicBezTo>
                            <a:pt x="2115" y="1471"/>
                            <a:pt x="2113" y="1480"/>
                            <a:pt x="2114" y="1491"/>
                          </a:cubicBezTo>
                          <a:cubicBezTo>
                            <a:pt x="2115" y="1502"/>
                            <a:pt x="2112" y="1506"/>
                            <a:pt x="2114" y="1516"/>
                          </a:cubicBezTo>
                          <a:cubicBezTo>
                            <a:pt x="2117" y="1526"/>
                            <a:pt x="2117" y="1529"/>
                            <a:pt x="2115" y="1535"/>
                          </a:cubicBezTo>
                          <a:cubicBezTo>
                            <a:pt x="2114" y="1541"/>
                            <a:pt x="2102" y="1547"/>
                            <a:pt x="2099" y="1553"/>
                          </a:cubicBezTo>
                          <a:cubicBezTo>
                            <a:pt x="2095" y="1558"/>
                            <a:pt x="2090" y="1561"/>
                            <a:pt x="2087" y="1569"/>
                          </a:cubicBezTo>
                          <a:cubicBezTo>
                            <a:pt x="2084" y="1576"/>
                            <a:pt x="2085" y="1579"/>
                            <a:pt x="2084" y="1583"/>
                          </a:cubicBezTo>
                          <a:cubicBezTo>
                            <a:pt x="2084" y="1587"/>
                            <a:pt x="2080" y="1589"/>
                            <a:pt x="2078" y="1590"/>
                          </a:cubicBezTo>
                          <a:cubicBezTo>
                            <a:pt x="2076" y="1592"/>
                            <a:pt x="2074" y="1592"/>
                            <a:pt x="2073" y="1596"/>
                          </a:cubicBezTo>
                          <a:cubicBezTo>
                            <a:pt x="2072" y="1600"/>
                            <a:pt x="2071" y="1606"/>
                            <a:pt x="2071" y="1609"/>
                          </a:cubicBezTo>
                          <a:cubicBezTo>
                            <a:pt x="2070" y="1612"/>
                            <a:pt x="2064" y="1615"/>
                            <a:pt x="2058" y="1624"/>
                          </a:cubicBezTo>
                          <a:cubicBezTo>
                            <a:pt x="2051" y="1633"/>
                            <a:pt x="2045" y="1636"/>
                            <a:pt x="2041" y="1643"/>
                          </a:cubicBezTo>
                          <a:cubicBezTo>
                            <a:pt x="2037" y="1651"/>
                            <a:pt x="2030" y="1654"/>
                            <a:pt x="2029" y="1663"/>
                          </a:cubicBezTo>
                          <a:cubicBezTo>
                            <a:pt x="2028" y="1672"/>
                            <a:pt x="2028" y="1679"/>
                            <a:pt x="2031" y="1686"/>
                          </a:cubicBezTo>
                          <a:cubicBezTo>
                            <a:pt x="2034" y="1693"/>
                            <a:pt x="2034" y="1696"/>
                            <a:pt x="2033" y="1700"/>
                          </a:cubicBezTo>
                          <a:cubicBezTo>
                            <a:pt x="2032" y="1704"/>
                            <a:pt x="2026" y="1707"/>
                            <a:pt x="2013" y="1713"/>
                          </a:cubicBezTo>
                          <a:cubicBezTo>
                            <a:pt x="2000" y="1718"/>
                            <a:pt x="1999" y="1718"/>
                            <a:pt x="1990" y="1724"/>
                          </a:cubicBezTo>
                          <a:cubicBezTo>
                            <a:pt x="1981" y="1731"/>
                            <a:pt x="1973" y="1732"/>
                            <a:pt x="1972" y="1739"/>
                          </a:cubicBezTo>
                          <a:cubicBezTo>
                            <a:pt x="1971" y="1745"/>
                            <a:pt x="1971" y="1749"/>
                            <a:pt x="1974" y="1752"/>
                          </a:cubicBezTo>
                          <a:cubicBezTo>
                            <a:pt x="1978" y="1756"/>
                            <a:pt x="1977" y="1760"/>
                            <a:pt x="1975" y="1763"/>
                          </a:cubicBezTo>
                          <a:cubicBezTo>
                            <a:pt x="1973" y="1765"/>
                            <a:pt x="1968" y="1766"/>
                            <a:pt x="1960" y="1766"/>
                          </a:cubicBezTo>
                          <a:cubicBezTo>
                            <a:pt x="1952" y="1765"/>
                            <a:pt x="1948" y="1764"/>
                            <a:pt x="1939" y="1764"/>
                          </a:cubicBezTo>
                          <a:cubicBezTo>
                            <a:pt x="1930" y="1763"/>
                            <a:pt x="1922" y="1763"/>
                            <a:pt x="1918" y="1761"/>
                          </a:cubicBezTo>
                          <a:cubicBezTo>
                            <a:pt x="1915" y="1759"/>
                            <a:pt x="1910" y="1760"/>
                            <a:pt x="1909" y="1757"/>
                          </a:cubicBezTo>
                          <a:cubicBezTo>
                            <a:pt x="1908" y="1754"/>
                            <a:pt x="1913" y="1746"/>
                            <a:pt x="1908" y="1746"/>
                          </a:cubicBezTo>
                          <a:cubicBezTo>
                            <a:pt x="1902" y="1745"/>
                            <a:pt x="1898" y="1751"/>
                            <a:pt x="1897" y="1755"/>
                          </a:cubicBezTo>
                          <a:cubicBezTo>
                            <a:pt x="1896" y="1759"/>
                            <a:pt x="1896" y="1765"/>
                            <a:pt x="1893" y="1766"/>
                          </a:cubicBezTo>
                          <a:cubicBezTo>
                            <a:pt x="1889" y="1767"/>
                            <a:pt x="1889" y="1764"/>
                            <a:pt x="1881" y="1763"/>
                          </a:cubicBezTo>
                          <a:cubicBezTo>
                            <a:pt x="1872" y="1762"/>
                            <a:pt x="1868" y="1760"/>
                            <a:pt x="1861" y="1760"/>
                          </a:cubicBezTo>
                          <a:cubicBezTo>
                            <a:pt x="1854" y="1760"/>
                            <a:pt x="1846" y="1766"/>
                            <a:pt x="1842" y="1769"/>
                          </a:cubicBezTo>
                          <a:cubicBezTo>
                            <a:pt x="1837" y="1771"/>
                            <a:pt x="1832" y="1765"/>
                            <a:pt x="1830" y="1763"/>
                          </a:cubicBezTo>
                          <a:cubicBezTo>
                            <a:pt x="1827" y="1762"/>
                            <a:pt x="1822" y="1762"/>
                            <a:pt x="1818" y="1765"/>
                          </a:cubicBezTo>
                          <a:cubicBezTo>
                            <a:pt x="1814" y="1767"/>
                            <a:pt x="1812" y="1769"/>
                            <a:pt x="1809" y="1770"/>
                          </a:cubicBezTo>
                          <a:cubicBezTo>
                            <a:pt x="1806" y="1772"/>
                            <a:pt x="1805" y="1778"/>
                            <a:pt x="1807" y="1781"/>
                          </a:cubicBezTo>
                          <a:cubicBezTo>
                            <a:pt x="1809" y="1784"/>
                            <a:pt x="1811" y="1786"/>
                            <a:pt x="1809" y="1788"/>
                          </a:cubicBezTo>
                          <a:cubicBezTo>
                            <a:pt x="1808" y="1789"/>
                            <a:pt x="1796" y="1792"/>
                            <a:pt x="1794" y="1794"/>
                          </a:cubicBezTo>
                          <a:cubicBezTo>
                            <a:pt x="1791" y="1795"/>
                            <a:pt x="1781" y="1799"/>
                            <a:pt x="1778" y="1803"/>
                          </a:cubicBezTo>
                          <a:cubicBezTo>
                            <a:pt x="1774" y="1807"/>
                            <a:pt x="1768" y="1806"/>
                            <a:pt x="1765" y="1811"/>
                          </a:cubicBezTo>
                          <a:cubicBezTo>
                            <a:pt x="1761" y="1816"/>
                            <a:pt x="1758" y="1818"/>
                            <a:pt x="1753" y="1818"/>
                          </a:cubicBezTo>
                          <a:cubicBezTo>
                            <a:pt x="1747" y="1818"/>
                            <a:pt x="1738" y="1816"/>
                            <a:pt x="1730" y="1817"/>
                          </a:cubicBezTo>
                          <a:cubicBezTo>
                            <a:pt x="1722" y="1819"/>
                            <a:pt x="1711" y="1822"/>
                            <a:pt x="1707" y="1824"/>
                          </a:cubicBezTo>
                          <a:cubicBezTo>
                            <a:pt x="1704" y="1827"/>
                            <a:pt x="1700" y="1831"/>
                            <a:pt x="1698" y="1834"/>
                          </a:cubicBezTo>
                          <a:cubicBezTo>
                            <a:pt x="1695" y="1838"/>
                            <a:pt x="1683" y="1846"/>
                            <a:pt x="1680" y="1849"/>
                          </a:cubicBezTo>
                          <a:cubicBezTo>
                            <a:pt x="1677" y="1851"/>
                            <a:pt x="1652" y="1863"/>
                            <a:pt x="1643" y="1871"/>
                          </a:cubicBezTo>
                          <a:cubicBezTo>
                            <a:pt x="1634" y="1878"/>
                            <a:pt x="1612" y="1894"/>
                            <a:pt x="1607" y="1897"/>
                          </a:cubicBezTo>
                          <a:cubicBezTo>
                            <a:pt x="1601" y="1900"/>
                            <a:pt x="1603" y="1903"/>
                            <a:pt x="1603" y="1907"/>
                          </a:cubicBezTo>
                          <a:cubicBezTo>
                            <a:pt x="1603" y="1911"/>
                            <a:pt x="1599" y="1916"/>
                            <a:pt x="1595" y="1919"/>
                          </a:cubicBezTo>
                          <a:cubicBezTo>
                            <a:pt x="1591" y="1921"/>
                            <a:pt x="1585" y="1925"/>
                            <a:pt x="1583" y="1921"/>
                          </a:cubicBezTo>
                          <a:cubicBezTo>
                            <a:pt x="1582" y="1918"/>
                            <a:pt x="1583" y="1913"/>
                            <a:pt x="1578" y="1914"/>
                          </a:cubicBezTo>
                          <a:cubicBezTo>
                            <a:pt x="1573" y="1914"/>
                            <a:pt x="1574" y="1918"/>
                            <a:pt x="1570" y="1920"/>
                          </a:cubicBezTo>
                          <a:cubicBezTo>
                            <a:pt x="1565" y="1923"/>
                            <a:pt x="1560" y="1922"/>
                            <a:pt x="1558" y="1923"/>
                          </a:cubicBezTo>
                          <a:cubicBezTo>
                            <a:pt x="1557" y="1925"/>
                            <a:pt x="1557" y="1930"/>
                            <a:pt x="1560" y="1931"/>
                          </a:cubicBezTo>
                          <a:cubicBezTo>
                            <a:pt x="1562" y="1933"/>
                            <a:pt x="1567" y="1933"/>
                            <a:pt x="1569" y="1934"/>
                          </a:cubicBezTo>
                          <a:cubicBezTo>
                            <a:pt x="1572" y="1935"/>
                            <a:pt x="1573" y="1936"/>
                            <a:pt x="1572" y="1940"/>
                          </a:cubicBezTo>
                          <a:cubicBezTo>
                            <a:pt x="1570" y="1945"/>
                            <a:pt x="1567" y="1947"/>
                            <a:pt x="1562" y="1950"/>
                          </a:cubicBezTo>
                          <a:cubicBezTo>
                            <a:pt x="1558" y="1954"/>
                            <a:pt x="1557" y="1958"/>
                            <a:pt x="1559" y="1961"/>
                          </a:cubicBezTo>
                          <a:cubicBezTo>
                            <a:pt x="1561" y="1963"/>
                            <a:pt x="1562" y="1962"/>
                            <a:pt x="1562" y="1965"/>
                          </a:cubicBezTo>
                          <a:cubicBezTo>
                            <a:pt x="1562" y="1969"/>
                            <a:pt x="1563" y="1967"/>
                            <a:pt x="1559" y="1969"/>
                          </a:cubicBezTo>
                          <a:cubicBezTo>
                            <a:pt x="1556" y="1972"/>
                            <a:pt x="1552" y="1970"/>
                            <a:pt x="1552" y="1973"/>
                          </a:cubicBezTo>
                          <a:cubicBezTo>
                            <a:pt x="1551" y="1976"/>
                            <a:pt x="1552" y="1979"/>
                            <a:pt x="1555" y="1982"/>
                          </a:cubicBezTo>
                          <a:cubicBezTo>
                            <a:pt x="1557" y="1985"/>
                            <a:pt x="1559" y="1983"/>
                            <a:pt x="1561" y="1987"/>
                          </a:cubicBezTo>
                          <a:cubicBezTo>
                            <a:pt x="1563" y="1991"/>
                            <a:pt x="1563" y="1994"/>
                            <a:pt x="1563" y="1996"/>
                          </a:cubicBezTo>
                          <a:cubicBezTo>
                            <a:pt x="1562" y="1998"/>
                            <a:pt x="1560" y="2002"/>
                            <a:pt x="1559" y="2005"/>
                          </a:cubicBezTo>
                          <a:cubicBezTo>
                            <a:pt x="1558" y="2007"/>
                            <a:pt x="1559" y="2010"/>
                            <a:pt x="1559" y="2013"/>
                          </a:cubicBezTo>
                          <a:cubicBezTo>
                            <a:pt x="1560" y="2015"/>
                            <a:pt x="1558" y="2016"/>
                            <a:pt x="1561" y="2023"/>
                          </a:cubicBezTo>
                          <a:cubicBezTo>
                            <a:pt x="1565" y="2031"/>
                            <a:pt x="1561" y="2037"/>
                            <a:pt x="1564" y="2039"/>
                          </a:cubicBezTo>
                          <a:cubicBezTo>
                            <a:pt x="1567" y="2041"/>
                            <a:pt x="1569" y="2040"/>
                            <a:pt x="1569" y="2043"/>
                          </a:cubicBezTo>
                          <a:cubicBezTo>
                            <a:pt x="1569" y="2047"/>
                            <a:pt x="1565" y="2050"/>
                            <a:pt x="1564" y="2053"/>
                          </a:cubicBezTo>
                          <a:cubicBezTo>
                            <a:pt x="1563" y="2055"/>
                            <a:pt x="1563" y="2059"/>
                            <a:pt x="1563" y="2064"/>
                          </a:cubicBezTo>
                          <a:cubicBezTo>
                            <a:pt x="1563" y="2069"/>
                            <a:pt x="1561" y="2075"/>
                            <a:pt x="1563" y="2076"/>
                          </a:cubicBezTo>
                          <a:cubicBezTo>
                            <a:pt x="1565" y="2077"/>
                            <a:pt x="1568" y="2078"/>
                            <a:pt x="1570" y="2076"/>
                          </a:cubicBezTo>
                          <a:cubicBezTo>
                            <a:pt x="1571" y="2075"/>
                            <a:pt x="1572" y="2068"/>
                            <a:pt x="1574" y="2068"/>
                          </a:cubicBezTo>
                          <a:cubicBezTo>
                            <a:pt x="1576" y="2068"/>
                            <a:pt x="1577" y="2072"/>
                            <a:pt x="1576" y="2074"/>
                          </a:cubicBezTo>
                          <a:cubicBezTo>
                            <a:pt x="1576" y="2076"/>
                            <a:pt x="1572" y="2084"/>
                            <a:pt x="1569" y="2086"/>
                          </a:cubicBezTo>
                          <a:cubicBezTo>
                            <a:pt x="1567" y="2088"/>
                            <a:pt x="1564" y="2095"/>
                            <a:pt x="1562" y="2100"/>
                          </a:cubicBezTo>
                          <a:cubicBezTo>
                            <a:pt x="1561" y="2104"/>
                            <a:pt x="1564" y="2113"/>
                            <a:pt x="1561" y="2117"/>
                          </a:cubicBezTo>
                          <a:cubicBezTo>
                            <a:pt x="1558" y="2122"/>
                            <a:pt x="1555" y="2122"/>
                            <a:pt x="1553" y="2122"/>
                          </a:cubicBezTo>
                          <a:cubicBezTo>
                            <a:pt x="1550" y="2123"/>
                            <a:pt x="1549" y="2121"/>
                            <a:pt x="1549" y="2127"/>
                          </a:cubicBezTo>
                          <a:cubicBezTo>
                            <a:pt x="1549" y="2133"/>
                            <a:pt x="1550" y="2138"/>
                            <a:pt x="1549" y="2141"/>
                          </a:cubicBezTo>
                          <a:cubicBezTo>
                            <a:pt x="1548" y="2144"/>
                            <a:pt x="1544" y="2144"/>
                            <a:pt x="1541" y="2148"/>
                          </a:cubicBezTo>
                          <a:cubicBezTo>
                            <a:pt x="1539" y="2153"/>
                            <a:pt x="1533" y="2158"/>
                            <a:pt x="1526" y="2163"/>
                          </a:cubicBezTo>
                          <a:cubicBezTo>
                            <a:pt x="1519" y="2168"/>
                            <a:pt x="1510" y="2175"/>
                            <a:pt x="1505" y="2179"/>
                          </a:cubicBezTo>
                          <a:cubicBezTo>
                            <a:pt x="1500" y="2182"/>
                            <a:pt x="1494" y="2185"/>
                            <a:pt x="1492" y="2190"/>
                          </a:cubicBezTo>
                          <a:cubicBezTo>
                            <a:pt x="1489" y="2196"/>
                            <a:pt x="1486" y="2201"/>
                            <a:pt x="1485" y="2208"/>
                          </a:cubicBezTo>
                          <a:cubicBezTo>
                            <a:pt x="1484" y="2215"/>
                            <a:pt x="1477" y="2229"/>
                            <a:pt x="1473" y="2240"/>
                          </a:cubicBezTo>
                          <a:cubicBezTo>
                            <a:pt x="1468" y="2250"/>
                            <a:pt x="1462" y="2258"/>
                            <a:pt x="1458" y="2268"/>
                          </a:cubicBezTo>
                          <a:cubicBezTo>
                            <a:pt x="1453" y="2278"/>
                            <a:pt x="1453" y="2278"/>
                            <a:pt x="1447" y="2286"/>
                          </a:cubicBezTo>
                          <a:cubicBezTo>
                            <a:pt x="1441" y="2293"/>
                            <a:pt x="1417" y="2321"/>
                            <a:pt x="1410" y="2330"/>
                          </a:cubicBezTo>
                          <a:cubicBezTo>
                            <a:pt x="1403" y="2340"/>
                            <a:pt x="1378" y="2360"/>
                            <a:pt x="1374" y="2364"/>
                          </a:cubicBezTo>
                          <a:cubicBezTo>
                            <a:pt x="1370" y="2367"/>
                            <a:pt x="1359" y="2373"/>
                            <a:pt x="1356" y="2375"/>
                          </a:cubicBezTo>
                          <a:cubicBezTo>
                            <a:pt x="1353" y="2376"/>
                            <a:pt x="1348" y="2367"/>
                            <a:pt x="1351" y="2364"/>
                          </a:cubicBezTo>
                          <a:cubicBezTo>
                            <a:pt x="1354" y="2360"/>
                            <a:pt x="1359" y="2360"/>
                            <a:pt x="1364" y="2360"/>
                          </a:cubicBezTo>
                          <a:cubicBezTo>
                            <a:pt x="1369" y="2360"/>
                            <a:pt x="1373" y="2354"/>
                            <a:pt x="1379" y="2351"/>
                          </a:cubicBezTo>
                          <a:cubicBezTo>
                            <a:pt x="1385" y="2347"/>
                            <a:pt x="1395" y="2343"/>
                            <a:pt x="1398" y="2339"/>
                          </a:cubicBezTo>
                          <a:cubicBezTo>
                            <a:pt x="1401" y="2336"/>
                            <a:pt x="1403" y="2330"/>
                            <a:pt x="1403" y="2327"/>
                          </a:cubicBezTo>
                          <a:cubicBezTo>
                            <a:pt x="1403" y="2324"/>
                            <a:pt x="1401" y="2313"/>
                            <a:pt x="1405" y="2310"/>
                          </a:cubicBezTo>
                          <a:cubicBezTo>
                            <a:pt x="1409" y="2307"/>
                            <a:pt x="1413" y="2308"/>
                            <a:pt x="1415" y="2307"/>
                          </a:cubicBezTo>
                          <a:cubicBezTo>
                            <a:pt x="1418" y="2306"/>
                            <a:pt x="1415" y="2303"/>
                            <a:pt x="1418" y="2298"/>
                          </a:cubicBezTo>
                          <a:cubicBezTo>
                            <a:pt x="1421" y="2293"/>
                            <a:pt x="1422" y="2291"/>
                            <a:pt x="1426" y="2290"/>
                          </a:cubicBezTo>
                          <a:cubicBezTo>
                            <a:pt x="1430" y="2288"/>
                            <a:pt x="1431" y="2288"/>
                            <a:pt x="1431" y="2281"/>
                          </a:cubicBezTo>
                          <a:cubicBezTo>
                            <a:pt x="1431" y="2273"/>
                            <a:pt x="1431" y="2267"/>
                            <a:pt x="1433" y="2265"/>
                          </a:cubicBezTo>
                          <a:cubicBezTo>
                            <a:pt x="1436" y="2263"/>
                            <a:pt x="1439" y="2259"/>
                            <a:pt x="1441" y="2259"/>
                          </a:cubicBezTo>
                          <a:cubicBezTo>
                            <a:pt x="1442" y="2258"/>
                            <a:pt x="1446" y="2255"/>
                            <a:pt x="1441" y="2254"/>
                          </a:cubicBezTo>
                          <a:cubicBezTo>
                            <a:pt x="1436" y="2253"/>
                            <a:pt x="1425" y="2252"/>
                            <a:pt x="1423" y="2252"/>
                          </a:cubicBezTo>
                          <a:cubicBezTo>
                            <a:pt x="1421" y="2252"/>
                            <a:pt x="1417" y="2252"/>
                            <a:pt x="1415" y="2251"/>
                          </a:cubicBezTo>
                          <a:cubicBezTo>
                            <a:pt x="1412" y="2249"/>
                            <a:pt x="1407" y="2243"/>
                            <a:pt x="1406" y="2242"/>
                          </a:cubicBezTo>
                          <a:cubicBezTo>
                            <a:pt x="1405" y="2241"/>
                            <a:pt x="1400" y="2238"/>
                            <a:pt x="1400" y="2241"/>
                          </a:cubicBezTo>
                          <a:cubicBezTo>
                            <a:pt x="1400" y="2245"/>
                            <a:pt x="1398" y="2252"/>
                            <a:pt x="1401" y="2254"/>
                          </a:cubicBezTo>
                          <a:cubicBezTo>
                            <a:pt x="1404" y="2256"/>
                            <a:pt x="1407" y="2257"/>
                            <a:pt x="1405" y="2261"/>
                          </a:cubicBezTo>
                          <a:cubicBezTo>
                            <a:pt x="1403" y="2265"/>
                            <a:pt x="1398" y="2267"/>
                            <a:pt x="1397" y="2269"/>
                          </a:cubicBezTo>
                          <a:cubicBezTo>
                            <a:pt x="1397" y="2271"/>
                            <a:pt x="1399" y="2273"/>
                            <a:pt x="1397" y="2277"/>
                          </a:cubicBezTo>
                          <a:cubicBezTo>
                            <a:pt x="1395" y="2282"/>
                            <a:pt x="1390" y="2280"/>
                            <a:pt x="1390" y="2285"/>
                          </a:cubicBezTo>
                          <a:cubicBezTo>
                            <a:pt x="1390" y="2290"/>
                            <a:pt x="1392" y="2293"/>
                            <a:pt x="1390" y="2298"/>
                          </a:cubicBezTo>
                          <a:cubicBezTo>
                            <a:pt x="1388" y="2302"/>
                            <a:pt x="1386" y="2300"/>
                            <a:pt x="1384" y="2305"/>
                          </a:cubicBezTo>
                          <a:cubicBezTo>
                            <a:pt x="1381" y="2310"/>
                            <a:pt x="1378" y="2310"/>
                            <a:pt x="1376" y="2311"/>
                          </a:cubicBezTo>
                          <a:cubicBezTo>
                            <a:pt x="1374" y="2313"/>
                            <a:pt x="1373" y="2312"/>
                            <a:pt x="1370" y="2316"/>
                          </a:cubicBezTo>
                          <a:cubicBezTo>
                            <a:pt x="1367" y="2320"/>
                            <a:pt x="1363" y="2318"/>
                            <a:pt x="1360" y="2322"/>
                          </a:cubicBezTo>
                          <a:cubicBezTo>
                            <a:pt x="1357" y="2327"/>
                            <a:pt x="1357" y="2333"/>
                            <a:pt x="1356" y="2336"/>
                          </a:cubicBezTo>
                          <a:cubicBezTo>
                            <a:pt x="1356" y="2339"/>
                            <a:pt x="1356" y="2342"/>
                            <a:pt x="1351" y="2344"/>
                          </a:cubicBezTo>
                          <a:cubicBezTo>
                            <a:pt x="1347" y="2345"/>
                            <a:pt x="1343" y="2342"/>
                            <a:pt x="1342" y="2350"/>
                          </a:cubicBezTo>
                          <a:cubicBezTo>
                            <a:pt x="1342" y="2357"/>
                            <a:pt x="1339" y="2363"/>
                            <a:pt x="1341" y="2367"/>
                          </a:cubicBezTo>
                          <a:cubicBezTo>
                            <a:pt x="1343" y="2371"/>
                            <a:pt x="1347" y="2373"/>
                            <a:pt x="1347" y="2378"/>
                          </a:cubicBezTo>
                          <a:cubicBezTo>
                            <a:pt x="1346" y="2383"/>
                            <a:pt x="1346" y="2386"/>
                            <a:pt x="1343" y="2391"/>
                          </a:cubicBezTo>
                          <a:cubicBezTo>
                            <a:pt x="1339" y="2397"/>
                            <a:pt x="1330" y="2404"/>
                            <a:pt x="1329" y="2411"/>
                          </a:cubicBezTo>
                          <a:cubicBezTo>
                            <a:pt x="1328" y="2418"/>
                            <a:pt x="1328" y="2424"/>
                            <a:pt x="1321" y="2436"/>
                          </a:cubicBezTo>
                          <a:cubicBezTo>
                            <a:pt x="1314" y="2447"/>
                            <a:pt x="1312" y="2453"/>
                            <a:pt x="1302" y="2461"/>
                          </a:cubicBezTo>
                          <a:cubicBezTo>
                            <a:pt x="1291" y="2469"/>
                            <a:pt x="1278" y="2472"/>
                            <a:pt x="1274" y="2480"/>
                          </a:cubicBezTo>
                          <a:cubicBezTo>
                            <a:pt x="1273" y="2483"/>
                            <a:pt x="1271" y="2485"/>
                            <a:pt x="1269" y="2487"/>
                          </a:cubicBezTo>
                          <a:cubicBezTo>
                            <a:pt x="1266" y="2484"/>
                            <a:pt x="1264" y="2480"/>
                            <a:pt x="1264" y="2475"/>
                          </a:cubicBezTo>
                          <a:cubicBezTo>
                            <a:pt x="1264" y="2472"/>
                            <a:pt x="1264" y="2469"/>
                            <a:pt x="1264" y="2466"/>
                          </a:cubicBezTo>
                          <a:cubicBezTo>
                            <a:pt x="1265" y="2460"/>
                            <a:pt x="1266" y="2452"/>
                            <a:pt x="1263" y="2435"/>
                          </a:cubicBezTo>
                          <a:cubicBezTo>
                            <a:pt x="1262" y="2431"/>
                            <a:pt x="1261" y="2429"/>
                            <a:pt x="1261" y="2427"/>
                          </a:cubicBezTo>
                          <a:cubicBezTo>
                            <a:pt x="1257" y="2408"/>
                            <a:pt x="1256" y="2400"/>
                            <a:pt x="1246" y="2384"/>
                          </a:cubicBezTo>
                          <a:cubicBezTo>
                            <a:pt x="1239" y="2372"/>
                            <a:pt x="1231" y="2364"/>
                            <a:pt x="1223" y="2357"/>
                          </a:cubicBezTo>
                          <a:cubicBezTo>
                            <a:pt x="1219" y="2353"/>
                            <a:pt x="1214" y="2350"/>
                            <a:pt x="1211" y="2346"/>
                          </a:cubicBezTo>
                          <a:cubicBezTo>
                            <a:pt x="1206" y="2340"/>
                            <a:pt x="1200" y="2336"/>
                            <a:pt x="1195" y="2332"/>
                          </a:cubicBezTo>
                          <a:cubicBezTo>
                            <a:pt x="1187" y="2327"/>
                            <a:pt x="1180" y="2324"/>
                            <a:pt x="1175" y="2323"/>
                          </a:cubicBezTo>
                          <a:cubicBezTo>
                            <a:pt x="1170" y="2321"/>
                            <a:pt x="1163" y="2318"/>
                            <a:pt x="1157" y="2313"/>
                          </a:cubicBezTo>
                          <a:cubicBezTo>
                            <a:pt x="1153" y="2310"/>
                            <a:pt x="1149" y="2307"/>
                            <a:pt x="1147" y="2303"/>
                          </a:cubicBezTo>
                          <a:cubicBezTo>
                            <a:pt x="1147" y="2302"/>
                            <a:pt x="1146" y="2301"/>
                            <a:pt x="1146" y="2300"/>
                          </a:cubicBezTo>
                          <a:cubicBezTo>
                            <a:pt x="1143" y="2295"/>
                            <a:pt x="1139" y="2293"/>
                            <a:pt x="1135" y="2292"/>
                          </a:cubicBezTo>
                          <a:cubicBezTo>
                            <a:pt x="1135" y="2292"/>
                            <a:pt x="1135" y="2292"/>
                            <a:pt x="1135" y="2292"/>
                          </a:cubicBezTo>
                          <a:cubicBezTo>
                            <a:pt x="1132" y="2292"/>
                            <a:pt x="1128" y="2292"/>
                            <a:pt x="1127" y="2293"/>
                          </a:cubicBezTo>
                          <a:cubicBezTo>
                            <a:pt x="1126" y="2294"/>
                            <a:pt x="1126" y="2294"/>
                            <a:pt x="1126" y="2294"/>
                          </a:cubicBezTo>
                          <a:cubicBezTo>
                            <a:pt x="1125" y="2295"/>
                            <a:pt x="1124" y="2295"/>
                            <a:pt x="1123" y="2296"/>
                          </a:cubicBezTo>
                          <a:cubicBezTo>
                            <a:pt x="1121" y="2298"/>
                            <a:pt x="1117" y="2301"/>
                            <a:pt x="1113" y="2301"/>
                          </a:cubicBezTo>
                          <a:cubicBezTo>
                            <a:pt x="1111" y="2302"/>
                            <a:pt x="1109" y="2296"/>
                            <a:pt x="1108" y="2290"/>
                          </a:cubicBezTo>
                          <a:cubicBezTo>
                            <a:pt x="1108" y="2289"/>
                            <a:pt x="1107" y="2287"/>
                            <a:pt x="1107" y="2286"/>
                          </a:cubicBezTo>
                          <a:cubicBezTo>
                            <a:pt x="1107" y="2286"/>
                            <a:pt x="1107" y="2286"/>
                            <a:pt x="1107" y="2286"/>
                          </a:cubicBezTo>
                          <a:cubicBezTo>
                            <a:pt x="1105" y="2280"/>
                            <a:pt x="1099" y="2275"/>
                            <a:pt x="1093" y="2270"/>
                          </a:cubicBezTo>
                          <a:cubicBezTo>
                            <a:pt x="1088" y="2266"/>
                            <a:pt x="1084" y="2263"/>
                            <a:pt x="1081" y="2259"/>
                          </a:cubicBezTo>
                          <a:cubicBezTo>
                            <a:pt x="1077" y="2254"/>
                            <a:pt x="1072" y="2249"/>
                            <a:pt x="1066" y="2245"/>
                          </a:cubicBezTo>
                          <a:cubicBezTo>
                            <a:pt x="1061" y="2241"/>
                            <a:pt x="1056" y="2238"/>
                            <a:pt x="1053" y="2238"/>
                          </a:cubicBezTo>
                          <a:cubicBezTo>
                            <a:pt x="1048" y="2237"/>
                            <a:pt x="1046" y="2240"/>
                            <a:pt x="1043" y="2243"/>
                          </a:cubicBezTo>
                          <a:cubicBezTo>
                            <a:pt x="1040" y="2246"/>
                            <a:pt x="1037" y="2249"/>
                            <a:pt x="1032" y="2248"/>
                          </a:cubicBezTo>
                          <a:cubicBezTo>
                            <a:pt x="1025" y="2246"/>
                            <a:pt x="1019" y="2242"/>
                            <a:pt x="1016" y="2240"/>
                          </a:cubicBezTo>
                          <a:cubicBezTo>
                            <a:pt x="1022" y="2232"/>
                            <a:pt x="1028" y="2226"/>
                            <a:pt x="1031" y="2224"/>
                          </a:cubicBezTo>
                          <a:cubicBezTo>
                            <a:pt x="1033" y="2222"/>
                            <a:pt x="1038" y="2217"/>
                            <a:pt x="1044" y="2211"/>
                          </a:cubicBezTo>
                          <a:cubicBezTo>
                            <a:pt x="1057" y="2197"/>
                            <a:pt x="1078" y="2176"/>
                            <a:pt x="1091" y="2166"/>
                          </a:cubicBezTo>
                          <a:cubicBezTo>
                            <a:pt x="1097" y="2161"/>
                            <a:pt x="1101" y="2158"/>
                            <a:pt x="1104" y="2156"/>
                          </a:cubicBezTo>
                          <a:cubicBezTo>
                            <a:pt x="1113" y="2150"/>
                            <a:pt x="1115" y="2148"/>
                            <a:pt x="1121" y="2137"/>
                          </a:cubicBezTo>
                          <a:cubicBezTo>
                            <a:pt x="1124" y="2131"/>
                            <a:pt x="1125" y="2126"/>
                            <a:pt x="1126" y="2122"/>
                          </a:cubicBezTo>
                          <a:cubicBezTo>
                            <a:pt x="1127" y="2117"/>
                            <a:pt x="1128" y="2113"/>
                            <a:pt x="1133" y="2109"/>
                          </a:cubicBezTo>
                          <a:cubicBezTo>
                            <a:pt x="1138" y="2105"/>
                            <a:pt x="1144" y="2101"/>
                            <a:pt x="1150" y="2097"/>
                          </a:cubicBezTo>
                          <a:cubicBezTo>
                            <a:pt x="1158" y="2092"/>
                            <a:pt x="1166" y="2087"/>
                            <a:pt x="1173" y="2082"/>
                          </a:cubicBezTo>
                          <a:cubicBezTo>
                            <a:pt x="1179" y="2077"/>
                            <a:pt x="1185" y="2075"/>
                            <a:pt x="1192" y="2073"/>
                          </a:cubicBezTo>
                          <a:cubicBezTo>
                            <a:pt x="1192" y="2073"/>
                            <a:pt x="1192" y="2073"/>
                            <a:pt x="1192" y="2073"/>
                          </a:cubicBezTo>
                          <a:cubicBezTo>
                            <a:pt x="1198" y="2071"/>
                            <a:pt x="1203" y="2069"/>
                            <a:pt x="1209" y="2065"/>
                          </a:cubicBezTo>
                          <a:cubicBezTo>
                            <a:pt x="1212" y="2063"/>
                            <a:pt x="1216" y="2061"/>
                            <a:pt x="1221" y="2059"/>
                          </a:cubicBezTo>
                          <a:cubicBezTo>
                            <a:pt x="1221" y="2059"/>
                            <a:pt x="1221" y="2059"/>
                            <a:pt x="1221" y="2059"/>
                          </a:cubicBezTo>
                          <a:cubicBezTo>
                            <a:pt x="1235" y="2054"/>
                            <a:pt x="1251" y="2048"/>
                            <a:pt x="1253" y="2028"/>
                          </a:cubicBezTo>
                          <a:cubicBezTo>
                            <a:pt x="1255" y="2016"/>
                            <a:pt x="1256" y="2005"/>
                            <a:pt x="1256" y="1996"/>
                          </a:cubicBezTo>
                          <a:cubicBezTo>
                            <a:pt x="1256" y="1996"/>
                            <a:pt x="1256" y="1996"/>
                            <a:pt x="1256" y="1996"/>
                          </a:cubicBezTo>
                          <a:cubicBezTo>
                            <a:pt x="1256" y="1987"/>
                            <a:pt x="1255" y="1980"/>
                            <a:pt x="1254" y="1973"/>
                          </a:cubicBezTo>
                          <a:cubicBezTo>
                            <a:pt x="1253" y="1967"/>
                            <a:pt x="1251" y="1961"/>
                            <a:pt x="1248" y="1956"/>
                          </a:cubicBezTo>
                          <a:cubicBezTo>
                            <a:pt x="1245" y="1951"/>
                            <a:pt x="1240" y="1946"/>
                            <a:pt x="1235" y="1941"/>
                          </a:cubicBezTo>
                          <a:cubicBezTo>
                            <a:pt x="1226" y="1934"/>
                            <a:pt x="1209" y="1939"/>
                            <a:pt x="1199" y="1942"/>
                          </a:cubicBezTo>
                          <a:cubicBezTo>
                            <a:pt x="1201" y="1934"/>
                            <a:pt x="1203" y="1925"/>
                            <a:pt x="1204" y="1917"/>
                          </a:cubicBezTo>
                          <a:cubicBezTo>
                            <a:pt x="1207" y="1901"/>
                            <a:pt x="1210" y="1888"/>
                            <a:pt x="1210" y="1880"/>
                          </a:cubicBezTo>
                          <a:cubicBezTo>
                            <a:pt x="1209" y="1871"/>
                            <a:pt x="1211" y="1863"/>
                            <a:pt x="1213" y="1855"/>
                          </a:cubicBezTo>
                          <a:cubicBezTo>
                            <a:pt x="1213" y="1852"/>
                            <a:pt x="1214" y="1849"/>
                            <a:pt x="1214" y="1847"/>
                          </a:cubicBezTo>
                          <a:cubicBezTo>
                            <a:pt x="1215" y="1843"/>
                            <a:pt x="1216" y="1840"/>
                            <a:pt x="1217" y="1838"/>
                          </a:cubicBezTo>
                          <a:cubicBezTo>
                            <a:pt x="1211" y="1833"/>
                            <a:pt x="1211" y="1833"/>
                            <a:pt x="1211" y="1833"/>
                          </a:cubicBezTo>
                          <a:cubicBezTo>
                            <a:pt x="1208" y="1831"/>
                            <a:pt x="1204" y="1830"/>
                            <a:pt x="1200" y="1828"/>
                          </a:cubicBezTo>
                          <a:cubicBezTo>
                            <a:pt x="1193" y="1827"/>
                            <a:pt x="1186" y="1826"/>
                            <a:pt x="1180" y="1826"/>
                          </a:cubicBezTo>
                          <a:cubicBezTo>
                            <a:pt x="1176" y="1826"/>
                            <a:pt x="1171" y="1827"/>
                            <a:pt x="1167" y="1828"/>
                          </a:cubicBezTo>
                          <a:cubicBezTo>
                            <a:pt x="1162" y="1829"/>
                            <a:pt x="1158" y="1830"/>
                            <a:pt x="1154" y="1829"/>
                          </a:cubicBezTo>
                          <a:cubicBezTo>
                            <a:pt x="1150" y="1829"/>
                            <a:pt x="1148" y="1827"/>
                            <a:pt x="1147" y="1825"/>
                          </a:cubicBezTo>
                          <a:cubicBezTo>
                            <a:pt x="1145" y="1822"/>
                            <a:pt x="1144" y="1818"/>
                            <a:pt x="1143" y="1813"/>
                          </a:cubicBezTo>
                          <a:cubicBezTo>
                            <a:pt x="1141" y="1808"/>
                            <a:pt x="1141" y="1803"/>
                            <a:pt x="1140" y="1797"/>
                          </a:cubicBezTo>
                          <a:cubicBezTo>
                            <a:pt x="1139" y="1790"/>
                            <a:pt x="1138" y="1782"/>
                            <a:pt x="1136" y="1773"/>
                          </a:cubicBezTo>
                          <a:cubicBezTo>
                            <a:pt x="1135" y="1768"/>
                            <a:pt x="1134" y="1763"/>
                            <a:pt x="1133" y="1758"/>
                          </a:cubicBezTo>
                          <a:cubicBezTo>
                            <a:pt x="1130" y="1744"/>
                            <a:pt x="1128" y="1732"/>
                            <a:pt x="1122" y="1727"/>
                          </a:cubicBezTo>
                          <a:cubicBezTo>
                            <a:pt x="1117" y="1722"/>
                            <a:pt x="1113" y="1722"/>
                            <a:pt x="1109" y="1722"/>
                          </a:cubicBezTo>
                          <a:cubicBezTo>
                            <a:pt x="1107" y="1721"/>
                            <a:pt x="1104" y="1721"/>
                            <a:pt x="1101" y="1720"/>
                          </a:cubicBezTo>
                          <a:cubicBezTo>
                            <a:pt x="1099" y="1719"/>
                            <a:pt x="1097" y="1717"/>
                            <a:pt x="1095" y="1716"/>
                          </a:cubicBezTo>
                          <a:cubicBezTo>
                            <a:pt x="1090" y="1713"/>
                            <a:pt x="1086" y="1711"/>
                            <a:pt x="1080" y="1711"/>
                          </a:cubicBezTo>
                          <a:cubicBezTo>
                            <a:pt x="1076" y="1712"/>
                            <a:pt x="1073" y="1714"/>
                            <a:pt x="1070" y="1716"/>
                          </a:cubicBezTo>
                          <a:cubicBezTo>
                            <a:pt x="1067" y="1718"/>
                            <a:pt x="1064" y="1720"/>
                            <a:pt x="1057" y="1720"/>
                          </a:cubicBezTo>
                          <a:cubicBezTo>
                            <a:pt x="1050" y="1721"/>
                            <a:pt x="1039" y="1718"/>
                            <a:pt x="1028" y="1715"/>
                          </a:cubicBezTo>
                          <a:cubicBezTo>
                            <a:pt x="1020" y="1713"/>
                            <a:pt x="1013" y="1711"/>
                            <a:pt x="1009" y="1711"/>
                          </a:cubicBezTo>
                          <a:cubicBezTo>
                            <a:pt x="1007" y="1711"/>
                            <a:pt x="1005" y="1711"/>
                            <a:pt x="1003" y="1711"/>
                          </a:cubicBezTo>
                          <a:cubicBezTo>
                            <a:pt x="996" y="1711"/>
                            <a:pt x="990" y="1711"/>
                            <a:pt x="990" y="1710"/>
                          </a:cubicBezTo>
                          <a:cubicBezTo>
                            <a:pt x="989" y="1709"/>
                            <a:pt x="988" y="1706"/>
                            <a:pt x="988" y="1702"/>
                          </a:cubicBezTo>
                          <a:cubicBezTo>
                            <a:pt x="989" y="1697"/>
                            <a:pt x="989" y="1692"/>
                            <a:pt x="991" y="1684"/>
                          </a:cubicBezTo>
                          <a:cubicBezTo>
                            <a:pt x="992" y="1681"/>
                            <a:pt x="993" y="1677"/>
                            <a:pt x="993" y="1674"/>
                          </a:cubicBezTo>
                          <a:cubicBezTo>
                            <a:pt x="993" y="1674"/>
                            <a:pt x="993" y="1674"/>
                            <a:pt x="993" y="1674"/>
                          </a:cubicBezTo>
                          <a:cubicBezTo>
                            <a:pt x="996" y="1664"/>
                            <a:pt x="997" y="1658"/>
                            <a:pt x="997" y="1643"/>
                          </a:cubicBezTo>
                          <a:cubicBezTo>
                            <a:pt x="996" y="1629"/>
                            <a:pt x="992" y="1618"/>
                            <a:pt x="988" y="1608"/>
                          </a:cubicBezTo>
                          <a:cubicBezTo>
                            <a:pt x="986" y="1604"/>
                            <a:pt x="984" y="1601"/>
                            <a:pt x="983" y="1597"/>
                          </a:cubicBezTo>
                          <a:cubicBezTo>
                            <a:pt x="983" y="1595"/>
                            <a:pt x="982" y="1593"/>
                            <a:pt x="981" y="1591"/>
                          </a:cubicBezTo>
                          <a:cubicBezTo>
                            <a:pt x="978" y="1580"/>
                            <a:pt x="974" y="1570"/>
                            <a:pt x="977" y="1563"/>
                          </a:cubicBezTo>
                          <a:cubicBezTo>
                            <a:pt x="978" y="1561"/>
                            <a:pt x="979" y="1558"/>
                            <a:pt x="980" y="1556"/>
                          </a:cubicBezTo>
                          <a:cubicBezTo>
                            <a:pt x="984" y="1545"/>
                            <a:pt x="991" y="1530"/>
                            <a:pt x="998" y="1518"/>
                          </a:cubicBezTo>
                          <a:cubicBezTo>
                            <a:pt x="1003" y="1510"/>
                            <a:pt x="1007" y="1503"/>
                            <a:pt x="1009" y="1496"/>
                          </a:cubicBezTo>
                          <a:cubicBezTo>
                            <a:pt x="1012" y="1489"/>
                            <a:pt x="1014" y="1482"/>
                            <a:pt x="1014" y="1473"/>
                          </a:cubicBezTo>
                          <a:cubicBezTo>
                            <a:pt x="1014" y="1473"/>
                            <a:pt x="1014" y="1473"/>
                            <a:pt x="1014" y="1473"/>
                          </a:cubicBezTo>
                          <a:cubicBezTo>
                            <a:pt x="1015" y="1465"/>
                            <a:pt x="1014" y="1457"/>
                            <a:pt x="1012" y="1450"/>
                          </a:cubicBezTo>
                          <a:cubicBezTo>
                            <a:pt x="1011" y="1443"/>
                            <a:pt x="1008" y="1436"/>
                            <a:pt x="1004" y="1429"/>
                          </a:cubicBezTo>
                          <a:cubicBezTo>
                            <a:pt x="999" y="1419"/>
                            <a:pt x="994" y="1416"/>
                            <a:pt x="986" y="1411"/>
                          </a:cubicBezTo>
                          <a:cubicBezTo>
                            <a:pt x="983" y="1409"/>
                            <a:pt x="979" y="1407"/>
                            <a:pt x="974" y="1403"/>
                          </a:cubicBezTo>
                          <a:cubicBezTo>
                            <a:pt x="968" y="1398"/>
                            <a:pt x="963" y="1393"/>
                            <a:pt x="961" y="1387"/>
                          </a:cubicBezTo>
                          <a:cubicBezTo>
                            <a:pt x="958" y="1382"/>
                            <a:pt x="958" y="1376"/>
                            <a:pt x="959" y="1370"/>
                          </a:cubicBezTo>
                          <a:cubicBezTo>
                            <a:pt x="959" y="1367"/>
                            <a:pt x="960" y="1363"/>
                            <a:pt x="961" y="1360"/>
                          </a:cubicBezTo>
                          <a:cubicBezTo>
                            <a:pt x="964" y="1350"/>
                            <a:pt x="967" y="1340"/>
                            <a:pt x="960" y="1336"/>
                          </a:cubicBezTo>
                          <a:cubicBezTo>
                            <a:pt x="953" y="1330"/>
                            <a:pt x="920" y="1332"/>
                            <a:pt x="902" y="1333"/>
                          </a:cubicBezTo>
                          <a:cubicBezTo>
                            <a:pt x="901" y="1333"/>
                            <a:pt x="901" y="1333"/>
                            <a:pt x="901" y="1333"/>
                          </a:cubicBezTo>
                          <a:cubicBezTo>
                            <a:pt x="897" y="1334"/>
                            <a:pt x="893" y="1334"/>
                            <a:pt x="888" y="1335"/>
                          </a:cubicBezTo>
                          <a:cubicBezTo>
                            <a:pt x="875" y="1336"/>
                            <a:pt x="860" y="1338"/>
                            <a:pt x="857" y="1334"/>
                          </a:cubicBezTo>
                          <a:cubicBezTo>
                            <a:pt x="855" y="1332"/>
                            <a:pt x="855" y="1324"/>
                            <a:pt x="855" y="1315"/>
                          </a:cubicBezTo>
                          <a:cubicBezTo>
                            <a:pt x="855" y="1307"/>
                            <a:pt x="855" y="1299"/>
                            <a:pt x="853" y="1292"/>
                          </a:cubicBezTo>
                          <a:cubicBezTo>
                            <a:pt x="850" y="1285"/>
                            <a:pt x="845" y="1280"/>
                            <a:pt x="840" y="1277"/>
                          </a:cubicBezTo>
                          <a:cubicBezTo>
                            <a:pt x="837" y="1274"/>
                            <a:pt x="834" y="1272"/>
                            <a:pt x="834" y="1270"/>
                          </a:cubicBezTo>
                          <a:cubicBezTo>
                            <a:pt x="834" y="1268"/>
                            <a:pt x="834" y="1268"/>
                            <a:pt x="835" y="1267"/>
                          </a:cubicBezTo>
                          <a:cubicBezTo>
                            <a:pt x="837" y="1265"/>
                            <a:pt x="840" y="1262"/>
                            <a:pt x="842" y="1255"/>
                          </a:cubicBezTo>
                          <a:cubicBezTo>
                            <a:pt x="845" y="1248"/>
                            <a:pt x="845" y="1236"/>
                            <a:pt x="844" y="1225"/>
                          </a:cubicBezTo>
                          <a:cubicBezTo>
                            <a:pt x="844" y="1212"/>
                            <a:pt x="841" y="1200"/>
                            <a:pt x="838" y="1194"/>
                          </a:cubicBezTo>
                          <a:cubicBezTo>
                            <a:pt x="835" y="1189"/>
                            <a:pt x="828" y="1181"/>
                            <a:pt x="820" y="1175"/>
                          </a:cubicBezTo>
                          <a:cubicBezTo>
                            <a:pt x="812" y="1168"/>
                            <a:pt x="803" y="1161"/>
                            <a:pt x="798" y="1160"/>
                          </a:cubicBezTo>
                          <a:cubicBezTo>
                            <a:pt x="794" y="1159"/>
                            <a:pt x="788" y="1159"/>
                            <a:pt x="782" y="1160"/>
                          </a:cubicBezTo>
                          <a:cubicBezTo>
                            <a:pt x="776" y="1161"/>
                            <a:pt x="770" y="1162"/>
                            <a:pt x="763" y="1162"/>
                          </a:cubicBezTo>
                          <a:cubicBezTo>
                            <a:pt x="753" y="1162"/>
                            <a:pt x="744" y="1152"/>
                            <a:pt x="738" y="1145"/>
                          </a:cubicBezTo>
                          <a:cubicBezTo>
                            <a:pt x="735" y="1142"/>
                            <a:pt x="732" y="1139"/>
                            <a:pt x="730" y="1137"/>
                          </a:cubicBezTo>
                          <a:cubicBezTo>
                            <a:pt x="724" y="1133"/>
                            <a:pt x="715" y="1132"/>
                            <a:pt x="706" y="1131"/>
                          </a:cubicBezTo>
                          <a:cubicBezTo>
                            <a:pt x="702" y="1130"/>
                            <a:pt x="699" y="1130"/>
                            <a:pt x="696" y="1129"/>
                          </a:cubicBezTo>
                          <a:cubicBezTo>
                            <a:pt x="693" y="1129"/>
                            <a:pt x="689" y="1124"/>
                            <a:pt x="684" y="1118"/>
                          </a:cubicBezTo>
                          <a:cubicBezTo>
                            <a:pt x="679" y="1113"/>
                            <a:pt x="674" y="1107"/>
                            <a:pt x="668" y="1104"/>
                          </a:cubicBezTo>
                          <a:cubicBezTo>
                            <a:pt x="663" y="1101"/>
                            <a:pt x="656" y="1098"/>
                            <a:pt x="648" y="1096"/>
                          </a:cubicBezTo>
                          <a:cubicBezTo>
                            <a:pt x="640" y="1094"/>
                            <a:pt x="631" y="1093"/>
                            <a:pt x="623" y="1093"/>
                          </a:cubicBezTo>
                          <a:cubicBezTo>
                            <a:pt x="618" y="1093"/>
                            <a:pt x="614" y="1093"/>
                            <a:pt x="610" y="1093"/>
                          </a:cubicBezTo>
                          <a:cubicBezTo>
                            <a:pt x="602" y="1094"/>
                            <a:pt x="595" y="1094"/>
                            <a:pt x="591" y="1091"/>
                          </a:cubicBezTo>
                          <a:cubicBezTo>
                            <a:pt x="587" y="1088"/>
                            <a:pt x="569" y="1070"/>
                            <a:pt x="555" y="1054"/>
                          </a:cubicBezTo>
                          <a:cubicBezTo>
                            <a:pt x="545" y="1043"/>
                            <a:pt x="536" y="1033"/>
                            <a:pt x="535" y="1030"/>
                          </a:cubicBezTo>
                          <a:cubicBezTo>
                            <a:pt x="533" y="1023"/>
                            <a:pt x="533" y="989"/>
                            <a:pt x="533" y="967"/>
                          </a:cubicBezTo>
                          <a:cubicBezTo>
                            <a:pt x="533" y="958"/>
                            <a:pt x="533" y="951"/>
                            <a:pt x="533" y="949"/>
                          </a:cubicBezTo>
                          <a:cubicBezTo>
                            <a:pt x="533" y="947"/>
                            <a:pt x="533" y="946"/>
                            <a:pt x="533" y="945"/>
                          </a:cubicBezTo>
                          <a:cubicBezTo>
                            <a:pt x="533" y="945"/>
                            <a:pt x="533" y="945"/>
                            <a:pt x="533" y="945"/>
                          </a:cubicBezTo>
                          <a:cubicBezTo>
                            <a:pt x="533" y="937"/>
                            <a:pt x="533" y="933"/>
                            <a:pt x="524" y="927"/>
                          </a:cubicBezTo>
                          <a:cubicBezTo>
                            <a:pt x="520" y="925"/>
                            <a:pt x="510" y="924"/>
                            <a:pt x="498" y="925"/>
                          </a:cubicBezTo>
                          <a:cubicBezTo>
                            <a:pt x="484" y="925"/>
                            <a:pt x="467" y="927"/>
                            <a:pt x="458" y="929"/>
                          </a:cubicBezTo>
                          <a:cubicBezTo>
                            <a:pt x="449" y="931"/>
                            <a:pt x="443" y="937"/>
                            <a:pt x="436" y="944"/>
                          </a:cubicBezTo>
                          <a:cubicBezTo>
                            <a:pt x="431" y="948"/>
                            <a:pt x="426" y="953"/>
                            <a:pt x="420" y="956"/>
                          </a:cubicBezTo>
                          <a:cubicBezTo>
                            <a:pt x="412" y="961"/>
                            <a:pt x="402" y="966"/>
                            <a:pt x="393" y="971"/>
                          </a:cubicBezTo>
                          <a:cubicBezTo>
                            <a:pt x="382" y="976"/>
                            <a:pt x="371" y="981"/>
                            <a:pt x="363" y="985"/>
                          </a:cubicBezTo>
                          <a:cubicBezTo>
                            <a:pt x="356" y="988"/>
                            <a:pt x="351" y="992"/>
                            <a:pt x="345" y="995"/>
                          </a:cubicBezTo>
                          <a:cubicBezTo>
                            <a:pt x="337" y="1001"/>
                            <a:pt x="329" y="1006"/>
                            <a:pt x="322" y="1005"/>
                          </a:cubicBezTo>
                          <a:cubicBezTo>
                            <a:pt x="315" y="1004"/>
                            <a:pt x="309" y="1003"/>
                            <a:pt x="303" y="1003"/>
                          </a:cubicBezTo>
                          <a:cubicBezTo>
                            <a:pt x="298" y="1003"/>
                            <a:pt x="293" y="1002"/>
                            <a:pt x="290" y="1002"/>
                          </a:cubicBezTo>
                          <a:cubicBezTo>
                            <a:pt x="287" y="1002"/>
                            <a:pt x="283" y="1003"/>
                            <a:pt x="280" y="1004"/>
                          </a:cubicBezTo>
                          <a:cubicBezTo>
                            <a:pt x="280" y="1004"/>
                            <a:pt x="280" y="1004"/>
                            <a:pt x="280" y="1004"/>
                          </a:cubicBezTo>
                          <a:cubicBezTo>
                            <a:pt x="278" y="1004"/>
                            <a:pt x="276" y="1005"/>
                            <a:pt x="274" y="1006"/>
                          </a:cubicBezTo>
                          <a:cubicBezTo>
                            <a:pt x="273" y="1004"/>
                            <a:pt x="272" y="1003"/>
                            <a:pt x="271" y="1002"/>
                          </a:cubicBezTo>
                          <a:cubicBezTo>
                            <a:pt x="266" y="998"/>
                            <a:pt x="260" y="997"/>
                            <a:pt x="255" y="997"/>
                          </a:cubicBezTo>
                          <a:cubicBezTo>
                            <a:pt x="247" y="997"/>
                            <a:pt x="240" y="999"/>
                            <a:pt x="236" y="1002"/>
                          </a:cubicBezTo>
                          <a:cubicBezTo>
                            <a:pt x="234" y="1003"/>
                            <a:pt x="230" y="1005"/>
                            <a:pt x="226" y="1005"/>
                          </a:cubicBezTo>
                          <a:cubicBezTo>
                            <a:pt x="223" y="1006"/>
                            <a:pt x="220" y="1005"/>
                            <a:pt x="218" y="1004"/>
                          </a:cubicBezTo>
                          <a:cubicBezTo>
                            <a:pt x="216" y="1003"/>
                            <a:pt x="214" y="1002"/>
                            <a:pt x="212" y="1002"/>
                          </a:cubicBezTo>
                          <a:cubicBezTo>
                            <a:pt x="209" y="1001"/>
                            <a:pt x="206" y="1000"/>
                            <a:pt x="206" y="994"/>
                          </a:cubicBezTo>
                          <a:cubicBezTo>
                            <a:pt x="206" y="987"/>
                            <a:pt x="207" y="963"/>
                            <a:pt x="208" y="944"/>
                          </a:cubicBezTo>
                          <a:cubicBezTo>
                            <a:pt x="208" y="929"/>
                            <a:pt x="209" y="917"/>
                            <a:pt x="209" y="915"/>
                          </a:cubicBezTo>
                          <a:cubicBezTo>
                            <a:pt x="209" y="914"/>
                            <a:pt x="208" y="912"/>
                            <a:pt x="208" y="911"/>
                          </a:cubicBezTo>
                          <a:cubicBezTo>
                            <a:pt x="206" y="909"/>
                            <a:pt x="204" y="908"/>
                            <a:pt x="202" y="908"/>
                          </a:cubicBezTo>
                          <a:cubicBezTo>
                            <a:pt x="200" y="909"/>
                            <a:pt x="198" y="909"/>
                            <a:pt x="196" y="910"/>
                          </a:cubicBezTo>
                          <a:cubicBezTo>
                            <a:pt x="191" y="912"/>
                            <a:pt x="185" y="916"/>
                            <a:pt x="181" y="921"/>
                          </a:cubicBezTo>
                          <a:cubicBezTo>
                            <a:pt x="179" y="923"/>
                            <a:pt x="177" y="924"/>
                            <a:pt x="176" y="926"/>
                          </a:cubicBezTo>
                          <a:cubicBezTo>
                            <a:pt x="172" y="930"/>
                            <a:pt x="170" y="933"/>
                            <a:pt x="159" y="937"/>
                          </a:cubicBezTo>
                          <a:cubicBezTo>
                            <a:pt x="152" y="939"/>
                            <a:pt x="140" y="941"/>
                            <a:pt x="130" y="941"/>
                          </a:cubicBezTo>
                          <a:cubicBezTo>
                            <a:pt x="121" y="942"/>
                            <a:pt x="113" y="941"/>
                            <a:pt x="110" y="939"/>
                          </a:cubicBezTo>
                          <a:cubicBezTo>
                            <a:pt x="109" y="938"/>
                            <a:pt x="109" y="936"/>
                            <a:pt x="109" y="933"/>
                          </a:cubicBezTo>
                          <a:cubicBezTo>
                            <a:pt x="110" y="926"/>
                            <a:pt x="111" y="917"/>
                            <a:pt x="98" y="912"/>
                          </a:cubicBezTo>
                          <a:cubicBezTo>
                            <a:pt x="89" y="907"/>
                            <a:pt x="75" y="906"/>
                            <a:pt x="64" y="905"/>
                          </a:cubicBezTo>
                          <a:cubicBezTo>
                            <a:pt x="58" y="905"/>
                            <a:pt x="53" y="904"/>
                            <a:pt x="51" y="904"/>
                          </a:cubicBezTo>
                          <a:cubicBezTo>
                            <a:pt x="54" y="901"/>
                            <a:pt x="59" y="898"/>
                            <a:pt x="61" y="888"/>
                          </a:cubicBezTo>
                          <a:cubicBezTo>
                            <a:pt x="63" y="877"/>
                            <a:pt x="56" y="870"/>
                            <a:pt x="46" y="862"/>
                          </a:cubicBezTo>
                          <a:cubicBezTo>
                            <a:pt x="42" y="859"/>
                            <a:pt x="39" y="855"/>
                            <a:pt x="35" y="851"/>
                          </a:cubicBezTo>
                          <a:cubicBezTo>
                            <a:pt x="22" y="838"/>
                            <a:pt x="21" y="830"/>
                            <a:pt x="19" y="821"/>
                          </a:cubicBezTo>
                          <a:cubicBezTo>
                            <a:pt x="19" y="821"/>
                            <a:pt x="19" y="821"/>
                            <a:pt x="19" y="821"/>
                          </a:cubicBezTo>
                          <a:cubicBezTo>
                            <a:pt x="19" y="819"/>
                            <a:pt x="19" y="819"/>
                            <a:pt x="19" y="819"/>
                          </a:cubicBezTo>
                          <a:cubicBezTo>
                            <a:pt x="19" y="819"/>
                            <a:pt x="19" y="819"/>
                            <a:pt x="19" y="819"/>
                          </a:cubicBezTo>
                          <a:cubicBezTo>
                            <a:pt x="18" y="812"/>
                            <a:pt x="14" y="809"/>
                            <a:pt x="10" y="805"/>
                          </a:cubicBezTo>
                          <a:cubicBezTo>
                            <a:pt x="8" y="803"/>
                            <a:pt x="5" y="800"/>
                            <a:pt x="3" y="795"/>
                          </a:cubicBezTo>
                          <a:cubicBezTo>
                            <a:pt x="0" y="791"/>
                            <a:pt x="0" y="791"/>
                            <a:pt x="1" y="790"/>
                          </a:cubicBezTo>
                          <a:cubicBezTo>
                            <a:pt x="2" y="789"/>
                            <a:pt x="4" y="788"/>
                            <a:pt x="6" y="786"/>
                          </a:cubicBezTo>
                          <a:cubicBezTo>
                            <a:pt x="7" y="785"/>
                            <a:pt x="8" y="784"/>
                            <a:pt x="9" y="784"/>
                          </a:cubicBezTo>
                          <a:cubicBezTo>
                            <a:pt x="11" y="782"/>
                            <a:pt x="12" y="781"/>
                            <a:pt x="12" y="779"/>
                          </a:cubicBezTo>
                          <a:cubicBezTo>
                            <a:pt x="13" y="777"/>
                            <a:pt x="13" y="775"/>
                            <a:pt x="13" y="769"/>
                          </a:cubicBezTo>
                          <a:cubicBezTo>
                            <a:pt x="13" y="768"/>
                            <a:pt x="13" y="768"/>
                            <a:pt x="13" y="768"/>
                          </a:cubicBezTo>
                          <a:cubicBezTo>
                            <a:pt x="13" y="768"/>
                            <a:pt x="13" y="768"/>
                            <a:pt x="13" y="768"/>
                          </a:cubicBezTo>
                          <a:cubicBezTo>
                            <a:pt x="13" y="763"/>
                            <a:pt x="14" y="758"/>
                            <a:pt x="15" y="755"/>
                          </a:cubicBezTo>
                          <a:cubicBezTo>
                            <a:pt x="15" y="751"/>
                            <a:pt x="17" y="748"/>
                            <a:pt x="18" y="746"/>
                          </a:cubicBezTo>
                          <a:cubicBezTo>
                            <a:pt x="19" y="745"/>
                            <a:pt x="23" y="743"/>
                            <a:pt x="27" y="740"/>
                          </a:cubicBezTo>
                          <a:cubicBezTo>
                            <a:pt x="33" y="737"/>
                            <a:pt x="40" y="733"/>
                            <a:pt x="45" y="728"/>
                          </a:cubicBezTo>
                          <a:cubicBezTo>
                            <a:pt x="53" y="720"/>
                            <a:pt x="53" y="719"/>
                            <a:pt x="51" y="711"/>
                          </a:cubicBezTo>
                          <a:cubicBezTo>
                            <a:pt x="51" y="708"/>
                            <a:pt x="50" y="706"/>
                            <a:pt x="50" y="702"/>
                          </a:cubicBezTo>
                          <a:cubicBezTo>
                            <a:pt x="49" y="695"/>
                            <a:pt x="50" y="689"/>
                            <a:pt x="51" y="684"/>
                          </a:cubicBezTo>
                          <a:cubicBezTo>
                            <a:pt x="53" y="679"/>
                            <a:pt x="55" y="675"/>
                            <a:pt x="58" y="670"/>
                          </a:cubicBezTo>
                          <a:cubicBezTo>
                            <a:pt x="62" y="664"/>
                            <a:pt x="63" y="658"/>
                            <a:pt x="64" y="654"/>
                          </a:cubicBezTo>
                          <a:cubicBezTo>
                            <a:pt x="64" y="651"/>
                            <a:pt x="65" y="648"/>
                            <a:pt x="66" y="646"/>
                          </a:cubicBezTo>
                          <a:cubicBezTo>
                            <a:pt x="67" y="643"/>
                            <a:pt x="71" y="639"/>
                            <a:pt x="76" y="636"/>
                          </a:cubicBezTo>
                          <a:cubicBezTo>
                            <a:pt x="81" y="632"/>
                            <a:pt x="89" y="628"/>
                            <a:pt x="97" y="623"/>
                          </a:cubicBezTo>
                          <a:cubicBezTo>
                            <a:pt x="103" y="620"/>
                            <a:pt x="108" y="617"/>
                            <a:pt x="113" y="614"/>
                          </a:cubicBezTo>
                          <a:cubicBezTo>
                            <a:pt x="121" y="609"/>
                            <a:pt x="127" y="605"/>
                            <a:pt x="133" y="604"/>
                          </a:cubicBezTo>
                          <a:cubicBezTo>
                            <a:pt x="138" y="603"/>
                            <a:pt x="143" y="603"/>
                            <a:pt x="148" y="602"/>
                          </a:cubicBezTo>
                          <a:cubicBezTo>
                            <a:pt x="153" y="602"/>
                            <a:pt x="157" y="602"/>
                            <a:pt x="161" y="602"/>
                          </a:cubicBezTo>
                          <a:cubicBezTo>
                            <a:pt x="166" y="601"/>
                            <a:pt x="171" y="600"/>
                            <a:pt x="176" y="598"/>
                          </a:cubicBezTo>
                          <a:cubicBezTo>
                            <a:pt x="181" y="596"/>
                            <a:pt x="185" y="594"/>
                            <a:pt x="188" y="591"/>
                          </a:cubicBezTo>
                          <a:cubicBezTo>
                            <a:pt x="191" y="588"/>
                            <a:pt x="194" y="586"/>
                            <a:pt x="197" y="584"/>
                          </a:cubicBezTo>
                          <a:cubicBezTo>
                            <a:pt x="200" y="583"/>
                            <a:pt x="203" y="582"/>
                            <a:pt x="205" y="582"/>
                          </a:cubicBezTo>
                          <a:cubicBezTo>
                            <a:pt x="209" y="583"/>
                            <a:pt x="211" y="584"/>
                            <a:pt x="215" y="586"/>
                          </a:cubicBezTo>
                          <a:cubicBezTo>
                            <a:pt x="216" y="587"/>
                            <a:pt x="219" y="588"/>
                            <a:pt x="221" y="590"/>
                          </a:cubicBezTo>
                          <a:cubicBezTo>
                            <a:pt x="221" y="590"/>
                            <a:pt x="221" y="590"/>
                            <a:pt x="221" y="590"/>
                          </a:cubicBezTo>
                          <a:cubicBezTo>
                            <a:pt x="222" y="590"/>
                            <a:pt x="223" y="590"/>
                            <a:pt x="224" y="591"/>
                          </a:cubicBezTo>
                          <a:cubicBezTo>
                            <a:pt x="227" y="593"/>
                            <a:pt x="229" y="593"/>
                            <a:pt x="231" y="594"/>
                          </a:cubicBezTo>
                          <a:cubicBezTo>
                            <a:pt x="233" y="594"/>
                            <a:pt x="235" y="594"/>
                            <a:pt x="239" y="593"/>
                          </a:cubicBezTo>
                          <a:cubicBezTo>
                            <a:pt x="239" y="593"/>
                            <a:pt x="239" y="593"/>
                            <a:pt x="239" y="593"/>
                          </a:cubicBezTo>
                          <a:cubicBezTo>
                            <a:pt x="239" y="593"/>
                            <a:pt x="239" y="593"/>
                            <a:pt x="239" y="593"/>
                          </a:cubicBezTo>
                          <a:cubicBezTo>
                            <a:pt x="239" y="593"/>
                            <a:pt x="239" y="593"/>
                            <a:pt x="239" y="593"/>
                          </a:cubicBezTo>
                          <a:cubicBezTo>
                            <a:pt x="248" y="590"/>
                            <a:pt x="251" y="574"/>
                            <a:pt x="253" y="559"/>
                          </a:cubicBezTo>
                          <a:cubicBezTo>
                            <a:pt x="254" y="558"/>
                            <a:pt x="254" y="558"/>
                            <a:pt x="254" y="558"/>
                          </a:cubicBezTo>
                          <a:cubicBezTo>
                            <a:pt x="254" y="554"/>
                            <a:pt x="255" y="548"/>
                            <a:pt x="256" y="541"/>
                          </a:cubicBezTo>
                          <a:cubicBezTo>
                            <a:pt x="258" y="522"/>
                            <a:pt x="262" y="496"/>
                            <a:pt x="267" y="482"/>
                          </a:cubicBezTo>
                          <a:cubicBezTo>
                            <a:pt x="274" y="463"/>
                            <a:pt x="276" y="425"/>
                            <a:pt x="277" y="399"/>
                          </a:cubicBezTo>
                          <a:cubicBezTo>
                            <a:pt x="277" y="397"/>
                            <a:pt x="277" y="397"/>
                            <a:pt x="277" y="397"/>
                          </a:cubicBezTo>
                          <a:cubicBezTo>
                            <a:pt x="277" y="386"/>
                            <a:pt x="275" y="375"/>
                            <a:pt x="271" y="367"/>
                          </a:cubicBezTo>
                          <a:cubicBezTo>
                            <a:pt x="266" y="354"/>
                            <a:pt x="259" y="344"/>
                            <a:pt x="254" y="340"/>
                          </a:cubicBezTo>
                          <a:cubicBezTo>
                            <a:pt x="251" y="337"/>
                            <a:pt x="248" y="336"/>
                            <a:pt x="245" y="334"/>
                          </a:cubicBezTo>
                          <a:cubicBezTo>
                            <a:pt x="242" y="333"/>
                            <a:pt x="240" y="332"/>
                            <a:pt x="240" y="330"/>
                          </a:cubicBezTo>
                          <a:cubicBezTo>
                            <a:pt x="240" y="327"/>
                            <a:pt x="240" y="321"/>
                            <a:pt x="240" y="315"/>
                          </a:cubicBezTo>
                          <a:cubicBezTo>
                            <a:pt x="241" y="306"/>
                            <a:pt x="242" y="296"/>
                            <a:pt x="242" y="291"/>
                          </a:cubicBezTo>
                          <a:cubicBezTo>
                            <a:pt x="243" y="290"/>
                            <a:pt x="245" y="288"/>
                            <a:pt x="248" y="286"/>
                          </a:cubicBezTo>
                          <a:cubicBezTo>
                            <a:pt x="254" y="284"/>
                            <a:pt x="261" y="282"/>
                            <a:pt x="265" y="282"/>
                          </a:cubicBezTo>
                          <a:cubicBezTo>
                            <a:pt x="266" y="282"/>
                            <a:pt x="265" y="282"/>
                            <a:pt x="267" y="282"/>
                          </a:cubicBezTo>
                          <a:cubicBezTo>
                            <a:pt x="273" y="282"/>
                            <a:pt x="279" y="282"/>
                            <a:pt x="284" y="284"/>
                          </a:cubicBezTo>
                          <a:cubicBezTo>
                            <a:pt x="289" y="286"/>
                            <a:pt x="292" y="286"/>
                            <a:pt x="295" y="284"/>
                          </a:cubicBezTo>
                          <a:cubicBezTo>
                            <a:pt x="297" y="282"/>
                            <a:pt x="297" y="279"/>
                            <a:pt x="296" y="274"/>
                          </a:cubicBezTo>
                          <a:cubicBezTo>
                            <a:pt x="296" y="269"/>
                            <a:pt x="294" y="266"/>
                            <a:pt x="292" y="262"/>
                          </a:cubicBezTo>
                          <a:cubicBezTo>
                            <a:pt x="290" y="259"/>
                            <a:pt x="286" y="256"/>
                            <a:pt x="282" y="254"/>
                          </a:cubicBezTo>
                          <a:cubicBezTo>
                            <a:pt x="278" y="253"/>
                            <a:pt x="272" y="253"/>
                            <a:pt x="267" y="252"/>
                          </a:cubicBezTo>
                          <a:cubicBezTo>
                            <a:pt x="262" y="252"/>
                            <a:pt x="257" y="252"/>
                            <a:pt x="257" y="251"/>
                          </a:cubicBezTo>
                          <a:cubicBezTo>
                            <a:pt x="255" y="249"/>
                            <a:pt x="255" y="234"/>
                            <a:pt x="256" y="227"/>
                          </a:cubicBezTo>
                          <a:cubicBezTo>
                            <a:pt x="256" y="226"/>
                            <a:pt x="256" y="226"/>
                            <a:pt x="256" y="226"/>
                          </a:cubicBezTo>
                          <a:cubicBezTo>
                            <a:pt x="256" y="224"/>
                            <a:pt x="257" y="222"/>
                            <a:pt x="258" y="221"/>
                          </a:cubicBezTo>
                          <a:cubicBezTo>
                            <a:pt x="260" y="219"/>
                            <a:pt x="262" y="219"/>
                            <a:pt x="264" y="219"/>
                          </a:cubicBezTo>
                          <a:cubicBezTo>
                            <a:pt x="266" y="219"/>
                            <a:pt x="271" y="219"/>
                            <a:pt x="278" y="219"/>
                          </a:cubicBezTo>
                          <a:cubicBezTo>
                            <a:pt x="290" y="220"/>
                            <a:pt x="308" y="220"/>
                            <a:pt x="323" y="220"/>
                          </a:cubicBezTo>
                          <a:cubicBezTo>
                            <a:pt x="345" y="220"/>
                            <a:pt x="345" y="219"/>
                            <a:pt x="348" y="213"/>
                          </a:cubicBezTo>
                          <a:cubicBezTo>
                            <a:pt x="349" y="213"/>
                            <a:pt x="349" y="212"/>
                            <a:pt x="350" y="211"/>
                          </a:cubicBezTo>
                          <a:cubicBezTo>
                            <a:pt x="350" y="211"/>
                            <a:pt x="350" y="211"/>
                            <a:pt x="350" y="211"/>
                          </a:cubicBezTo>
                          <a:cubicBezTo>
                            <a:pt x="350" y="211"/>
                            <a:pt x="350" y="211"/>
                            <a:pt x="350" y="211"/>
                          </a:cubicBezTo>
                          <a:cubicBezTo>
                            <a:pt x="350" y="211"/>
                            <a:pt x="350" y="211"/>
                            <a:pt x="350" y="211"/>
                          </a:cubicBezTo>
                          <a:cubicBezTo>
                            <a:pt x="352" y="207"/>
                            <a:pt x="354" y="205"/>
                            <a:pt x="355" y="206"/>
                          </a:cubicBezTo>
                          <a:cubicBezTo>
                            <a:pt x="355" y="206"/>
                            <a:pt x="356" y="207"/>
                            <a:pt x="357" y="208"/>
                          </a:cubicBezTo>
                          <a:cubicBezTo>
                            <a:pt x="360" y="212"/>
                            <a:pt x="364" y="216"/>
                            <a:pt x="371" y="213"/>
                          </a:cubicBezTo>
                          <a:cubicBezTo>
                            <a:pt x="374" y="212"/>
                            <a:pt x="378" y="209"/>
                            <a:pt x="382" y="206"/>
                          </a:cubicBezTo>
                          <a:cubicBezTo>
                            <a:pt x="390" y="201"/>
                            <a:pt x="400" y="194"/>
                            <a:pt x="410" y="190"/>
                          </a:cubicBezTo>
                          <a:cubicBezTo>
                            <a:pt x="413" y="197"/>
                            <a:pt x="416" y="205"/>
                            <a:pt x="418" y="214"/>
                          </a:cubicBezTo>
                          <a:cubicBezTo>
                            <a:pt x="420" y="221"/>
                            <a:pt x="423" y="228"/>
                            <a:pt x="425" y="233"/>
                          </a:cubicBezTo>
                          <a:cubicBezTo>
                            <a:pt x="427" y="241"/>
                            <a:pt x="430" y="246"/>
                            <a:pt x="433" y="250"/>
                          </a:cubicBezTo>
                          <a:cubicBezTo>
                            <a:pt x="437" y="255"/>
                            <a:pt x="441" y="259"/>
                            <a:pt x="448" y="264"/>
                          </a:cubicBezTo>
                          <a:cubicBezTo>
                            <a:pt x="453" y="268"/>
                            <a:pt x="455" y="270"/>
                            <a:pt x="457" y="272"/>
                          </a:cubicBezTo>
                          <a:cubicBezTo>
                            <a:pt x="463" y="277"/>
                            <a:pt x="463" y="277"/>
                            <a:pt x="470" y="278"/>
                          </a:cubicBezTo>
                          <a:cubicBezTo>
                            <a:pt x="475" y="278"/>
                            <a:pt x="485" y="275"/>
                            <a:pt x="495" y="273"/>
                          </a:cubicBezTo>
                          <a:cubicBezTo>
                            <a:pt x="501" y="271"/>
                            <a:pt x="507" y="269"/>
                            <a:pt x="510" y="269"/>
                          </a:cubicBezTo>
                          <a:cubicBezTo>
                            <a:pt x="510" y="270"/>
                            <a:pt x="510" y="271"/>
                            <a:pt x="510" y="273"/>
                          </a:cubicBezTo>
                          <a:cubicBezTo>
                            <a:pt x="510" y="278"/>
                            <a:pt x="510" y="284"/>
                            <a:pt x="516" y="286"/>
                          </a:cubicBezTo>
                          <a:cubicBezTo>
                            <a:pt x="523" y="289"/>
                            <a:pt x="528" y="282"/>
                            <a:pt x="535" y="275"/>
                          </a:cubicBezTo>
                          <a:cubicBezTo>
                            <a:pt x="538" y="270"/>
                            <a:pt x="542" y="266"/>
                            <a:pt x="546" y="263"/>
                          </a:cubicBezTo>
                          <a:cubicBezTo>
                            <a:pt x="547" y="262"/>
                            <a:pt x="549" y="260"/>
                            <a:pt x="551" y="259"/>
                          </a:cubicBezTo>
                          <a:cubicBezTo>
                            <a:pt x="562" y="251"/>
                            <a:pt x="576" y="240"/>
                            <a:pt x="584" y="240"/>
                          </a:cubicBezTo>
                          <a:cubicBezTo>
                            <a:pt x="596" y="239"/>
                            <a:pt x="599" y="231"/>
                            <a:pt x="602" y="223"/>
                          </a:cubicBezTo>
                          <a:cubicBezTo>
                            <a:pt x="603" y="222"/>
                            <a:pt x="603" y="221"/>
                            <a:pt x="603" y="220"/>
                          </a:cubicBezTo>
                          <a:cubicBezTo>
                            <a:pt x="604" y="217"/>
                            <a:pt x="605" y="215"/>
                            <a:pt x="605" y="213"/>
                          </a:cubicBezTo>
                          <a:cubicBezTo>
                            <a:pt x="605" y="210"/>
                            <a:pt x="606" y="207"/>
                            <a:pt x="618" y="203"/>
                          </a:cubicBezTo>
                          <a:cubicBezTo>
                            <a:pt x="623" y="201"/>
                            <a:pt x="627" y="200"/>
                            <a:pt x="631" y="199"/>
                          </a:cubicBezTo>
                          <a:cubicBezTo>
                            <a:pt x="644" y="195"/>
                            <a:pt x="652" y="193"/>
                            <a:pt x="653" y="183"/>
                          </a:cubicBezTo>
                          <a:cubicBezTo>
                            <a:pt x="655" y="174"/>
                            <a:pt x="650" y="171"/>
                            <a:pt x="644" y="170"/>
                          </a:cubicBezTo>
                          <a:cubicBezTo>
                            <a:pt x="642" y="170"/>
                            <a:pt x="640" y="170"/>
                            <a:pt x="638" y="170"/>
                          </a:cubicBezTo>
                          <a:cubicBezTo>
                            <a:pt x="636" y="169"/>
                            <a:pt x="635" y="169"/>
                            <a:pt x="633" y="169"/>
                          </a:cubicBezTo>
                          <a:cubicBezTo>
                            <a:pt x="630" y="169"/>
                            <a:pt x="627" y="169"/>
                            <a:pt x="625" y="169"/>
                          </a:cubicBezTo>
                          <a:cubicBezTo>
                            <a:pt x="621" y="170"/>
                            <a:pt x="617" y="170"/>
                            <a:pt x="617" y="167"/>
                          </a:cubicBezTo>
                          <a:cubicBezTo>
                            <a:pt x="616" y="164"/>
                            <a:pt x="616" y="158"/>
                            <a:pt x="615" y="150"/>
                          </a:cubicBezTo>
                          <a:cubicBezTo>
                            <a:pt x="614" y="133"/>
                            <a:pt x="612" y="111"/>
                            <a:pt x="608" y="103"/>
                          </a:cubicBezTo>
                          <a:cubicBezTo>
                            <a:pt x="605" y="99"/>
                            <a:pt x="598" y="93"/>
                            <a:pt x="591" y="87"/>
                          </a:cubicBezTo>
                          <a:cubicBezTo>
                            <a:pt x="584" y="81"/>
                            <a:pt x="577" y="75"/>
                            <a:pt x="574" y="70"/>
                          </a:cubicBezTo>
                          <a:cubicBezTo>
                            <a:pt x="572" y="67"/>
                            <a:pt x="572" y="65"/>
                            <a:pt x="573" y="65"/>
                          </a:cubicBezTo>
                          <a:cubicBezTo>
                            <a:pt x="573" y="65"/>
                            <a:pt x="574" y="65"/>
                            <a:pt x="575" y="65"/>
                          </a:cubicBezTo>
                          <a:cubicBezTo>
                            <a:pt x="575" y="65"/>
                            <a:pt x="575" y="65"/>
                            <a:pt x="575" y="65"/>
                          </a:cubicBezTo>
                          <a:cubicBezTo>
                            <a:pt x="575" y="65"/>
                            <a:pt x="575" y="65"/>
                            <a:pt x="575" y="65"/>
                          </a:cubicBezTo>
                          <a:cubicBezTo>
                            <a:pt x="576" y="65"/>
                            <a:pt x="579" y="65"/>
                            <a:pt x="583" y="67"/>
                          </a:cubicBezTo>
                          <a:cubicBezTo>
                            <a:pt x="586" y="69"/>
                            <a:pt x="591" y="72"/>
                            <a:pt x="597" y="75"/>
                          </a:cubicBezTo>
                          <a:cubicBezTo>
                            <a:pt x="606" y="82"/>
                            <a:pt x="619" y="81"/>
                            <a:pt x="629" y="80"/>
                          </a:cubicBezTo>
                          <a:cubicBezTo>
                            <a:pt x="635" y="79"/>
                            <a:pt x="639" y="79"/>
                            <a:pt x="642" y="80"/>
                          </a:cubicBezTo>
                          <a:cubicBezTo>
                            <a:pt x="647" y="81"/>
                            <a:pt x="655" y="87"/>
                            <a:pt x="662" y="92"/>
                          </a:cubicBezTo>
                          <a:cubicBezTo>
                            <a:pt x="667" y="96"/>
                            <a:pt x="671" y="99"/>
                            <a:pt x="674" y="100"/>
                          </a:cubicBezTo>
                          <a:cubicBezTo>
                            <a:pt x="674" y="100"/>
                            <a:pt x="674" y="100"/>
                            <a:pt x="674" y="100"/>
                          </a:cubicBezTo>
                          <a:cubicBezTo>
                            <a:pt x="675" y="100"/>
                            <a:pt x="675" y="101"/>
                            <a:pt x="675" y="101"/>
                          </a:cubicBezTo>
                          <a:cubicBezTo>
                            <a:pt x="679" y="101"/>
                            <a:pt x="682" y="100"/>
                            <a:pt x="684" y="97"/>
                          </a:cubicBezTo>
                          <a:cubicBezTo>
                            <a:pt x="686" y="95"/>
                            <a:pt x="688" y="92"/>
                            <a:pt x="689" y="88"/>
                          </a:cubicBezTo>
                          <a:cubicBezTo>
                            <a:pt x="691" y="84"/>
                            <a:pt x="692" y="79"/>
                            <a:pt x="693" y="76"/>
                          </a:cubicBezTo>
                          <a:cubicBezTo>
                            <a:pt x="693" y="75"/>
                            <a:pt x="696" y="73"/>
                            <a:pt x="699" y="72"/>
                          </a:cubicBezTo>
                          <a:cubicBezTo>
                            <a:pt x="705" y="70"/>
                            <a:pt x="713" y="69"/>
                            <a:pt x="719" y="69"/>
                          </a:cubicBezTo>
                          <a:cubicBezTo>
                            <a:pt x="726" y="68"/>
                            <a:pt x="736" y="67"/>
                            <a:pt x="744" y="66"/>
                          </a:cubicBezTo>
                          <a:cubicBezTo>
                            <a:pt x="751" y="65"/>
                            <a:pt x="757" y="63"/>
                            <a:pt x="761" y="61"/>
                          </a:cubicBezTo>
                          <a:cubicBezTo>
                            <a:pt x="766" y="59"/>
                            <a:pt x="770" y="56"/>
                            <a:pt x="774" y="53"/>
                          </a:cubicBezTo>
                          <a:cubicBezTo>
                            <a:pt x="777" y="51"/>
                            <a:pt x="779" y="50"/>
                            <a:pt x="781" y="49"/>
                          </a:cubicBezTo>
                          <a:cubicBezTo>
                            <a:pt x="783" y="48"/>
                            <a:pt x="786" y="47"/>
                            <a:pt x="790" y="47"/>
                          </a:cubicBezTo>
                          <a:cubicBezTo>
                            <a:pt x="793" y="46"/>
                            <a:pt x="796" y="46"/>
                            <a:pt x="800" y="45"/>
                          </a:cubicBezTo>
                          <a:cubicBezTo>
                            <a:pt x="804" y="44"/>
                            <a:pt x="807" y="40"/>
                            <a:pt x="811" y="36"/>
                          </a:cubicBezTo>
                          <a:cubicBezTo>
                            <a:pt x="814" y="32"/>
                            <a:pt x="818" y="26"/>
                            <a:pt x="820" y="22"/>
                          </a:cubicBezTo>
                          <a:cubicBezTo>
                            <a:pt x="822" y="17"/>
                            <a:pt x="823" y="11"/>
                            <a:pt x="821" y="5"/>
                          </a:cubicBezTo>
                          <a:cubicBezTo>
                            <a:pt x="821" y="5"/>
                            <a:pt x="821" y="5"/>
                            <a:pt x="821" y="4"/>
                          </a:cubicBezTo>
                          <a:cubicBezTo>
                            <a:pt x="823" y="4"/>
                            <a:pt x="824" y="3"/>
                            <a:pt x="826" y="3"/>
                          </a:cubicBezTo>
                          <a:cubicBezTo>
                            <a:pt x="829" y="1"/>
                            <a:pt x="832" y="0"/>
                            <a:pt x="837" y="0"/>
                          </a:cubicBezTo>
                          <a:cubicBezTo>
                            <a:pt x="841" y="0"/>
                            <a:pt x="844" y="0"/>
                            <a:pt x="846" y="1"/>
                          </a:cubicBezTo>
                          <a:cubicBezTo>
                            <a:pt x="848" y="1"/>
                            <a:pt x="849" y="3"/>
                            <a:pt x="852" y="6"/>
                          </a:cubicBezTo>
                          <a:cubicBezTo>
                            <a:pt x="852" y="7"/>
                            <a:pt x="853" y="8"/>
                            <a:pt x="854" y="9"/>
                          </a:cubicBezTo>
                          <a:cubicBezTo>
                            <a:pt x="856" y="12"/>
                            <a:pt x="858" y="13"/>
                            <a:pt x="853" y="21"/>
                          </a:cubicBezTo>
                          <a:cubicBezTo>
                            <a:pt x="852" y="23"/>
                            <a:pt x="852" y="24"/>
                            <a:pt x="851" y="26"/>
                          </a:cubicBezTo>
                          <a:cubicBezTo>
                            <a:pt x="845" y="36"/>
                            <a:pt x="843" y="40"/>
                            <a:pt x="850" y="46"/>
                          </a:cubicBezTo>
                          <a:cubicBezTo>
                            <a:pt x="854" y="48"/>
                            <a:pt x="861" y="49"/>
                            <a:pt x="867" y="50"/>
                          </a:cubicBezTo>
                          <a:cubicBezTo>
                            <a:pt x="870" y="50"/>
                            <a:pt x="872" y="50"/>
                            <a:pt x="873" y="51"/>
                          </a:cubicBezTo>
                          <a:cubicBezTo>
                            <a:pt x="872" y="53"/>
                            <a:pt x="871" y="57"/>
                            <a:pt x="873" y="62"/>
                          </a:cubicBezTo>
                          <a:cubicBezTo>
                            <a:pt x="874" y="67"/>
                            <a:pt x="876" y="70"/>
                            <a:pt x="878" y="72"/>
                          </a:cubicBezTo>
                          <a:cubicBezTo>
                            <a:pt x="880" y="75"/>
                            <a:pt x="881" y="77"/>
                            <a:pt x="882" y="80"/>
                          </a:cubicBezTo>
                          <a:cubicBezTo>
                            <a:pt x="882" y="85"/>
                            <a:pt x="880" y="87"/>
                            <a:pt x="878" y="90"/>
                          </a:cubicBezTo>
                          <a:cubicBezTo>
                            <a:pt x="877" y="92"/>
                            <a:pt x="876" y="93"/>
                            <a:pt x="875" y="95"/>
                          </a:cubicBezTo>
                          <a:cubicBezTo>
                            <a:pt x="873" y="98"/>
                            <a:pt x="870" y="103"/>
                            <a:pt x="868" y="108"/>
                          </a:cubicBezTo>
                          <a:cubicBezTo>
                            <a:pt x="866" y="113"/>
                            <a:pt x="864" y="118"/>
                            <a:pt x="863" y="121"/>
                          </a:cubicBezTo>
                          <a:cubicBezTo>
                            <a:pt x="863" y="122"/>
                            <a:pt x="863" y="124"/>
                            <a:pt x="862" y="126"/>
                          </a:cubicBezTo>
                          <a:cubicBezTo>
                            <a:pt x="862" y="126"/>
                            <a:pt x="862" y="126"/>
                            <a:pt x="862" y="126"/>
                          </a:cubicBezTo>
                          <a:cubicBezTo>
                            <a:pt x="860" y="133"/>
                            <a:pt x="857" y="143"/>
                            <a:pt x="858" y="151"/>
                          </a:cubicBezTo>
                          <a:cubicBezTo>
                            <a:pt x="858" y="156"/>
                            <a:pt x="859" y="160"/>
                            <a:pt x="860" y="164"/>
                          </a:cubicBezTo>
                          <a:cubicBezTo>
                            <a:pt x="861" y="168"/>
                            <a:pt x="863" y="172"/>
                            <a:pt x="865" y="175"/>
                          </a:cubicBezTo>
                          <a:cubicBezTo>
                            <a:pt x="867" y="178"/>
                            <a:pt x="871" y="185"/>
                            <a:pt x="874" y="191"/>
                          </a:cubicBezTo>
                          <a:cubicBezTo>
                            <a:pt x="877" y="196"/>
                            <a:pt x="879" y="201"/>
                            <a:pt x="880" y="203"/>
                          </a:cubicBezTo>
                          <a:cubicBezTo>
                            <a:pt x="880" y="204"/>
                            <a:pt x="880" y="205"/>
                            <a:pt x="879" y="206"/>
                          </a:cubicBezTo>
                          <a:cubicBezTo>
                            <a:pt x="879" y="206"/>
                            <a:pt x="879" y="206"/>
                            <a:pt x="879" y="206"/>
                          </a:cubicBezTo>
                          <a:cubicBezTo>
                            <a:pt x="879" y="211"/>
                            <a:pt x="878" y="216"/>
                            <a:pt x="891" y="226"/>
                          </a:cubicBezTo>
                          <a:cubicBezTo>
                            <a:pt x="902" y="235"/>
                            <a:pt x="913" y="242"/>
                            <a:pt x="919" y="246"/>
                          </a:cubicBezTo>
                          <a:cubicBezTo>
                            <a:pt x="927" y="246"/>
                            <a:pt x="927" y="246"/>
                            <a:pt x="927" y="246"/>
                          </a:cubicBezTo>
                          <a:cubicBezTo>
                            <a:pt x="927" y="245"/>
                            <a:pt x="930" y="246"/>
                            <a:pt x="932" y="247"/>
                          </a:cubicBezTo>
                          <a:cubicBezTo>
                            <a:pt x="936" y="247"/>
                            <a:pt x="939" y="248"/>
                            <a:pt x="943" y="248"/>
                          </a:cubicBezTo>
                          <a:cubicBezTo>
                            <a:pt x="950" y="247"/>
                            <a:pt x="950" y="244"/>
                            <a:pt x="952" y="239"/>
                          </a:cubicBezTo>
                          <a:cubicBezTo>
                            <a:pt x="952" y="237"/>
                            <a:pt x="953" y="234"/>
                            <a:pt x="955" y="232"/>
                          </a:cubicBezTo>
                          <a:cubicBezTo>
                            <a:pt x="957" y="229"/>
                            <a:pt x="960" y="229"/>
                            <a:pt x="964" y="230"/>
                          </a:cubicBezTo>
                          <a:cubicBezTo>
                            <a:pt x="967" y="230"/>
                            <a:pt x="971" y="231"/>
                            <a:pt x="975" y="230"/>
                          </a:cubicBezTo>
                          <a:cubicBezTo>
                            <a:pt x="975" y="230"/>
                            <a:pt x="975" y="230"/>
                            <a:pt x="975" y="230"/>
                          </a:cubicBezTo>
                          <a:cubicBezTo>
                            <a:pt x="978" y="230"/>
                            <a:pt x="978" y="230"/>
                            <a:pt x="978" y="230"/>
                          </a:cubicBezTo>
                          <a:cubicBezTo>
                            <a:pt x="988" y="229"/>
                            <a:pt x="992" y="229"/>
                            <a:pt x="1008" y="224"/>
                          </a:cubicBezTo>
                          <a:cubicBezTo>
                            <a:pt x="1019" y="221"/>
                            <a:pt x="1021" y="216"/>
                            <a:pt x="1023" y="212"/>
                          </a:cubicBezTo>
                          <a:cubicBezTo>
                            <a:pt x="1024" y="210"/>
                            <a:pt x="1024" y="207"/>
                            <a:pt x="1028" y="206"/>
                          </a:cubicBezTo>
                          <a:cubicBezTo>
                            <a:pt x="1033" y="203"/>
                            <a:pt x="1037" y="204"/>
                            <a:pt x="1042" y="205"/>
                          </a:cubicBezTo>
                          <a:cubicBezTo>
                            <a:pt x="1046" y="206"/>
                            <a:pt x="1050" y="207"/>
                            <a:pt x="1054" y="207"/>
                          </a:cubicBezTo>
                          <a:cubicBezTo>
                            <a:pt x="1064" y="207"/>
                            <a:pt x="1067" y="205"/>
                            <a:pt x="1069" y="204"/>
                          </a:cubicBezTo>
                          <a:cubicBezTo>
                            <a:pt x="1070" y="204"/>
                            <a:pt x="1070" y="204"/>
                            <a:pt x="1071" y="205"/>
                          </a:cubicBezTo>
                          <a:cubicBezTo>
                            <a:pt x="1074" y="207"/>
                            <a:pt x="1077" y="208"/>
                            <a:pt x="1081" y="209"/>
                          </a:cubicBezTo>
                          <a:cubicBezTo>
                            <a:pt x="1084" y="210"/>
                            <a:pt x="1089" y="211"/>
                            <a:pt x="1095" y="212"/>
                          </a:cubicBezTo>
                          <a:cubicBezTo>
                            <a:pt x="1101" y="212"/>
                            <a:pt x="1107" y="212"/>
                            <a:pt x="1110" y="208"/>
                          </a:cubicBezTo>
                          <a:cubicBezTo>
                            <a:pt x="1111" y="207"/>
                            <a:pt x="1111" y="207"/>
                            <a:pt x="1112" y="207"/>
                          </a:cubicBezTo>
                          <a:cubicBezTo>
                            <a:pt x="1116" y="201"/>
                            <a:pt x="1118" y="200"/>
                            <a:pt x="1112" y="188"/>
                          </a:cubicBezTo>
                          <a:cubicBezTo>
                            <a:pt x="1111" y="185"/>
                            <a:pt x="1110" y="183"/>
                            <a:pt x="1109" y="181"/>
                          </a:cubicBezTo>
                          <a:cubicBezTo>
                            <a:pt x="1108" y="178"/>
                            <a:pt x="1108" y="175"/>
                            <a:pt x="1109" y="174"/>
                          </a:cubicBezTo>
                          <a:cubicBezTo>
                            <a:pt x="1109" y="172"/>
                            <a:pt x="1109" y="172"/>
                            <a:pt x="1110" y="171"/>
                          </a:cubicBezTo>
                          <a:cubicBezTo>
                            <a:pt x="1110" y="171"/>
                            <a:pt x="1110" y="171"/>
                            <a:pt x="1110" y="171"/>
                          </a:cubicBezTo>
                          <a:cubicBezTo>
                            <a:pt x="1112" y="171"/>
                            <a:pt x="1114" y="172"/>
                            <a:pt x="1116" y="173"/>
                          </a:cubicBezTo>
                          <a:cubicBezTo>
                            <a:pt x="1122" y="176"/>
                            <a:pt x="1128" y="179"/>
                            <a:pt x="1138" y="176"/>
                          </a:cubicBezTo>
                          <a:cubicBezTo>
                            <a:pt x="1144" y="175"/>
                            <a:pt x="1150" y="172"/>
                            <a:pt x="1155" y="171"/>
                          </a:cubicBezTo>
                          <a:cubicBezTo>
                            <a:pt x="1160" y="169"/>
                            <a:pt x="1165" y="167"/>
                            <a:pt x="1167" y="167"/>
                          </a:cubicBezTo>
                          <a:cubicBezTo>
                            <a:pt x="1169" y="167"/>
                            <a:pt x="1173" y="169"/>
                            <a:pt x="1179" y="171"/>
                          </a:cubicBezTo>
                          <a:cubicBezTo>
                            <a:pt x="1184" y="174"/>
                            <a:pt x="1190" y="178"/>
                            <a:pt x="1196" y="182"/>
                          </a:cubicBezTo>
                          <a:cubicBezTo>
                            <a:pt x="1202" y="186"/>
                            <a:pt x="1210" y="189"/>
                            <a:pt x="1217" y="191"/>
                          </a:cubicBezTo>
                          <a:cubicBezTo>
                            <a:pt x="1225" y="193"/>
                            <a:pt x="1233" y="193"/>
                            <a:pt x="1238" y="191"/>
                          </a:cubicBezTo>
                          <a:cubicBezTo>
                            <a:pt x="1239" y="190"/>
                            <a:pt x="1239" y="190"/>
                            <a:pt x="1239" y="190"/>
                          </a:cubicBezTo>
                          <a:cubicBezTo>
                            <a:pt x="1246" y="187"/>
                            <a:pt x="1260" y="181"/>
                            <a:pt x="1265" y="183"/>
                          </a:cubicBezTo>
                          <a:cubicBezTo>
                            <a:pt x="1266" y="184"/>
                            <a:pt x="1267" y="184"/>
                            <a:pt x="1268" y="185"/>
                          </a:cubicBezTo>
                          <a:cubicBezTo>
                            <a:pt x="1273" y="187"/>
                            <a:pt x="1277" y="189"/>
                            <a:pt x="1288" y="189"/>
                          </a:cubicBezTo>
                          <a:cubicBezTo>
                            <a:pt x="1295" y="188"/>
                            <a:pt x="1302" y="185"/>
                            <a:pt x="1309" y="179"/>
                          </a:cubicBezTo>
                          <a:cubicBezTo>
                            <a:pt x="1315" y="174"/>
                            <a:pt x="1321" y="167"/>
                            <a:pt x="1322" y="161"/>
                          </a:cubicBezTo>
                          <a:cubicBezTo>
                            <a:pt x="1324" y="154"/>
                            <a:pt x="1327" y="147"/>
                            <a:pt x="1331" y="139"/>
                          </a:cubicBezTo>
                          <a:cubicBezTo>
                            <a:pt x="1332" y="135"/>
                            <a:pt x="1334" y="130"/>
                            <a:pt x="1337" y="124"/>
                          </a:cubicBezTo>
                          <a:cubicBezTo>
                            <a:pt x="1339" y="119"/>
                            <a:pt x="1344" y="111"/>
                            <a:pt x="1350" y="104"/>
                          </a:cubicBezTo>
                          <a:cubicBezTo>
                            <a:pt x="1360" y="92"/>
                            <a:pt x="1371" y="80"/>
                            <a:pt x="1376" y="75"/>
                          </a:cubicBezTo>
                          <a:cubicBezTo>
                            <a:pt x="1380" y="71"/>
                            <a:pt x="1381" y="63"/>
                            <a:pt x="1382" y="55"/>
                          </a:cubicBezTo>
                          <a:close/>
                          <a:moveTo>
                            <a:pt x="1481" y="335"/>
                          </a:moveTo>
                          <a:cubicBezTo>
                            <a:pt x="1475" y="330"/>
                            <a:pt x="1471" y="333"/>
                            <a:pt x="1464" y="331"/>
                          </a:cubicBezTo>
                          <a:cubicBezTo>
                            <a:pt x="1457" y="330"/>
                            <a:pt x="1452" y="332"/>
                            <a:pt x="1445" y="335"/>
                          </a:cubicBezTo>
                          <a:cubicBezTo>
                            <a:pt x="1438" y="338"/>
                            <a:pt x="1441" y="341"/>
                            <a:pt x="1442" y="347"/>
                          </a:cubicBezTo>
                          <a:cubicBezTo>
                            <a:pt x="1443" y="353"/>
                            <a:pt x="1448" y="356"/>
                            <a:pt x="1445" y="363"/>
                          </a:cubicBezTo>
                          <a:cubicBezTo>
                            <a:pt x="1442" y="371"/>
                            <a:pt x="1439" y="363"/>
                            <a:pt x="1434" y="365"/>
                          </a:cubicBezTo>
                          <a:cubicBezTo>
                            <a:pt x="1429" y="367"/>
                            <a:pt x="1434" y="372"/>
                            <a:pt x="1436" y="379"/>
                          </a:cubicBezTo>
                          <a:cubicBezTo>
                            <a:pt x="1438" y="385"/>
                            <a:pt x="1443" y="381"/>
                            <a:pt x="1448" y="386"/>
                          </a:cubicBezTo>
                          <a:cubicBezTo>
                            <a:pt x="1453" y="390"/>
                            <a:pt x="1448" y="388"/>
                            <a:pt x="1442" y="391"/>
                          </a:cubicBezTo>
                          <a:cubicBezTo>
                            <a:pt x="1437" y="393"/>
                            <a:pt x="1433" y="393"/>
                            <a:pt x="1432" y="397"/>
                          </a:cubicBezTo>
                          <a:cubicBezTo>
                            <a:pt x="1432" y="401"/>
                            <a:pt x="1440" y="408"/>
                            <a:pt x="1442" y="416"/>
                          </a:cubicBezTo>
                          <a:cubicBezTo>
                            <a:pt x="1445" y="424"/>
                            <a:pt x="1448" y="425"/>
                            <a:pt x="1450" y="429"/>
                          </a:cubicBezTo>
                          <a:cubicBezTo>
                            <a:pt x="1453" y="433"/>
                            <a:pt x="1462" y="430"/>
                            <a:pt x="1466" y="428"/>
                          </a:cubicBezTo>
                          <a:cubicBezTo>
                            <a:pt x="1470" y="426"/>
                            <a:pt x="1478" y="428"/>
                            <a:pt x="1483" y="428"/>
                          </a:cubicBezTo>
                          <a:cubicBezTo>
                            <a:pt x="1488" y="428"/>
                            <a:pt x="1499" y="428"/>
                            <a:pt x="1502" y="425"/>
                          </a:cubicBezTo>
                          <a:cubicBezTo>
                            <a:pt x="1506" y="423"/>
                            <a:pt x="1504" y="419"/>
                            <a:pt x="1508" y="414"/>
                          </a:cubicBezTo>
                          <a:cubicBezTo>
                            <a:pt x="1512" y="410"/>
                            <a:pt x="1516" y="416"/>
                            <a:pt x="1521" y="418"/>
                          </a:cubicBezTo>
                          <a:cubicBezTo>
                            <a:pt x="1527" y="419"/>
                            <a:pt x="1535" y="416"/>
                            <a:pt x="1542" y="414"/>
                          </a:cubicBezTo>
                          <a:cubicBezTo>
                            <a:pt x="1549" y="413"/>
                            <a:pt x="1554" y="408"/>
                            <a:pt x="1556" y="402"/>
                          </a:cubicBezTo>
                          <a:cubicBezTo>
                            <a:pt x="1557" y="396"/>
                            <a:pt x="1559" y="390"/>
                            <a:pt x="1559" y="381"/>
                          </a:cubicBezTo>
                          <a:cubicBezTo>
                            <a:pt x="1559" y="372"/>
                            <a:pt x="1565" y="363"/>
                            <a:pt x="1570" y="354"/>
                          </a:cubicBezTo>
                          <a:cubicBezTo>
                            <a:pt x="1575" y="346"/>
                            <a:pt x="1574" y="345"/>
                            <a:pt x="1570" y="338"/>
                          </a:cubicBezTo>
                          <a:cubicBezTo>
                            <a:pt x="1567" y="331"/>
                            <a:pt x="1555" y="337"/>
                            <a:pt x="1548" y="335"/>
                          </a:cubicBezTo>
                          <a:cubicBezTo>
                            <a:pt x="1541" y="333"/>
                            <a:pt x="1534" y="335"/>
                            <a:pt x="1528" y="336"/>
                          </a:cubicBezTo>
                          <a:cubicBezTo>
                            <a:pt x="1521" y="338"/>
                            <a:pt x="1514" y="337"/>
                            <a:pt x="1504" y="338"/>
                          </a:cubicBezTo>
                          <a:cubicBezTo>
                            <a:pt x="1494" y="339"/>
                            <a:pt x="1493" y="339"/>
                            <a:pt x="1481" y="335"/>
                          </a:cubicBezTo>
                          <a:close/>
                          <a:moveTo>
                            <a:pt x="1383" y="366"/>
                          </a:moveTo>
                          <a:cubicBezTo>
                            <a:pt x="1379" y="375"/>
                            <a:pt x="1383" y="374"/>
                            <a:pt x="1376" y="383"/>
                          </a:cubicBezTo>
                          <a:cubicBezTo>
                            <a:pt x="1370" y="392"/>
                            <a:pt x="1365" y="399"/>
                            <a:pt x="1368" y="401"/>
                          </a:cubicBezTo>
                          <a:cubicBezTo>
                            <a:pt x="1371" y="402"/>
                            <a:pt x="1373" y="407"/>
                            <a:pt x="1379" y="397"/>
                          </a:cubicBezTo>
                          <a:cubicBezTo>
                            <a:pt x="1385" y="387"/>
                            <a:pt x="1386" y="387"/>
                            <a:pt x="1393" y="382"/>
                          </a:cubicBezTo>
                          <a:cubicBezTo>
                            <a:pt x="1400" y="378"/>
                            <a:pt x="1403" y="375"/>
                            <a:pt x="1403" y="369"/>
                          </a:cubicBezTo>
                          <a:cubicBezTo>
                            <a:pt x="1403" y="362"/>
                            <a:pt x="1406" y="356"/>
                            <a:pt x="1400" y="356"/>
                          </a:cubicBezTo>
                          <a:cubicBezTo>
                            <a:pt x="1395" y="356"/>
                            <a:pt x="1388" y="358"/>
                            <a:pt x="1383" y="366"/>
                          </a:cubicBezTo>
                          <a:close/>
                          <a:moveTo>
                            <a:pt x="1480" y="305"/>
                          </a:moveTo>
                          <a:cubicBezTo>
                            <a:pt x="1466" y="308"/>
                            <a:pt x="1462" y="312"/>
                            <a:pt x="1457" y="315"/>
                          </a:cubicBezTo>
                          <a:cubicBezTo>
                            <a:pt x="1453" y="318"/>
                            <a:pt x="1460" y="319"/>
                            <a:pt x="1471" y="318"/>
                          </a:cubicBezTo>
                          <a:cubicBezTo>
                            <a:pt x="1481" y="317"/>
                            <a:pt x="1484" y="318"/>
                            <a:pt x="1491" y="317"/>
                          </a:cubicBezTo>
                          <a:cubicBezTo>
                            <a:pt x="1498" y="315"/>
                            <a:pt x="1499" y="310"/>
                            <a:pt x="1498" y="305"/>
                          </a:cubicBezTo>
                          <a:cubicBezTo>
                            <a:pt x="1496" y="299"/>
                            <a:pt x="1490" y="303"/>
                            <a:pt x="1480" y="305"/>
                          </a:cubicBezTo>
                          <a:close/>
                          <a:moveTo>
                            <a:pt x="1421" y="326"/>
                          </a:moveTo>
                          <a:cubicBezTo>
                            <a:pt x="1418" y="332"/>
                            <a:pt x="1412" y="336"/>
                            <a:pt x="1420" y="336"/>
                          </a:cubicBezTo>
                          <a:cubicBezTo>
                            <a:pt x="1428" y="336"/>
                            <a:pt x="1432" y="332"/>
                            <a:pt x="1434" y="328"/>
                          </a:cubicBezTo>
                          <a:cubicBezTo>
                            <a:pt x="1437" y="324"/>
                            <a:pt x="1436" y="322"/>
                            <a:pt x="1432" y="322"/>
                          </a:cubicBezTo>
                          <a:cubicBezTo>
                            <a:pt x="1428" y="322"/>
                            <a:pt x="1423" y="321"/>
                            <a:pt x="1421" y="326"/>
                          </a:cubicBezTo>
                          <a:close/>
                          <a:moveTo>
                            <a:pt x="1468" y="283"/>
                          </a:moveTo>
                          <a:cubicBezTo>
                            <a:pt x="1459" y="289"/>
                            <a:pt x="1459" y="293"/>
                            <a:pt x="1456" y="297"/>
                          </a:cubicBezTo>
                          <a:cubicBezTo>
                            <a:pt x="1453" y="301"/>
                            <a:pt x="1447" y="306"/>
                            <a:pt x="1452" y="305"/>
                          </a:cubicBezTo>
                          <a:cubicBezTo>
                            <a:pt x="1456" y="304"/>
                            <a:pt x="1463" y="299"/>
                            <a:pt x="1467" y="296"/>
                          </a:cubicBezTo>
                          <a:cubicBezTo>
                            <a:pt x="1471" y="293"/>
                            <a:pt x="1476" y="292"/>
                            <a:pt x="1476" y="287"/>
                          </a:cubicBezTo>
                          <a:cubicBezTo>
                            <a:pt x="1476" y="282"/>
                            <a:pt x="1475" y="281"/>
                            <a:pt x="1468" y="283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grpSp>
                  <p:nvGrpSpPr>
                    <p:cNvPr id="566" name="Gruppieren 565"/>
                    <p:cNvGrpSpPr/>
                    <p:nvPr/>
                  </p:nvGrpSpPr>
                  <p:grpSpPr>
                    <a:xfrm>
                      <a:off x="1383619" y="2653400"/>
                      <a:ext cx="2044303" cy="1203722"/>
                      <a:chOff x="1383619" y="2653400"/>
                      <a:chExt cx="2044303" cy="1203722"/>
                    </a:xfrm>
                    <a:grpFill/>
                  </p:grpSpPr>
                  <p:sp>
                    <p:nvSpPr>
                      <p:cNvPr id="567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2887378" y="3769016"/>
                        <a:ext cx="27384" cy="10716"/>
                      </a:xfrm>
                      <a:custGeom>
                        <a:avLst/>
                        <a:gdLst>
                          <a:gd name="T0" fmla="*/ 18 w 97"/>
                          <a:gd name="T1" fmla="*/ 4 h 36"/>
                          <a:gd name="T2" fmla="*/ 5 w 97"/>
                          <a:gd name="T3" fmla="*/ 4 h 36"/>
                          <a:gd name="T4" fmla="*/ 7 w 97"/>
                          <a:gd name="T5" fmla="*/ 11 h 36"/>
                          <a:gd name="T6" fmla="*/ 23 w 97"/>
                          <a:gd name="T7" fmla="*/ 15 h 36"/>
                          <a:gd name="T8" fmla="*/ 43 w 97"/>
                          <a:gd name="T9" fmla="*/ 25 h 36"/>
                          <a:gd name="T10" fmla="*/ 63 w 97"/>
                          <a:gd name="T11" fmla="*/ 33 h 36"/>
                          <a:gd name="T12" fmla="*/ 77 w 97"/>
                          <a:gd name="T13" fmla="*/ 33 h 36"/>
                          <a:gd name="T14" fmla="*/ 83 w 97"/>
                          <a:gd name="T15" fmla="*/ 25 h 36"/>
                          <a:gd name="T16" fmla="*/ 93 w 97"/>
                          <a:gd name="T17" fmla="*/ 18 h 36"/>
                          <a:gd name="T18" fmla="*/ 91 w 97"/>
                          <a:gd name="T19" fmla="*/ 11 h 36"/>
                          <a:gd name="T20" fmla="*/ 80 w 97"/>
                          <a:gd name="T21" fmla="*/ 15 h 36"/>
                          <a:gd name="T22" fmla="*/ 74 w 97"/>
                          <a:gd name="T23" fmla="*/ 11 h 36"/>
                          <a:gd name="T24" fmla="*/ 68 w 97"/>
                          <a:gd name="T25" fmla="*/ 3 h 36"/>
                          <a:gd name="T26" fmla="*/ 45 w 97"/>
                          <a:gd name="T27" fmla="*/ 4 h 36"/>
                          <a:gd name="T28" fmla="*/ 36 w 97"/>
                          <a:gd name="T29" fmla="*/ 9 h 36"/>
                          <a:gd name="T30" fmla="*/ 26 w 97"/>
                          <a:gd name="T31" fmla="*/ 8 h 36"/>
                          <a:gd name="T32" fmla="*/ 18 w 97"/>
                          <a:gd name="T33" fmla="*/ 4 h 3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</a:cxnLst>
                        <a:rect l="0" t="0" r="r" b="b"/>
                        <a:pathLst>
                          <a:path w="97" h="36">
                            <a:moveTo>
                              <a:pt x="18" y="4"/>
                            </a:moveTo>
                            <a:cubicBezTo>
                              <a:pt x="12" y="3"/>
                              <a:pt x="6" y="1"/>
                              <a:pt x="5" y="4"/>
                            </a:cubicBezTo>
                            <a:cubicBezTo>
                              <a:pt x="4" y="8"/>
                              <a:pt x="0" y="9"/>
                              <a:pt x="7" y="11"/>
                            </a:cubicBezTo>
                            <a:cubicBezTo>
                              <a:pt x="14" y="14"/>
                              <a:pt x="18" y="12"/>
                              <a:pt x="23" y="15"/>
                            </a:cubicBezTo>
                            <a:cubicBezTo>
                              <a:pt x="28" y="19"/>
                              <a:pt x="35" y="19"/>
                              <a:pt x="43" y="25"/>
                            </a:cubicBezTo>
                            <a:cubicBezTo>
                              <a:pt x="51" y="31"/>
                              <a:pt x="55" y="33"/>
                              <a:pt x="63" y="33"/>
                            </a:cubicBezTo>
                            <a:cubicBezTo>
                              <a:pt x="70" y="34"/>
                              <a:pt x="74" y="36"/>
                              <a:pt x="77" y="33"/>
                            </a:cubicBezTo>
                            <a:cubicBezTo>
                              <a:pt x="81" y="29"/>
                              <a:pt x="78" y="30"/>
                              <a:pt x="83" y="25"/>
                            </a:cubicBezTo>
                            <a:cubicBezTo>
                              <a:pt x="89" y="21"/>
                              <a:pt x="93" y="23"/>
                              <a:pt x="93" y="18"/>
                            </a:cubicBezTo>
                            <a:cubicBezTo>
                              <a:pt x="93" y="14"/>
                              <a:pt x="97" y="11"/>
                              <a:pt x="91" y="11"/>
                            </a:cubicBezTo>
                            <a:cubicBezTo>
                              <a:pt x="84" y="12"/>
                              <a:pt x="83" y="14"/>
                              <a:pt x="80" y="15"/>
                            </a:cubicBezTo>
                            <a:cubicBezTo>
                              <a:pt x="78" y="16"/>
                              <a:pt x="74" y="15"/>
                              <a:pt x="74" y="11"/>
                            </a:cubicBezTo>
                            <a:cubicBezTo>
                              <a:pt x="73" y="7"/>
                              <a:pt x="77" y="4"/>
                              <a:pt x="68" y="3"/>
                            </a:cubicBezTo>
                            <a:cubicBezTo>
                              <a:pt x="59" y="3"/>
                              <a:pt x="48" y="0"/>
                              <a:pt x="45" y="4"/>
                            </a:cubicBezTo>
                            <a:cubicBezTo>
                              <a:pt x="41" y="7"/>
                              <a:pt x="41" y="10"/>
                              <a:pt x="36" y="9"/>
                            </a:cubicBezTo>
                            <a:cubicBezTo>
                              <a:pt x="31" y="9"/>
                              <a:pt x="28" y="10"/>
                              <a:pt x="26" y="8"/>
                            </a:cubicBezTo>
                            <a:cubicBezTo>
                              <a:pt x="23" y="6"/>
                              <a:pt x="20" y="4"/>
                              <a:pt x="18" y="4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568" name="Freeform 30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1861060" y="2653400"/>
                        <a:ext cx="1566862" cy="1203722"/>
                      </a:xfrm>
                      <a:custGeom>
                        <a:avLst/>
                        <a:gdLst>
                          <a:gd name="T0" fmla="*/ 963 w 5462"/>
                          <a:gd name="T1" fmla="*/ 3529 h 4196"/>
                          <a:gd name="T2" fmla="*/ 794 w 5462"/>
                          <a:gd name="T3" fmla="*/ 3296 h 4196"/>
                          <a:gd name="T4" fmla="*/ 223 w 5462"/>
                          <a:gd name="T5" fmla="*/ 2801 h 4196"/>
                          <a:gd name="T6" fmla="*/ 628 w 5462"/>
                          <a:gd name="T7" fmla="*/ 1777 h 4196"/>
                          <a:gd name="T8" fmla="*/ 1937 w 5462"/>
                          <a:gd name="T9" fmla="*/ 1951 h 4196"/>
                          <a:gd name="T10" fmla="*/ 2375 w 5462"/>
                          <a:gd name="T11" fmla="*/ 1945 h 4196"/>
                          <a:gd name="T12" fmla="*/ 2750 w 5462"/>
                          <a:gd name="T13" fmla="*/ 1683 h 4196"/>
                          <a:gd name="T14" fmla="*/ 3117 w 5462"/>
                          <a:gd name="T15" fmla="*/ 1829 h 4196"/>
                          <a:gd name="T16" fmla="*/ 3635 w 5462"/>
                          <a:gd name="T17" fmla="*/ 1784 h 4196"/>
                          <a:gd name="T18" fmla="*/ 3107 w 5462"/>
                          <a:gd name="T19" fmla="*/ 2144 h 4196"/>
                          <a:gd name="T20" fmla="*/ 2856 w 5462"/>
                          <a:gd name="T21" fmla="*/ 2701 h 4196"/>
                          <a:gd name="T22" fmla="*/ 3811 w 5462"/>
                          <a:gd name="T23" fmla="*/ 3512 h 4196"/>
                          <a:gd name="T24" fmla="*/ 3906 w 5462"/>
                          <a:gd name="T25" fmla="*/ 2488 h 4196"/>
                          <a:gd name="T26" fmla="*/ 4483 w 5462"/>
                          <a:gd name="T27" fmla="*/ 2892 h 4196"/>
                          <a:gd name="T28" fmla="*/ 4803 w 5462"/>
                          <a:gd name="T29" fmla="*/ 2820 h 4196"/>
                          <a:gd name="T30" fmla="*/ 4978 w 5462"/>
                          <a:gd name="T31" fmla="*/ 3107 h 4196"/>
                          <a:gd name="T32" fmla="*/ 5206 w 5462"/>
                          <a:gd name="T33" fmla="*/ 3266 h 4196"/>
                          <a:gd name="T34" fmla="*/ 4377 w 5462"/>
                          <a:gd name="T35" fmla="*/ 3788 h 4196"/>
                          <a:gd name="T36" fmla="*/ 4643 w 5462"/>
                          <a:gd name="T37" fmla="*/ 4060 h 4196"/>
                          <a:gd name="T38" fmla="*/ 3577 w 5462"/>
                          <a:gd name="T39" fmla="*/ 4183 h 4196"/>
                          <a:gd name="T40" fmla="*/ 5383 w 5462"/>
                          <a:gd name="T41" fmla="*/ 3774 h 4196"/>
                          <a:gd name="T42" fmla="*/ 5237 w 5462"/>
                          <a:gd name="T43" fmla="*/ 3803 h 4196"/>
                          <a:gd name="T44" fmla="*/ 3447 w 5462"/>
                          <a:gd name="T45" fmla="*/ 2411 h 4196"/>
                          <a:gd name="T46" fmla="*/ 4132 w 5462"/>
                          <a:gd name="T47" fmla="*/ 2466 h 4196"/>
                          <a:gd name="T48" fmla="*/ 4057 w 5462"/>
                          <a:gd name="T49" fmla="*/ 2258 h 4196"/>
                          <a:gd name="T50" fmla="*/ 4610 w 5462"/>
                          <a:gd name="T51" fmla="*/ 2425 h 4196"/>
                          <a:gd name="T52" fmla="*/ 4722 w 5462"/>
                          <a:gd name="T53" fmla="*/ 2111 h 4196"/>
                          <a:gd name="T54" fmla="*/ 4783 w 5462"/>
                          <a:gd name="T55" fmla="*/ 2037 h 4196"/>
                          <a:gd name="T56" fmla="*/ 4482 w 5462"/>
                          <a:gd name="T57" fmla="*/ 1794 h 4196"/>
                          <a:gd name="T58" fmla="*/ 4327 w 5462"/>
                          <a:gd name="T59" fmla="*/ 1645 h 4196"/>
                          <a:gd name="T60" fmla="*/ 4059 w 5462"/>
                          <a:gd name="T61" fmla="*/ 1513 h 4196"/>
                          <a:gd name="T62" fmla="*/ 3726 w 5462"/>
                          <a:gd name="T63" fmla="*/ 1442 h 4196"/>
                          <a:gd name="T64" fmla="*/ 3382 w 5462"/>
                          <a:gd name="T65" fmla="*/ 1596 h 4196"/>
                          <a:gd name="T66" fmla="*/ 3633 w 5462"/>
                          <a:gd name="T67" fmla="*/ 1699 h 4196"/>
                          <a:gd name="T68" fmla="*/ 4215 w 5462"/>
                          <a:gd name="T69" fmla="*/ 1934 h 4196"/>
                          <a:gd name="T70" fmla="*/ 4060 w 5462"/>
                          <a:gd name="T71" fmla="*/ 1864 h 4196"/>
                          <a:gd name="T72" fmla="*/ 3756 w 5462"/>
                          <a:gd name="T73" fmla="*/ 1107 h 4196"/>
                          <a:gd name="T74" fmla="*/ 2886 w 5462"/>
                          <a:gd name="T75" fmla="*/ 877 h 4196"/>
                          <a:gd name="T76" fmla="*/ 3808 w 5462"/>
                          <a:gd name="T77" fmla="*/ 991 h 4196"/>
                          <a:gd name="T78" fmla="*/ 3896 w 5462"/>
                          <a:gd name="T79" fmla="*/ 602 h 4196"/>
                          <a:gd name="T80" fmla="*/ 4696 w 5462"/>
                          <a:gd name="T81" fmla="*/ 244 h 4196"/>
                          <a:gd name="T82" fmla="*/ 3961 w 5462"/>
                          <a:gd name="T83" fmla="*/ 65 h 4196"/>
                          <a:gd name="T84" fmla="*/ 3261 w 5462"/>
                          <a:gd name="T85" fmla="*/ 156 h 4196"/>
                          <a:gd name="T86" fmla="*/ 3608 w 5462"/>
                          <a:gd name="T87" fmla="*/ 364 h 4196"/>
                          <a:gd name="T88" fmla="*/ 3371 w 5462"/>
                          <a:gd name="T89" fmla="*/ 487 h 4196"/>
                          <a:gd name="T90" fmla="*/ 3493 w 5462"/>
                          <a:gd name="T91" fmla="*/ 706 h 4196"/>
                          <a:gd name="T92" fmla="*/ 3457 w 5462"/>
                          <a:gd name="T93" fmla="*/ 930 h 4196"/>
                          <a:gd name="T94" fmla="*/ 2771 w 5462"/>
                          <a:gd name="T95" fmla="*/ 492 h 4196"/>
                          <a:gd name="T96" fmla="*/ 3358 w 5462"/>
                          <a:gd name="T97" fmla="*/ 604 h 4196"/>
                          <a:gd name="T98" fmla="*/ 2777 w 5462"/>
                          <a:gd name="T99" fmla="*/ 748 h 4196"/>
                          <a:gd name="T100" fmla="*/ 2401 w 5462"/>
                          <a:gd name="T101" fmla="*/ 756 h 4196"/>
                          <a:gd name="T102" fmla="*/ 2523 w 5462"/>
                          <a:gd name="T103" fmla="*/ 970 h 4196"/>
                          <a:gd name="T104" fmla="*/ 2838 w 5462"/>
                          <a:gd name="T105" fmla="*/ 1476 h 4196"/>
                          <a:gd name="T106" fmla="*/ 2490 w 5462"/>
                          <a:gd name="T107" fmla="*/ 1628 h 4196"/>
                          <a:gd name="T108" fmla="*/ 2722 w 5462"/>
                          <a:gd name="T109" fmla="*/ 1345 h 4196"/>
                          <a:gd name="T110" fmla="*/ 1647 w 5462"/>
                          <a:gd name="T111" fmla="*/ 1408 h 4196"/>
                          <a:gd name="T112" fmla="*/ 2351 w 5462"/>
                          <a:gd name="T113" fmla="*/ 1831 h 4196"/>
                          <a:gd name="T114" fmla="*/ 1537 w 5462"/>
                          <a:gd name="T115" fmla="*/ 862 h 4196"/>
                          <a:gd name="T116" fmla="*/ 1712 w 5462"/>
                          <a:gd name="T117" fmla="*/ 1137 h 4196"/>
                          <a:gd name="T118" fmla="*/ 1620 w 5462"/>
                          <a:gd name="T119" fmla="*/ 734 h 4196"/>
                          <a:gd name="T120" fmla="*/ 982 w 5462"/>
                          <a:gd name="T121" fmla="*/ 1487 h 4196"/>
                          <a:gd name="T122" fmla="*/ 650 w 5462"/>
                          <a:gd name="T123" fmla="*/ 3192 h 4196"/>
                          <a:gd name="T124" fmla="*/ 813 w 5462"/>
                          <a:gd name="T125" fmla="*/ 3561 h 419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  <a:cxn ang="0">
                            <a:pos x="T94" y="T95"/>
                          </a:cxn>
                          <a:cxn ang="0">
                            <a:pos x="T96" y="T97"/>
                          </a:cxn>
                          <a:cxn ang="0">
                            <a:pos x="T98" y="T99"/>
                          </a:cxn>
                          <a:cxn ang="0">
                            <a:pos x="T100" y="T101"/>
                          </a:cxn>
                          <a:cxn ang="0">
                            <a:pos x="T102" y="T103"/>
                          </a:cxn>
                          <a:cxn ang="0">
                            <a:pos x="T104" y="T105"/>
                          </a:cxn>
                          <a:cxn ang="0">
                            <a:pos x="T106" y="T107"/>
                          </a:cxn>
                          <a:cxn ang="0">
                            <a:pos x="T108" y="T109"/>
                          </a:cxn>
                          <a:cxn ang="0">
                            <a:pos x="T110" y="T111"/>
                          </a:cxn>
                          <a:cxn ang="0">
                            <a:pos x="T112" y="T113"/>
                          </a:cxn>
                          <a:cxn ang="0">
                            <a:pos x="T114" y="T115"/>
                          </a:cxn>
                          <a:cxn ang="0">
                            <a:pos x="T116" y="T117"/>
                          </a:cxn>
                          <a:cxn ang="0">
                            <a:pos x="T118" y="T119"/>
                          </a:cxn>
                          <a:cxn ang="0">
                            <a:pos x="T120" y="T121"/>
                          </a:cxn>
                          <a:cxn ang="0">
                            <a:pos x="T122" y="T123"/>
                          </a:cxn>
                          <a:cxn ang="0">
                            <a:pos x="T124" y="T125"/>
                          </a:cxn>
                        </a:cxnLst>
                        <a:rect l="0" t="0" r="r" b="b"/>
                        <a:pathLst>
                          <a:path w="5462" h="4196">
                            <a:moveTo>
                              <a:pt x="3479" y="3844"/>
                            </a:moveTo>
                            <a:cubicBezTo>
                              <a:pt x="3485" y="3844"/>
                              <a:pt x="3490" y="3844"/>
                              <a:pt x="3490" y="3839"/>
                            </a:cubicBezTo>
                            <a:cubicBezTo>
                              <a:pt x="3490" y="3834"/>
                              <a:pt x="3493" y="3834"/>
                              <a:pt x="3489" y="3825"/>
                            </a:cubicBezTo>
                            <a:cubicBezTo>
                              <a:pt x="3485" y="3816"/>
                              <a:pt x="3481" y="3815"/>
                              <a:pt x="3483" y="3808"/>
                            </a:cubicBezTo>
                            <a:cubicBezTo>
                              <a:pt x="3484" y="3801"/>
                              <a:pt x="3493" y="3796"/>
                              <a:pt x="3487" y="3790"/>
                            </a:cubicBezTo>
                            <a:cubicBezTo>
                              <a:pt x="3481" y="3783"/>
                              <a:pt x="3478" y="3786"/>
                              <a:pt x="3470" y="3774"/>
                            </a:cubicBezTo>
                            <a:cubicBezTo>
                              <a:pt x="3463" y="3762"/>
                              <a:pt x="3459" y="3759"/>
                              <a:pt x="3464" y="3752"/>
                            </a:cubicBezTo>
                            <a:cubicBezTo>
                              <a:pt x="3468" y="3745"/>
                              <a:pt x="3471" y="3738"/>
                              <a:pt x="3459" y="3740"/>
                            </a:cubicBezTo>
                            <a:cubicBezTo>
                              <a:pt x="3447" y="3741"/>
                              <a:pt x="3434" y="3744"/>
                              <a:pt x="3424" y="3739"/>
                            </a:cubicBezTo>
                            <a:cubicBezTo>
                              <a:pt x="3414" y="3734"/>
                              <a:pt x="3410" y="3735"/>
                              <a:pt x="3401" y="3720"/>
                            </a:cubicBezTo>
                            <a:cubicBezTo>
                              <a:pt x="3392" y="3704"/>
                              <a:pt x="3389" y="3697"/>
                              <a:pt x="3376" y="3684"/>
                            </a:cubicBezTo>
                            <a:cubicBezTo>
                              <a:pt x="3364" y="3671"/>
                              <a:pt x="3363" y="3668"/>
                              <a:pt x="3348" y="3669"/>
                            </a:cubicBezTo>
                            <a:cubicBezTo>
                              <a:pt x="3333" y="3670"/>
                              <a:pt x="3333" y="3673"/>
                              <a:pt x="3315" y="3668"/>
                            </a:cubicBezTo>
                            <a:cubicBezTo>
                              <a:pt x="3298" y="3662"/>
                              <a:pt x="3290" y="3656"/>
                              <a:pt x="3281" y="3656"/>
                            </a:cubicBezTo>
                            <a:cubicBezTo>
                              <a:pt x="3272" y="3656"/>
                              <a:pt x="3263" y="3654"/>
                              <a:pt x="3263" y="3661"/>
                            </a:cubicBezTo>
                            <a:cubicBezTo>
                              <a:pt x="3263" y="3669"/>
                              <a:pt x="3269" y="3672"/>
                              <a:pt x="3269" y="3678"/>
                            </a:cubicBezTo>
                            <a:cubicBezTo>
                              <a:pt x="3269" y="3683"/>
                              <a:pt x="3265" y="3686"/>
                              <a:pt x="3260" y="3683"/>
                            </a:cubicBezTo>
                            <a:cubicBezTo>
                              <a:pt x="3255" y="3680"/>
                              <a:pt x="3259" y="3673"/>
                              <a:pt x="3251" y="3672"/>
                            </a:cubicBezTo>
                            <a:cubicBezTo>
                              <a:pt x="3243" y="3670"/>
                              <a:pt x="3240" y="3665"/>
                              <a:pt x="3237" y="3677"/>
                            </a:cubicBezTo>
                            <a:cubicBezTo>
                              <a:pt x="3234" y="3690"/>
                              <a:pt x="3240" y="3696"/>
                              <a:pt x="3228" y="3695"/>
                            </a:cubicBezTo>
                            <a:cubicBezTo>
                              <a:pt x="3216" y="3694"/>
                              <a:pt x="3209" y="3688"/>
                              <a:pt x="3205" y="3696"/>
                            </a:cubicBezTo>
                            <a:cubicBezTo>
                              <a:pt x="3201" y="3705"/>
                              <a:pt x="3202" y="3707"/>
                              <a:pt x="3197" y="3714"/>
                            </a:cubicBezTo>
                            <a:cubicBezTo>
                              <a:pt x="3194" y="3718"/>
                              <a:pt x="3189" y="3723"/>
                              <a:pt x="3183" y="3728"/>
                            </a:cubicBezTo>
                            <a:cubicBezTo>
                              <a:pt x="3177" y="3729"/>
                              <a:pt x="3171" y="3729"/>
                              <a:pt x="3163" y="3728"/>
                            </a:cubicBezTo>
                            <a:cubicBezTo>
                              <a:pt x="3157" y="3728"/>
                              <a:pt x="3151" y="3727"/>
                              <a:pt x="3142" y="3727"/>
                            </a:cubicBezTo>
                            <a:cubicBezTo>
                              <a:pt x="3128" y="3727"/>
                              <a:pt x="3116" y="3723"/>
                              <a:pt x="3106" y="3720"/>
                            </a:cubicBezTo>
                            <a:cubicBezTo>
                              <a:pt x="3098" y="3717"/>
                              <a:pt x="3092" y="3715"/>
                              <a:pt x="3086" y="3715"/>
                            </a:cubicBezTo>
                            <a:cubicBezTo>
                              <a:pt x="3081" y="3716"/>
                              <a:pt x="3077" y="3717"/>
                              <a:pt x="3073" y="3718"/>
                            </a:cubicBezTo>
                            <a:cubicBezTo>
                              <a:pt x="3067" y="3720"/>
                              <a:pt x="3062" y="3722"/>
                              <a:pt x="3053" y="3722"/>
                            </a:cubicBezTo>
                            <a:cubicBezTo>
                              <a:pt x="3053" y="3722"/>
                              <a:pt x="3053" y="3722"/>
                              <a:pt x="3053" y="3722"/>
                            </a:cubicBezTo>
                            <a:cubicBezTo>
                              <a:pt x="3044" y="3722"/>
                              <a:pt x="3039" y="3718"/>
                              <a:pt x="3035" y="3713"/>
                            </a:cubicBezTo>
                            <a:cubicBezTo>
                              <a:pt x="3033" y="3711"/>
                              <a:pt x="3031" y="3709"/>
                              <a:pt x="3028" y="3707"/>
                            </a:cubicBezTo>
                            <a:cubicBezTo>
                              <a:pt x="3022" y="3703"/>
                              <a:pt x="3018" y="3703"/>
                              <a:pt x="3013" y="3704"/>
                            </a:cubicBezTo>
                            <a:cubicBezTo>
                              <a:pt x="3010" y="3705"/>
                              <a:pt x="3006" y="3706"/>
                              <a:pt x="3001" y="3705"/>
                            </a:cubicBezTo>
                            <a:cubicBezTo>
                              <a:pt x="2994" y="3704"/>
                              <a:pt x="2992" y="3701"/>
                              <a:pt x="2989" y="3697"/>
                            </a:cubicBezTo>
                            <a:cubicBezTo>
                              <a:pt x="2986" y="3693"/>
                              <a:pt x="2983" y="3689"/>
                              <a:pt x="2977" y="3686"/>
                            </a:cubicBezTo>
                            <a:cubicBezTo>
                              <a:pt x="2972" y="3683"/>
                              <a:pt x="2965" y="3682"/>
                              <a:pt x="2958" y="3682"/>
                            </a:cubicBezTo>
                            <a:cubicBezTo>
                              <a:pt x="2949" y="3682"/>
                              <a:pt x="2941" y="3684"/>
                              <a:pt x="2935" y="3686"/>
                            </a:cubicBezTo>
                            <a:cubicBezTo>
                              <a:pt x="2931" y="3687"/>
                              <a:pt x="2925" y="3687"/>
                              <a:pt x="2919" y="3686"/>
                            </a:cubicBezTo>
                            <a:cubicBezTo>
                              <a:pt x="2912" y="3685"/>
                              <a:pt x="2904" y="3683"/>
                              <a:pt x="2898" y="3682"/>
                            </a:cubicBezTo>
                            <a:cubicBezTo>
                              <a:pt x="2891" y="3680"/>
                              <a:pt x="2886" y="3678"/>
                              <a:pt x="2881" y="3675"/>
                            </a:cubicBezTo>
                            <a:cubicBezTo>
                              <a:pt x="2876" y="3672"/>
                              <a:pt x="2872" y="3668"/>
                              <a:pt x="2869" y="3663"/>
                            </a:cubicBezTo>
                            <a:cubicBezTo>
                              <a:pt x="2864" y="3656"/>
                              <a:pt x="2862" y="3647"/>
                              <a:pt x="2860" y="3640"/>
                            </a:cubicBezTo>
                            <a:cubicBezTo>
                              <a:pt x="2860" y="3640"/>
                              <a:pt x="2860" y="3640"/>
                              <a:pt x="2860" y="3640"/>
                            </a:cubicBezTo>
                            <a:cubicBezTo>
                              <a:pt x="2859" y="3636"/>
                              <a:pt x="2858" y="3632"/>
                              <a:pt x="2857" y="3630"/>
                            </a:cubicBezTo>
                            <a:cubicBezTo>
                              <a:pt x="2856" y="3628"/>
                              <a:pt x="2854" y="3626"/>
                              <a:pt x="2853" y="3625"/>
                            </a:cubicBezTo>
                            <a:cubicBezTo>
                              <a:pt x="2853" y="3625"/>
                              <a:pt x="2853" y="3625"/>
                              <a:pt x="2853" y="3625"/>
                            </a:cubicBezTo>
                            <a:cubicBezTo>
                              <a:pt x="2850" y="3623"/>
                              <a:pt x="2846" y="3622"/>
                              <a:pt x="2842" y="3621"/>
                            </a:cubicBezTo>
                            <a:cubicBezTo>
                              <a:pt x="2838" y="3620"/>
                              <a:pt x="2834" y="3621"/>
                              <a:pt x="2831" y="3622"/>
                            </a:cubicBezTo>
                            <a:cubicBezTo>
                              <a:pt x="2830" y="3623"/>
                              <a:pt x="2828" y="3624"/>
                              <a:pt x="2827" y="3625"/>
                            </a:cubicBezTo>
                            <a:cubicBezTo>
                              <a:pt x="2824" y="3630"/>
                              <a:pt x="2824" y="3642"/>
                              <a:pt x="2824" y="3648"/>
                            </a:cubicBezTo>
                            <a:cubicBezTo>
                              <a:pt x="2527" y="3651"/>
                              <a:pt x="2527" y="3651"/>
                              <a:pt x="2527" y="3651"/>
                            </a:cubicBezTo>
                            <a:cubicBezTo>
                              <a:pt x="2524" y="3651"/>
                              <a:pt x="1712" y="3652"/>
                              <a:pt x="1635" y="3652"/>
                            </a:cubicBezTo>
                            <a:cubicBezTo>
                              <a:pt x="1254" y="3650"/>
                              <a:pt x="1254" y="3650"/>
                              <a:pt x="1254" y="3650"/>
                            </a:cubicBezTo>
                            <a:cubicBezTo>
                              <a:pt x="1115" y="3649"/>
                              <a:pt x="1115" y="3649"/>
                              <a:pt x="1115" y="3649"/>
                            </a:cubicBezTo>
                            <a:cubicBezTo>
                              <a:pt x="1113" y="3647"/>
                              <a:pt x="1111" y="3645"/>
                              <a:pt x="1111" y="3645"/>
                            </a:cubicBezTo>
                            <a:cubicBezTo>
                              <a:pt x="1111" y="3645"/>
                              <a:pt x="1110" y="3650"/>
                              <a:pt x="1109" y="3643"/>
                            </a:cubicBezTo>
                            <a:cubicBezTo>
                              <a:pt x="1108" y="3637"/>
                              <a:pt x="1111" y="3630"/>
                              <a:pt x="1112" y="3629"/>
                            </a:cubicBezTo>
                            <a:cubicBezTo>
                              <a:pt x="1114" y="3627"/>
                              <a:pt x="1119" y="3624"/>
                              <a:pt x="1117" y="3620"/>
                            </a:cubicBezTo>
                            <a:cubicBezTo>
                              <a:pt x="1116" y="3617"/>
                              <a:pt x="1113" y="3617"/>
                              <a:pt x="1107" y="3619"/>
                            </a:cubicBezTo>
                            <a:cubicBezTo>
                              <a:pt x="1102" y="3622"/>
                              <a:pt x="1100" y="3624"/>
                              <a:pt x="1098" y="3618"/>
                            </a:cubicBezTo>
                            <a:cubicBezTo>
                              <a:pt x="1095" y="3613"/>
                              <a:pt x="1098" y="3610"/>
                              <a:pt x="1095" y="3606"/>
                            </a:cubicBezTo>
                            <a:cubicBezTo>
                              <a:pt x="1092" y="3602"/>
                              <a:pt x="1090" y="3599"/>
                              <a:pt x="1087" y="3604"/>
                            </a:cubicBezTo>
                            <a:cubicBezTo>
                              <a:pt x="1083" y="3609"/>
                              <a:pt x="1085" y="3613"/>
                              <a:pt x="1080" y="3615"/>
                            </a:cubicBezTo>
                            <a:cubicBezTo>
                              <a:pt x="1075" y="3617"/>
                              <a:pt x="1074" y="3618"/>
                              <a:pt x="1071" y="3617"/>
                            </a:cubicBezTo>
                            <a:cubicBezTo>
                              <a:pt x="1068" y="3616"/>
                              <a:pt x="1061" y="3614"/>
                              <a:pt x="1060" y="3611"/>
                            </a:cubicBezTo>
                            <a:cubicBezTo>
                              <a:pt x="1059" y="3608"/>
                              <a:pt x="1058" y="3607"/>
                              <a:pt x="1060" y="3605"/>
                            </a:cubicBezTo>
                            <a:cubicBezTo>
                              <a:pt x="1062" y="3603"/>
                              <a:pt x="1064" y="3602"/>
                              <a:pt x="1066" y="3601"/>
                            </a:cubicBezTo>
                            <a:cubicBezTo>
                              <a:pt x="1069" y="3600"/>
                              <a:pt x="1071" y="3600"/>
                              <a:pt x="1071" y="3598"/>
                            </a:cubicBezTo>
                            <a:cubicBezTo>
                              <a:pt x="1071" y="3595"/>
                              <a:pt x="1071" y="3593"/>
                              <a:pt x="1069" y="3593"/>
                            </a:cubicBezTo>
                            <a:cubicBezTo>
                              <a:pt x="1066" y="3592"/>
                              <a:pt x="1064" y="3595"/>
                              <a:pt x="1061" y="3592"/>
                            </a:cubicBezTo>
                            <a:cubicBezTo>
                              <a:pt x="1057" y="3589"/>
                              <a:pt x="1056" y="3589"/>
                              <a:pt x="1054" y="3587"/>
                            </a:cubicBezTo>
                            <a:cubicBezTo>
                              <a:pt x="1053" y="3584"/>
                              <a:pt x="1053" y="3582"/>
                              <a:pt x="1053" y="3579"/>
                            </a:cubicBezTo>
                            <a:cubicBezTo>
                              <a:pt x="1054" y="3576"/>
                              <a:pt x="1055" y="3574"/>
                              <a:pt x="1056" y="3572"/>
                            </a:cubicBezTo>
                            <a:cubicBezTo>
                              <a:pt x="1057" y="3570"/>
                              <a:pt x="1058" y="3567"/>
                              <a:pt x="1057" y="3566"/>
                            </a:cubicBezTo>
                            <a:cubicBezTo>
                              <a:pt x="1055" y="3564"/>
                              <a:pt x="1051" y="3559"/>
                              <a:pt x="1050" y="3559"/>
                            </a:cubicBezTo>
                            <a:cubicBezTo>
                              <a:pt x="1049" y="3559"/>
                              <a:pt x="1047" y="3558"/>
                              <a:pt x="1048" y="3561"/>
                            </a:cubicBezTo>
                            <a:cubicBezTo>
                              <a:pt x="1048" y="3565"/>
                              <a:pt x="1049" y="3566"/>
                              <a:pt x="1049" y="3571"/>
                            </a:cubicBezTo>
                            <a:cubicBezTo>
                              <a:pt x="1048" y="3575"/>
                              <a:pt x="1048" y="3578"/>
                              <a:pt x="1046" y="3581"/>
                            </a:cubicBezTo>
                            <a:cubicBezTo>
                              <a:pt x="1045" y="3583"/>
                              <a:pt x="1044" y="3584"/>
                              <a:pt x="1040" y="3585"/>
                            </a:cubicBezTo>
                            <a:cubicBezTo>
                              <a:pt x="1037" y="3586"/>
                              <a:pt x="1035" y="3587"/>
                              <a:pt x="1032" y="3586"/>
                            </a:cubicBezTo>
                            <a:cubicBezTo>
                              <a:pt x="1028" y="3584"/>
                              <a:pt x="1020" y="3580"/>
                              <a:pt x="1016" y="3577"/>
                            </a:cubicBezTo>
                            <a:cubicBezTo>
                              <a:pt x="1012" y="3574"/>
                              <a:pt x="1007" y="3573"/>
                              <a:pt x="1007" y="3570"/>
                            </a:cubicBezTo>
                            <a:cubicBezTo>
                              <a:pt x="1007" y="3567"/>
                              <a:pt x="1008" y="3564"/>
                              <a:pt x="1009" y="3558"/>
                            </a:cubicBezTo>
                            <a:cubicBezTo>
                              <a:pt x="1009" y="3552"/>
                              <a:pt x="1009" y="3549"/>
                              <a:pt x="1011" y="3547"/>
                            </a:cubicBezTo>
                            <a:cubicBezTo>
                              <a:pt x="1014" y="3544"/>
                              <a:pt x="1018" y="3542"/>
                              <a:pt x="1022" y="3539"/>
                            </a:cubicBezTo>
                            <a:cubicBezTo>
                              <a:pt x="1026" y="3536"/>
                              <a:pt x="1030" y="3532"/>
                              <a:pt x="1026" y="3532"/>
                            </a:cubicBezTo>
                            <a:cubicBezTo>
                              <a:pt x="1023" y="3532"/>
                              <a:pt x="1022" y="3532"/>
                              <a:pt x="1017" y="3535"/>
                            </a:cubicBezTo>
                            <a:cubicBezTo>
                              <a:pt x="1013" y="3538"/>
                              <a:pt x="1010" y="3539"/>
                              <a:pt x="1005" y="3540"/>
                            </a:cubicBezTo>
                            <a:cubicBezTo>
                              <a:pt x="1000" y="3541"/>
                              <a:pt x="997" y="3541"/>
                              <a:pt x="994" y="3539"/>
                            </a:cubicBezTo>
                            <a:cubicBezTo>
                              <a:pt x="991" y="3537"/>
                              <a:pt x="988" y="3538"/>
                              <a:pt x="990" y="3533"/>
                            </a:cubicBezTo>
                            <a:cubicBezTo>
                              <a:pt x="991" y="3527"/>
                              <a:pt x="993" y="3528"/>
                              <a:pt x="994" y="3525"/>
                            </a:cubicBezTo>
                            <a:cubicBezTo>
                              <a:pt x="995" y="3521"/>
                              <a:pt x="995" y="3520"/>
                              <a:pt x="994" y="3515"/>
                            </a:cubicBezTo>
                            <a:cubicBezTo>
                              <a:pt x="993" y="3510"/>
                              <a:pt x="990" y="3511"/>
                              <a:pt x="992" y="3506"/>
                            </a:cubicBezTo>
                            <a:cubicBezTo>
                              <a:pt x="995" y="3501"/>
                              <a:pt x="996" y="3502"/>
                              <a:pt x="996" y="3500"/>
                            </a:cubicBezTo>
                            <a:cubicBezTo>
                              <a:pt x="996" y="3498"/>
                              <a:pt x="996" y="3493"/>
                              <a:pt x="992" y="3498"/>
                            </a:cubicBezTo>
                            <a:cubicBezTo>
                              <a:pt x="989" y="3504"/>
                              <a:pt x="988" y="3501"/>
                              <a:pt x="988" y="3507"/>
                            </a:cubicBezTo>
                            <a:cubicBezTo>
                              <a:pt x="988" y="3512"/>
                              <a:pt x="988" y="3513"/>
                              <a:pt x="988" y="3518"/>
                            </a:cubicBezTo>
                            <a:cubicBezTo>
                              <a:pt x="988" y="3522"/>
                              <a:pt x="988" y="3524"/>
                              <a:pt x="984" y="3527"/>
                            </a:cubicBezTo>
                            <a:cubicBezTo>
                              <a:pt x="980" y="3530"/>
                              <a:pt x="982" y="3531"/>
                              <a:pt x="977" y="3531"/>
                            </a:cubicBezTo>
                            <a:cubicBezTo>
                              <a:pt x="972" y="3532"/>
                              <a:pt x="964" y="3532"/>
                              <a:pt x="963" y="3529"/>
                            </a:cubicBezTo>
                            <a:cubicBezTo>
                              <a:pt x="961" y="3526"/>
                              <a:pt x="964" y="3521"/>
                              <a:pt x="960" y="3519"/>
                            </a:cubicBezTo>
                            <a:cubicBezTo>
                              <a:pt x="956" y="3516"/>
                              <a:pt x="951" y="3516"/>
                              <a:pt x="950" y="3519"/>
                            </a:cubicBezTo>
                            <a:cubicBezTo>
                              <a:pt x="949" y="3523"/>
                              <a:pt x="950" y="3527"/>
                              <a:pt x="948" y="3529"/>
                            </a:cubicBezTo>
                            <a:cubicBezTo>
                              <a:pt x="946" y="3531"/>
                              <a:pt x="942" y="3531"/>
                              <a:pt x="939" y="3531"/>
                            </a:cubicBezTo>
                            <a:cubicBezTo>
                              <a:pt x="936" y="3531"/>
                              <a:pt x="933" y="3531"/>
                              <a:pt x="929" y="3532"/>
                            </a:cubicBezTo>
                            <a:cubicBezTo>
                              <a:pt x="926" y="3533"/>
                              <a:pt x="918" y="3536"/>
                              <a:pt x="918" y="3533"/>
                            </a:cubicBezTo>
                            <a:cubicBezTo>
                              <a:pt x="917" y="3529"/>
                              <a:pt x="920" y="3525"/>
                              <a:pt x="924" y="3525"/>
                            </a:cubicBezTo>
                            <a:cubicBezTo>
                              <a:pt x="927" y="3525"/>
                              <a:pt x="930" y="3525"/>
                              <a:pt x="935" y="3523"/>
                            </a:cubicBezTo>
                            <a:cubicBezTo>
                              <a:pt x="939" y="3521"/>
                              <a:pt x="938" y="3523"/>
                              <a:pt x="941" y="3520"/>
                            </a:cubicBezTo>
                            <a:cubicBezTo>
                              <a:pt x="944" y="3517"/>
                              <a:pt x="945" y="3517"/>
                              <a:pt x="946" y="3514"/>
                            </a:cubicBezTo>
                            <a:cubicBezTo>
                              <a:pt x="947" y="3510"/>
                              <a:pt x="946" y="3509"/>
                              <a:pt x="949" y="3507"/>
                            </a:cubicBezTo>
                            <a:cubicBezTo>
                              <a:pt x="951" y="3505"/>
                              <a:pt x="952" y="3506"/>
                              <a:pt x="952" y="3502"/>
                            </a:cubicBezTo>
                            <a:cubicBezTo>
                              <a:pt x="952" y="3498"/>
                              <a:pt x="954" y="3492"/>
                              <a:pt x="950" y="3488"/>
                            </a:cubicBezTo>
                            <a:cubicBezTo>
                              <a:pt x="947" y="3484"/>
                              <a:pt x="944" y="3483"/>
                              <a:pt x="944" y="3489"/>
                            </a:cubicBezTo>
                            <a:cubicBezTo>
                              <a:pt x="944" y="3495"/>
                              <a:pt x="946" y="3494"/>
                              <a:pt x="945" y="3499"/>
                            </a:cubicBezTo>
                            <a:cubicBezTo>
                              <a:pt x="944" y="3504"/>
                              <a:pt x="942" y="3502"/>
                              <a:pt x="940" y="3507"/>
                            </a:cubicBezTo>
                            <a:cubicBezTo>
                              <a:pt x="937" y="3511"/>
                              <a:pt x="936" y="3511"/>
                              <a:pt x="932" y="3513"/>
                            </a:cubicBezTo>
                            <a:cubicBezTo>
                              <a:pt x="928" y="3514"/>
                              <a:pt x="925" y="3516"/>
                              <a:pt x="923" y="3513"/>
                            </a:cubicBezTo>
                            <a:cubicBezTo>
                              <a:pt x="920" y="3511"/>
                              <a:pt x="917" y="3506"/>
                              <a:pt x="916" y="3501"/>
                            </a:cubicBezTo>
                            <a:cubicBezTo>
                              <a:pt x="915" y="3496"/>
                              <a:pt x="912" y="3492"/>
                              <a:pt x="907" y="3491"/>
                            </a:cubicBezTo>
                            <a:cubicBezTo>
                              <a:pt x="901" y="3490"/>
                              <a:pt x="897" y="3486"/>
                              <a:pt x="893" y="3487"/>
                            </a:cubicBezTo>
                            <a:cubicBezTo>
                              <a:pt x="889" y="3488"/>
                              <a:pt x="891" y="3493"/>
                              <a:pt x="886" y="3496"/>
                            </a:cubicBezTo>
                            <a:cubicBezTo>
                              <a:pt x="881" y="3499"/>
                              <a:pt x="877" y="3504"/>
                              <a:pt x="876" y="3499"/>
                            </a:cubicBezTo>
                            <a:cubicBezTo>
                              <a:pt x="876" y="3494"/>
                              <a:pt x="879" y="3494"/>
                              <a:pt x="881" y="3490"/>
                            </a:cubicBezTo>
                            <a:cubicBezTo>
                              <a:pt x="883" y="3486"/>
                              <a:pt x="884" y="3484"/>
                              <a:pt x="883" y="3482"/>
                            </a:cubicBezTo>
                            <a:cubicBezTo>
                              <a:pt x="882" y="3479"/>
                              <a:pt x="883" y="3475"/>
                              <a:pt x="879" y="3479"/>
                            </a:cubicBezTo>
                            <a:cubicBezTo>
                              <a:pt x="875" y="3482"/>
                              <a:pt x="873" y="3485"/>
                              <a:pt x="864" y="3485"/>
                            </a:cubicBezTo>
                            <a:cubicBezTo>
                              <a:pt x="855" y="3485"/>
                              <a:pt x="855" y="3485"/>
                              <a:pt x="848" y="3484"/>
                            </a:cubicBezTo>
                            <a:cubicBezTo>
                              <a:pt x="841" y="3483"/>
                              <a:pt x="838" y="3482"/>
                              <a:pt x="832" y="3482"/>
                            </a:cubicBezTo>
                            <a:cubicBezTo>
                              <a:pt x="826" y="3483"/>
                              <a:pt x="823" y="3482"/>
                              <a:pt x="819" y="3480"/>
                            </a:cubicBezTo>
                            <a:cubicBezTo>
                              <a:pt x="814" y="3477"/>
                              <a:pt x="817" y="3474"/>
                              <a:pt x="821" y="3474"/>
                            </a:cubicBezTo>
                            <a:cubicBezTo>
                              <a:pt x="826" y="3474"/>
                              <a:pt x="828" y="3474"/>
                              <a:pt x="835" y="3473"/>
                            </a:cubicBezTo>
                            <a:cubicBezTo>
                              <a:pt x="843" y="3471"/>
                              <a:pt x="842" y="3473"/>
                              <a:pt x="847" y="3470"/>
                            </a:cubicBezTo>
                            <a:cubicBezTo>
                              <a:pt x="852" y="3466"/>
                              <a:pt x="857" y="3463"/>
                              <a:pt x="855" y="3462"/>
                            </a:cubicBezTo>
                            <a:cubicBezTo>
                              <a:pt x="852" y="3461"/>
                              <a:pt x="850" y="3464"/>
                              <a:pt x="845" y="3466"/>
                            </a:cubicBezTo>
                            <a:cubicBezTo>
                              <a:pt x="841" y="3467"/>
                              <a:pt x="838" y="3469"/>
                              <a:pt x="832" y="3468"/>
                            </a:cubicBezTo>
                            <a:cubicBezTo>
                              <a:pt x="827" y="3466"/>
                              <a:pt x="820" y="3466"/>
                              <a:pt x="822" y="3463"/>
                            </a:cubicBezTo>
                            <a:cubicBezTo>
                              <a:pt x="824" y="3459"/>
                              <a:pt x="829" y="3457"/>
                              <a:pt x="830" y="3455"/>
                            </a:cubicBezTo>
                            <a:cubicBezTo>
                              <a:pt x="832" y="3452"/>
                              <a:pt x="829" y="3452"/>
                              <a:pt x="832" y="3448"/>
                            </a:cubicBezTo>
                            <a:cubicBezTo>
                              <a:pt x="835" y="3444"/>
                              <a:pt x="841" y="3441"/>
                              <a:pt x="847" y="3442"/>
                            </a:cubicBezTo>
                            <a:cubicBezTo>
                              <a:pt x="852" y="3443"/>
                              <a:pt x="853" y="3441"/>
                              <a:pt x="858" y="3443"/>
                            </a:cubicBezTo>
                            <a:cubicBezTo>
                              <a:pt x="864" y="3444"/>
                              <a:pt x="864" y="3444"/>
                              <a:pt x="869" y="3444"/>
                            </a:cubicBezTo>
                            <a:cubicBezTo>
                              <a:pt x="874" y="3444"/>
                              <a:pt x="877" y="3443"/>
                              <a:pt x="881" y="3441"/>
                            </a:cubicBezTo>
                            <a:cubicBezTo>
                              <a:pt x="884" y="3438"/>
                              <a:pt x="888" y="3432"/>
                              <a:pt x="886" y="3429"/>
                            </a:cubicBezTo>
                            <a:cubicBezTo>
                              <a:pt x="884" y="3427"/>
                              <a:pt x="879" y="3430"/>
                              <a:pt x="876" y="3434"/>
                            </a:cubicBezTo>
                            <a:cubicBezTo>
                              <a:pt x="873" y="3438"/>
                              <a:pt x="866" y="3439"/>
                              <a:pt x="863" y="3439"/>
                            </a:cubicBezTo>
                            <a:cubicBezTo>
                              <a:pt x="859" y="3438"/>
                              <a:pt x="853" y="3438"/>
                              <a:pt x="852" y="3437"/>
                            </a:cubicBezTo>
                            <a:cubicBezTo>
                              <a:pt x="851" y="3436"/>
                              <a:pt x="847" y="3436"/>
                              <a:pt x="845" y="3435"/>
                            </a:cubicBezTo>
                            <a:cubicBezTo>
                              <a:pt x="842" y="3434"/>
                              <a:pt x="839" y="3429"/>
                              <a:pt x="840" y="3427"/>
                            </a:cubicBezTo>
                            <a:cubicBezTo>
                              <a:pt x="840" y="3424"/>
                              <a:pt x="842" y="3421"/>
                              <a:pt x="839" y="3421"/>
                            </a:cubicBezTo>
                            <a:cubicBezTo>
                              <a:pt x="836" y="3421"/>
                              <a:pt x="833" y="3424"/>
                              <a:pt x="833" y="3429"/>
                            </a:cubicBezTo>
                            <a:cubicBezTo>
                              <a:pt x="833" y="3434"/>
                              <a:pt x="835" y="3435"/>
                              <a:pt x="831" y="3439"/>
                            </a:cubicBezTo>
                            <a:cubicBezTo>
                              <a:pt x="827" y="3443"/>
                              <a:pt x="827" y="3444"/>
                              <a:pt x="824" y="3445"/>
                            </a:cubicBezTo>
                            <a:cubicBezTo>
                              <a:pt x="820" y="3446"/>
                              <a:pt x="812" y="3448"/>
                              <a:pt x="811" y="3443"/>
                            </a:cubicBezTo>
                            <a:cubicBezTo>
                              <a:pt x="810" y="3438"/>
                              <a:pt x="814" y="3428"/>
                              <a:pt x="813" y="3423"/>
                            </a:cubicBezTo>
                            <a:cubicBezTo>
                              <a:pt x="813" y="3417"/>
                              <a:pt x="822" y="3416"/>
                              <a:pt x="826" y="3413"/>
                            </a:cubicBezTo>
                            <a:cubicBezTo>
                              <a:pt x="830" y="3410"/>
                              <a:pt x="829" y="3408"/>
                              <a:pt x="833" y="3407"/>
                            </a:cubicBezTo>
                            <a:cubicBezTo>
                              <a:pt x="838" y="3405"/>
                              <a:pt x="840" y="3405"/>
                              <a:pt x="841" y="3398"/>
                            </a:cubicBezTo>
                            <a:cubicBezTo>
                              <a:pt x="843" y="3392"/>
                              <a:pt x="845" y="3389"/>
                              <a:pt x="848" y="3389"/>
                            </a:cubicBezTo>
                            <a:cubicBezTo>
                              <a:pt x="850" y="3389"/>
                              <a:pt x="856" y="3390"/>
                              <a:pt x="858" y="3393"/>
                            </a:cubicBezTo>
                            <a:cubicBezTo>
                              <a:pt x="859" y="3395"/>
                              <a:pt x="856" y="3397"/>
                              <a:pt x="861" y="3401"/>
                            </a:cubicBezTo>
                            <a:cubicBezTo>
                              <a:pt x="866" y="3404"/>
                              <a:pt x="869" y="3406"/>
                              <a:pt x="873" y="3408"/>
                            </a:cubicBezTo>
                            <a:cubicBezTo>
                              <a:pt x="877" y="3410"/>
                              <a:pt x="881" y="3415"/>
                              <a:pt x="882" y="3409"/>
                            </a:cubicBezTo>
                            <a:cubicBezTo>
                              <a:pt x="882" y="3402"/>
                              <a:pt x="878" y="3400"/>
                              <a:pt x="875" y="3396"/>
                            </a:cubicBezTo>
                            <a:cubicBezTo>
                              <a:pt x="873" y="3392"/>
                              <a:pt x="871" y="3389"/>
                              <a:pt x="872" y="3387"/>
                            </a:cubicBezTo>
                            <a:cubicBezTo>
                              <a:pt x="873" y="3385"/>
                              <a:pt x="876" y="3386"/>
                              <a:pt x="877" y="3383"/>
                            </a:cubicBezTo>
                            <a:cubicBezTo>
                              <a:pt x="878" y="3380"/>
                              <a:pt x="880" y="3377"/>
                              <a:pt x="874" y="3377"/>
                            </a:cubicBezTo>
                            <a:cubicBezTo>
                              <a:pt x="869" y="3377"/>
                              <a:pt x="866" y="3379"/>
                              <a:pt x="863" y="3379"/>
                            </a:cubicBezTo>
                            <a:cubicBezTo>
                              <a:pt x="860" y="3379"/>
                              <a:pt x="856" y="3381"/>
                              <a:pt x="854" y="3378"/>
                            </a:cubicBezTo>
                            <a:cubicBezTo>
                              <a:pt x="852" y="3375"/>
                              <a:pt x="849" y="3374"/>
                              <a:pt x="852" y="3370"/>
                            </a:cubicBezTo>
                            <a:cubicBezTo>
                              <a:pt x="856" y="3367"/>
                              <a:pt x="858" y="3365"/>
                              <a:pt x="860" y="3363"/>
                            </a:cubicBezTo>
                            <a:cubicBezTo>
                              <a:pt x="862" y="3362"/>
                              <a:pt x="863" y="3361"/>
                              <a:pt x="864" y="3358"/>
                            </a:cubicBezTo>
                            <a:cubicBezTo>
                              <a:pt x="865" y="3354"/>
                              <a:pt x="865" y="3347"/>
                              <a:pt x="864" y="3345"/>
                            </a:cubicBezTo>
                            <a:cubicBezTo>
                              <a:pt x="863" y="3342"/>
                              <a:pt x="858" y="3334"/>
                              <a:pt x="856" y="3336"/>
                            </a:cubicBezTo>
                            <a:cubicBezTo>
                              <a:pt x="854" y="3337"/>
                              <a:pt x="855" y="3344"/>
                              <a:pt x="856" y="3349"/>
                            </a:cubicBezTo>
                            <a:cubicBezTo>
                              <a:pt x="856" y="3354"/>
                              <a:pt x="859" y="3356"/>
                              <a:pt x="853" y="3360"/>
                            </a:cubicBezTo>
                            <a:cubicBezTo>
                              <a:pt x="847" y="3365"/>
                              <a:pt x="844" y="3363"/>
                              <a:pt x="842" y="3368"/>
                            </a:cubicBezTo>
                            <a:cubicBezTo>
                              <a:pt x="839" y="3373"/>
                              <a:pt x="839" y="3374"/>
                              <a:pt x="835" y="3376"/>
                            </a:cubicBezTo>
                            <a:cubicBezTo>
                              <a:pt x="832" y="3377"/>
                              <a:pt x="832" y="3377"/>
                              <a:pt x="828" y="3380"/>
                            </a:cubicBezTo>
                            <a:cubicBezTo>
                              <a:pt x="824" y="3382"/>
                              <a:pt x="821" y="3382"/>
                              <a:pt x="818" y="3382"/>
                            </a:cubicBezTo>
                            <a:cubicBezTo>
                              <a:pt x="815" y="3381"/>
                              <a:pt x="810" y="3383"/>
                              <a:pt x="809" y="3377"/>
                            </a:cubicBezTo>
                            <a:cubicBezTo>
                              <a:pt x="809" y="3371"/>
                              <a:pt x="810" y="3368"/>
                              <a:pt x="808" y="3366"/>
                            </a:cubicBezTo>
                            <a:cubicBezTo>
                              <a:pt x="806" y="3364"/>
                              <a:pt x="806" y="3362"/>
                              <a:pt x="803" y="3363"/>
                            </a:cubicBezTo>
                            <a:cubicBezTo>
                              <a:pt x="801" y="3365"/>
                              <a:pt x="799" y="3369"/>
                              <a:pt x="795" y="3371"/>
                            </a:cubicBezTo>
                            <a:cubicBezTo>
                              <a:pt x="792" y="3374"/>
                              <a:pt x="790" y="3377"/>
                              <a:pt x="787" y="3375"/>
                            </a:cubicBezTo>
                            <a:cubicBezTo>
                              <a:pt x="785" y="3372"/>
                              <a:pt x="783" y="3373"/>
                              <a:pt x="784" y="3369"/>
                            </a:cubicBezTo>
                            <a:cubicBezTo>
                              <a:pt x="785" y="3365"/>
                              <a:pt x="786" y="3363"/>
                              <a:pt x="788" y="3360"/>
                            </a:cubicBezTo>
                            <a:cubicBezTo>
                              <a:pt x="790" y="3357"/>
                              <a:pt x="790" y="3355"/>
                              <a:pt x="791" y="3352"/>
                            </a:cubicBezTo>
                            <a:cubicBezTo>
                              <a:pt x="792" y="3350"/>
                              <a:pt x="796" y="3345"/>
                              <a:pt x="796" y="3342"/>
                            </a:cubicBezTo>
                            <a:cubicBezTo>
                              <a:pt x="796" y="3339"/>
                              <a:pt x="797" y="3335"/>
                              <a:pt x="794" y="3336"/>
                            </a:cubicBezTo>
                            <a:cubicBezTo>
                              <a:pt x="791" y="3337"/>
                              <a:pt x="794" y="3343"/>
                              <a:pt x="784" y="3341"/>
                            </a:cubicBezTo>
                            <a:cubicBezTo>
                              <a:pt x="775" y="3340"/>
                              <a:pt x="773" y="3340"/>
                              <a:pt x="774" y="3328"/>
                            </a:cubicBezTo>
                            <a:cubicBezTo>
                              <a:pt x="774" y="3316"/>
                              <a:pt x="770" y="3313"/>
                              <a:pt x="765" y="3311"/>
                            </a:cubicBezTo>
                            <a:cubicBezTo>
                              <a:pt x="760" y="3309"/>
                              <a:pt x="755" y="3310"/>
                              <a:pt x="751" y="3305"/>
                            </a:cubicBezTo>
                            <a:cubicBezTo>
                              <a:pt x="746" y="3301"/>
                              <a:pt x="743" y="3291"/>
                              <a:pt x="746" y="3290"/>
                            </a:cubicBezTo>
                            <a:cubicBezTo>
                              <a:pt x="750" y="3289"/>
                              <a:pt x="754" y="3289"/>
                              <a:pt x="756" y="3292"/>
                            </a:cubicBezTo>
                            <a:cubicBezTo>
                              <a:pt x="758" y="3296"/>
                              <a:pt x="756" y="3296"/>
                              <a:pt x="760" y="3298"/>
                            </a:cubicBezTo>
                            <a:cubicBezTo>
                              <a:pt x="764" y="3301"/>
                              <a:pt x="767" y="3302"/>
                              <a:pt x="770" y="3302"/>
                            </a:cubicBezTo>
                            <a:cubicBezTo>
                              <a:pt x="774" y="3302"/>
                              <a:pt x="776" y="3299"/>
                              <a:pt x="778" y="3296"/>
                            </a:cubicBezTo>
                            <a:cubicBezTo>
                              <a:pt x="780" y="3294"/>
                              <a:pt x="783" y="3294"/>
                              <a:pt x="786" y="3296"/>
                            </a:cubicBezTo>
                            <a:cubicBezTo>
                              <a:pt x="789" y="3297"/>
                              <a:pt x="792" y="3300"/>
                              <a:pt x="794" y="3296"/>
                            </a:cubicBezTo>
                            <a:cubicBezTo>
                              <a:pt x="796" y="3292"/>
                              <a:pt x="798" y="3288"/>
                              <a:pt x="795" y="3286"/>
                            </a:cubicBezTo>
                            <a:cubicBezTo>
                              <a:pt x="792" y="3285"/>
                              <a:pt x="788" y="3283"/>
                              <a:pt x="784" y="3285"/>
                            </a:cubicBezTo>
                            <a:cubicBezTo>
                              <a:pt x="780" y="3287"/>
                              <a:pt x="781" y="3289"/>
                              <a:pt x="776" y="3288"/>
                            </a:cubicBezTo>
                            <a:cubicBezTo>
                              <a:pt x="772" y="3287"/>
                              <a:pt x="767" y="3285"/>
                              <a:pt x="765" y="3282"/>
                            </a:cubicBezTo>
                            <a:cubicBezTo>
                              <a:pt x="763" y="3280"/>
                              <a:pt x="757" y="3279"/>
                              <a:pt x="756" y="3275"/>
                            </a:cubicBezTo>
                            <a:cubicBezTo>
                              <a:pt x="754" y="3271"/>
                              <a:pt x="753" y="3264"/>
                              <a:pt x="757" y="3263"/>
                            </a:cubicBezTo>
                            <a:cubicBezTo>
                              <a:pt x="760" y="3261"/>
                              <a:pt x="763" y="3261"/>
                              <a:pt x="765" y="3259"/>
                            </a:cubicBezTo>
                            <a:cubicBezTo>
                              <a:pt x="767" y="3257"/>
                              <a:pt x="768" y="3255"/>
                              <a:pt x="768" y="3254"/>
                            </a:cubicBezTo>
                            <a:cubicBezTo>
                              <a:pt x="767" y="3252"/>
                              <a:pt x="765" y="3251"/>
                              <a:pt x="764" y="3249"/>
                            </a:cubicBezTo>
                            <a:cubicBezTo>
                              <a:pt x="763" y="3246"/>
                              <a:pt x="764" y="3240"/>
                              <a:pt x="764" y="3240"/>
                            </a:cubicBezTo>
                            <a:cubicBezTo>
                              <a:pt x="764" y="3240"/>
                              <a:pt x="757" y="3233"/>
                              <a:pt x="755" y="3243"/>
                            </a:cubicBezTo>
                            <a:cubicBezTo>
                              <a:pt x="753" y="3252"/>
                              <a:pt x="747" y="3250"/>
                              <a:pt x="745" y="3250"/>
                            </a:cubicBezTo>
                            <a:cubicBezTo>
                              <a:pt x="743" y="3250"/>
                              <a:pt x="737" y="3247"/>
                              <a:pt x="736" y="3254"/>
                            </a:cubicBezTo>
                            <a:cubicBezTo>
                              <a:pt x="735" y="3261"/>
                              <a:pt x="734" y="3266"/>
                              <a:pt x="729" y="3268"/>
                            </a:cubicBezTo>
                            <a:cubicBezTo>
                              <a:pt x="725" y="3270"/>
                              <a:pt x="729" y="3269"/>
                              <a:pt x="723" y="3276"/>
                            </a:cubicBezTo>
                            <a:cubicBezTo>
                              <a:pt x="718" y="3282"/>
                              <a:pt x="714" y="3284"/>
                              <a:pt x="712" y="3279"/>
                            </a:cubicBezTo>
                            <a:cubicBezTo>
                              <a:pt x="709" y="3274"/>
                              <a:pt x="703" y="3267"/>
                              <a:pt x="698" y="3265"/>
                            </a:cubicBezTo>
                            <a:cubicBezTo>
                              <a:pt x="693" y="3263"/>
                              <a:pt x="689" y="3262"/>
                              <a:pt x="685" y="3258"/>
                            </a:cubicBezTo>
                            <a:cubicBezTo>
                              <a:pt x="681" y="3254"/>
                              <a:pt x="678" y="3253"/>
                              <a:pt x="677" y="3248"/>
                            </a:cubicBezTo>
                            <a:cubicBezTo>
                              <a:pt x="676" y="3243"/>
                              <a:pt x="675" y="3239"/>
                              <a:pt x="679" y="3240"/>
                            </a:cubicBezTo>
                            <a:cubicBezTo>
                              <a:pt x="684" y="3241"/>
                              <a:pt x="684" y="3243"/>
                              <a:pt x="687" y="3246"/>
                            </a:cubicBezTo>
                            <a:cubicBezTo>
                              <a:pt x="690" y="3249"/>
                              <a:pt x="694" y="3250"/>
                              <a:pt x="695" y="3248"/>
                            </a:cubicBezTo>
                            <a:cubicBezTo>
                              <a:pt x="695" y="3245"/>
                              <a:pt x="696" y="3242"/>
                              <a:pt x="694" y="3239"/>
                            </a:cubicBezTo>
                            <a:cubicBezTo>
                              <a:pt x="691" y="3235"/>
                              <a:pt x="691" y="3237"/>
                              <a:pt x="694" y="3232"/>
                            </a:cubicBezTo>
                            <a:cubicBezTo>
                              <a:pt x="697" y="3228"/>
                              <a:pt x="698" y="3229"/>
                              <a:pt x="702" y="3227"/>
                            </a:cubicBezTo>
                            <a:cubicBezTo>
                              <a:pt x="705" y="3226"/>
                              <a:pt x="707" y="3226"/>
                              <a:pt x="706" y="3223"/>
                            </a:cubicBezTo>
                            <a:cubicBezTo>
                              <a:pt x="705" y="3221"/>
                              <a:pt x="704" y="3218"/>
                              <a:pt x="698" y="3220"/>
                            </a:cubicBezTo>
                            <a:cubicBezTo>
                              <a:pt x="692" y="3222"/>
                              <a:pt x="692" y="3223"/>
                              <a:pt x="687" y="3224"/>
                            </a:cubicBezTo>
                            <a:cubicBezTo>
                              <a:pt x="682" y="3225"/>
                              <a:pt x="679" y="3226"/>
                              <a:pt x="674" y="3225"/>
                            </a:cubicBezTo>
                            <a:cubicBezTo>
                              <a:pt x="669" y="3224"/>
                              <a:pt x="665" y="3224"/>
                              <a:pt x="664" y="3221"/>
                            </a:cubicBezTo>
                            <a:cubicBezTo>
                              <a:pt x="662" y="3218"/>
                              <a:pt x="661" y="3215"/>
                              <a:pt x="662" y="3213"/>
                            </a:cubicBezTo>
                            <a:cubicBezTo>
                              <a:pt x="663" y="3211"/>
                              <a:pt x="666" y="3209"/>
                              <a:pt x="667" y="3212"/>
                            </a:cubicBezTo>
                            <a:cubicBezTo>
                              <a:pt x="669" y="3215"/>
                              <a:pt x="670" y="3216"/>
                              <a:pt x="673" y="3215"/>
                            </a:cubicBezTo>
                            <a:cubicBezTo>
                              <a:pt x="675" y="3215"/>
                              <a:pt x="677" y="3213"/>
                              <a:pt x="677" y="3210"/>
                            </a:cubicBezTo>
                            <a:cubicBezTo>
                              <a:pt x="676" y="3208"/>
                              <a:pt x="673" y="3207"/>
                              <a:pt x="676" y="3205"/>
                            </a:cubicBezTo>
                            <a:cubicBezTo>
                              <a:pt x="679" y="3202"/>
                              <a:pt x="680" y="3199"/>
                              <a:pt x="678" y="3197"/>
                            </a:cubicBezTo>
                            <a:cubicBezTo>
                              <a:pt x="676" y="3196"/>
                              <a:pt x="673" y="3198"/>
                              <a:pt x="670" y="3194"/>
                            </a:cubicBezTo>
                            <a:cubicBezTo>
                              <a:pt x="668" y="3191"/>
                              <a:pt x="664" y="3187"/>
                              <a:pt x="667" y="3187"/>
                            </a:cubicBezTo>
                            <a:cubicBezTo>
                              <a:pt x="670" y="3187"/>
                              <a:pt x="672" y="3187"/>
                              <a:pt x="674" y="3188"/>
                            </a:cubicBezTo>
                            <a:cubicBezTo>
                              <a:pt x="675" y="3189"/>
                              <a:pt x="679" y="3190"/>
                              <a:pt x="681" y="3189"/>
                            </a:cubicBezTo>
                            <a:cubicBezTo>
                              <a:pt x="683" y="3188"/>
                              <a:pt x="684" y="3186"/>
                              <a:pt x="682" y="3185"/>
                            </a:cubicBezTo>
                            <a:cubicBezTo>
                              <a:pt x="681" y="3183"/>
                              <a:pt x="681" y="3182"/>
                              <a:pt x="678" y="3181"/>
                            </a:cubicBezTo>
                            <a:cubicBezTo>
                              <a:pt x="676" y="3180"/>
                              <a:pt x="674" y="3179"/>
                              <a:pt x="674" y="3177"/>
                            </a:cubicBezTo>
                            <a:cubicBezTo>
                              <a:pt x="674" y="3176"/>
                              <a:pt x="672" y="3173"/>
                              <a:pt x="673" y="3172"/>
                            </a:cubicBezTo>
                            <a:cubicBezTo>
                              <a:pt x="675" y="3170"/>
                              <a:pt x="676" y="3168"/>
                              <a:pt x="677" y="3167"/>
                            </a:cubicBezTo>
                            <a:cubicBezTo>
                              <a:pt x="678" y="3166"/>
                              <a:pt x="682" y="3162"/>
                              <a:pt x="684" y="3162"/>
                            </a:cubicBezTo>
                            <a:cubicBezTo>
                              <a:pt x="686" y="3161"/>
                              <a:pt x="689" y="3162"/>
                              <a:pt x="693" y="3161"/>
                            </a:cubicBezTo>
                            <a:cubicBezTo>
                              <a:pt x="697" y="3160"/>
                              <a:pt x="699" y="3160"/>
                              <a:pt x="700" y="3159"/>
                            </a:cubicBezTo>
                            <a:cubicBezTo>
                              <a:pt x="700" y="3158"/>
                              <a:pt x="700" y="3156"/>
                              <a:pt x="699" y="3156"/>
                            </a:cubicBezTo>
                            <a:cubicBezTo>
                              <a:pt x="697" y="3155"/>
                              <a:pt x="691" y="3154"/>
                              <a:pt x="689" y="3154"/>
                            </a:cubicBezTo>
                            <a:cubicBezTo>
                              <a:pt x="687" y="3153"/>
                              <a:pt x="684" y="3152"/>
                              <a:pt x="684" y="3151"/>
                            </a:cubicBezTo>
                            <a:cubicBezTo>
                              <a:pt x="684" y="3149"/>
                              <a:pt x="684" y="3146"/>
                              <a:pt x="685" y="3145"/>
                            </a:cubicBezTo>
                            <a:cubicBezTo>
                              <a:pt x="687" y="3143"/>
                              <a:pt x="692" y="3139"/>
                              <a:pt x="692" y="3139"/>
                            </a:cubicBezTo>
                            <a:cubicBezTo>
                              <a:pt x="692" y="3139"/>
                              <a:pt x="696" y="3132"/>
                              <a:pt x="699" y="3127"/>
                            </a:cubicBezTo>
                            <a:cubicBezTo>
                              <a:pt x="701" y="3122"/>
                              <a:pt x="706" y="3123"/>
                              <a:pt x="706" y="3119"/>
                            </a:cubicBezTo>
                            <a:cubicBezTo>
                              <a:pt x="706" y="3115"/>
                              <a:pt x="704" y="3116"/>
                              <a:pt x="700" y="3113"/>
                            </a:cubicBezTo>
                            <a:cubicBezTo>
                              <a:pt x="696" y="3110"/>
                              <a:pt x="692" y="3105"/>
                              <a:pt x="689" y="3105"/>
                            </a:cubicBezTo>
                            <a:cubicBezTo>
                              <a:pt x="687" y="3105"/>
                              <a:pt x="685" y="3110"/>
                              <a:pt x="685" y="3115"/>
                            </a:cubicBezTo>
                            <a:cubicBezTo>
                              <a:pt x="684" y="3120"/>
                              <a:pt x="685" y="3124"/>
                              <a:pt x="682" y="3129"/>
                            </a:cubicBezTo>
                            <a:cubicBezTo>
                              <a:pt x="680" y="3132"/>
                              <a:pt x="678" y="3134"/>
                              <a:pt x="677" y="3136"/>
                            </a:cubicBezTo>
                            <a:cubicBezTo>
                              <a:pt x="679" y="3133"/>
                              <a:pt x="680" y="3131"/>
                              <a:pt x="680" y="3130"/>
                            </a:cubicBezTo>
                            <a:cubicBezTo>
                              <a:pt x="681" y="3125"/>
                              <a:pt x="678" y="3114"/>
                              <a:pt x="676" y="3104"/>
                            </a:cubicBezTo>
                            <a:cubicBezTo>
                              <a:pt x="674" y="3097"/>
                              <a:pt x="673" y="3092"/>
                              <a:pt x="673" y="3090"/>
                            </a:cubicBezTo>
                            <a:cubicBezTo>
                              <a:pt x="673" y="3088"/>
                              <a:pt x="673" y="3086"/>
                              <a:pt x="674" y="3083"/>
                            </a:cubicBezTo>
                            <a:cubicBezTo>
                              <a:pt x="675" y="3079"/>
                              <a:pt x="676" y="3074"/>
                              <a:pt x="676" y="3068"/>
                            </a:cubicBezTo>
                            <a:cubicBezTo>
                              <a:pt x="675" y="3059"/>
                              <a:pt x="670" y="3056"/>
                              <a:pt x="660" y="3051"/>
                            </a:cubicBezTo>
                            <a:cubicBezTo>
                              <a:pt x="659" y="3050"/>
                              <a:pt x="657" y="3048"/>
                              <a:pt x="655" y="3047"/>
                            </a:cubicBezTo>
                            <a:cubicBezTo>
                              <a:pt x="648" y="3044"/>
                              <a:pt x="625" y="3035"/>
                              <a:pt x="603" y="3027"/>
                            </a:cubicBezTo>
                            <a:cubicBezTo>
                              <a:pt x="584" y="3020"/>
                              <a:pt x="566" y="3013"/>
                              <a:pt x="564" y="3012"/>
                            </a:cubicBezTo>
                            <a:cubicBezTo>
                              <a:pt x="562" y="3010"/>
                              <a:pt x="559" y="3006"/>
                              <a:pt x="555" y="3000"/>
                            </a:cubicBezTo>
                            <a:cubicBezTo>
                              <a:pt x="549" y="2991"/>
                              <a:pt x="543" y="2981"/>
                              <a:pt x="542" y="2979"/>
                            </a:cubicBezTo>
                            <a:cubicBezTo>
                              <a:pt x="540" y="2975"/>
                              <a:pt x="540" y="2971"/>
                              <a:pt x="540" y="2966"/>
                            </a:cubicBezTo>
                            <a:cubicBezTo>
                              <a:pt x="540" y="2966"/>
                              <a:pt x="540" y="2966"/>
                              <a:pt x="540" y="2966"/>
                            </a:cubicBezTo>
                            <a:cubicBezTo>
                              <a:pt x="540" y="2963"/>
                              <a:pt x="539" y="2959"/>
                              <a:pt x="537" y="2955"/>
                            </a:cubicBezTo>
                            <a:cubicBezTo>
                              <a:pt x="535" y="2951"/>
                              <a:pt x="533" y="2946"/>
                              <a:pt x="529" y="2941"/>
                            </a:cubicBezTo>
                            <a:cubicBezTo>
                              <a:pt x="526" y="2936"/>
                              <a:pt x="515" y="2920"/>
                              <a:pt x="506" y="2906"/>
                            </a:cubicBezTo>
                            <a:cubicBezTo>
                              <a:pt x="498" y="2894"/>
                              <a:pt x="491" y="2884"/>
                              <a:pt x="489" y="2881"/>
                            </a:cubicBezTo>
                            <a:cubicBezTo>
                              <a:pt x="487" y="2876"/>
                              <a:pt x="477" y="2864"/>
                              <a:pt x="466" y="2852"/>
                            </a:cubicBezTo>
                            <a:cubicBezTo>
                              <a:pt x="459" y="2844"/>
                              <a:pt x="451" y="2837"/>
                              <a:pt x="444" y="2833"/>
                            </a:cubicBezTo>
                            <a:cubicBezTo>
                              <a:pt x="436" y="2828"/>
                              <a:pt x="429" y="2823"/>
                              <a:pt x="425" y="2820"/>
                            </a:cubicBezTo>
                            <a:cubicBezTo>
                              <a:pt x="420" y="2816"/>
                              <a:pt x="416" y="2813"/>
                              <a:pt x="413" y="2810"/>
                            </a:cubicBezTo>
                            <a:cubicBezTo>
                              <a:pt x="414" y="2810"/>
                              <a:pt x="414" y="2810"/>
                              <a:pt x="414" y="2810"/>
                            </a:cubicBezTo>
                            <a:cubicBezTo>
                              <a:pt x="411" y="2808"/>
                              <a:pt x="408" y="2803"/>
                              <a:pt x="405" y="2798"/>
                            </a:cubicBezTo>
                            <a:cubicBezTo>
                              <a:pt x="402" y="2792"/>
                              <a:pt x="398" y="2787"/>
                              <a:pt x="395" y="2786"/>
                            </a:cubicBezTo>
                            <a:cubicBezTo>
                              <a:pt x="393" y="2785"/>
                              <a:pt x="383" y="2779"/>
                              <a:pt x="374" y="2771"/>
                            </a:cubicBezTo>
                            <a:cubicBezTo>
                              <a:pt x="368" y="2767"/>
                              <a:pt x="363" y="2762"/>
                              <a:pt x="360" y="2757"/>
                            </a:cubicBezTo>
                            <a:cubicBezTo>
                              <a:pt x="355" y="2751"/>
                              <a:pt x="349" y="2744"/>
                              <a:pt x="343" y="2739"/>
                            </a:cubicBezTo>
                            <a:cubicBezTo>
                              <a:pt x="336" y="2734"/>
                              <a:pt x="329" y="2731"/>
                              <a:pt x="325" y="2732"/>
                            </a:cubicBezTo>
                            <a:cubicBezTo>
                              <a:pt x="322" y="2732"/>
                              <a:pt x="315" y="2734"/>
                              <a:pt x="308" y="2736"/>
                            </a:cubicBezTo>
                            <a:cubicBezTo>
                              <a:pt x="303" y="2738"/>
                              <a:pt x="299" y="2739"/>
                              <a:pt x="296" y="2740"/>
                            </a:cubicBezTo>
                            <a:cubicBezTo>
                              <a:pt x="293" y="2742"/>
                              <a:pt x="289" y="2744"/>
                              <a:pt x="285" y="2746"/>
                            </a:cubicBezTo>
                            <a:cubicBezTo>
                              <a:pt x="282" y="2749"/>
                              <a:pt x="279" y="2753"/>
                              <a:pt x="279" y="2758"/>
                            </a:cubicBezTo>
                            <a:cubicBezTo>
                              <a:pt x="279" y="2761"/>
                              <a:pt x="277" y="2763"/>
                              <a:pt x="276" y="2764"/>
                            </a:cubicBezTo>
                            <a:cubicBezTo>
                              <a:pt x="274" y="2765"/>
                              <a:pt x="273" y="2766"/>
                              <a:pt x="272" y="2768"/>
                            </a:cubicBezTo>
                            <a:cubicBezTo>
                              <a:pt x="272" y="2768"/>
                              <a:pt x="272" y="2768"/>
                              <a:pt x="272" y="2768"/>
                            </a:cubicBezTo>
                            <a:cubicBezTo>
                              <a:pt x="272" y="2769"/>
                              <a:pt x="272" y="2769"/>
                              <a:pt x="272" y="2769"/>
                            </a:cubicBezTo>
                            <a:cubicBezTo>
                              <a:pt x="270" y="2773"/>
                              <a:pt x="267" y="2780"/>
                              <a:pt x="262" y="2785"/>
                            </a:cubicBezTo>
                            <a:cubicBezTo>
                              <a:pt x="260" y="2787"/>
                              <a:pt x="256" y="2786"/>
                              <a:pt x="252" y="2786"/>
                            </a:cubicBezTo>
                            <a:cubicBezTo>
                              <a:pt x="249" y="2786"/>
                              <a:pt x="246" y="2785"/>
                              <a:pt x="242" y="2786"/>
                            </a:cubicBezTo>
                            <a:cubicBezTo>
                              <a:pt x="235" y="2787"/>
                              <a:pt x="232" y="2791"/>
                              <a:pt x="228" y="2796"/>
                            </a:cubicBezTo>
                            <a:cubicBezTo>
                              <a:pt x="226" y="2797"/>
                              <a:pt x="225" y="2799"/>
                              <a:pt x="223" y="2801"/>
                            </a:cubicBezTo>
                            <a:cubicBezTo>
                              <a:pt x="221" y="2803"/>
                              <a:pt x="219" y="2804"/>
                              <a:pt x="216" y="2805"/>
                            </a:cubicBezTo>
                            <a:cubicBezTo>
                              <a:pt x="215" y="2806"/>
                              <a:pt x="214" y="2806"/>
                              <a:pt x="213" y="2806"/>
                            </a:cubicBezTo>
                            <a:cubicBezTo>
                              <a:pt x="212" y="2806"/>
                              <a:pt x="212" y="2806"/>
                              <a:pt x="211" y="2805"/>
                            </a:cubicBezTo>
                            <a:cubicBezTo>
                              <a:pt x="211" y="2805"/>
                              <a:pt x="211" y="2805"/>
                              <a:pt x="211" y="2804"/>
                            </a:cubicBezTo>
                            <a:cubicBezTo>
                              <a:pt x="210" y="2801"/>
                              <a:pt x="209" y="2797"/>
                              <a:pt x="209" y="2793"/>
                            </a:cubicBezTo>
                            <a:cubicBezTo>
                              <a:pt x="209" y="2786"/>
                              <a:pt x="208" y="2779"/>
                              <a:pt x="205" y="2775"/>
                            </a:cubicBezTo>
                            <a:cubicBezTo>
                              <a:pt x="202" y="2772"/>
                              <a:pt x="191" y="2762"/>
                              <a:pt x="179" y="2751"/>
                            </a:cubicBezTo>
                            <a:cubicBezTo>
                              <a:pt x="170" y="2743"/>
                              <a:pt x="160" y="2736"/>
                              <a:pt x="153" y="2730"/>
                            </a:cubicBezTo>
                            <a:cubicBezTo>
                              <a:pt x="145" y="2724"/>
                              <a:pt x="136" y="2717"/>
                              <a:pt x="128" y="2711"/>
                            </a:cubicBezTo>
                            <a:cubicBezTo>
                              <a:pt x="121" y="2705"/>
                              <a:pt x="115" y="2700"/>
                              <a:pt x="115" y="2699"/>
                            </a:cubicBezTo>
                            <a:cubicBezTo>
                              <a:pt x="115" y="2699"/>
                              <a:pt x="115" y="2697"/>
                              <a:pt x="115" y="2694"/>
                            </a:cubicBezTo>
                            <a:cubicBezTo>
                              <a:pt x="115" y="2687"/>
                              <a:pt x="116" y="2677"/>
                              <a:pt x="107" y="2676"/>
                            </a:cubicBezTo>
                            <a:cubicBezTo>
                              <a:pt x="103" y="2675"/>
                              <a:pt x="96" y="2675"/>
                              <a:pt x="89" y="2676"/>
                            </a:cubicBezTo>
                            <a:cubicBezTo>
                              <a:pt x="83" y="2676"/>
                              <a:pt x="76" y="2677"/>
                              <a:pt x="73" y="2678"/>
                            </a:cubicBezTo>
                            <a:cubicBezTo>
                              <a:pt x="68" y="2680"/>
                              <a:pt x="57" y="2687"/>
                              <a:pt x="53" y="2689"/>
                            </a:cubicBezTo>
                            <a:cubicBezTo>
                              <a:pt x="1" y="2678"/>
                              <a:pt x="1" y="2678"/>
                              <a:pt x="1" y="2678"/>
                            </a:cubicBezTo>
                            <a:cubicBezTo>
                              <a:pt x="0" y="1744"/>
                              <a:pt x="0" y="1744"/>
                              <a:pt x="0" y="1744"/>
                            </a:cubicBezTo>
                            <a:cubicBezTo>
                              <a:pt x="6" y="1746"/>
                              <a:pt x="13" y="1746"/>
                              <a:pt x="26" y="1748"/>
                            </a:cubicBezTo>
                            <a:cubicBezTo>
                              <a:pt x="46" y="1751"/>
                              <a:pt x="68" y="1753"/>
                              <a:pt x="77" y="1753"/>
                            </a:cubicBezTo>
                            <a:cubicBezTo>
                              <a:pt x="86" y="1754"/>
                              <a:pt x="93" y="1755"/>
                              <a:pt x="103" y="1752"/>
                            </a:cubicBezTo>
                            <a:cubicBezTo>
                              <a:pt x="112" y="1748"/>
                              <a:pt x="119" y="1745"/>
                              <a:pt x="123" y="1748"/>
                            </a:cubicBezTo>
                            <a:cubicBezTo>
                              <a:pt x="127" y="1751"/>
                              <a:pt x="121" y="1756"/>
                              <a:pt x="122" y="1760"/>
                            </a:cubicBezTo>
                            <a:cubicBezTo>
                              <a:pt x="122" y="1764"/>
                              <a:pt x="131" y="1768"/>
                              <a:pt x="140" y="1772"/>
                            </a:cubicBezTo>
                            <a:cubicBezTo>
                              <a:pt x="150" y="1776"/>
                              <a:pt x="169" y="1785"/>
                              <a:pt x="176" y="1788"/>
                            </a:cubicBezTo>
                            <a:cubicBezTo>
                              <a:pt x="184" y="1790"/>
                              <a:pt x="260" y="1819"/>
                              <a:pt x="272" y="1823"/>
                            </a:cubicBezTo>
                            <a:cubicBezTo>
                              <a:pt x="285" y="1827"/>
                              <a:pt x="307" y="1832"/>
                              <a:pt x="322" y="1839"/>
                            </a:cubicBezTo>
                            <a:cubicBezTo>
                              <a:pt x="338" y="1846"/>
                              <a:pt x="346" y="1849"/>
                              <a:pt x="350" y="1849"/>
                            </a:cubicBezTo>
                            <a:cubicBezTo>
                              <a:pt x="350" y="1849"/>
                              <a:pt x="350" y="1849"/>
                              <a:pt x="350" y="1849"/>
                            </a:cubicBezTo>
                            <a:cubicBezTo>
                              <a:pt x="351" y="1844"/>
                              <a:pt x="343" y="1841"/>
                              <a:pt x="344" y="1836"/>
                            </a:cubicBezTo>
                            <a:cubicBezTo>
                              <a:pt x="344" y="1831"/>
                              <a:pt x="347" y="1832"/>
                              <a:pt x="353" y="1829"/>
                            </a:cubicBezTo>
                            <a:cubicBezTo>
                              <a:pt x="360" y="1827"/>
                              <a:pt x="359" y="1825"/>
                              <a:pt x="371" y="1825"/>
                            </a:cubicBezTo>
                            <a:cubicBezTo>
                              <a:pt x="382" y="1826"/>
                              <a:pt x="384" y="1826"/>
                              <a:pt x="393" y="1837"/>
                            </a:cubicBezTo>
                            <a:cubicBezTo>
                              <a:pt x="403" y="1848"/>
                              <a:pt x="407" y="1851"/>
                              <a:pt x="410" y="1849"/>
                            </a:cubicBezTo>
                            <a:cubicBezTo>
                              <a:pt x="413" y="1847"/>
                              <a:pt x="413" y="1849"/>
                              <a:pt x="408" y="1840"/>
                            </a:cubicBezTo>
                            <a:cubicBezTo>
                              <a:pt x="404" y="1831"/>
                              <a:pt x="400" y="1827"/>
                              <a:pt x="399" y="1820"/>
                            </a:cubicBezTo>
                            <a:cubicBezTo>
                              <a:pt x="398" y="1814"/>
                              <a:pt x="392" y="1818"/>
                              <a:pt x="398" y="1810"/>
                            </a:cubicBezTo>
                            <a:cubicBezTo>
                              <a:pt x="405" y="1803"/>
                              <a:pt x="399" y="1803"/>
                              <a:pt x="414" y="1797"/>
                            </a:cubicBezTo>
                            <a:cubicBezTo>
                              <a:pt x="428" y="1791"/>
                              <a:pt x="432" y="1790"/>
                              <a:pt x="437" y="1782"/>
                            </a:cubicBezTo>
                            <a:cubicBezTo>
                              <a:pt x="441" y="1775"/>
                              <a:pt x="435" y="1778"/>
                              <a:pt x="447" y="1771"/>
                            </a:cubicBezTo>
                            <a:cubicBezTo>
                              <a:pt x="459" y="1764"/>
                              <a:pt x="463" y="1761"/>
                              <a:pt x="471" y="1757"/>
                            </a:cubicBezTo>
                            <a:cubicBezTo>
                              <a:pt x="478" y="1754"/>
                              <a:pt x="483" y="1752"/>
                              <a:pt x="489" y="1749"/>
                            </a:cubicBezTo>
                            <a:cubicBezTo>
                              <a:pt x="494" y="1746"/>
                              <a:pt x="492" y="1745"/>
                              <a:pt x="501" y="1745"/>
                            </a:cubicBezTo>
                            <a:cubicBezTo>
                              <a:pt x="510" y="1745"/>
                              <a:pt x="517" y="1745"/>
                              <a:pt x="520" y="1745"/>
                            </a:cubicBezTo>
                            <a:cubicBezTo>
                              <a:pt x="524" y="1744"/>
                              <a:pt x="520" y="1740"/>
                              <a:pt x="529" y="1739"/>
                            </a:cubicBezTo>
                            <a:cubicBezTo>
                              <a:pt x="538" y="1738"/>
                              <a:pt x="535" y="1740"/>
                              <a:pt x="542" y="1738"/>
                            </a:cubicBezTo>
                            <a:cubicBezTo>
                              <a:pt x="549" y="1736"/>
                              <a:pt x="558" y="1735"/>
                              <a:pt x="564" y="1728"/>
                            </a:cubicBezTo>
                            <a:cubicBezTo>
                              <a:pt x="571" y="1720"/>
                              <a:pt x="578" y="1717"/>
                              <a:pt x="584" y="1715"/>
                            </a:cubicBezTo>
                            <a:cubicBezTo>
                              <a:pt x="590" y="1712"/>
                              <a:pt x="592" y="1711"/>
                              <a:pt x="595" y="1714"/>
                            </a:cubicBezTo>
                            <a:cubicBezTo>
                              <a:pt x="598" y="1717"/>
                              <a:pt x="594" y="1720"/>
                              <a:pt x="600" y="1722"/>
                            </a:cubicBezTo>
                            <a:cubicBezTo>
                              <a:pt x="606" y="1723"/>
                              <a:pt x="610" y="1719"/>
                              <a:pt x="611" y="1713"/>
                            </a:cubicBezTo>
                            <a:cubicBezTo>
                              <a:pt x="611" y="1708"/>
                              <a:pt x="615" y="1701"/>
                              <a:pt x="618" y="1698"/>
                            </a:cubicBezTo>
                            <a:cubicBezTo>
                              <a:pt x="621" y="1696"/>
                              <a:pt x="625" y="1694"/>
                              <a:pt x="632" y="1696"/>
                            </a:cubicBezTo>
                            <a:cubicBezTo>
                              <a:pt x="639" y="1697"/>
                              <a:pt x="640" y="1698"/>
                              <a:pt x="647" y="1699"/>
                            </a:cubicBezTo>
                            <a:cubicBezTo>
                              <a:pt x="654" y="1699"/>
                              <a:pt x="656" y="1699"/>
                              <a:pt x="664" y="1698"/>
                            </a:cubicBezTo>
                            <a:cubicBezTo>
                              <a:pt x="672" y="1698"/>
                              <a:pt x="676" y="1700"/>
                              <a:pt x="680" y="1696"/>
                            </a:cubicBezTo>
                            <a:cubicBezTo>
                              <a:pt x="684" y="1692"/>
                              <a:pt x="687" y="1692"/>
                              <a:pt x="688" y="1685"/>
                            </a:cubicBezTo>
                            <a:cubicBezTo>
                              <a:pt x="690" y="1679"/>
                              <a:pt x="688" y="1677"/>
                              <a:pt x="693" y="1677"/>
                            </a:cubicBezTo>
                            <a:cubicBezTo>
                              <a:pt x="698" y="1678"/>
                              <a:pt x="704" y="1682"/>
                              <a:pt x="706" y="1686"/>
                            </a:cubicBezTo>
                            <a:cubicBezTo>
                              <a:pt x="708" y="1691"/>
                              <a:pt x="711" y="1690"/>
                              <a:pt x="711" y="1695"/>
                            </a:cubicBezTo>
                            <a:cubicBezTo>
                              <a:pt x="711" y="1699"/>
                              <a:pt x="703" y="1706"/>
                              <a:pt x="698" y="1707"/>
                            </a:cubicBezTo>
                            <a:cubicBezTo>
                              <a:pt x="693" y="1708"/>
                              <a:pt x="680" y="1710"/>
                              <a:pt x="676" y="1713"/>
                            </a:cubicBezTo>
                            <a:cubicBezTo>
                              <a:pt x="671" y="1715"/>
                              <a:pt x="659" y="1719"/>
                              <a:pt x="655" y="1723"/>
                            </a:cubicBezTo>
                            <a:cubicBezTo>
                              <a:pt x="651" y="1728"/>
                              <a:pt x="644" y="1730"/>
                              <a:pt x="638" y="1733"/>
                            </a:cubicBezTo>
                            <a:cubicBezTo>
                              <a:pt x="633" y="1736"/>
                              <a:pt x="621" y="1747"/>
                              <a:pt x="618" y="1747"/>
                            </a:cubicBezTo>
                            <a:cubicBezTo>
                              <a:pt x="615" y="1747"/>
                              <a:pt x="616" y="1740"/>
                              <a:pt x="608" y="1742"/>
                            </a:cubicBezTo>
                            <a:cubicBezTo>
                              <a:pt x="601" y="1743"/>
                              <a:pt x="598" y="1739"/>
                              <a:pt x="591" y="1744"/>
                            </a:cubicBezTo>
                            <a:cubicBezTo>
                              <a:pt x="585" y="1748"/>
                              <a:pt x="578" y="1750"/>
                              <a:pt x="573" y="1750"/>
                            </a:cubicBezTo>
                            <a:cubicBezTo>
                              <a:pt x="567" y="1751"/>
                              <a:pt x="557" y="1749"/>
                              <a:pt x="554" y="1753"/>
                            </a:cubicBezTo>
                            <a:cubicBezTo>
                              <a:pt x="551" y="1756"/>
                              <a:pt x="545" y="1758"/>
                              <a:pt x="544" y="1767"/>
                            </a:cubicBezTo>
                            <a:cubicBezTo>
                              <a:pt x="543" y="1775"/>
                              <a:pt x="542" y="1777"/>
                              <a:pt x="535" y="1781"/>
                            </a:cubicBezTo>
                            <a:cubicBezTo>
                              <a:pt x="528" y="1785"/>
                              <a:pt x="525" y="1785"/>
                              <a:pt x="521" y="1784"/>
                            </a:cubicBezTo>
                            <a:cubicBezTo>
                              <a:pt x="516" y="1783"/>
                              <a:pt x="515" y="1779"/>
                              <a:pt x="510" y="1783"/>
                            </a:cubicBezTo>
                            <a:cubicBezTo>
                              <a:pt x="506" y="1788"/>
                              <a:pt x="503" y="1786"/>
                              <a:pt x="502" y="1794"/>
                            </a:cubicBezTo>
                            <a:cubicBezTo>
                              <a:pt x="501" y="1803"/>
                              <a:pt x="502" y="1805"/>
                              <a:pt x="496" y="1805"/>
                            </a:cubicBezTo>
                            <a:cubicBezTo>
                              <a:pt x="490" y="1805"/>
                              <a:pt x="484" y="1800"/>
                              <a:pt x="481" y="1805"/>
                            </a:cubicBezTo>
                            <a:cubicBezTo>
                              <a:pt x="479" y="1810"/>
                              <a:pt x="479" y="1813"/>
                              <a:pt x="475" y="1818"/>
                            </a:cubicBezTo>
                            <a:cubicBezTo>
                              <a:pt x="471" y="1823"/>
                              <a:pt x="469" y="1820"/>
                              <a:pt x="466" y="1825"/>
                            </a:cubicBezTo>
                            <a:cubicBezTo>
                              <a:pt x="464" y="1830"/>
                              <a:pt x="460" y="1830"/>
                              <a:pt x="464" y="1836"/>
                            </a:cubicBezTo>
                            <a:cubicBezTo>
                              <a:pt x="468" y="1842"/>
                              <a:pt x="467" y="1841"/>
                              <a:pt x="472" y="1844"/>
                            </a:cubicBezTo>
                            <a:cubicBezTo>
                              <a:pt x="477" y="1848"/>
                              <a:pt x="489" y="1849"/>
                              <a:pt x="492" y="1849"/>
                            </a:cubicBezTo>
                            <a:cubicBezTo>
                              <a:pt x="495" y="1849"/>
                              <a:pt x="492" y="1843"/>
                              <a:pt x="489" y="1841"/>
                            </a:cubicBezTo>
                            <a:cubicBezTo>
                              <a:pt x="485" y="1840"/>
                              <a:pt x="487" y="1836"/>
                              <a:pt x="489" y="1836"/>
                            </a:cubicBezTo>
                            <a:cubicBezTo>
                              <a:pt x="492" y="1836"/>
                              <a:pt x="500" y="1835"/>
                              <a:pt x="504" y="1836"/>
                            </a:cubicBezTo>
                            <a:cubicBezTo>
                              <a:pt x="508" y="1838"/>
                              <a:pt x="522" y="1840"/>
                              <a:pt x="524" y="1836"/>
                            </a:cubicBezTo>
                            <a:cubicBezTo>
                              <a:pt x="525" y="1833"/>
                              <a:pt x="524" y="1824"/>
                              <a:pt x="519" y="1823"/>
                            </a:cubicBezTo>
                            <a:cubicBezTo>
                              <a:pt x="515" y="1823"/>
                              <a:pt x="509" y="1829"/>
                              <a:pt x="505" y="1825"/>
                            </a:cubicBezTo>
                            <a:cubicBezTo>
                              <a:pt x="502" y="1821"/>
                              <a:pt x="501" y="1814"/>
                              <a:pt x="502" y="1812"/>
                            </a:cubicBezTo>
                            <a:cubicBezTo>
                              <a:pt x="504" y="1810"/>
                              <a:pt x="507" y="1807"/>
                              <a:pt x="513" y="1807"/>
                            </a:cubicBezTo>
                            <a:cubicBezTo>
                              <a:pt x="519" y="1808"/>
                              <a:pt x="524" y="1809"/>
                              <a:pt x="529" y="1807"/>
                            </a:cubicBezTo>
                            <a:cubicBezTo>
                              <a:pt x="533" y="1805"/>
                              <a:pt x="541" y="1802"/>
                              <a:pt x="544" y="1798"/>
                            </a:cubicBezTo>
                            <a:cubicBezTo>
                              <a:pt x="546" y="1794"/>
                              <a:pt x="549" y="1790"/>
                              <a:pt x="552" y="1784"/>
                            </a:cubicBezTo>
                            <a:cubicBezTo>
                              <a:pt x="555" y="1779"/>
                              <a:pt x="557" y="1774"/>
                              <a:pt x="561" y="1772"/>
                            </a:cubicBezTo>
                            <a:cubicBezTo>
                              <a:pt x="565" y="1771"/>
                              <a:pt x="573" y="1768"/>
                              <a:pt x="578" y="1768"/>
                            </a:cubicBezTo>
                            <a:cubicBezTo>
                              <a:pt x="582" y="1769"/>
                              <a:pt x="581" y="1774"/>
                              <a:pt x="586" y="1778"/>
                            </a:cubicBezTo>
                            <a:cubicBezTo>
                              <a:pt x="592" y="1781"/>
                              <a:pt x="596" y="1773"/>
                              <a:pt x="599" y="1772"/>
                            </a:cubicBezTo>
                            <a:cubicBezTo>
                              <a:pt x="601" y="1771"/>
                              <a:pt x="606" y="1773"/>
                              <a:pt x="607" y="1775"/>
                            </a:cubicBezTo>
                            <a:cubicBezTo>
                              <a:pt x="608" y="1777"/>
                              <a:pt x="609" y="1778"/>
                              <a:pt x="611" y="1778"/>
                            </a:cubicBezTo>
                            <a:cubicBezTo>
                              <a:pt x="614" y="1778"/>
                              <a:pt x="619" y="1780"/>
                              <a:pt x="619" y="1782"/>
                            </a:cubicBezTo>
                            <a:cubicBezTo>
                              <a:pt x="619" y="1784"/>
                              <a:pt x="615" y="1791"/>
                              <a:pt x="616" y="1795"/>
                            </a:cubicBezTo>
                            <a:cubicBezTo>
                              <a:pt x="616" y="1799"/>
                              <a:pt x="619" y="1799"/>
                              <a:pt x="621" y="1795"/>
                            </a:cubicBezTo>
                            <a:cubicBezTo>
                              <a:pt x="623" y="1791"/>
                              <a:pt x="626" y="1781"/>
                              <a:pt x="628" y="1777"/>
                            </a:cubicBezTo>
                            <a:cubicBezTo>
                              <a:pt x="630" y="1774"/>
                              <a:pt x="631" y="1767"/>
                              <a:pt x="636" y="1762"/>
                            </a:cubicBezTo>
                            <a:cubicBezTo>
                              <a:pt x="641" y="1757"/>
                              <a:pt x="645" y="1754"/>
                              <a:pt x="652" y="1750"/>
                            </a:cubicBezTo>
                            <a:cubicBezTo>
                              <a:pt x="659" y="1745"/>
                              <a:pt x="668" y="1739"/>
                              <a:pt x="671" y="1737"/>
                            </a:cubicBezTo>
                            <a:cubicBezTo>
                              <a:pt x="675" y="1736"/>
                              <a:pt x="680" y="1733"/>
                              <a:pt x="689" y="1732"/>
                            </a:cubicBezTo>
                            <a:cubicBezTo>
                              <a:pt x="698" y="1730"/>
                              <a:pt x="696" y="1730"/>
                              <a:pt x="705" y="1727"/>
                            </a:cubicBezTo>
                            <a:cubicBezTo>
                              <a:pt x="713" y="1724"/>
                              <a:pt x="714" y="1725"/>
                              <a:pt x="723" y="1722"/>
                            </a:cubicBezTo>
                            <a:cubicBezTo>
                              <a:pt x="732" y="1718"/>
                              <a:pt x="737" y="1716"/>
                              <a:pt x="741" y="1717"/>
                            </a:cubicBezTo>
                            <a:cubicBezTo>
                              <a:pt x="745" y="1718"/>
                              <a:pt x="738" y="1723"/>
                              <a:pt x="734" y="1725"/>
                            </a:cubicBezTo>
                            <a:cubicBezTo>
                              <a:pt x="730" y="1728"/>
                              <a:pt x="723" y="1731"/>
                              <a:pt x="726" y="1736"/>
                            </a:cubicBezTo>
                            <a:cubicBezTo>
                              <a:pt x="730" y="1740"/>
                              <a:pt x="733" y="1741"/>
                              <a:pt x="738" y="1739"/>
                            </a:cubicBezTo>
                            <a:cubicBezTo>
                              <a:pt x="742" y="1738"/>
                              <a:pt x="747" y="1736"/>
                              <a:pt x="754" y="1732"/>
                            </a:cubicBezTo>
                            <a:cubicBezTo>
                              <a:pt x="760" y="1728"/>
                              <a:pt x="766" y="1721"/>
                              <a:pt x="771" y="1719"/>
                            </a:cubicBezTo>
                            <a:cubicBezTo>
                              <a:pt x="776" y="1716"/>
                              <a:pt x="779" y="1717"/>
                              <a:pt x="780" y="1711"/>
                            </a:cubicBezTo>
                            <a:cubicBezTo>
                              <a:pt x="780" y="1705"/>
                              <a:pt x="778" y="1704"/>
                              <a:pt x="781" y="1697"/>
                            </a:cubicBezTo>
                            <a:cubicBezTo>
                              <a:pt x="785" y="1690"/>
                              <a:pt x="798" y="1691"/>
                              <a:pt x="803" y="1688"/>
                            </a:cubicBezTo>
                            <a:cubicBezTo>
                              <a:pt x="808" y="1686"/>
                              <a:pt x="818" y="1686"/>
                              <a:pt x="823" y="1684"/>
                            </a:cubicBezTo>
                            <a:cubicBezTo>
                              <a:pt x="829" y="1681"/>
                              <a:pt x="833" y="1681"/>
                              <a:pt x="831" y="1679"/>
                            </a:cubicBezTo>
                            <a:cubicBezTo>
                              <a:pt x="830" y="1676"/>
                              <a:pt x="823" y="1675"/>
                              <a:pt x="817" y="1675"/>
                            </a:cubicBezTo>
                            <a:cubicBezTo>
                              <a:pt x="810" y="1675"/>
                              <a:pt x="806" y="1676"/>
                              <a:pt x="805" y="1672"/>
                            </a:cubicBezTo>
                            <a:cubicBezTo>
                              <a:pt x="804" y="1668"/>
                              <a:pt x="806" y="1665"/>
                              <a:pt x="803" y="1663"/>
                            </a:cubicBezTo>
                            <a:cubicBezTo>
                              <a:pt x="800" y="1662"/>
                              <a:pt x="798" y="1664"/>
                              <a:pt x="796" y="1662"/>
                            </a:cubicBezTo>
                            <a:cubicBezTo>
                              <a:pt x="794" y="1659"/>
                              <a:pt x="793" y="1656"/>
                              <a:pt x="794" y="1652"/>
                            </a:cubicBezTo>
                            <a:cubicBezTo>
                              <a:pt x="795" y="1649"/>
                              <a:pt x="798" y="1644"/>
                              <a:pt x="802" y="1643"/>
                            </a:cubicBezTo>
                            <a:cubicBezTo>
                              <a:pt x="805" y="1642"/>
                              <a:pt x="805" y="1646"/>
                              <a:pt x="812" y="1649"/>
                            </a:cubicBezTo>
                            <a:cubicBezTo>
                              <a:pt x="820" y="1651"/>
                              <a:pt x="823" y="1651"/>
                              <a:pt x="832" y="1659"/>
                            </a:cubicBezTo>
                            <a:cubicBezTo>
                              <a:pt x="842" y="1667"/>
                              <a:pt x="849" y="1676"/>
                              <a:pt x="854" y="1683"/>
                            </a:cubicBezTo>
                            <a:cubicBezTo>
                              <a:pt x="859" y="1689"/>
                              <a:pt x="866" y="1697"/>
                              <a:pt x="869" y="1703"/>
                            </a:cubicBezTo>
                            <a:cubicBezTo>
                              <a:pt x="873" y="1708"/>
                              <a:pt x="873" y="1712"/>
                              <a:pt x="876" y="1719"/>
                            </a:cubicBezTo>
                            <a:cubicBezTo>
                              <a:pt x="878" y="1726"/>
                              <a:pt x="875" y="1731"/>
                              <a:pt x="882" y="1738"/>
                            </a:cubicBezTo>
                            <a:cubicBezTo>
                              <a:pt x="889" y="1745"/>
                              <a:pt x="898" y="1750"/>
                              <a:pt x="906" y="1756"/>
                            </a:cubicBezTo>
                            <a:cubicBezTo>
                              <a:pt x="914" y="1761"/>
                              <a:pt x="920" y="1767"/>
                              <a:pt x="929" y="1770"/>
                            </a:cubicBezTo>
                            <a:cubicBezTo>
                              <a:pt x="937" y="1773"/>
                              <a:pt x="939" y="1776"/>
                              <a:pt x="948" y="1777"/>
                            </a:cubicBezTo>
                            <a:cubicBezTo>
                              <a:pt x="957" y="1777"/>
                              <a:pt x="959" y="1780"/>
                              <a:pt x="965" y="1776"/>
                            </a:cubicBezTo>
                            <a:cubicBezTo>
                              <a:pt x="971" y="1773"/>
                              <a:pt x="975" y="1766"/>
                              <a:pt x="971" y="1766"/>
                            </a:cubicBezTo>
                            <a:cubicBezTo>
                              <a:pt x="967" y="1766"/>
                              <a:pt x="965" y="1768"/>
                              <a:pt x="963" y="1766"/>
                            </a:cubicBezTo>
                            <a:cubicBezTo>
                              <a:pt x="961" y="1763"/>
                              <a:pt x="965" y="1762"/>
                              <a:pt x="970" y="1762"/>
                            </a:cubicBezTo>
                            <a:cubicBezTo>
                              <a:pt x="974" y="1761"/>
                              <a:pt x="976" y="1760"/>
                              <a:pt x="977" y="1758"/>
                            </a:cubicBezTo>
                            <a:cubicBezTo>
                              <a:pt x="978" y="1755"/>
                              <a:pt x="977" y="1754"/>
                              <a:pt x="973" y="1752"/>
                            </a:cubicBezTo>
                            <a:cubicBezTo>
                              <a:pt x="969" y="1750"/>
                              <a:pt x="966" y="1751"/>
                              <a:pt x="965" y="1749"/>
                            </a:cubicBezTo>
                            <a:cubicBezTo>
                              <a:pt x="964" y="1746"/>
                              <a:pt x="960" y="1744"/>
                              <a:pt x="964" y="1742"/>
                            </a:cubicBezTo>
                            <a:cubicBezTo>
                              <a:pt x="967" y="1740"/>
                              <a:pt x="969" y="1738"/>
                              <a:pt x="976" y="1739"/>
                            </a:cubicBezTo>
                            <a:cubicBezTo>
                              <a:pt x="982" y="1740"/>
                              <a:pt x="985" y="1746"/>
                              <a:pt x="989" y="1745"/>
                            </a:cubicBezTo>
                            <a:cubicBezTo>
                              <a:pt x="994" y="1744"/>
                              <a:pt x="992" y="1736"/>
                              <a:pt x="990" y="1733"/>
                            </a:cubicBezTo>
                            <a:cubicBezTo>
                              <a:pt x="987" y="1731"/>
                              <a:pt x="982" y="1733"/>
                              <a:pt x="979" y="1728"/>
                            </a:cubicBezTo>
                            <a:cubicBezTo>
                              <a:pt x="976" y="1723"/>
                              <a:pt x="972" y="1725"/>
                              <a:pt x="979" y="1721"/>
                            </a:cubicBezTo>
                            <a:cubicBezTo>
                              <a:pt x="985" y="1717"/>
                              <a:pt x="988" y="1718"/>
                              <a:pt x="989" y="1713"/>
                            </a:cubicBezTo>
                            <a:cubicBezTo>
                              <a:pt x="989" y="1709"/>
                              <a:pt x="987" y="1707"/>
                              <a:pt x="992" y="1705"/>
                            </a:cubicBezTo>
                            <a:cubicBezTo>
                              <a:pt x="996" y="1703"/>
                              <a:pt x="998" y="1704"/>
                              <a:pt x="1001" y="1700"/>
                            </a:cubicBezTo>
                            <a:cubicBezTo>
                              <a:pt x="1004" y="1697"/>
                              <a:pt x="1008" y="1694"/>
                              <a:pt x="1010" y="1694"/>
                            </a:cubicBezTo>
                            <a:cubicBezTo>
                              <a:pt x="1013" y="1694"/>
                              <a:pt x="1015" y="1692"/>
                              <a:pt x="1018" y="1692"/>
                            </a:cubicBezTo>
                            <a:cubicBezTo>
                              <a:pt x="1022" y="1692"/>
                              <a:pt x="1021" y="1698"/>
                              <a:pt x="1019" y="1702"/>
                            </a:cubicBezTo>
                            <a:cubicBezTo>
                              <a:pt x="1017" y="1706"/>
                              <a:pt x="1014" y="1710"/>
                              <a:pt x="1016" y="1715"/>
                            </a:cubicBezTo>
                            <a:cubicBezTo>
                              <a:pt x="1017" y="1719"/>
                              <a:pt x="1014" y="1722"/>
                              <a:pt x="1014" y="1726"/>
                            </a:cubicBezTo>
                            <a:cubicBezTo>
                              <a:pt x="1014" y="1730"/>
                              <a:pt x="1012" y="1733"/>
                              <a:pt x="1017" y="1735"/>
                            </a:cubicBezTo>
                            <a:cubicBezTo>
                              <a:pt x="1022" y="1737"/>
                              <a:pt x="1028" y="1737"/>
                              <a:pt x="1029" y="1738"/>
                            </a:cubicBezTo>
                            <a:cubicBezTo>
                              <a:pt x="1031" y="1738"/>
                              <a:pt x="1035" y="1740"/>
                              <a:pt x="1035" y="1744"/>
                            </a:cubicBezTo>
                            <a:cubicBezTo>
                              <a:pt x="1035" y="1747"/>
                              <a:pt x="1033" y="1750"/>
                              <a:pt x="1030" y="1752"/>
                            </a:cubicBezTo>
                            <a:cubicBezTo>
                              <a:pt x="1027" y="1754"/>
                              <a:pt x="1024" y="1753"/>
                              <a:pt x="1017" y="1762"/>
                            </a:cubicBezTo>
                            <a:cubicBezTo>
                              <a:pt x="1011" y="1772"/>
                              <a:pt x="1014" y="1774"/>
                              <a:pt x="1020" y="1775"/>
                            </a:cubicBezTo>
                            <a:cubicBezTo>
                              <a:pt x="1026" y="1777"/>
                              <a:pt x="1041" y="1775"/>
                              <a:pt x="1048" y="1773"/>
                            </a:cubicBezTo>
                            <a:cubicBezTo>
                              <a:pt x="1054" y="1771"/>
                              <a:pt x="1068" y="1765"/>
                              <a:pt x="1078" y="1762"/>
                            </a:cubicBezTo>
                            <a:cubicBezTo>
                              <a:pt x="1088" y="1759"/>
                              <a:pt x="1095" y="1761"/>
                              <a:pt x="1098" y="1756"/>
                            </a:cubicBezTo>
                            <a:cubicBezTo>
                              <a:pt x="1101" y="1751"/>
                              <a:pt x="1098" y="1740"/>
                              <a:pt x="1102" y="1735"/>
                            </a:cubicBezTo>
                            <a:cubicBezTo>
                              <a:pt x="1105" y="1730"/>
                              <a:pt x="1106" y="1724"/>
                              <a:pt x="1118" y="1725"/>
                            </a:cubicBezTo>
                            <a:cubicBezTo>
                              <a:pt x="1129" y="1726"/>
                              <a:pt x="1123" y="1729"/>
                              <a:pt x="1147" y="1729"/>
                            </a:cubicBezTo>
                            <a:cubicBezTo>
                              <a:pt x="1170" y="1729"/>
                              <a:pt x="1177" y="1729"/>
                              <a:pt x="1185" y="1729"/>
                            </a:cubicBezTo>
                            <a:cubicBezTo>
                              <a:pt x="1193" y="1729"/>
                              <a:pt x="1203" y="1729"/>
                              <a:pt x="1217" y="1736"/>
                            </a:cubicBezTo>
                            <a:cubicBezTo>
                              <a:pt x="1231" y="1743"/>
                              <a:pt x="1242" y="1748"/>
                              <a:pt x="1252" y="1753"/>
                            </a:cubicBezTo>
                            <a:cubicBezTo>
                              <a:pt x="1263" y="1758"/>
                              <a:pt x="1275" y="1765"/>
                              <a:pt x="1285" y="1769"/>
                            </a:cubicBezTo>
                            <a:cubicBezTo>
                              <a:pt x="1296" y="1773"/>
                              <a:pt x="1308" y="1775"/>
                              <a:pt x="1318" y="1777"/>
                            </a:cubicBezTo>
                            <a:cubicBezTo>
                              <a:pt x="1329" y="1778"/>
                              <a:pt x="1352" y="1782"/>
                              <a:pt x="1369" y="1786"/>
                            </a:cubicBezTo>
                            <a:cubicBezTo>
                              <a:pt x="1385" y="1790"/>
                              <a:pt x="1394" y="1800"/>
                              <a:pt x="1407" y="1807"/>
                            </a:cubicBezTo>
                            <a:cubicBezTo>
                              <a:pt x="1420" y="1813"/>
                              <a:pt x="1424" y="1814"/>
                              <a:pt x="1439" y="1819"/>
                            </a:cubicBezTo>
                            <a:cubicBezTo>
                              <a:pt x="1454" y="1823"/>
                              <a:pt x="1460" y="1821"/>
                              <a:pt x="1478" y="1827"/>
                            </a:cubicBezTo>
                            <a:cubicBezTo>
                              <a:pt x="1496" y="1834"/>
                              <a:pt x="1515" y="1834"/>
                              <a:pt x="1525" y="1834"/>
                            </a:cubicBezTo>
                            <a:cubicBezTo>
                              <a:pt x="1536" y="1834"/>
                              <a:pt x="1538" y="1835"/>
                              <a:pt x="1538" y="1832"/>
                            </a:cubicBezTo>
                            <a:cubicBezTo>
                              <a:pt x="1538" y="1829"/>
                              <a:pt x="1529" y="1830"/>
                              <a:pt x="1528" y="1824"/>
                            </a:cubicBezTo>
                            <a:cubicBezTo>
                              <a:pt x="1526" y="1819"/>
                              <a:pt x="1531" y="1820"/>
                              <a:pt x="1538" y="1819"/>
                            </a:cubicBezTo>
                            <a:cubicBezTo>
                              <a:pt x="1546" y="1817"/>
                              <a:pt x="1551" y="1817"/>
                              <a:pt x="1560" y="1819"/>
                            </a:cubicBezTo>
                            <a:cubicBezTo>
                              <a:pt x="1568" y="1821"/>
                              <a:pt x="1576" y="1826"/>
                              <a:pt x="1588" y="1828"/>
                            </a:cubicBezTo>
                            <a:cubicBezTo>
                              <a:pt x="1599" y="1830"/>
                              <a:pt x="1624" y="1839"/>
                              <a:pt x="1631" y="1844"/>
                            </a:cubicBezTo>
                            <a:cubicBezTo>
                              <a:pt x="1639" y="1850"/>
                              <a:pt x="1640" y="1853"/>
                              <a:pt x="1647" y="1858"/>
                            </a:cubicBezTo>
                            <a:cubicBezTo>
                              <a:pt x="1654" y="1864"/>
                              <a:pt x="1658" y="1863"/>
                              <a:pt x="1659" y="1869"/>
                            </a:cubicBezTo>
                            <a:cubicBezTo>
                              <a:pt x="1660" y="1876"/>
                              <a:pt x="1665" y="1879"/>
                              <a:pt x="1667" y="1884"/>
                            </a:cubicBezTo>
                            <a:cubicBezTo>
                              <a:pt x="1669" y="1888"/>
                              <a:pt x="1666" y="1894"/>
                              <a:pt x="1663" y="1894"/>
                            </a:cubicBezTo>
                            <a:cubicBezTo>
                              <a:pt x="1660" y="1894"/>
                              <a:pt x="1643" y="1894"/>
                              <a:pt x="1637" y="1894"/>
                            </a:cubicBezTo>
                            <a:cubicBezTo>
                              <a:pt x="1630" y="1894"/>
                              <a:pt x="1623" y="1891"/>
                              <a:pt x="1620" y="1897"/>
                            </a:cubicBezTo>
                            <a:cubicBezTo>
                              <a:pt x="1616" y="1903"/>
                              <a:pt x="1612" y="1904"/>
                              <a:pt x="1606" y="1904"/>
                            </a:cubicBezTo>
                            <a:cubicBezTo>
                              <a:pt x="1601" y="1904"/>
                              <a:pt x="1594" y="1906"/>
                              <a:pt x="1592" y="1908"/>
                            </a:cubicBezTo>
                            <a:cubicBezTo>
                              <a:pt x="1591" y="1911"/>
                              <a:pt x="1594" y="1917"/>
                              <a:pt x="1593" y="1920"/>
                            </a:cubicBezTo>
                            <a:cubicBezTo>
                              <a:pt x="1591" y="1924"/>
                              <a:pt x="1586" y="1924"/>
                              <a:pt x="1582" y="1926"/>
                            </a:cubicBezTo>
                            <a:cubicBezTo>
                              <a:pt x="1578" y="1928"/>
                              <a:pt x="1579" y="1934"/>
                              <a:pt x="1586" y="1938"/>
                            </a:cubicBezTo>
                            <a:cubicBezTo>
                              <a:pt x="1593" y="1942"/>
                              <a:pt x="1597" y="1946"/>
                              <a:pt x="1612" y="1946"/>
                            </a:cubicBezTo>
                            <a:cubicBezTo>
                              <a:pt x="1627" y="1946"/>
                              <a:pt x="1640" y="1946"/>
                              <a:pt x="1649" y="1946"/>
                            </a:cubicBezTo>
                            <a:cubicBezTo>
                              <a:pt x="1658" y="1947"/>
                              <a:pt x="1664" y="1948"/>
                              <a:pt x="1678" y="1951"/>
                            </a:cubicBezTo>
                            <a:cubicBezTo>
                              <a:pt x="1692" y="1955"/>
                              <a:pt x="1704" y="1956"/>
                              <a:pt x="1720" y="1956"/>
                            </a:cubicBezTo>
                            <a:cubicBezTo>
                              <a:pt x="1736" y="1956"/>
                              <a:pt x="1764" y="1956"/>
                              <a:pt x="1776" y="1952"/>
                            </a:cubicBezTo>
                            <a:cubicBezTo>
                              <a:pt x="1789" y="1948"/>
                              <a:pt x="1796" y="1951"/>
                              <a:pt x="1825" y="1947"/>
                            </a:cubicBezTo>
                            <a:cubicBezTo>
                              <a:pt x="1854" y="1943"/>
                              <a:pt x="1878" y="1945"/>
                              <a:pt x="1886" y="1943"/>
                            </a:cubicBezTo>
                            <a:cubicBezTo>
                              <a:pt x="1893" y="1940"/>
                              <a:pt x="1909" y="1940"/>
                              <a:pt x="1920" y="1939"/>
                            </a:cubicBezTo>
                            <a:cubicBezTo>
                              <a:pt x="1932" y="1938"/>
                              <a:pt x="1928" y="1946"/>
                              <a:pt x="1937" y="1951"/>
                            </a:cubicBezTo>
                            <a:cubicBezTo>
                              <a:pt x="1945" y="1955"/>
                              <a:pt x="1950" y="1953"/>
                              <a:pt x="1954" y="1952"/>
                            </a:cubicBezTo>
                            <a:cubicBezTo>
                              <a:pt x="1959" y="1952"/>
                              <a:pt x="1964" y="1950"/>
                              <a:pt x="1968" y="1953"/>
                            </a:cubicBezTo>
                            <a:cubicBezTo>
                              <a:pt x="1971" y="1955"/>
                              <a:pt x="1976" y="1961"/>
                              <a:pt x="1977" y="1965"/>
                            </a:cubicBezTo>
                            <a:cubicBezTo>
                              <a:pt x="1978" y="1969"/>
                              <a:pt x="1975" y="1973"/>
                              <a:pt x="1974" y="1976"/>
                            </a:cubicBezTo>
                            <a:cubicBezTo>
                              <a:pt x="1974" y="1980"/>
                              <a:pt x="1978" y="1986"/>
                              <a:pt x="1981" y="1987"/>
                            </a:cubicBezTo>
                            <a:cubicBezTo>
                              <a:pt x="1985" y="1989"/>
                              <a:pt x="1988" y="1985"/>
                              <a:pt x="1988" y="1983"/>
                            </a:cubicBezTo>
                            <a:cubicBezTo>
                              <a:pt x="1988" y="1981"/>
                              <a:pt x="1989" y="1973"/>
                              <a:pt x="1990" y="1971"/>
                            </a:cubicBezTo>
                            <a:cubicBezTo>
                              <a:pt x="1991" y="1969"/>
                              <a:pt x="1990" y="1964"/>
                              <a:pt x="1994" y="1966"/>
                            </a:cubicBezTo>
                            <a:cubicBezTo>
                              <a:pt x="1998" y="1968"/>
                              <a:pt x="2004" y="1976"/>
                              <a:pt x="2004" y="1979"/>
                            </a:cubicBezTo>
                            <a:cubicBezTo>
                              <a:pt x="2004" y="1981"/>
                              <a:pt x="2002" y="1986"/>
                              <a:pt x="2007" y="1989"/>
                            </a:cubicBezTo>
                            <a:cubicBezTo>
                              <a:pt x="2012" y="1992"/>
                              <a:pt x="2018" y="1991"/>
                              <a:pt x="2024" y="1993"/>
                            </a:cubicBezTo>
                            <a:cubicBezTo>
                              <a:pt x="2031" y="1995"/>
                              <a:pt x="2038" y="2000"/>
                              <a:pt x="2039" y="2005"/>
                            </a:cubicBezTo>
                            <a:cubicBezTo>
                              <a:pt x="2040" y="2009"/>
                              <a:pt x="2042" y="2014"/>
                              <a:pt x="2040" y="2017"/>
                            </a:cubicBezTo>
                            <a:cubicBezTo>
                              <a:pt x="2039" y="2019"/>
                              <a:pt x="2035" y="2021"/>
                              <a:pt x="2031" y="2021"/>
                            </a:cubicBezTo>
                            <a:cubicBezTo>
                              <a:pt x="2028" y="2021"/>
                              <a:pt x="2019" y="2017"/>
                              <a:pt x="2016" y="2014"/>
                            </a:cubicBezTo>
                            <a:cubicBezTo>
                              <a:pt x="2013" y="2011"/>
                              <a:pt x="2001" y="2008"/>
                              <a:pt x="1999" y="2009"/>
                            </a:cubicBezTo>
                            <a:cubicBezTo>
                              <a:pt x="1998" y="2011"/>
                              <a:pt x="1996" y="2012"/>
                              <a:pt x="2001" y="2017"/>
                            </a:cubicBezTo>
                            <a:cubicBezTo>
                              <a:pt x="2005" y="2022"/>
                              <a:pt x="2009" y="2025"/>
                              <a:pt x="2015" y="2028"/>
                            </a:cubicBezTo>
                            <a:cubicBezTo>
                              <a:pt x="2021" y="2031"/>
                              <a:pt x="2026" y="2031"/>
                              <a:pt x="2027" y="2035"/>
                            </a:cubicBezTo>
                            <a:cubicBezTo>
                              <a:pt x="2028" y="2038"/>
                              <a:pt x="2026" y="2041"/>
                              <a:pt x="2026" y="2043"/>
                            </a:cubicBezTo>
                            <a:cubicBezTo>
                              <a:pt x="2026" y="2045"/>
                              <a:pt x="2028" y="2046"/>
                              <a:pt x="2031" y="2047"/>
                            </a:cubicBezTo>
                            <a:cubicBezTo>
                              <a:pt x="2034" y="2048"/>
                              <a:pt x="2037" y="2045"/>
                              <a:pt x="2039" y="2050"/>
                            </a:cubicBezTo>
                            <a:cubicBezTo>
                              <a:pt x="2042" y="2054"/>
                              <a:pt x="2041" y="2054"/>
                              <a:pt x="2043" y="2057"/>
                            </a:cubicBezTo>
                            <a:cubicBezTo>
                              <a:pt x="2046" y="2061"/>
                              <a:pt x="2055" y="2062"/>
                              <a:pt x="2058" y="2068"/>
                            </a:cubicBezTo>
                            <a:cubicBezTo>
                              <a:pt x="2060" y="2075"/>
                              <a:pt x="2073" y="2087"/>
                              <a:pt x="2077" y="2089"/>
                            </a:cubicBezTo>
                            <a:cubicBezTo>
                              <a:pt x="2081" y="2091"/>
                              <a:pt x="2075" y="2081"/>
                              <a:pt x="2072" y="2077"/>
                            </a:cubicBezTo>
                            <a:cubicBezTo>
                              <a:pt x="2069" y="2073"/>
                              <a:pt x="2064" y="2067"/>
                              <a:pt x="2063" y="2062"/>
                            </a:cubicBezTo>
                            <a:cubicBezTo>
                              <a:pt x="2062" y="2058"/>
                              <a:pt x="2055" y="2057"/>
                              <a:pt x="2055" y="2051"/>
                            </a:cubicBezTo>
                            <a:cubicBezTo>
                              <a:pt x="2055" y="2045"/>
                              <a:pt x="2055" y="2045"/>
                              <a:pt x="2055" y="2040"/>
                            </a:cubicBezTo>
                            <a:cubicBezTo>
                              <a:pt x="2055" y="2034"/>
                              <a:pt x="2053" y="2033"/>
                              <a:pt x="2054" y="2028"/>
                            </a:cubicBezTo>
                            <a:cubicBezTo>
                              <a:pt x="2055" y="2022"/>
                              <a:pt x="2057" y="2019"/>
                              <a:pt x="2061" y="2022"/>
                            </a:cubicBezTo>
                            <a:cubicBezTo>
                              <a:pt x="2065" y="2025"/>
                              <a:pt x="2066" y="2028"/>
                              <a:pt x="2064" y="2033"/>
                            </a:cubicBezTo>
                            <a:cubicBezTo>
                              <a:pt x="2062" y="2037"/>
                              <a:pt x="2060" y="2041"/>
                              <a:pt x="2065" y="2044"/>
                            </a:cubicBezTo>
                            <a:cubicBezTo>
                              <a:pt x="2070" y="2047"/>
                              <a:pt x="2072" y="2049"/>
                              <a:pt x="2075" y="2046"/>
                            </a:cubicBezTo>
                            <a:cubicBezTo>
                              <a:pt x="2077" y="2043"/>
                              <a:pt x="2073" y="2041"/>
                              <a:pt x="2079" y="2041"/>
                            </a:cubicBezTo>
                            <a:cubicBezTo>
                              <a:pt x="2085" y="2042"/>
                              <a:pt x="2090" y="2048"/>
                              <a:pt x="2093" y="2046"/>
                            </a:cubicBezTo>
                            <a:cubicBezTo>
                              <a:pt x="2097" y="2044"/>
                              <a:pt x="2098" y="2041"/>
                              <a:pt x="2094" y="2038"/>
                            </a:cubicBezTo>
                            <a:cubicBezTo>
                              <a:pt x="2090" y="2036"/>
                              <a:pt x="2085" y="2035"/>
                              <a:pt x="2083" y="2028"/>
                            </a:cubicBezTo>
                            <a:cubicBezTo>
                              <a:pt x="2080" y="2022"/>
                              <a:pt x="2077" y="2021"/>
                              <a:pt x="2081" y="2018"/>
                            </a:cubicBezTo>
                            <a:cubicBezTo>
                              <a:pt x="2085" y="2015"/>
                              <a:pt x="2087" y="2015"/>
                              <a:pt x="2086" y="2012"/>
                            </a:cubicBezTo>
                            <a:cubicBezTo>
                              <a:pt x="2086" y="2009"/>
                              <a:pt x="2081" y="2008"/>
                              <a:pt x="2076" y="2006"/>
                            </a:cubicBezTo>
                            <a:cubicBezTo>
                              <a:pt x="2072" y="2003"/>
                              <a:pt x="2065" y="1997"/>
                              <a:pt x="2062" y="1992"/>
                            </a:cubicBezTo>
                            <a:cubicBezTo>
                              <a:pt x="2060" y="1987"/>
                              <a:pt x="2058" y="1986"/>
                              <a:pt x="2060" y="1981"/>
                            </a:cubicBezTo>
                            <a:cubicBezTo>
                              <a:pt x="2062" y="1976"/>
                              <a:pt x="2065" y="1981"/>
                              <a:pt x="2064" y="1974"/>
                            </a:cubicBezTo>
                            <a:cubicBezTo>
                              <a:pt x="2063" y="1967"/>
                              <a:pt x="2052" y="1962"/>
                              <a:pt x="2049" y="1959"/>
                            </a:cubicBezTo>
                            <a:cubicBezTo>
                              <a:pt x="2045" y="1956"/>
                              <a:pt x="2040" y="1955"/>
                              <a:pt x="2041" y="1949"/>
                            </a:cubicBezTo>
                            <a:cubicBezTo>
                              <a:pt x="2042" y="1942"/>
                              <a:pt x="2049" y="1938"/>
                              <a:pt x="2053" y="1936"/>
                            </a:cubicBezTo>
                            <a:cubicBezTo>
                              <a:pt x="2058" y="1934"/>
                              <a:pt x="2058" y="1934"/>
                              <a:pt x="2060" y="1928"/>
                            </a:cubicBezTo>
                            <a:cubicBezTo>
                              <a:pt x="2063" y="1921"/>
                              <a:pt x="2061" y="1920"/>
                              <a:pt x="2068" y="1918"/>
                            </a:cubicBezTo>
                            <a:cubicBezTo>
                              <a:pt x="2075" y="1915"/>
                              <a:pt x="2078" y="1912"/>
                              <a:pt x="2084" y="1912"/>
                            </a:cubicBezTo>
                            <a:cubicBezTo>
                              <a:pt x="2089" y="1911"/>
                              <a:pt x="2091" y="1910"/>
                              <a:pt x="2097" y="1906"/>
                            </a:cubicBezTo>
                            <a:cubicBezTo>
                              <a:pt x="2103" y="1902"/>
                              <a:pt x="2109" y="1900"/>
                              <a:pt x="2115" y="1900"/>
                            </a:cubicBezTo>
                            <a:cubicBezTo>
                              <a:pt x="2121" y="1900"/>
                              <a:pt x="2122" y="1904"/>
                              <a:pt x="2128" y="1905"/>
                            </a:cubicBezTo>
                            <a:cubicBezTo>
                              <a:pt x="2133" y="1906"/>
                              <a:pt x="2136" y="1905"/>
                              <a:pt x="2136" y="1901"/>
                            </a:cubicBezTo>
                            <a:cubicBezTo>
                              <a:pt x="2136" y="1897"/>
                              <a:pt x="2135" y="1895"/>
                              <a:pt x="2137" y="1892"/>
                            </a:cubicBezTo>
                            <a:cubicBezTo>
                              <a:pt x="2140" y="1889"/>
                              <a:pt x="2138" y="1890"/>
                              <a:pt x="2145" y="1886"/>
                            </a:cubicBezTo>
                            <a:cubicBezTo>
                              <a:pt x="2152" y="1883"/>
                              <a:pt x="2152" y="1880"/>
                              <a:pt x="2161" y="1879"/>
                            </a:cubicBezTo>
                            <a:cubicBezTo>
                              <a:pt x="2170" y="1879"/>
                              <a:pt x="2170" y="1880"/>
                              <a:pt x="2173" y="1877"/>
                            </a:cubicBezTo>
                            <a:cubicBezTo>
                              <a:pt x="2176" y="1874"/>
                              <a:pt x="2177" y="1878"/>
                              <a:pt x="2178" y="1870"/>
                            </a:cubicBezTo>
                            <a:cubicBezTo>
                              <a:pt x="2178" y="1862"/>
                              <a:pt x="2179" y="1861"/>
                              <a:pt x="2181" y="1858"/>
                            </a:cubicBezTo>
                            <a:cubicBezTo>
                              <a:pt x="2183" y="1856"/>
                              <a:pt x="2182" y="1853"/>
                              <a:pt x="2178" y="1853"/>
                            </a:cubicBezTo>
                            <a:cubicBezTo>
                              <a:pt x="2173" y="1852"/>
                              <a:pt x="2169" y="1852"/>
                              <a:pt x="2163" y="1855"/>
                            </a:cubicBezTo>
                            <a:cubicBezTo>
                              <a:pt x="2156" y="1859"/>
                              <a:pt x="2141" y="1861"/>
                              <a:pt x="2135" y="1862"/>
                            </a:cubicBezTo>
                            <a:cubicBezTo>
                              <a:pt x="2130" y="1862"/>
                              <a:pt x="2126" y="1861"/>
                              <a:pt x="2126" y="1869"/>
                            </a:cubicBezTo>
                            <a:cubicBezTo>
                              <a:pt x="2126" y="1876"/>
                              <a:pt x="2127" y="1881"/>
                              <a:pt x="2124" y="1881"/>
                            </a:cubicBezTo>
                            <a:cubicBezTo>
                              <a:pt x="2121" y="1882"/>
                              <a:pt x="2118" y="1873"/>
                              <a:pt x="2112" y="1874"/>
                            </a:cubicBezTo>
                            <a:cubicBezTo>
                              <a:pt x="2106" y="1875"/>
                              <a:pt x="2103" y="1875"/>
                              <a:pt x="2099" y="1882"/>
                            </a:cubicBezTo>
                            <a:cubicBezTo>
                              <a:pt x="2095" y="1889"/>
                              <a:pt x="2087" y="1892"/>
                              <a:pt x="2083" y="1891"/>
                            </a:cubicBezTo>
                            <a:cubicBezTo>
                              <a:pt x="2079" y="1891"/>
                              <a:pt x="2074" y="1889"/>
                              <a:pt x="2069" y="1887"/>
                            </a:cubicBezTo>
                            <a:cubicBezTo>
                              <a:pt x="2064" y="1885"/>
                              <a:pt x="2062" y="1884"/>
                              <a:pt x="2054" y="1884"/>
                            </a:cubicBezTo>
                            <a:cubicBezTo>
                              <a:pt x="2047" y="1884"/>
                              <a:pt x="2045" y="1888"/>
                              <a:pt x="2045" y="1893"/>
                            </a:cubicBezTo>
                            <a:cubicBezTo>
                              <a:pt x="2045" y="1898"/>
                              <a:pt x="2046" y="1899"/>
                              <a:pt x="2039" y="1899"/>
                            </a:cubicBezTo>
                            <a:cubicBezTo>
                              <a:pt x="2031" y="1898"/>
                              <a:pt x="2024" y="1897"/>
                              <a:pt x="2020" y="1897"/>
                            </a:cubicBezTo>
                            <a:cubicBezTo>
                              <a:pt x="2015" y="1897"/>
                              <a:pt x="2012" y="1890"/>
                              <a:pt x="2011" y="1888"/>
                            </a:cubicBezTo>
                            <a:cubicBezTo>
                              <a:pt x="2009" y="1887"/>
                              <a:pt x="2003" y="1887"/>
                              <a:pt x="1999" y="1889"/>
                            </a:cubicBezTo>
                            <a:cubicBezTo>
                              <a:pt x="1996" y="1891"/>
                              <a:pt x="1992" y="1889"/>
                              <a:pt x="1992" y="1886"/>
                            </a:cubicBezTo>
                            <a:cubicBezTo>
                              <a:pt x="1992" y="1883"/>
                              <a:pt x="1998" y="1879"/>
                              <a:pt x="2003" y="1874"/>
                            </a:cubicBezTo>
                            <a:cubicBezTo>
                              <a:pt x="2008" y="1868"/>
                              <a:pt x="2011" y="1865"/>
                              <a:pt x="2013" y="1862"/>
                            </a:cubicBezTo>
                            <a:cubicBezTo>
                              <a:pt x="2016" y="1858"/>
                              <a:pt x="2023" y="1854"/>
                              <a:pt x="2029" y="1853"/>
                            </a:cubicBezTo>
                            <a:cubicBezTo>
                              <a:pt x="2035" y="1852"/>
                              <a:pt x="2042" y="1851"/>
                              <a:pt x="2050" y="1850"/>
                            </a:cubicBezTo>
                            <a:cubicBezTo>
                              <a:pt x="2058" y="1850"/>
                              <a:pt x="2072" y="1846"/>
                              <a:pt x="2078" y="1844"/>
                            </a:cubicBezTo>
                            <a:cubicBezTo>
                              <a:pt x="2084" y="1841"/>
                              <a:pt x="2088" y="1838"/>
                              <a:pt x="2095" y="1836"/>
                            </a:cubicBezTo>
                            <a:cubicBezTo>
                              <a:pt x="2102" y="1834"/>
                              <a:pt x="2108" y="1831"/>
                              <a:pt x="2119" y="1830"/>
                            </a:cubicBezTo>
                            <a:cubicBezTo>
                              <a:pt x="2130" y="1828"/>
                              <a:pt x="2141" y="1827"/>
                              <a:pt x="2146" y="1825"/>
                            </a:cubicBezTo>
                            <a:cubicBezTo>
                              <a:pt x="2151" y="1823"/>
                              <a:pt x="2163" y="1822"/>
                              <a:pt x="2167" y="1828"/>
                            </a:cubicBezTo>
                            <a:cubicBezTo>
                              <a:pt x="2171" y="1833"/>
                              <a:pt x="2171" y="1835"/>
                              <a:pt x="2179" y="1838"/>
                            </a:cubicBezTo>
                            <a:cubicBezTo>
                              <a:pt x="2186" y="1842"/>
                              <a:pt x="2188" y="1841"/>
                              <a:pt x="2190" y="1845"/>
                            </a:cubicBezTo>
                            <a:cubicBezTo>
                              <a:pt x="2191" y="1848"/>
                              <a:pt x="2187" y="1850"/>
                              <a:pt x="2189" y="1855"/>
                            </a:cubicBezTo>
                            <a:cubicBezTo>
                              <a:pt x="2190" y="1859"/>
                              <a:pt x="2196" y="1861"/>
                              <a:pt x="2198" y="1864"/>
                            </a:cubicBezTo>
                            <a:cubicBezTo>
                              <a:pt x="2199" y="1868"/>
                              <a:pt x="2197" y="1870"/>
                              <a:pt x="2196" y="1871"/>
                            </a:cubicBezTo>
                            <a:cubicBezTo>
                              <a:pt x="2194" y="1872"/>
                              <a:pt x="2188" y="1875"/>
                              <a:pt x="2193" y="1879"/>
                            </a:cubicBezTo>
                            <a:cubicBezTo>
                              <a:pt x="2198" y="1882"/>
                              <a:pt x="2207" y="1883"/>
                              <a:pt x="2210" y="1886"/>
                            </a:cubicBezTo>
                            <a:cubicBezTo>
                              <a:pt x="2213" y="1888"/>
                              <a:pt x="2216" y="1892"/>
                              <a:pt x="2219" y="1894"/>
                            </a:cubicBezTo>
                            <a:cubicBezTo>
                              <a:pt x="2221" y="1896"/>
                              <a:pt x="2226" y="1897"/>
                              <a:pt x="2230" y="1897"/>
                            </a:cubicBezTo>
                            <a:cubicBezTo>
                              <a:pt x="2235" y="1897"/>
                              <a:pt x="2243" y="1896"/>
                              <a:pt x="2245" y="1899"/>
                            </a:cubicBezTo>
                            <a:cubicBezTo>
                              <a:pt x="2246" y="1903"/>
                              <a:pt x="2245" y="1909"/>
                              <a:pt x="2247" y="1912"/>
                            </a:cubicBezTo>
                            <a:cubicBezTo>
                              <a:pt x="2248" y="1915"/>
                              <a:pt x="2253" y="1919"/>
                              <a:pt x="2260" y="1919"/>
                            </a:cubicBezTo>
                            <a:cubicBezTo>
                              <a:pt x="2267" y="1918"/>
                              <a:pt x="2285" y="1922"/>
                              <a:pt x="2296" y="1922"/>
                            </a:cubicBezTo>
                            <a:cubicBezTo>
                              <a:pt x="2308" y="1921"/>
                              <a:pt x="2320" y="1920"/>
                              <a:pt x="2325" y="1920"/>
                            </a:cubicBezTo>
                            <a:cubicBezTo>
                              <a:pt x="2330" y="1920"/>
                              <a:pt x="2346" y="1929"/>
                              <a:pt x="2352" y="1934"/>
                            </a:cubicBezTo>
                            <a:cubicBezTo>
                              <a:pt x="2359" y="1940"/>
                              <a:pt x="2369" y="1939"/>
                              <a:pt x="2375" y="1945"/>
                            </a:cubicBezTo>
                            <a:cubicBezTo>
                              <a:pt x="2382" y="1952"/>
                              <a:pt x="2384" y="1958"/>
                              <a:pt x="2400" y="1958"/>
                            </a:cubicBezTo>
                            <a:cubicBezTo>
                              <a:pt x="2415" y="1957"/>
                              <a:pt x="2429" y="1958"/>
                              <a:pt x="2437" y="1956"/>
                            </a:cubicBezTo>
                            <a:cubicBezTo>
                              <a:pt x="2445" y="1954"/>
                              <a:pt x="2452" y="1957"/>
                              <a:pt x="2462" y="1953"/>
                            </a:cubicBezTo>
                            <a:cubicBezTo>
                              <a:pt x="2472" y="1949"/>
                              <a:pt x="2502" y="1943"/>
                              <a:pt x="2514" y="1942"/>
                            </a:cubicBezTo>
                            <a:cubicBezTo>
                              <a:pt x="2526" y="1941"/>
                              <a:pt x="2531" y="1941"/>
                              <a:pt x="2539" y="1942"/>
                            </a:cubicBezTo>
                            <a:cubicBezTo>
                              <a:pt x="2548" y="1944"/>
                              <a:pt x="2553" y="1947"/>
                              <a:pt x="2566" y="1949"/>
                            </a:cubicBezTo>
                            <a:cubicBezTo>
                              <a:pt x="2580" y="1951"/>
                              <a:pt x="2582" y="1953"/>
                              <a:pt x="2591" y="1953"/>
                            </a:cubicBezTo>
                            <a:cubicBezTo>
                              <a:pt x="2600" y="1953"/>
                              <a:pt x="2605" y="1950"/>
                              <a:pt x="2608" y="1946"/>
                            </a:cubicBezTo>
                            <a:cubicBezTo>
                              <a:pt x="2612" y="1942"/>
                              <a:pt x="2617" y="1936"/>
                              <a:pt x="2617" y="1934"/>
                            </a:cubicBezTo>
                            <a:cubicBezTo>
                              <a:pt x="2617" y="1932"/>
                              <a:pt x="2614" y="1933"/>
                              <a:pt x="2613" y="1929"/>
                            </a:cubicBezTo>
                            <a:cubicBezTo>
                              <a:pt x="2612" y="1924"/>
                              <a:pt x="2613" y="1920"/>
                              <a:pt x="2619" y="1920"/>
                            </a:cubicBezTo>
                            <a:cubicBezTo>
                              <a:pt x="2625" y="1921"/>
                              <a:pt x="2629" y="1926"/>
                              <a:pt x="2634" y="1934"/>
                            </a:cubicBezTo>
                            <a:cubicBezTo>
                              <a:pt x="2639" y="1943"/>
                              <a:pt x="2646" y="1947"/>
                              <a:pt x="2654" y="1953"/>
                            </a:cubicBezTo>
                            <a:cubicBezTo>
                              <a:pt x="2661" y="1959"/>
                              <a:pt x="2674" y="1966"/>
                              <a:pt x="2686" y="1966"/>
                            </a:cubicBezTo>
                            <a:cubicBezTo>
                              <a:pt x="2699" y="1965"/>
                              <a:pt x="2712" y="1959"/>
                              <a:pt x="2712" y="1954"/>
                            </a:cubicBezTo>
                            <a:cubicBezTo>
                              <a:pt x="2712" y="1949"/>
                              <a:pt x="2710" y="1947"/>
                              <a:pt x="2710" y="1941"/>
                            </a:cubicBezTo>
                            <a:cubicBezTo>
                              <a:pt x="2709" y="1935"/>
                              <a:pt x="2707" y="1932"/>
                              <a:pt x="2705" y="1932"/>
                            </a:cubicBezTo>
                            <a:cubicBezTo>
                              <a:pt x="2703" y="1932"/>
                              <a:pt x="2695" y="1933"/>
                              <a:pt x="2693" y="1930"/>
                            </a:cubicBezTo>
                            <a:cubicBezTo>
                              <a:pt x="2691" y="1927"/>
                              <a:pt x="2687" y="1923"/>
                              <a:pt x="2685" y="1921"/>
                            </a:cubicBezTo>
                            <a:cubicBezTo>
                              <a:pt x="2683" y="1919"/>
                              <a:pt x="2675" y="1918"/>
                              <a:pt x="2672" y="1921"/>
                            </a:cubicBezTo>
                            <a:cubicBezTo>
                              <a:pt x="2669" y="1923"/>
                              <a:pt x="2668" y="1925"/>
                              <a:pt x="2659" y="1926"/>
                            </a:cubicBezTo>
                            <a:cubicBezTo>
                              <a:pt x="2651" y="1927"/>
                              <a:pt x="2647" y="1926"/>
                              <a:pt x="2645" y="1925"/>
                            </a:cubicBezTo>
                            <a:cubicBezTo>
                              <a:pt x="2643" y="1923"/>
                              <a:pt x="2639" y="1922"/>
                              <a:pt x="2639" y="1917"/>
                            </a:cubicBezTo>
                            <a:cubicBezTo>
                              <a:pt x="2638" y="1912"/>
                              <a:pt x="2639" y="1903"/>
                              <a:pt x="2634" y="1900"/>
                            </a:cubicBezTo>
                            <a:cubicBezTo>
                              <a:pt x="2630" y="1898"/>
                              <a:pt x="2623" y="1898"/>
                              <a:pt x="2622" y="1893"/>
                            </a:cubicBezTo>
                            <a:cubicBezTo>
                              <a:pt x="2621" y="1888"/>
                              <a:pt x="2629" y="1891"/>
                              <a:pt x="2637" y="1891"/>
                            </a:cubicBezTo>
                            <a:cubicBezTo>
                              <a:pt x="2646" y="1891"/>
                              <a:pt x="2651" y="1892"/>
                              <a:pt x="2659" y="1889"/>
                            </a:cubicBezTo>
                            <a:cubicBezTo>
                              <a:pt x="2666" y="1886"/>
                              <a:pt x="2670" y="1887"/>
                              <a:pt x="2669" y="1882"/>
                            </a:cubicBezTo>
                            <a:cubicBezTo>
                              <a:pt x="2669" y="1877"/>
                              <a:pt x="2662" y="1872"/>
                              <a:pt x="2666" y="1870"/>
                            </a:cubicBezTo>
                            <a:cubicBezTo>
                              <a:pt x="2669" y="1869"/>
                              <a:pt x="2675" y="1875"/>
                              <a:pt x="2683" y="1877"/>
                            </a:cubicBezTo>
                            <a:cubicBezTo>
                              <a:pt x="2691" y="1879"/>
                              <a:pt x="2694" y="1878"/>
                              <a:pt x="2702" y="1878"/>
                            </a:cubicBezTo>
                            <a:cubicBezTo>
                              <a:pt x="2710" y="1878"/>
                              <a:pt x="2716" y="1881"/>
                              <a:pt x="2716" y="1883"/>
                            </a:cubicBezTo>
                            <a:cubicBezTo>
                              <a:pt x="2716" y="1886"/>
                              <a:pt x="2712" y="1890"/>
                              <a:pt x="2712" y="1893"/>
                            </a:cubicBezTo>
                            <a:cubicBezTo>
                              <a:pt x="2713" y="1897"/>
                              <a:pt x="2717" y="1897"/>
                              <a:pt x="2722" y="1897"/>
                            </a:cubicBezTo>
                            <a:cubicBezTo>
                              <a:pt x="2727" y="1897"/>
                              <a:pt x="2732" y="1895"/>
                              <a:pt x="2736" y="1898"/>
                            </a:cubicBezTo>
                            <a:cubicBezTo>
                              <a:pt x="2740" y="1902"/>
                              <a:pt x="2740" y="1906"/>
                              <a:pt x="2739" y="1909"/>
                            </a:cubicBezTo>
                            <a:cubicBezTo>
                              <a:pt x="2738" y="1911"/>
                              <a:pt x="2731" y="1913"/>
                              <a:pt x="2733" y="1917"/>
                            </a:cubicBezTo>
                            <a:cubicBezTo>
                              <a:pt x="2736" y="1921"/>
                              <a:pt x="2737" y="1922"/>
                              <a:pt x="2743" y="1922"/>
                            </a:cubicBezTo>
                            <a:cubicBezTo>
                              <a:pt x="2748" y="1922"/>
                              <a:pt x="2752" y="1923"/>
                              <a:pt x="2755" y="1918"/>
                            </a:cubicBezTo>
                            <a:cubicBezTo>
                              <a:pt x="2757" y="1912"/>
                              <a:pt x="2768" y="1903"/>
                              <a:pt x="2771" y="1902"/>
                            </a:cubicBezTo>
                            <a:cubicBezTo>
                              <a:pt x="2775" y="1900"/>
                              <a:pt x="2782" y="1900"/>
                              <a:pt x="2781" y="1904"/>
                            </a:cubicBezTo>
                            <a:cubicBezTo>
                              <a:pt x="2780" y="1908"/>
                              <a:pt x="2774" y="1916"/>
                              <a:pt x="2772" y="1921"/>
                            </a:cubicBezTo>
                            <a:cubicBezTo>
                              <a:pt x="2770" y="1926"/>
                              <a:pt x="2765" y="1935"/>
                              <a:pt x="2765" y="1941"/>
                            </a:cubicBezTo>
                            <a:cubicBezTo>
                              <a:pt x="2765" y="1946"/>
                              <a:pt x="2768" y="1951"/>
                              <a:pt x="2763" y="1952"/>
                            </a:cubicBezTo>
                            <a:cubicBezTo>
                              <a:pt x="2759" y="1953"/>
                              <a:pt x="2753" y="1954"/>
                              <a:pt x="2752" y="1959"/>
                            </a:cubicBezTo>
                            <a:cubicBezTo>
                              <a:pt x="2752" y="1965"/>
                              <a:pt x="2749" y="1971"/>
                              <a:pt x="2749" y="1975"/>
                            </a:cubicBezTo>
                            <a:cubicBezTo>
                              <a:pt x="2748" y="1979"/>
                              <a:pt x="2750" y="1982"/>
                              <a:pt x="2754" y="1982"/>
                            </a:cubicBezTo>
                            <a:cubicBezTo>
                              <a:pt x="2758" y="1982"/>
                              <a:pt x="2766" y="1981"/>
                              <a:pt x="2767" y="1983"/>
                            </a:cubicBezTo>
                            <a:cubicBezTo>
                              <a:pt x="2768" y="1986"/>
                              <a:pt x="2762" y="1992"/>
                              <a:pt x="2761" y="1996"/>
                            </a:cubicBezTo>
                            <a:cubicBezTo>
                              <a:pt x="2761" y="2000"/>
                              <a:pt x="2761" y="2002"/>
                              <a:pt x="2764" y="2004"/>
                            </a:cubicBezTo>
                            <a:cubicBezTo>
                              <a:pt x="2767" y="2005"/>
                              <a:pt x="2773" y="2007"/>
                              <a:pt x="2775" y="2005"/>
                            </a:cubicBezTo>
                            <a:cubicBezTo>
                              <a:pt x="2777" y="2002"/>
                              <a:pt x="2783" y="1995"/>
                              <a:pt x="2786" y="1994"/>
                            </a:cubicBezTo>
                            <a:cubicBezTo>
                              <a:pt x="2789" y="1992"/>
                              <a:pt x="2798" y="1988"/>
                              <a:pt x="2799" y="1991"/>
                            </a:cubicBezTo>
                            <a:cubicBezTo>
                              <a:pt x="2799" y="1994"/>
                              <a:pt x="2787" y="2003"/>
                              <a:pt x="2788" y="2006"/>
                            </a:cubicBezTo>
                            <a:cubicBezTo>
                              <a:pt x="2789" y="2009"/>
                              <a:pt x="2794" y="2009"/>
                              <a:pt x="2797" y="2009"/>
                            </a:cubicBezTo>
                            <a:cubicBezTo>
                              <a:pt x="2800" y="2009"/>
                              <a:pt x="2806" y="2008"/>
                              <a:pt x="2808" y="2011"/>
                            </a:cubicBezTo>
                            <a:cubicBezTo>
                              <a:pt x="2810" y="2014"/>
                              <a:pt x="2809" y="2015"/>
                              <a:pt x="2812" y="2018"/>
                            </a:cubicBezTo>
                            <a:cubicBezTo>
                              <a:pt x="2814" y="2022"/>
                              <a:pt x="2818" y="2024"/>
                              <a:pt x="2821" y="2022"/>
                            </a:cubicBezTo>
                            <a:cubicBezTo>
                              <a:pt x="2823" y="2019"/>
                              <a:pt x="2826" y="2011"/>
                              <a:pt x="2825" y="2005"/>
                            </a:cubicBezTo>
                            <a:cubicBezTo>
                              <a:pt x="2825" y="2000"/>
                              <a:pt x="2825" y="1985"/>
                              <a:pt x="2825" y="1979"/>
                            </a:cubicBezTo>
                            <a:cubicBezTo>
                              <a:pt x="2826" y="1974"/>
                              <a:pt x="2818" y="1964"/>
                              <a:pt x="2815" y="1961"/>
                            </a:cubicBezTo>
                            <a:cubicBezTo>
                              <a:pt x="2813" y="1959"/>
                              <a:pt x="2808" y="1956"/>
                              <a:pt x="2806" y="1952"/>
                            </a:cubicBezTo>
                            <a:cubicBezTo>
                              <a:pt x="2804" y="1948"/>
                              <a:pt x="2802" y="1946"/>
                              <a:pt x="2804" y="1939"/>
                            </a:cubicBezTo>
                            <a:cubicBezTo>
                              <a:pt x="2806" y="1933"/>
                              <a:pt x="2811" y="1926"/>
                              <a:pt x="2815" y="1922"/>
                            </a:cubicBezTo>
                            <a:cubicBezTo>
                              <a:pt x="2819" y="1919"/>
                              <a:pt x="2826" y="1918"/>
                              <a:pt x="2833" y="1917"/>
                            </a:cubicBezTo>
                            <a:cubicBezTo>
                              <a:pt x="2840" y="1917"/>
                              <a:pt x="2852" y="1920"/>
                              <a:pt x="2861" y="1916"/>
                            </a:cubicBezTo>
                            <a:cubicBezTo>
                              <a:pt x="2869" y="1911"/>
                              <a:pt x="2877" y="1901"/>
                              <a:pt x="2884" y="1895"/>
                            </a:cubicBezTo>
                            <a:cubicBezTo>
                              <a:pt x="2890" y="1889"/>
                              <a:pt x="2897" y="1885"/>
                              <a:pt x="2904" y="1881"/>
                            </a:cubicBezTo>
                            <a:cubicBezTo>
                              <a:pt x="2911" y="1877"/>
                              <a:pt x="2916" y="1875"/>
                              <a:pt x="2923" y="1871"/>
                            </a:cubicBezTo>
                            <a:cubicBezTo>
                              <a:pt x="2931" y="1866"/>
                              <a:pt x="2943" y="1859"/>
                              <a:pt x="2943" y="1856"/>
                            </a:cubicBezTo>
                            <a:cubicBezTo>
                              <a:pt x="2943" y="1853"/>
                              <a:pt x="2934" y="1859"/>
                              <a:pt x="2930" y="1853"/>
                            </a:cubicBezTo>
                            <a:cubicBezTo>
                              <a:pt x="2925" y="1848"/>
                              <a:pt x="2923" y="1841"/>
                              <a:pt x="2923" y="1838"/>
                            </a:cubicBezTo>
                            <a:cubicBezTo>
                              <a:pt x="2923" y="1835"/>
                              <a:pt x="2924" y="1820"/>
                              <a:pt x="2921" y="1817"/>
                            </a:cubicBezTo>
                            <a:cubicBezTo>
                              <a:pt x="2918" y="1814"/>
                              <a:pt x="2915" y="1817"/>
                              <a:pt x="2912" y="1813"/>
                            </a:cubicBezTo>
                            <a:cubicBezTo>
                              <a:pt x="2910" y="1809"/>
                              <a:pt x="2900" y="1813"/>
                              <a:pt x="2899" y="1816"/>
                            </a:cubicBezTo>
                            <a:cubicBezTo>
                              <a:pt x="2898" y="1819"/>
                              <a:pt x="2896" y="1823"/>
                              <a:pt x="2898" y="1826"/>
                            </a:cubicBezTo>
                            <a:cubicBezTo>
                              <a:pt x="2901" y="1830"/>
                              <a:pt x="2905" y="1832"/>
                              <a:pt x="2902" y="1834"/>
                            </a:cubicBezTo>
                            <a:cubicBezTo>
                              <a:pt x="2900" y="1836"/>
                              <a:pt x="2898" y="1837"/>
                              <a:pt x="2893" y="1838"/>
                            </a:cubicBezTo>
                            <a:cubicBezTo>
                              <a:pt x="2887" y="1839"/>
                              <a:pt x="2869" y="1842"/>
                              <a:pt x="2868" y="1838"/>
                            </a:cubicBezTo>
                            <a:cubicBezTo>
                              <a:pt x="2866" y="1834"/>
                              <a:pt x="2867" y="1827"/>
                              <a:pt x="2868" y="1822"/>
                            </a:cubicBezTo>
                            <a:cubicBezTo>
                              <a:pt x="2869" y="1817"/>
                              <a:pt x="2871" y="1816"/>
                              <a:pt x="2876" y="1810"/>
                            </a:cubicBezTo>
                            <a:cubicBezTo>
                              <a:pt x="2881" y="1805"/>
                              <a:pt x="2885" y="1801"/>
                              <a:pt x="2885" y="1796"/>
                            </a:cubicBezTo>
                            <a:cubicBezTo>
                              <a:pt x="2885" y="1790"/>
                              <a:pt x="2883" y="1785"/>
                              <a:pt x="2887" y="1784"/>
                            </a:cubicBezTo>
                            <a:cubicBezTo>
                              <a:pt x="2891" y="1783"/>
                              <a:pt x="2899" y="1786"/>
                              <a:pt x="2902" y="1788"/>
                            </a:cubicBezTo>
                            <a:cubicBezTo>
                              <a:pt x="2906" y="1791"/>
                              <a:pt x="2902" y="1794"/>
                              <a:pt x="2908" y="1795"/>
                            </a:cubicBezTo>
                            <a:cubicBezTo>
                              <a:pt x="2915" y="1796"/>
                              <a:pt x="2921" y="1793"/>
                              <a:pt x="2928" y="1787"/>
                            </a:cubicBezTo>
                            <a:cubicBezTo>
                              <a:pt x="2935" y="1781"/>
                              <a:pt x="2944" y="1779"/>
                              <a:pt x="2943" y="1775"/>
                            </a:cubicBezTo>
                            <a:cubicBezTo>
                              <a:pt x="2942" y="1772"/>
                              <a:pt x="2939" y="1777"/>
                              <a:pt x="2936" y="1771"/>
                            </a:cubicBezTo>
                            <a:cubicBezTo>
                              <a:pt x="2934" y="1766"/>
                              <a:pt x="2935" y="1765"/>
                              <a:pt x="2935" y="1761"/>
                            </a:cubicBezTo>
                            <a:cubicBezTo>
                              <a:pt x="2934" y="1757"/>
                              <a:pt x="2930" y="1754"/>
                              <a:pt x="2925" y="1755"/>
                            </a:cubicBezTo>
                            <a:cubicBezTo>
                              <a:pt x="2921" y="1755"/>
                              <a:pt x="2915" y="1760"/>
                              <a:pt x="2907" y="1761"/>
                            </a:cubicBezTo>
                            <a:cubicBezTo>
                              <a:pt x="2898" y="1763"/>
                              <a:pt x="2892" y="1765"/>
                              <a:pt x="2888" y="1763"/>
                            </a:cubicBezTo>
                            <a:cubicBezTo>
                              <a:pt x="2883" y="1761"/>
                              <a:pt x="2872" y="1740"/>
                              <a:pt x="2868" y="1738"/>
                            </a:cubicBezTo>
                            <a:cubicBezTo>
                              <a:pt x="2864" y="1735"/>
                              <a:pt x="2862" y="1739"/>
                              <a:pt x="2856" y="1739"/>
                            </a:cubicBezTo>
                            <a:cubicBezTo>
                              <a:pt x="2849" y="1740"/>
                              <a:pt x="2834" y="1744"/>
                              <a:pt x="2829" y="1741"/>
                            </a:cubicBezTo>
                            <a:cubicBezTo>
                              <a:pt x="2825" y="1738"/>
                              <a:pt x="2813" y="1730"/>
                              <a:pt x="2808" y="1728"/>
                            </a:cubicBezTo>
                            <a:cubicBezTo>
                              <a:pt x="2803" y="1726"/>
                              <a:pt x="2790" y="1727"/>
                              <a:pt x="2784" y="1725"/>
                            </a:cubicBezTo>
                            <a:cubicBezTo>
                              <a:pt x="2778" y="1724"/>
                              <a:pt x="2772" y="1722"/>
                              <a:pt x="2772" y="1719"/>
                            </a:cubicBezTo>
                            <a:cubicBezTo>
                              <a:pt x="2772" y="1716"/>
                              <a:pt x="2775" y="1711"/>
                              <a:pt x="2772" y="1708"/>
                            </a:cubicBezTo>
                            <a:cubicBezTo>
                              <a:pt x="2770" y="1706"/>
                              <a:pt x="2760" y="1701"/>
                              <a:pt x="2758" y="1699"/>
                            </a:cubicBezTo>
                            <a:cubicBezTo>
                              <a:pt x="2756" y="1696"/>
                              <a:pt x="2750" y="1688"/>
                              <a:pt x="2750" y="1683"/>
                            </a:cubicBezTo>
                            <a:cubicBezTo>
                              <a:pt x="2750" y="1677"/>
                              <a:pt x="2750" y="1673"/>
                              <a:pt x="2752" y="1668"/>
                            </a:cubicBezTo>
                            <a:cubicBezTo>
                              <a:pt x="2754" y="1663"/>
                              <a:pt x="2758" y="1658"/>
                              <a:pt x="2761" y="1654"/>
                            </a:cubicBezTo>
                            <a:cubicBezTo>
                              <a:pt x="2765" y="1651"/>
                              <a:pt x="2768" y="1646"/>
                              <a:pt x="2773" y="1642"/>
                            </a:cubicBezTo>
                            <a:cubicBezTo>
                              <a:pt x="2779" y="1638"/>
                              <a:pt x="2784" y="1634"/>
                              <a:pt x="2787" y="1630"/>
                            </a:cubicBezTo>
                            <a:cubicBezTo>
                              <a:pt x="2790" y="1627"/>
                              <a:pt x="2789" y="1623"/>
                              <a:pt x="2787" y="1624"/>
                            </a:cubicBezTo>
                            <a:cubicBezTo>
                              <a:pt x="2785" y="1624"/>
                              <a:pt x="2775" y="1632"/>
                              <a:pt x="2770" y="1632"/>
                            </a:cubicBezTo>
                            <a:cubicBezTo>
                              <a:pt x="2765" y="1632"/>
                              <a:pt x="2757" y="1627"/>
                              <a:pt x="2756" y="1625"/>
                            </a:cubicBezTo>
                            <a:cubicBezTo>
                              <a:pt x="2754" y="1623"/>
                              <a:pt x="2749" y="1617"/>
                              <a:pt x="2748" y="1613"/>
                            </a:cubicBezTo>
                            <a:cubicBezTo>
                              <a:pt x="2747" y="1609"/>
                              <a:pt x="2750" y="1603"/>
                              <a:pt x="2753" y="1600"/>
                            </a:cubicBezTo>
                            <a:cubicBezTo>
                              <a:pt x="2755" y="1596"/>
                              <a:pt x="2759" y="1589"/>
                              <a:pt x="2759" y="1587"/>
                            </a:cubicBezTo>
                            <a:cubicBezTo>
                              <a:pt x="2760" y="1584"/>
                              <a:pt x="2759" y="1584"/>
                              <a:pt x="2757" y="1582"/>
                            </a:cubicBezTo>
                            <a:cubicBezTo>
                              <a:pt x="2755" y="1579"/>
                              <a:pt x="2753" y="1579"/>
                              <a:pt x="2753" y="1575"/>
                            </a:cubicBezTo>
                            <a:cubicBezTo>
                              <a:pt x="2754" y="1571"/>
                              <a:pt x="2755" y="1570"/>
                              <a:pt x="2754" y="1567"/>
                            </a:cubicBezTo>
                            <a:cubicBezTo>
                              <a:pt x="2753" y="1563"/>
                              <a:pt x="2752" y="1561"/>
                              <a:pt x="2755" y="1559"/>
                            </a:cubicBezTo>
                            <a:cubicBezTo>
                              <a:pt x="2758" y="1556"/>
                              <a:pt x="2762" y="1554"/>
                              <a:pt x="2765" y="1553"/>
                            </a:cubicBezTo>
                            <a:cubicBezTo>
                              <a:pt x="2767" y="1552"/>
                              <a:pt x="2766" y="1550"/>
                              <a:pt x="2771" y="1551"/>
                            </a:cubicBezTo>
                            <a:cubicBezTo>
                              <a:pt x="2776" y="1552"/>
                              <a:pt x="2783" y="1554"/>
                              <a:pt x="2786" y="1557"/>
                            </a:cubicBezTo>
                            <a:cubicBezTo>
                              <a:pt x="2790" y="1560"/>
                              <a:pt x="2793" y="1563"/>
                              <a:pt x="2798" y="1564"/>
                            </a:cubicBezTo>
                            <a:cubicBezTo>
                              <a:pt x="2804" y="1564"/>
                              <a:pt x="2812" y="1559"/>
                              <a:pt x="2814" y="1556"/>
                            </a:cubicBezTo>
                            <a:cubicBezTo>
                              <a:pt x="2815" y="1553"/>
                              <a:pt x="2813" y="1548"/>
                              <a:pt x="2814" y="1544"/>
                            </a:cubicBezTo>
                            <a:cubicBezTo>
                              <a:pt x="2816" y="1541"/>
                              <a:pt x="2818" y="1539"/>
                              <a:pt x="2819" y="1537"/>
                            </a:cubicBezTo>
                            <a:cubicBezTo>
                              <a:pt x="2819" y="1534"/>
                              <a:pt x="2814" y="1532"/>
                              <a:pt x="2812" y="1533"/>
                            </a:cubicBezTo>
                            <a:cubicBezTo>
                              <a:pt x="2810" y="1533"/>
                              <a:pt x="2805" y="1533"/>
                              <a:pt x="2800" y="1533"/>
                            </a:cubicBezTo>
                            <a:cubicBezTo>
                              <a:pt x="2794" y="1534"/>
                              <a:pt x="2789" y="1533"/>
                              <a:pt x="2789" y="1530"/>
                            </a:cubicBezTo>
                            <a:cubicBezTo>
                              <a:pt x="2789" y="1528"/>
                              <a:pt x="2790" y="1525"/>
                              <a:pt x="2793" y="1523"/>
                            </a:cubicBezTo>
                            <a:cubicBezTo>
                              <a:pt x="2797" y="1521"/>
                              <a:pt x="2800" y="1521"/>
                              <a:pt x="2807" y="1519"/>
                            </a:cubicBezTo>
                            <a:cubicBezTo>
                              <a:pt x="2815" y="1517"/>
                              <a:pt x="2820" y="1515"/>
                              <a:pt x="2823" y="1513"/>
                            </a:cubicBezTo>
                            <a:cubicBezTo>
                              <a:pt x="2826" y="1510"/>
                              <a:pt x="2827" y="1508"/>
                              <a:pt x="2830" y="1505"/>
                            </a:cubicBezTo>
                            <a:cubicBezTo>
                              <a:pt x="2832" y="1502"/>
                              <a:pt x="2834" y="1501"/>
                              <a:pt x="2839" y="1500"/>
                            </a:cubicBezTo>
                            <a:cubicBezTo>
                              <a:pt x="2845" y="1500"/>
                              <a:pt x="2850" y="1500"/>
                              <a:pt x="2855" y="1500"/>
                            </a:cubicBezTo>
                            <a:cubicBezTo>
                              <a:pt x="2860" y="1500"/>
                              <a:pt x="2859" y="1501"/>
                              <a:pt x="2863" y="1504"/>
                            </a:cubicBezTo>
                            <a:cubicBezTo>
                              <a:pt x="2866" y="1507"/>
                              <a:pt x="2868" y="1505"/>
                              <a:pt x="2871" y="1507"/>
                            </a:cubicBezTo>
                            <a:cubicBezTo>
                              <a:pt x="2874" y="1508"/>
                              <a:pt x="2873" y="1510"/>
                              <a:pt x="2875" y="1512"/>
                            </a:cubicBezTo>
                            <a:cubicBezTo>
                              <a:pt x="2878" y="1515"/>
                              <a:pt x="2880" y="1517"/>
                              <a:pt x="2884" y="1515"/>
                            </a:cubicBezTo>
                            <a:cubicBezTo>
                              <a:pt x="2888" y="1514"/>
                              <a:pt x="2890" y="1509"/>
                              <a:pt x="2894" y="1508"/>
                            </a:cubicBezTo>
                            <a:cubicBezTo>
                              <a:pt x="2898" y="1507"/>
                              <a:pt x="2904" y="1507"/>
                              <a:pt x="2908" y="1507"/>
                            </a:cubicBezTo>
                            <a:cubicBezTo>
                              <a:pt x="2911" y="1507"/>
                              <a:pt x="2914" y="1505"/>
                              <a:pt x="2916" y="1508"/>
                            </a:cubicBezTo>
                            <a:cubicBezTo>
                              <a:pt x="2918" y="1512"/>
                              <a:pt x="2917" y="1514"/>
                              <a:pt x="2918" y="1518"/>
                            </a:cubicBezTo>
                            <a:cubicBezTo>
                              <a:pt x="2920" y="1523"/>
                              <a:pt x="2922" y="1520"/>
                              <a:pt x="2926" y="1524"/>
                            </a:cubicBezTo>
                            <a:cubicBezTo>
                              <a:pt x="2931" y="1529"/>
                              <a:pt x="2932" y="1531"/>
                              <a:pt x="2937" y="1535"/>
                            </a:cubicBezTo>
                            <a:cubicBezTo>
                              <a:pt x="2941" y="1539"/>
                              <a:pt x="2946" y="1543"/>
                              <a:pt x="2951" y="1547"/>
                            </a:cubicBezTo>
                            <a:cubicBezTo>
                              <a:pt x="2957" y="1551"/>
                              <a:pt x="2957" y="1549"/>
                              <a:pt x="2961" y="1554"/>
                            </a:cubicBezTo>
                            <a:cubicBezTo>
                              <a:pt x="2964" y="1559"/>
                              <a:pt x="2964" y="1559"/>
                              <a:pt x="2965" y="1565"/>
                            </a:cubicBezTo>
                            <a:cubicBezTo>
                              <a:pt x="2966" y="1572"/>
                              <a:pt x="2966" y="1577"/>
                              <a:pt x="2966" y="1583"/>
                            </a:cubicBezTo>
                            <a:cubicBezTo>
                              <a:pt x="2966" y="1589"/>
                              <a:pt x="2965" y="1592"/>
                              <a:pt x="2964" y="1597"/>
                            </a:cubicBezTo>
                            <a:cubicBezTo>
                              <a:pt x="2964" y="1601"/>
                              <a:pt x="2962" y="1604"/>
                              <a:pt x="2962" y="1606"/>
                            </a:cubicBezTo>
                            <a:cubicBezTo>
                              <a:pt x="2962" y="1608"/>
                              <a:pt x="2959" y="1608"/>
                              <a:pt x="2965" y="1612"/>
                            </a:cubicBezTo>
                            <a:cubicBezTo>
                              <a:pt x="2971" y="1616"/>
                              <a:pt x="2974" y="1613"/>
                              <a:pt x="2980" y="1618"/>
                            </a:cubicBezTo>
                            <a:cubicBezTo>
                              <a:pt x="2986" y="1623"/>
                              <a:pt x="2985" y="1626"/>
                              <a:pt x="2989" y="1628"/>
                            </a:cubicBezTo>
                            <a:cubicBezTo>
                              <a:pt x="2992" y="1631"/>
                              <a:pt x="2993" y="1631"/>
                              <a:pt x="2997" y="1633"/>
                            </a:cubicBezTo>
                            <a:cubicBezTo>
                              <a:pt x="3002" y="1635"/>
                              <a:pt x="3005" y="1634"/>
                              <a:pt x="3009" y="1638"/>
                            </a:cubicBezTo>
                            <a:cubicBezTo>
                              <a:pt x="3012" y="1642"/>
                              <a:pt x="3015" y="1642"/>
                              <a:pt x="3017" y="1647"/>
                            </a:cubicBezTo>
                            <a:cubicBezTo>
                              <a:pt x="3019" y="1653"/>
                              <a:pt x="3018" y="1655"/>
                              <a:pt x="3021" y="1660"/>
                            </a:cubicBezTo>
                            <a:cubicBezTo>
                              <a:pt x="3024" y="1664"/>
                              <a:pt x="3025" y="1670"/>
                              <a:pt x="3028" y="1672"/>
                            </a:cubicBezTo>
                            <a:cubicBezTo>
                              <a:pt x="3031" y="1673"/>
                              <a:pt x="3035" y="1669"/>
                              <a:pt x="3036" y="1668"/>
                            </a:cubicBezTo>
                            <a:cubicBezTo>
                              <a:pt x="3037" y="1666"/>
                              <a:pt x="3041" y="1667"/>
                              <a:pt x="3043" y="1669"/>
                            </a:cubicBezTo>
                            <a:cubicBezTo>
                              <a:pt x="3044" y="1672"/>
                              <a:pt x="3046" y="1683"/>
                              <a:pt x="3044" y="1686"/>
                            </a:cubicBezTo>
                            <a:cubicBezTo>
                              <a:pt x="3042" y="1689"/>
                              <a:pt x="3033" y="1690"/>
                              <a:pt x="3029" y="1689"/>
                            </a:cubicBezTo>
                            <a:cubicBezTo>
                              <a:pt x="3024" y="1687"/>
                              <a:pt x="3019" y="1686"/>
                              <a:pt x="3017" y="1683"/>
                            </a:cubicBezTo>
                            <a:cubicBezTo>
                              <a:pt x="3014" y="1679"/>
                              <a:pt x="3006" y="1675"/>
                              <a:pt x="3004" y="1676"/>
                            </a:cubicBezTo>
                            <a:cubicBezTo>
                              <a:pt x="3002" y="1676"/>
                              <a:pt x="2997" y="1678"/>
                              <a:pt x="2994" y="1682"/>
                            </a:cubicBezTo>
                            <a:cubicBezTo>
                              <a:pt x="2991" y="1687"/>
                              <a:pt x="2987" y="1692"/>
                              <a:pt x="2988" y="1695"/>
                            </a:cubicBezTo>
                            <a:cubicBezTo>
                              <a:pt x="2989" y="1699"/>
                              <a:pt x="2988" y="1701"/>
                              <a:pt x="2993" y="1700"/>
                            </a:cubicBezTo>
                            <a:cubicBezTo>
                              <a:pt x="2999" y="1699"/>
                              <a:pt x="3003" y="1698"/>
                              <a:pt x="3008" y="1698"/>
                            </a:cubicBezTo>
                            <a:cubicBezTo>
                              <a:pt x="3013" y="1698"/>
                              <a:pt x="3014" y="1694"/>
                              <a:pt x="3018" y="1698"/>
                            </a:cubicBezTo>
                            <a:cubicBezTo>
                              <a:pt x="3023" y="1702"/>
                              <a:pt x="3020" y="1705"/>
                              <a:pt x="3018" y="1706"/>
                            </a:cubicBezTo>
                            <a:cubicBezTo>
                              <a:pt x="3016" y="1708"/>
                              <a:pt x="3006" y="1711"/>
                              <a:pt x="3004" y="1713"/>
                            </a:cubicBezTo>
                            <a:cubicBezTo>
                              <a:pt x="3002" y="1715"/>
                              <a:pt x="2991" y="1721"/>
                              <a:pt x="2990" y="1722"/>
                            </a:cubicBezTo>
                            <a:cubicBezTo>
                              <a:pt x="2988" y="1723"/>
                              <a:pt x="2983" y="1726"/>
                              <a:pt x="2979" y="1729"/>
                            </a:cubicBezTo>
                            <a:cubicBezTo>
                              <a:pt x="2974" y="1732"/>
                              <a:pt x="2967" y="1736"/>
                              <a:pt x="2967" y="1738"/>
                            </a:cubicBezTo>
                            <a:cubicBezTo>
                              <a:pt x="2967" y="1740"/>
                              <a:pt x="2969" y="1743"/>
                              <a:pt x="2972" y="1743"/>
                            </a:cubicBezTo>
                            <a:cubicBezTo>
                              <a:pt x="2975" y="1743"/>
                              <a:pt x="2987" y="1742"/>
                              <a:pt x="2991" y="1741"/>
                            </a:cubicBezTo>
                            <a:cubicBezTo>
                              <a:pt x="2995" y="1739"/>
                              <a:pt x="3001" y="1740"/>
                              <a:pt x="3004" y="1741"/>
                            </a:cubicBezTo>
                            <a:cubicBezTo>
                              <a:pt x="3007" y="1742"/>
                              <a:pt x="3015" y="1745"/>
                              <a:pt x="3018" y="1748"/>
                            </a:cubicBezTo>
                            <a:cubicBezTo>
                              <a:pt x="3022" y="1751"/>
                              <a:pt x="3025" y="1754"/>
                              <a:pt x="3030" y="1756"/>
                            </a:cubicBezTo>
                            <a:cubicBezTo>
                              <a:pt x="3036" y="1758"/>
                              <a:pt x="3037" y="1759"/>
                              <a:pt x="3039" y="1758"/>
                            </a:cubicBezTo>
                            <a:cubicBezTo>
                              <a:pt x="3042" y="1757"/>
                              <a:pt x="3045" y="1758"/>
                              <a:pt x="3047" y="1755"/>
                            </a:cubicBezTo>
                            <a:cubicBezTo>
                              <a:pt x="3049" y="1752"/>
                              <a:pt x="3050" y="1751"/>
                              <a:pt x="3052" y="1748"/>
                            </a:cubicBezTo>
                            <a:cubicBezTo>
                              <a:pt x="3054" y="1746"/>
                              <a:pt x="3058" y="1744"/>
                              <a:pt x="3061" y="1743"/>
                            </a:cubicBezTo>
                            <a:cubicBezTo>
                              <a:pt x="3065" y="1742"/>
                              <a:pt x="3068" y="1742"/>
                              <a:pt x="3068" y="1744"/>
                            </a:cubicBezTo>
                            <a:cubicBezTo>
                              <a:pt x="3068" y="1746"/>
                              <a:pt x="3068" y="1748"/>
                              <a:pt x="3063" y="1750"/>
                            </a:cubicBezTo>
                            <a:cubicBezTo>
                              <a:pt x="3059" y="1752"/>
                              <a:pt x="3054" y="1754"/>
                              <a:pt x="3055" y="1757"/>
                            </a:cubicBezTo>
                            <a:cubicBezTo>
                              <a:pt x="3055" y="1759"/>
                              <a:pt x="3056" y="1760"/>
                              <a:pt x="3059" y="1759"/>
                            </a:cubicBezTo>
                            <a:cubicBezTo>
                              <a:pt x="3063" y="1758"/>
                              <a:pt x="3065" y="1756"/>
                              <a:pt x="3068" y="1756"/>
                            </a:cubicBezTo>
                            <a:cubicBezTo>
                              <a:pt x="3070" y="1755"/>
                              <a:pt x="3076" y="1754"/>
                              <a:pt x="3079" y="1756"/>
                            </a:cubicBezTo>
                            <a:cubicBezTo>
                              <a:pt x="3082" y="1757"/>
                              <a:pt x="3083" y="1758"/>
                              <a:pt x="3088" y="1760"/>
                            </a:cubicBezTo>
                            <a:cubicBezTo>
                              <a:pt x="3092" y="1762"/>
                              <a:pt x="3095" y="1762"/>
                              <a:pt x="3098" y="1762"/>
                            </a:cubicBezTo>
                            <a:cubicBezTo>
                              <a:pt x="3101" y="1762"/>
                              <a:pt x="3105" y="1767"/>
                              <a:pt x="3104" y="1770"/>
                            </a:cubicBezTo>
                            <a:cubicBezTo>
                              <a:pt x="3103" y="1773"/>
                              <a:pt x="3099" y="1780"/>
                              <a:pt x="3097" y="1782"/>
                            </a:cubicBezTo>
                            <a:cubicBezTo>
                              <a:pt x="3094" y="1783"/>
                              <a:pt x="3091" y="1785"/>
                              <a:pt x="3090" y="1782"/>
                            </a:cubicBezTo>
                            <a:cubicBezTo>
                              <a:pt x="3090" y="1779"/>
                              <a:pt x="3093" y="1775"/>
                              <a:pt x="3091" y="1774"/>
                            </a:cubicBezTo>
                            <a:cubicBezTo>
                              <a:pt x="3088" y="1773"/>
                              <a:pt x="3086" y="1773"/>
                              <a:pt x="3084" y="1775"/>
                            </a:cubicBezTo>
                            <a:cubicBezTo>
                              <a:pt x="3082" y="1777"/>
                              <a:pt x="3081" y="1779"/>
                              <a:pt x="3078" y="1779"/>
                            </a:cubicBezTo>
                            <a:cubicBezTo>
                              <a:pt x="3075" y="1778"/>
                              <a:pt x="3074" y="1779"/>
                              <a:pt x="3072" y="1777"/>
                            </a:cubicBezTo>
                            <a:cubicBezTo>
                              <a:pt x="3070" y="1775"/>
                              <a:pt x="3068" y="1774"/>
                              <a:pt x="3066" y="1774"/>
                            </a:cubicBezTo>
                            <a:cubicBezTo>
                              <a:pt x="3064" y="1774"/>
                              <a:pt x="3061" y="1772"/>
                              <a:pt x="3061" y="1775"/>
                            </a:cubicBezTo>
                            <a:cubicBezTo>
                              <a:pt x="3060" y="1778"/>
                              <a:pt x="3061" y="1781"/>
                              <a:pt x="3066" y="1784"/>
                            </a:cubicBezTo>
                            <a:cubicBezTo>
                              <a:pt x="3071" y="1787"/>
                              <a:pt x="3075" y="1788"/>
                              <a:pt x="3080" y="1791"/>
                            </a:cubicBezTo>
                            <a:cubicBezTo>
                              <a:pt x="3084" y="1794"/>
                              <a:pt x="3093" y="1799"/>
                              <a:pt x="3095" y="1800"/>
                            </a:cubicBezTo>
                            <a:cubicBezTo>
                              <a:pt x="3097" y="1802"/>
                              <a:pt x="3103" y="1799"/>
                              <a:pt x="3112" y="1810"/>
                            </a:cubicBezTo>
                            <a:cubicBezTo>
                              <a:pt x="3121" y="1821"/>
                              <a:pt x="3120" y="1826"/>
                              <a:pt x="3117" y="1829"/>
                            </a:cubicBezTo>
                            <a:cubicBezTo>
                              <a:pt x="3115" y="1831"/>
                              <a:pt x="3111" y="1831"/>
                              <a:pt x="3112" y="1835"/>
                            </a:cubicBezTo>
                            <a:cubicBezTo>
                              <a:pt x="3113" y="1838"/>
                              <a:pt x="3116" y="1836"/>
                              <a:pt x="3117" y="1842"/>
                            </a:cubicBezTo>
                            <a:cubicBezTo>
                              <a:pt x="3118" y="1849"/>
                              <a:pt x="3118" y="1853"/>
                              <a:pt x="3118" y="1856"/>
                            </a:cubicBezTo>
                            <a:cubicBezTo>
                              <a:pt x="3117" y="1860"/>
                              <a:pt x="3117" y="1863"/>
                              <a:pt x="3117" y="1866"/>
                            </a:cubicBezTo>
                            <a:cubicBezTo>
                              <a:pt x="3116" y="1868"/>
                              <a:pt x="3112" y="1868"/>
                              <a:pt x="3112" y="1872"/>
                            </a:cubicBezTo>
                            <a:cubicBezTo>
                              <a:pt x="3113" y="1876"/>
                              <a:pt x="3118" y="1881"/>
                              <a:pt x="3121" y="1885"/>
                            </a:cubicBezTo>
                            <a:cubicBezTo>
                              <a:pt x="3125" y="1888"/>
                              <a:pt x="3129" y="1894"/>
                              <a:pt x="3133" y="1895"/>
                            </a:cubicBezTo>
                            <a:cubicBezTo>
                              <a:pt x="3137" y="1896"/>
                              <a:pt x="3143" y="1893"/>
                              <a:pt x="3145" y="1890"/>
                            </a:cubicBezTo>
                            <a:cubicBezTo>
                              <a:pt x="3146" y="1887"/>
                              <a:pt x="3150" y="1878"/>
                              <a:pt x="3153" y="1877"/>
                            </a:cubicBezTo>
                            <a:cubicBezTo>
                              <a:pt x="3156" y="1875"/>
                              <a:pt x="3159" y="1871"/>
                              <a:pt x="3159" y="1868"/>
                            </a:cubicBezTo>
                            <a:cubicBezTo>
                              <a:pt x="3159" y="1865"/>
                              <a:pt x="3158" y="1862"/>
                              <a:pt x="3160" y="1859"/>
                            </a:cubicBezTo>
                            <a:cubicBezTo>
                              <a:pt x="3162" y="1856"/>
                              <a:pt x="3168" y="1854"/>
                              <a:pt x="3170" y="1852"/>
                            </a:cubicBezTo>
                            <a:cubicBezTo>
                              <a:pt x="3172" y="1850"/>
                              <a:pt x="3172" y="1844"/>
                              <a:pt x="3172" y="1841"/>
                            </a:cubicBezTo>
                            <a:cubicBezTo>
                              <a:pt x="3171" y="1838"/>
                              <a:pt x="3171" y="1830"/>
                              <a:pt x="3171" y="1825"/>
                            </a:cubicBezTo>
                            <a:cubicBezTo>
                              <a:pt x="3170" y="1820"/>
                              <a:pt x="3171" y="1816"/>
                              <a:pt x="3175" y="1811"/>
                            </a:cubicBezTo>
                            <a:cubicBezTo>
                              <a:pt x="3178" y="1807"/>
                              <a:pt x="3179" y="1805"/>
                              <a:pt x="3185" y="1798"/>
                            </a:cubicBezTo>
                            <a:cubicBezTo>
                              <a:pt x="3190" y="1792"/>
                              <a:pt x="3192" y="1792"/>
                              <a:pt x="3199" y="1791"/>
                            </a:cubicBezTo>
                            <a:cubicBezTo>
                              <a:pt x="3206" y="1790"/>
                              <a:pt x="3206" y="1785"/>
                              <a:pt x="3214" y="1789"/>
                            </a:cubicBezTo>
                            <a:cubicBezTo>
                              <a:pt x="3222" y="1793"/>
                              <a:pt x="3226" y="1804"/>
                              <a:pt x="3237" y="1811"/>
                            </a:cubicBezTo>
                            <a:cubicBezTo>
                              <a:pt x="3247" y="1818"/>
                              <a:pt x="3248" y="1817"/>
                              <a:pt x="3257" y="1825"/>
                            </a:cubicBezTo>
                            <a:cubicBezTo>
                              <a:pt x="3266" y="1834"/>
                              <a:pt x="3267" y="1831"/>
                              <a:pt x="3273" y="1841"/>
                            </a:cubicBezTo>
                            <a:cubicBezTo>
                              <a:pt x="3278" y="1850"/>
                              <a:pt x="3277" y="1852"/>
                              <a:pt x="3279" y="1860"/>
                            </a:cubicBezTo>
                            <a:cubicBezTo>
                              <a:pt x="3281" y="1868"/>
                              <a:pt x="3281" y="1871"/>
                              <a:pt x="3284" y="1877"/>
                            </a:cubicBezTo>
                            <a:cubicBezTo>
                              <a:pt x="3286" y="1883"/>
                              <a:pt x="3280" y="1890"/>
                              <a:pt x="3277" y="1891"/>
                            </a:cubicBezTo>
                            <a:cubicBezTo>
                              <a:pt x="3274" y="1892"/>
                              <a:pt x="3270" y="1894"/>
                              <a:pt x="3268" y="1891"/>
                            </a:cubicBezTo>
                            <a:cubicBezTo>
                              <a:pt x="3267" y="1889"/>
                              <a:pt x="3269" y="1885"/>
                              <a:pt x="3266" y="1882"/>
                            </a:cubicBezTo>
                            <a:cubicBezTo>
                              <a:pt x="3262" y="1879"/>
                              <a:pt x="3260" y="1880"/>
                              <a:pt x="3257" y="1882"/>
                            </a:cubicBezTo>
                            <a:cubicBezTo>
                              <a:pt x="3253" y="1884"/>
                              <a:pt x="3249" y="1886"/>
                              <a:pt x="3249" y="1889"/>
                            </a:cubicBezTo>
                            <a:cubicBezTo>
                              <a:pt x="3249" y="1893"/>
                              <a:pt x="3249" y="1896"/>
                              <a:pt x="3251" y="1899"/>
                            </a:cubicBezTo>
                            <a:cubicBezTo>
                              <a:pt x="3252" y="1902"/>
                              <a:pt x="3254" y="1905"/>
                              <a:pt x="3253" y="1909"/>
                            </a:cubicBezTo>
                            <a:cubicBezTo>
                              <a:pt x="3252" y="1913"/>
                              <a:pt x="3251" y="1915"/>
                              <a:pt x="3250" y="1918"/>
                            </a:cubicBezTo>
                            <a:cubicBezTo>
                              <a:pt x="3249" y="1921"/>
                              <a:pt x="3249" y="1927"/>
                              <a:pt x="3250" y="1930"/>
                            </a:cubicBezTo>
                            <a:cubicBezTo>
                              <a:pt x="3251" y="1933"/>
                              <a:pt x="3253" y="1937"/>
                              <a:pt x="3255" y="1940"/>
                            </a:cubicBezTo>
                            <a:cubicBezTo>
                              <a:pt x="3257" y="1943"/>
                              <a:pt x="3257" y="1947"/>
                              <a:pt x="3262" y="1954"/>
                            </a:cubicBezTo>
                            <a:cubicBezTo>
                              <a:pt x="3267" y="1961"/>
                              <a:pt x="3269" y="1961"/>
                              <a:pt x="3277" y="1967"/>
                            </a:cubicBezTo>
                            <a:cubicBezTo>
                              <a:pt x="3286" y="1973"/>
                              <a:pt x="3289" y="1975"/>
                              <a:pt x="3295" y="1979"/>
                            </a:cubicBezTo>
                            <a:cubicBezTo>
                              <a:pt x="3300" y="1984"/>
                              <a:pt x="3307" y="1990"/>
                              <a:pt x="3308" y="1996"/>
                            </a:cubicBezTo>
                            <a:cubicBezTo>
                              <a:pt x="3310" y="2002"/>
                              <a:pt x="3309" y="2009"/>
                              <a:pt x="3313" y="2014"/>
                            </a:cubicBezTo>
                            <a:cubicBezTo>
                              <a:pt x="3316" y="2018"/>
                              <a:pt x="3321" y="2014"/>
                              <a:pt x="3322" y="2011"/>
                            </a:cubicBezTo>
                            <a:cubicBezTo>
                              <a:pt x="3324" y="2007"/>
                              <a:pt x="3324" y="2007"/>
                              <a:pt x="3330" y="2006"/>
                            </a:cubicBezTo>
                            <a:cubicBezTo>
                              <a:pt x="3337" y="2005"/>
                              <a:pt x="3338" y="2003"/>
                              <a:pt x="3338" y="1998"/>
                            </a:cubicBezTo>
                            <a:cubicBezTo>
                              <a:pt x="3338" y="1992"/>
                              <a:pt x="3336" y="1991"/>
                              <a:pt x="3340" y="1989"/>
                            </a:cubicBezTo>
                            <a:cubicBezTo>
                              <a:pt x="3344" y="1987"/>
                              <a:pt x="3347" y="1983"/>
                              <a:pt x="3352" y="1987"/>
                            </a:cubicBezTo>
                            <a:cubicBezTo>
                              <a:pt x="3357" y="1991"/>
                              <a:pt x="3361" y="1992"/>
                              <a:pt x="3364" y="1990"/>
                            </a:cubicBezTo>
                            <a:cubicBezTo>
                              <a:pt x="3368" y="1987"/>
                              <a:pt x="3370" y="1986"/>
                              <a:pt x="3370" y="1982"/>
                            </a:cubicBezTo>
                            <a:cubicBezTo>
                              <a:pt x="3369" y="1977"/>
                              <a:pt x="3365" y="1968"/>
                              <a:pt x="3367" y="1961"/>
                            </a:cubicBezTo>
                            <a:cubicBezTo>
                              <a:pt x="3369" y="1954"/>
                              <a:pt x="3368" y="1953"/>
                              <a:pt x="3374" y="1948"/>
                            </a:cubicBezTo>
                            <a:cubicBezTo>
                              <a:pt x="3380" y="1943"/>
                              <a:pt x="3378" y="1941"/>
                              <a:pt x="3382" y="1936"/>
                            </a:cubicBezTo>
                            <a:cubicBezTo>
                              <a:pt x="3386" y="1931"/>
                              <a:pt x="3383" y="1935"/>
                              <a:pt x="3390" y="1928"/>
                            </a:cubicBezTo>
                            <a:cubicBezTo>
                              <a:pt x="3397" y="1922"/>
                              <a:pt x="3403" y="1920"/>
                              <a:pt x="3405" y="1918"/>
                            </a:cubicBezTo>
                            <a:cubicBezTo>
                              <a:pt x="3408" y="1917"/>
                              <a:pt x="3408" y="1913"/>
                              <a:pt x="3409" y="1906"/>
                            </a:cubicBezTo>
                            <a:cubicBezTo>
                              <a:pt x="3410" y="1899"/>
                              <a:pt x="3411" y="1896"/>
                              <a:pt x="3412" y="1891"/>
                            </a:cubicBezTo>
                            <a:cubicBezTo>
                              <a:pt x="3413" y="1886"/>
                              <a:pt x="3415" y="1890"/>
                              <a:pt x="3418" y="1880"/>
                            </a:cubicBezTo>
                            <a:cubicBezTo>
                              <a:pt x="3421" y="1871"/>
                              <a:pt x="3417" y="1865"/>
                              <a:pt x="3417" y="1859"/>
                            </a:cubicBezTo>
                            <a:cubicBezTo>
                              <a:pt x="3417" y="1853"/>
                              <a:pt x="3416" y="1849"/>
                              <a:pt x="3421" y="1845"/>
                            </a:cubicBezTo>
                            <a:cubicBezTo>
                              <a:pt x="3426" y="1842"/>
                              <a:pt x="3432" y="1841"/>
                              <a:pt x="3439" y="1845"/>
                            </a:cubicBezTo>
                            <a:cubicBezTo>
                              <a:pt x="3446" y="1849"/>
                              <a:pt x="3450" y="1844"/>
                              <a:pt x="3454" y="1843"/>
                            </a:cubicBezTo>
                            <a:cubicBezTo>
                              <a:pt x="3458" y="1843"/>
                              <a:pt x="3457" y="1843"/>
                              <a:pt x="3464" y="1843"/>
                            </a:cubicBezTo>
                            <a:cubicBezTo>
                              <a:pt x="3472" y="1844"/>
                              <a:pt x="3475" y="1845"/>
                              <a:pt x="3475" y="1841"/>
                            </a:cubicBezTo>
                            <a:cubicBezTo>
                              <a:pt x="3475" y="1837"/>
                              <a:pt x="3472" y="1832"/>
                              <a:pt x="3469" y="1832"/>
                            </a:cubicBezTo>
                            <a:cubicBezTo>
                              <a:pt x="3466" y="1832"/>
                              <a:pt x="3464" y="1832"/>
                              <a:pt x="3461" y="1830"/>
                            </a:cubicBezTo>
                            <a:cubicBezTo>
                              <a:pt x="3457" y="1828"/>
                              <a:pt x="3454" y="1826"/>
                              <a:pt x="3455" y="1825"/>
                            </a:cubicBezTo>
                            <a:cubicBezTo>
                              <a:pt x="3456" y="1823"/>
                              <a:pt x="3457" y="1823"/>
                              <a:pt x="3463" y="1823"/>
                            </a:cubicBezTo>
                            <a:cubicBezTo>
                              <a:pt x="3468" y="1824"/>
                              <a:pt x="3470" y="1824"/>
                              <a:pt x="3472" y="1822"/>
                            </a:cubicBezTo>
                            <a:cubicBezTo>
                              <a:pt x="3474" y="1820"/>
                              <a:pt x="3473" y="1818"/>
                              <a:pt x="3477" y="1817"/>
                            </a:cubicBezTo>
                            <a:cubicBezTo>
                              <a:pt x="3481" y="1816"/>
                              <a:pt x="3484" y="1817"/>
                              <a:pt x="3487" y="1815"/>
                            </a:cubicBezTo>
                            <a:cubicBezTo>
                              <a:pt x="3489" y="1813"/>
                              <a:pt x="3491" y="1812"/>
                              <a:pt x="3489" y="1810"/>
                            </a:cubicBezTo>
                            <a:cubicBezTo>
                              <a:pt x="3487" y="1808"/>
                              <a:pt x="3480" y="1807"/>
                              <a:pt x="3477" y="1806"/>
                            </a:cubicBezTo>
                            <a:cubicBezTo>
                              <a:pt x="3474" y="1806"/>
                              <a:pt x="3470" y="1807"/>
                              <a:pt x="3467" y="1803"/>
                            </a:cubicBezTo>
                            <a:cubicBezTo>
                              <a:pt x="3465" y="1799"/>
                              <a:pt x="3465" y="1797"/>
                              <a:pt x="3461" y="1796"/>
                            </a:cubicBezTo>
                            <a:cubicBezTo>
                              <a:pt x="3458" y="1794"/>
                              <a:pt x="3456" y="1794"/>
                              <a:pt x="3453" y="1792"/>
                            </a:cubicBezTo>
                            <a:cubicBezTo>
                              <a:pt x="3449" y="1791"/>
                              <a:pt x="3444" y="1790"/>
                              <a:pt x="3442" y="1788"/>
                            </a:cubicBezTo>
                            <a:cubicBezTo>
                              <a:pt x="3439" y="1786"/>
                              <a:pt x="3436" y="1784"/>
                              <a:pt x="3436" y="1781"/>
                            </a:cubicBezTo>
                            <a:cubicBezTo>
                              <a:pt x="3435" y="1779"/>
                              <a:pt x="3434" y="1776"/>
                              <a:pt x="3434" y="1770"/>
                            </a:cubicBezTo>
                            <a:cubicBezTo>
                              <a:pt x="3434" y="1764"/>
                              <a:pt x="3435" y="1764"/>
                              <a:pt x="3434" y="1761"/>
                            </a:cubicBezTo>
                            <a:cubicBezTo>
                              <a:pt x="3433" y="1759"/>
                              <a:pt x="3432" y="1755"/>
                              <a:pt x="3433" y="1752"/>
                            </a:cubicBezTo>
                            <a:cubicBezTo>
                              <a:pt x="3433" y="1749"/>
                              <a:pt x="3432" y="1746"/>
                              <a:pt x="3432" y="1744"/>
                            </a:cubicBezTo>
                            <a:cubicBezTo>
                              <a:pt x="3432" y="1742"/>
                              <a:pt x="3432" y="1739"/>
                              <a:pt x="3434" y="1737"/>
                            </a:cubicBezTo>
                            <a:cubicBezTo>
                              <a:pt x="3436" y="1734"/>
                              <a:pt x="3439" y="1731"/>
                              <a:pt x="3442" y="1731"/>
                            </a:cubicBezTo>
                            <a:cubicBezTo>
                              <a:pt x="3446" y="1731"/>
                              <a:pt x="3446" y="1730"/>
                              <a:pt x="3453" y="1731"/>
                            </a:cubicBezTo>
                            <a:cubicBezTo>
                              <a:pt x="3459" y="1733"/>
                              <a:pt x="3461" y="1733"/>
                              <a:pt x="3466" y="1732"/>
                            </a:cubicBezTo>
                            <a:cubicBezTo>
                              <a:pt x="3470" y="1730"/>
                              <a:pt x="3474" y="1726"/>
                              <a:pt x="3479" y="1725"/>
                            </a:cubicBezTo>
                            <a:cubicBezTo>
                              <a:pt x="3483" y="1724"/>
                              <a:pt x="3485" y="1723"/>
                              <a:pt x="3493" y="1723"/>
                            </a:cubicBezTo>
                            <a:cubicBezTo>
                              <a:pt x="3500" y="1723"/>
                              <a:pt x="3502" y="1721"/>
                              <a:pt x="3508" y="1726"/>
                            </a:cubicBezTo>
                            <a:cubicBezTo>
                              <a:pt x="3514" y="1730"/>
                              <a:pt x="3518" y="1732"/>
                              <a:pt x="3521" y="1734"/>
                            </a:cubicBezTo>
                            <a:cubicBezTo>
                              <a:pt x="3525" y="1736"/>
                              <a:pt x="3535" y="1738"/>
                              <a:pt x="3540" y="1739"/>
                            </a:cubicBezTo>
                            <a:cubicBezTo>
                              <a:pt x="3545" y="1740"/>
                              <a:pt x="3555" y="1741"/>
                              <a:pt x="3567" y="1740"/>
                            </a:cubicBezTo>
                            <a:cubicBezTo>
                              <a:pt x="3579" y="1739"/>
                              <a:pt x="3585" y="1741"/>
                              <a:pt x="3595" y="1740"/>
                            </a:cubicBezTo>
                            <a:cubicBezTo>
                              <a:pt x="3604" y="1740"/>
                              <a:pt x="3609" y="1738"/>
                              <a:pt x="3614" y="1740"/>
                            </a:cubicBezTo>
                            <a:cubicBezTo>
                              <a:pt x="3618" y="1742"/>
                              <a:pt x="3622" y="1744"/>
                              <a:pt x="3618" y="1744"/>
                            </a:cubicBezTo>
                            <a:cubicBezTo>
                              <a:pt x="3613" y="1745"/>
                              <a:pt x="3609" y="1743"/>
                              <a:pt x="3609" y="1748"/>
                            </a:cubicBezTo>
                            <a:cubicBezTo>
                              <a:pt x="3608" y="1752"/>
                              <a:pt x="3610" y="1754"/>
                              <a:pt x="3607" y="1755"/>
                            </a:cubicBezTo>
                            <a:cubicBezTo>
                              <a:pt x="3604" y="1756"/>
                              <a:pt x="3597" y="1757"/>
                              <a:pt x="3593" y="1756"/>
                            </a:cubicBezTo>
                            <a:cubicBezTo>
                              <a:pt x="3588" y="1756"/>
                              <a:pt x="3581" y="1753"/>
                              <a:pt x="3579" y="1752"/>
                            </a:cubicBezTo>
                            <a:cubicBezTo>
                              <a:pt x="3576" y="1752"/>
                              <a:pt x="3569" y="1749"/>
                              <a:pt x="3568" y="1751"/>
                            </a:cubicBezTo>
                            <a:cubicBezTo>
                              <a:pt x="3567" y="1754"/>
                              <a:pt x="3566" y="1755"/>
                              <a:pt x="3571" y="1758"/>
                            </a:cubicBezTo>
                            <a:cubicBezTo>
                              <a:pt x="3577" y="1760"/>
                              <a:pt x="3579" y="1759"/>
                              <a:pt x="3584" y="1761"/>
                            </a:cubicBezTo>
                            <a:cubicBezTo>
                              <a:pt x="3590" y="1763"/>
                              <a:pt x="3595" y="1765"/>
                              <a:pt x="3599" y="1766"/>
                            </a:cubicBezTo>
                            <a:cubicBezTo>
                              <a:pt x="3604" y="1767"/>
                              <a:pt x="3609" y="1768"/>
                              <a:pt x="3614" y="1768"/>
                            </a:cubicBezTo>
                            <a:cubicBezTo>
                              <a:pt x="3619" y="1768"/>
                              <a:pt x="3627" y="1769"/>
                              <a:pt x="3629" y="1772"/>
                            </a:cubicBezTo>
                            <a:cubicBezTo>
                              <a:pt x="3632" y="1775"/>
                              <a:pt x="3633" y="1781"/>
                              <a:pt x="3635" y="1784"/>
                            </a:cubicBezTo>
                            <a:cubicBezTo>
                              <a:pt x="3638" y="1788"/>
                              <a:pt x="3639" y="1788"/>
                              <a:pt x="3644" y="1788"/>
                            </a:cubicBezTo>
                            <a:cubicBezTo>
                              <a:pt x="3649" y="1788"/>
                              <a:pt x="3656" y="1789"/>
                              <a:pt x="3661" y="1788"/>
                            </a:cubicBezTo>
                            <a:cubicBezTo>
                              <a:pt x="3665" y="1788"/>
                              <a:pt x="3670" y="1790"/>
                              <a:pt x="3673" y="1792"/>
                            </a:cubicBezTo>
                            <a:cubicBezTo>
                              <a:pt x="3676" y="1794"/>
                              <a:pt x="3684" y="1794"/>
                              <a:pt x="3686" y="1797"/>
                            </a:cubicBezTo>
                            <a:cubicBezTo>
                              <a:pt x="3688" y="1800"/>
                              <a:pt x="3683" y="1808"/>
                              <a:pt x="3681" y="1810"/>
                            </a:cubicBezTo>
                            <a:cubicBezTo>
                              <a:pt x="3678" y="1813"/>
                              <a:pt x="3672" y="1819"/>
                              <a:pt x="3672" y="1822"/>
                            </a:cubicBezTo>
                            <a:cubicBezTo>
                              <a:pt x="3672" y="1825"/>
                              <a:pt x="3667" y="1831"/>
                              <a:pt x="3672" y="1832"/>
                            </a:cubicBezTo>
                            <a:cubicBezTo>
                              <a:pt x="3677" y="1832"/>
                              <a:pt x="3685" y="1829"/>
                              <a:pt x="3687" y="1834"/>
                            </a:cubicBezTo>
                            <a:cubicBezTo>
                              <a:pt x="3689" y="1840"/>
                              <a:pt x="3690" y="1846"/>
                              <a:pt x="3689" y="1849"/>
                            </a:cubicBezTo>
                            <a:cubicBezTo>
                              <a:pt x="3688" y="1852"/>
                              <a:pt x="3679" y="1855"/>
                              <a:pt x="3674" y="1857"/>
                            </a:cubicBezTo>
                            <a:cubicBezTo>
                              <a:pt x="3669" y="1858"/>
                              <a:pt x="3659" y="1861"/>
                              <a:pt x="3655" y="1863"/>
                            </a:cubicBezTo>
                            <a:cubicBezTo>
                              <a:pt x="3650" y="1866"/>
                              <a:pt x="3647" y="1867"/>
                              <a:pt x="3641" y="1866"/>
                            </a:cubicBezTo>
                            <a:cubicBezTo>
                              <a:pt x="3636" y="1866"/>
                              <a:pt x="3627" y="1864"/>
                              <a:pt x="3623" y="1863"/>
                            </a:cubicBezTo>
                            <a:cubicBezTo>
                              <a:pt x="3619" y="1863"/>
                              <a:pt x="3610" y="1859"/>
                              <a:pt x="3608" y="1863"/>
                            </a:cubicBezTo>
                            <a:cubicBezTo>
                              <a:pt x="3606" y="1867"/>
                              <a:pt x="3605" y="1873"/>
                              <a:pt x="3607" y="1876"/>
                            </a:cubicBezTo>
                            <a:cubicBezTo>
                              <a:pt x="3608" y="1879"/>
                              <a:pt x="3617" y="1876"/>
                              <a:pt x="3618" y="1882"/>
                            </a:cubicBezTo>
                            <a:cubicBezTo>
                              <a:pt x="3619" y="1888"/>
                              <a:pt x="3617" y="1890"/>
                              <a:pt x="3617" y="1893"/>
                            </a:cubicBezTo>
                            <a:cubicBezTo>
                              <a:pt x="3618" y="1896"/>
                              <a:pt x="3622" y="1892"/>
                              <a:pt x="3623" y="1896"/>
                            </a:cubicBezTo>
                            <a:cubicBezTo>
                              <a:pt x="3623" y="1900"/>
                              <a:pt x="3622" y="1902"/>
                              <a:pt x="3623" y="1904"/>
                            </a:cubicBezTo>
                            <a:cubicBezTo>
                              <a:pt x="3624" y="1907"/>
                              <a:pt x="3626" y="1910"/>
                              <a:pt x="3630" y="1910"/>
                            </a:cubicBezTo>
                            <a:cubicBezTo>
                              <a:pt x="3633" y="1910"/>
                              <a:pt x="3637" y="1908"/>
                              <a:pt x="3637" y="1911"/>
                            </a:cubicBezTo>
                            <a:cubicBezTo>
                              <a:pt x="3638" y="1915"/>
                              <a:pt x="3633" y="1917"/>
                              <a:pt x="3634" y="1923"/>
                            </a:cubicBezTo>
                            <a:cubicBezTo>
                              <a:pt x="3635" y="1928"/>
                              <a:pt x="3637" y="1933"/>
                              <a:pt x="3641" y="1937"/>
                            </a:cubicBezTo>
                            <a:cubicBezTo>
                              <a:pt x="3645" y="1942"/>
                              <a:pt x="3650" y="1946"/>
                              <a:pt x="3657" y="1951"/>
                            </a:cubicBezTo>
                            <a:cubicBezTo>
                              <a:pt x="3665" y="1957"/>
                              <a:pt x="3677" y="1968"/>
                              <a:pt x="3681" y="1971"/>
                            </a:cubicBezTo>
                            <a:cubicBezTo>
                              <a:pt x="3685" y="1975"/>
                              <a:pt x="3689" y="1978"/>
                              <a:pt x="3688" y="1984"/>
                            </a:cubicBezTo>
                            <a:cubicBezTo>
                              <a:pt x="3688" y="1991"/>
                              <a:pt x="3678" y="2001"/>
                              <a:pt x="3677" y="2007"/>
                            </a:cubicBezTo>
                            <a:cubicBezTo>
                              <a:pt x="3677" y="2013"/>
                              <a:pt x="3677" y="2017"/>
                              <a:pt x="3674" y="2020"/>
                            </a:cubicBezTo>
                            <a:cubicBezTo>
                              <a:pt x="3672" y="2023"/>
                              <a:pt x="3661" y="2029"/>
                              <a:pt x="3653" y="2030"/>
                            </a:cubicBezTo>
                            <a:cubicBezTo>
                              <a:pt x="3646" y="2031"/>
                              <a:pt x="3640" y="2040"/>
                              <a:pt x="3638" y="2043"/>
                            </a:cubicBezTo>
                            <a:cubicBezTo>
                              <a:pt x="3635" y="2047"/>
                              <a:pt x="3635" y="2049"/>
                              <a:pt x="3629" y="2053"/>
                            </a:cubicBezTo>
                            <a:cubicBezTo>
                              <a:pt x="3623" y="2057"/>
                              <a:pt x="3618" y="2060"/>
                              <a:pt x="3612" y="2062"/>
                            </a:cubicBezTo>
                            <a:cubicBezTo>
                              <a:pt x="3606" y="2064"/>
                              <a:pt x="3600" y="2070"/>
                              <a:pt x="3595" y="2074"/>
                            </a:cubicBezTo>
                            <a:cubicBezTo>
                              <a:pt x="3590" y="2078"/>
                              <a:pt x="3579" y="2087"/>
                              <a:pt x="3570" y="2088"/>
                            </a:cubicBezTo>
                            <a:cubicBezTo>
                              <a:pt x="3561" y="2089"/>
                              <a:pt x="3558" y="2087"/>
                              <a:pt x="3550" y="2083"/>
                            </a:cubicBezTo>
                            <a:cubicBezTo>
                              <a:pt x="3542" y="2078"/>
                              <a:pt x="3531" y="2069"/>
                              <a:pt x="3529" y="2067"/>
                            </a:cubicBezTo>
                            <a:cubicBezTo>
                              <a:pt x="3527" y="2064"/>
                              <a:pt x="3525" y="2062"/>
                              <a:pt x="3528" y="2055"/>
                            </a:cubicBezTo>
                            <a:cubicBezTo>
                              <a:pt x="3531" y="2047"/>
                              <a:pt x="3536" y="2036"/>
                              <a:pt x="3530" y="2036"/>
                            </a:cubicBezTo>
                            <a:cubicBezTo>
                              <a:pt x="3524" y="2035"/>
                              <a:pt x="3525" y="2043"/>
                              <a:pt x="3520" y="2047"/>
                            </a:cubicBezTo>
                            <a:cubicBezTo>
                              <a:pt x="3514" y="2052"/>
                              <a:pt x="3510" y="2052"/>
                              <a:pt x="3507" y="2049"/>
                            </a:cubicBezTo>
                            <a:cubicBezTo>
                              <a:pt x="3505" y="2045"/>
                              <a:pt x="3501" y="2042"/>
                              <a:pt x="3497" y="2036"/>
                            </a:cubicBezTo>
                            <a:cubicBezTo>
                              <a:pt x="3494" y="2031"/>
                              <a:pt x="3496" y="2028"/>
                              <a:pt x="3492" y="2025"/>
                            </a:cubicBezTo>
                            <a:cubicBezTo>
                              <a:pt x="3489" y="2022"/>
                              <a:pt x="3484" y="2023"/>
                              <a:pt x="3481" y="2022"/>
                            </a:cubicBezTo>
                            <a:cubicBezTo>
                              <a:pt x="3477" y="2020"/>
                              <a:pt x="3474" y="2021"/>
                              <a:pt x="3470" y="2018"/>
                            </a:cubicBezTo>
                            <a:cubicBezTo>
                              <a:pt x="3466" y="2015"/>
                              <a:pt x="3461" y="2013"/>
                              <a:pt x="3459" y="2015"/>
                            </a:cubicBezTo>
                            <a:cubicBezTo>
                              <a:pt x="3458" y="2017"/>
                              <a:pt x="3457" y="2021"/>
                              <a:pt x="3461" y="2022"/>
                            </a:cubicBezTo>
                            <a:cubicBezTo>
                              <a:pt x="3464" y="2024"/>
                              <a:pt x="3468" y="2020"/>
                              <a:pt x="3468" y="2025"/>
                            </a:cubicBezTo>
                            <a:cubicBezTo>
                              <a:pt x="3468" y="2031"/>
                              <a:pt x="3468" y="2032"/>
                              <a:pt x="3465" y="2033"/>
                            </a:cubicBezTo>
                            <a:cubicBezTo>
                              <a:pt x="3461" y="2034"/>
                              <a:pt x="3458" y="2031"/>
                              <a:pt x="3454" y="2035"/>
                            </a:cubicBezTo>
                            <a:cubicBezTo>
                              <a:pt x="3451" y="2038"/>
                              <a:pt x="3445" y="2042"/>
                              <a:pt x="3449" y="2043"/>
                            </a:cubicBezTo>
                            <a:cubicBezTo>
                              <a:pt x="3454" y="2043"/>
                              <a:pt x="3458" y="2047"/>
                              <a:pt x="3462" y="2043"/>
                            </a:cubicBezTo>
                            <a:cubicBezTo>
                              <a:pt x="3467" y="2039"/>
                              <a:pt x="3474" y="2037"/>
                              <a:pt x="3478" y="2038"/>
                            </a:cubicBezTo>
                            <a:cubicBezTo>
                              <a:pt x="3482" y="2040"/>
                              <a:pt x="3486" y="2041"/>
                              <a:pt x="3486" y="2043"/>
                            </a:cubicBezTo>
                            <a:cubicBezTo>
                              <a:pt x="3487" y="2045"/>
                              <a:pt x="3486" y="2048"/>
                              <a:pt x="3489" y="2052"/>
                            </a:cubicBezTo>
                            <a:cubicBezTo>
                              <a:pt x="3492" y="2056"/>
                              <a:pt x="3493" y="2059"/>
                              <a:pt x="3497" y="2060"/>
                            </a:cubicBezTo>
                            <a:cubicBezTo>
                              <a:pt x="3502" y="2061"/>
                              <a:pt x="3507" y="2060"/>
                              <a:pt x="3509" y="2062"/>
                            </a:cubicBezTo>
                            <a:cubicBezTo>
                              <a:pt x="3510" y="2064"/>
                              <a:pt x="3508" y="2070"/>
                              <a:pt x="3510" y="2072"/>
                            </a:cubicBezTo>
                            <a:cubicBezTo>
                              <a:pt x="3512" y="2075"/>
                              <a:pt x="3523" y="2080"/>
                              <a:pt x="3524" y="2082"/>
                            </a:cubicBezTo>
                            <a:cubicBezTo>
                              <a:pt x="3526" y="2083"/>
                              <a:pt x="3529" y="2087"/>
                              <a:pt x="3532" y="2090"/>
                            </a:cubicBezTo>
                            <a:cubicBezTo>
                              <a:pt x="3535" y="2094"/>
                              <a:pt x="3540" y="2101"/>
                              <a:pt x="3540" y="2105"/>
                            </a:cubicBezTo>
                            <a:cubicBezTo>
                              <a:pt x="3540" y="2109"/>
                              <a:pt x="3537" y="2114"/>
                              <a:pt x="3535" y="2113"/>
                            </a:cubicBezTo>
                            <a:cubicBezTo>
                              <a:pt x="3532" y="2112"/>
                              <a:pt x="3521" y="2108"/>
                              <a:pt x="3519" y="2105"/>
                            </a:cubicBezTo>
                            <a:cubicBezTo>
                              <a:pt x="3517" y="2102"/>
                              <a:pt x="3510" y="2101"/>
                              <a:pt x="3507" y="2098"/>
                            </a:cubicBezTo>
                            <a:cubicBezTo>
                              <a:pt x="3505" y="2096"/>
                              <a:pt x="3499" y="2093"/>
                              <a:pt x="3497" y="2091"/>
                            </a:cubicBezTo>
                            <a:cubicBezTo>
                              <a:pt x="3496" y="2088"/>
                              <a:pt x="3491" y="2085"/>
                              <a:pt x="3489" y="2087"/>
                            </a:cubicBezTo>
                            <a:cubicBezTo>
                              <a:pt x="3488" y="2088"/>
                              <a:pt x="3488" y="2094"/>
                              <a:pt x="3488" y="2098"/>
                            </a:cubicBezTo>
                            <a:cubicBezTo>
                              <a:pt x="3487" y="2102"/>
                              <a:pt x="3485" y="2104"/>
                              <a:pt x="3483" y="2104"/>
                            </a:cubicBezTo>
                            <a:cubicBezTo>
                              <a:pt x="3481" y="2104"/>
                              <a:pt x="3475" y="2099"/>
                              <a:pt x="3470" y="2099"/>
                            </a:cubicBezTo>
                            <a:cubicBezTo>
                              <a:pt x="3465" y="2099"/>
                              <a:pt x="3462" y="2099"/>
                              <a:pt x="3459" y="2098"/>
                            </a:cubicBezTo>
                            <a:cubicBezTo>
                              <a:pt x="3455" y="2098"/>
                              <a:pt x="3448" y="2097"/>
                              <a:pt x="3447" y="2095"/>
                            </a:cubicBezTo>
                            <a:cubicBezTo>
                              <a:pt x="3446" y="2093"/>
                              <a:pt x="3442" y="2089"/>
                              <a:pt x="3440" y="2085"/>
                            </a:cubicBezTo>
                            <a:cubicBezTo>
                              <a:pt x="3438" y="2081"/>
                              <a:pt x="3438" y="2074"/>
                              <a:pt x="3433" y="2073"/>
                            </a:cubicBezTo>
                            <a:cubicBezTo>
                              <a:pt x="3427" y="2071"/>
                              <a:pt x="3425" y="2070"/>
                              <a:pt x="3419" y="2070"/>
                            </a:cubicBezTo>
                            <a:cubicBezTo>
                              <a:pt x="3414" y="2070"/>
                              <a:pt x="3405" y="2070"/>
                              <a:pt x="3401" y="2070"/>
                            </a:cubicBezTo>
                            <a:cubicBezTo>
                              <a:pt x="3397" y="2070"/>
                              <a:pt x="3392" y="2072"/>
                              <a:pt x="3383" y="2071"/>
                            </a:cubicBezTo>
                            <a:cubicBezTo>
                              <a:pt x="3375" y="2070"/>
                              <a:pt x="3367" y="2068"/>
                              <a:pt x="3363" y="2071"/>
                            </a:cubicBezTo>
                            <a:cubicBezTo>
                              <a:pt x="3359" y="2075"/>
                              <a:pt x="3351" y="2083"/>
                              <a:pt x="3352" y="2088"/>
                            </a:cubicBezTo>
                            <a:cubicBezTo>
                              <a:pt x="3354" y="2094"/>
                              <a:pt x="3355" y="2093"/>
                              <a:pt x="3363" y="2098"/>
                            </a:cubicBezTo>
                            <a:cubicBezTo>
                              <a:pt x="3370" y="2103"/>
                              <a:pt x="3368" y="2104"/>
                              <a:pt x="3379" y="2105"/>
                            </a:cubicBezTo>
                            <a:cubicBezTo>
                              <a:pt x="3389" y="2106"/>
                              <a:pt x="3395" y="2105"/>
                              <a:pt x="3398" y="2110"/>
                            </a:cubicBezTo>
                            <a:cubicBezTo>
                              <a:pt x="3402" y="2114"/>
                              <a:pt x="3403" y="2120"/>
                              <a:pt x="3399" y="2123"/>
                            </a:cubicBezTo>
                            <a:cubicBezTo>
                              <a:pt x="3396" y="2126"/>
                              <a:pt x="3396" y="2126"/>
                              <a:pt x="3386" y="2132"/>
                            </a:cubicBezTo>
                            <a:cubicBezTo>
                              <a:pt x="3377" y="2138"/>
                              <a:pt x="3371" y="2139"/>
                              <a:pt x="3369" y="2147"/>
                            </a:cubicBezTo>
                            <a:cubicBezTo>
                              <a:pt x="3368" y="2154"/>
                              <a:pt x="3368" y="2161"/>
                              <a:pt x="3363" y="2164"/>
                            </a:cubicBezTo>
                            <a:cubicBezTo>
                              <a:pt x="3358" y="2166"/>
                              <a:pt x="3344" y="2173"/>
                              <a:pt x="3340" y="2178"/>
                            </a:cubicBezTo>
                            <a:cubicBezTo>
                              <a:pt x="3336" y="2182"/>
                              <a:pt x="3321" y="2192"/>
                              <a:pt x="3319" y="2194"/>
                            </a:cubicBezTo>
                            <a:cubicBezTo>
                              <a:pt x="3317" y="2195"/>
                              <a:pt x="3308" y="2196"/>
                              <a:pt x="3306" y="2196"/>
                            </a:cubicBezTo>
                            <a:cubicBezTo>
                              <a:pt x="3304" y="2195"/>
                              <a:pt x="3285" y="2196"/>
                              <a:pt x="3282" y="2195"/>
                            </a:cubicBezTo>
                            <a:cubicBezTo>
                              <a:pt x="3279" y="2193"/>
                              <a:pt x="3268" y="2188"/>
                              <a:pt x="3262" y="2184"/>
                            </a:cubicBezTo>
                            <a:cubicBezTo>
                              <a:pt x="3257" y="2180"/>
                              <a:pt x="3247" y="2178"/>
                              <a:pt x="3245" y="2173"/>
                            </a:cubicBezTo>
                            <a:cubicBezTo>
                              <a:pt x="3243" y="2169"/>
                              <a:pt x="3248" y="2169"/>
                              <a:pt x="3241" y="2164"/>
                            </a:cubicBezTo>
                            <a:cubicBezTo>
                              <a:pt x="3235" y="2158"/>
                              <a:pt x="3219" y="2155"/>
                              <a:pt x="3212" y="2153"/>
                            </a:cubicBezTo>
                            <a:cubicBezTo>
                              <a:pt x="3206" y="2150"/>
                              <a:pt x="3194" y="2146"/>
                              <a:pt x="3190" y="2144"/>
                            </a:cubicBezTo>
                            <a:cubicBezTo>
                              <a:pt x="3185" y="2141"/>
                              <a:pt x="3171" y="2136"/>
                              <a:pt x="3168" y="2136"/>
                            </a:cubicBezTo>
                            <a:cubicBezTo>
                              <a:pt x="3165" y="2136"/>
                              <a:pt x="3160" y="2135"/>
                              <a:pt x="3153" y="2138"/>
                            </a:cubicBezTo>
                            <a:cubicBezTo>
                              <a:pt x="3147" y="2141"/>
                              <a:pt x="3121" y="2139"/>
                              <a:pt x="3117" y="2138"/>
                            </a:cubicBezTo>
                            <a:cubicBezTo>
                              <a:pt x="3112" y="2137"/>
                              <a:pt x="3092" y="2136"/>
                              <a:pt x="3085" y="2135"/>
                            </a:cubicBezTo>
                            <a:cubicBezTo>
                              <a:pt x="3079" y="2133"/>
                              <a:pt x="3063" y="2132"/>
                              <a:pt x="3061" y="2133"/>
                            </a:cubicBezTo>
                            <a:cubicBezTo>
                              <a:pt x="3058" y="2134"/>
                              <a:pt x="3060" y="2137"/>
                              <a:pt x="3063" y="2138"/>
                            </a:cubicBezTo>
                            <a:cubicBezTo>
                              <a:pt x="3066" y="2139"/>
                              <a:pt x="3070" y="2139"/>
                              <a:pt x="3079" y="2140"/>
                            </a:cubicBezTo>
                            <a:cubicBezTo>
                              <a:pt x="3088" y="2141"/>
                              <a:pt x="3103" y="2143"/>
                              <a:pt x="3107" y="2144"/>
                            </a:cubicBezTo>
                            <a:cubicBezTo>
                              <a:pt x="3112" y="2144"/>
                              <a:pt x="3128" y="2146"/>
                              <a:pt x="3137" y="2147"/>
                            </a:cubicBezTo>
                            <a:cubicBezTo>
                              <a:pt x="3146" y="2149"/>
                              <a:pt x="3157" y="2151"/>
                              <a:pt x="3162" y="2154"/>
                            </a:cubicBezTo>
                            <a:cubicBezTo>
                              <a:pt x="3167" y="2157"/>
                              <a:pt x="3176" y="2161"/>
                              <a:pt x="3183" y="2168"/>
                            </a:cubicBezTo>
                            <a:cubicBezTo>
                              <a:pt x="3190" y="2175"/>
                              <a:pt x="3198" y="2188"/>
                              <a:pt x="3202" y="2191"/>
                            </a:cubicBezTo>
                            <a:cubicBezTo>
                              <a:pt x="3206" y="2195"/>
                              <a:pt x="3210" y="2197"/>
                              <a:pt x="3216" y="2197"/>
                            </a:cubicBezTo>
                            <a:cubicBezTo>
                              <a:pt x="3222" y="2198"/>
                              <a:pt x="3240" y="2198"/>
                              <a:pt x="3244" y="2198"/>
                            </a:cubicBezTo>
                            <a:cubicBezTo>
                              <a:pt x="3247" y="2198"/>
                              <a:pt x="3265" y="2200"/>
                              <a:pt x="3273" y="2203"/>
                            </a:cubicBezTo>
                            <a:cubicBezTo>
                              <a:pt x="3281" y="2206"/>
                              <a:pt x="3291" y="2205"/>
                              <a:pt x="3296" y="2205"/>
                            </a:cubicBezTo>
                            <a:cubicBezTo>
                              <a:pt x="3301" y="2205"/>
                              <a:pt x="3309" y="2206"/>
                              <a:pt x="3314" y="2205"/>
                            </a:cubicBezTo>
                            <a:cubicBezTo>
                              <a:pt x="3318" y="2205"/>
                              <a:pt x="3327" y="2207"/>
                              <a:pt x="3331" y="2208"/>
                            </a:cubicBezTo>
                            <a:cubicBezTo>
                              <a:pt x="3334" y="2209"/>
                              <a:pt x="3338" y="2212"/>
                              <a:pt x="3337" y="2218"/>
                            </a:cubicBezTo>
                            <a:cubicBezTo>
                              <a:pt x="3336" y="2224"/>
                              <a:pt x="3313" y="2254"/>
                              <a:pt x="3311" y="2257"/>
                            </a:cubicBezTo>
                            <a:cubicBezTo>
                              <a:pt x="3309" y="2261"/>
                              <a:pt x="3284" y="2298"/>
                              <a:pt x="3279" y="2304"/>
                            </a:cubicBezTo>
                            <a:cubicBezTo>
                              <a:pt x="3273" y="2309"/>
                              <a:pt x="3269" y="2313"/>
                              <a:pt x="3262" y="2318"/>
                            </a:cubicBezTo>
                            <a:cubicBezTo>
                              <a:pt x="3256" y="2322"/>
                              <a:pt x="3249" y="2325"/>
                              <a:pt x="3245" y="2327"/>
                            </a:cubicBezTo>
                            <a:cubicBezTo>
                              <a:pt x="3241" y="2330"/>
                              <a:pt x="3233" y="2331"/>
                              <a:pt x="3224" y="2331"/>
                            </a:cubicBezTo>
                            <a:cubicBezTo>
                              <a:pt x="3214" y="2331"/>
                              <a:pt x="3194" y="2333"/>
                              <a:pt x="3190" y="2332"/>
                            </a:cubicBezTo>
                            <a:cubicBezTo>
                              <a:pt x="3185" y="2332"/>
                              <a:pt x="3181" y="2332"/>
                              <a:pt x="3177" y="2327"/>
                            </a:cubicBezTo>
                            <a:cubicBezTo>
                              <a:pt x="3174" y="2321"/>
                              <a:pt x="3176" y="2315"/>
                              <a:pt x="3172" y="2311"/>
                            </a:cubicBezTo>
                            <a:cubicBezTo>
                              <a:pt x="3169" y="2308"/>
                              <a:pt x="3165" y="2305"/>
                              <a:pt x="3161" y="2308"/>
                            </a:cubicBezTo>
                            <a:cubicBezTo>
                              <a:pt x="3156" y="2311"/>
                              <a:pt x="3153" y="2310"/>
                              <a:pt x="3155" y="2315"/>
                            </a:cubicBezTo>
                            <a:cubicBezTo>
                              <a:pt x="3157" y="2321"/>
                              <a:pt x="3160" y="2326"/>
                              <a:pt x="3160" y="2331"/>
                            </a:cubicBezTo>
                            <a:cubicBezTo>
                              <a:pt x="3161" y="2336"/>
                              <a:pt x="3161" y="2336"/>
                              <a:pt x="3159" y="2336"/>
                            </a:cubicBezTo>
                            <a:cubicBezTo>
                              <a:pt x="3157" y="2336"/>
                              <a:pt x="3156" y="2336"/>
                              <a:pt x="3153" y="2335"/>
                            </a:cubicBezTo>
                            <a:cubicBezTo>
                              <a:pt x="3150" y="2334"/>
                              <a:pt x="3142" y="2331"/>
                              <a:pt x="3138" y="2331"/>
                            </a:cubicBezTo>
                            <a:cubicBezTo>
                              <a:pt x="3134" y="2332"/>
                              <a:pt x="3132" y="2334"/>
                              <a:pt x="3134" y="2337"/>
                            </a:cubicBezTo>
                            <a:cubicBezTo>
                              <a:pt x="3136" y="2340"/>
                              <a:pt x="3140" y="2341"/>
                              <a:pt x="3142" y="2343"/>
                            </a:cubicBezTo>
                            <a:cubicBezTo>
                              <a:pt x="3144" y="2345"/>
                              <a:pt x="3146" y="2346"/>
                              <a:pt x="3146" y="2349"/>
                            </a:cubicBezTo>
                            <a:cubicBezTo>
                              <a:pt x="3147" y="2351"/>
                              <a:pt x="3148" y="2354"/>
                              <a:pt x="3145" y="2356"/>
                            </a:cubicBezTo>
                            <a:cubicBezTo>
                              <a:pt x="3143" y="2357"/>
                              <a:pt x="3134" y="2358"/>
                              <a:pt x="3133" y="2361"/>
                            </a:cubicBezTo>
                            <a:cubicBezTo>
                              <a:pt x="3131" y="2364"/>
                              <a:pt x="3130" y="2366"/>
                              <a:pt x="3127" y="2367"/>
                            </a:cubicBezTo>
                            <a:cubicBezTo>
                              <a:pt x="3124" y="2367"/>
                              <a:pt x="3121" y="2363"/>
                              <a:pt x="3119" y="2363"/>
                            </a:cubicBezTo>
                            <a:cubicBezTo>
                              <a:pt x="3116" y="2363"/>
                              <a:pt x="3111" y="2365"/>
                              <a:pt x="3110" y="2366"/>
                            </a:cubicBezTo>
                            <a:cubicBezTo>
                              <a:pt x="3110" y="2368"/>
                              <a:pt x="3108" y="2371"/>
                              <a:pt x="3106" y="2371"/>
                            </a:cubicBezTo>
                            <a:cubicBezTo>
                              <a:pt x="3103" y="2372"/>
                              <a:pt x="3098" y="2372"/>
                              <a:pt x="3095" y="2372"/>
                            </a:cubicBezTo>
                            <a:cubicBezTo>
                              <a:pt x="3092" y="2371"/>
                              <a:pt x="3083" y="2366"/>
                              <a:pt x="3078" y="2365"/>
                            </a:cubicBezTo>
                            <a:cubicBezTo>
                              <a:pt x="3072" y="2363"/>
                              <a:pt x="3070" y="2364"/>
                              <a:pt x="3065" y="2361"/>
                            </a:cubicBezTo>
                            <a:cubicBezTo>
                              <a:pt x="3060" y="2358"/>
                              <a:pt x="3055" y="2355"/>
                              <a:pt x="3049" y="2354"/>
                            </a:cubicBezTo>
                            <a:cubicBezTo>
                              <a:pt x="3043" y="2353"/>
                              <a:pt x="3044" y="2355"/>
                              <a:pt x="3038" y="2353"/>
                            </a:cubicBezTo>
                            <a:cubicBezTo>
                              <a:pt x="3032" y="2351"/>
                              <a:pt x="3037" y="2350"/>
                              <a:pt x="3031" y="2351"/>
                            </a:cubicBezTo>
                            <a:cubicBezTo>
                              <a:pt x="3025" y="2352"/>
                              <a:pt x="3018" y="2354"/>
                              <a:pt x="3015" y="2353"/>
                            </a:cubicBezTo>
                            <a:cubicBezTo>
                              <a:pt x="3011" y="2351"/>
                              <a:pt x="3001" y="2349"/>
                              <a:pt x="2997" y="2348"/>
                            </a:cubicBezTo>
                            <a:cubicBezTo>
                              <a:pt x="2993" y="2347"/>
                              <a:pt x="2975" y="2342"/>
                              <a:pt x="2967" y="2340"/>
                            </a:cubicBezTo>
                            <a:cubicBezTo>
                              <a:pt x="2958" y="2337"/>
                              <a:pt x="2942" y="2332"/>
                              <a:pt x="2937" y="2327"/>
                            </a:cubicBezTo>
                            <a:cubicBezTo>
                              <a:pt x="2932" y="2322"/>
                              <a:pt x="2924" y="2313"/>
                              <a:pt x="2920" y="2313"/>
                            </a:cubicBezTo>
                            <a:cubicBezTo>
                              <a:pt x="2916" y="2313"/>
                              <a:pt x="2919" y="2319"/>
                              <a:pt x="2923" y="2323"/>
                            </a:cubicBezTo>
                            <a:cubicBezTo>
                              <a:pt x="2926" y="2327"/>
                              <a:pt x="2928" y="2328"/>
                              <a:pt x="2926" y="2333"/>
                            </a:cubicBezTo>
                            <a:cubicBezTo>
                              <a:pt x="2924" y="2337"/>
                              <a:pt x="2922" y="2342"/>
                              <a:pt x="2926" y="2345"/>
                            </a:cubicBezTo>
                            <a:cubicBezTo>
                              <a:pt x="2929" y="2347"/>
                              <a:pt x="2928" y="2348"/>
                              <a:pt x="2934" y="2348"/>
                            </a:cubicBezTo>
                            <a:cubicBezTo>
                              <a:pt x="2939" y="2348"/>
                              <a:pt x="2942" y="2345"/>
                              <a:pt x="2946" y="2345"/>
                            </a:cubicBezTo>
                            <a:cubicBezTo>
                              <a:pt x="2950" y="2345"/>
                              <a:pt x="2953" y="2344"/>
                              <a:pt x="2958" y="2346"/>
                            </a:cubicBezTo>
                            <a:cubicBezTo>
                              <a:pt x="2963" y="2348"/>
                              <a:pt x="2966" y="2345"/>
                              <a:pt x="2974" y="2351"/>
                            </a:cubicBezTo>
                            <a:cubicBezTo>
                              <a:pt x="2981" y="2356"/>
                              <a:pt x="2979" y="2357"/>
                              <a:pt x="2990" y="2357"/>
                            </a:cubicBezTo>
                            <a:cubicBezTo>
                              <a:pt x="3001" y="2356"/>
                              <a:pt x="3007" y="2356"/>
                              <a:pt x="3009" y="2360"/>
                            </a:cubicBezTo>
                            <a:cubicBezTo>
                              <a:pt x="3011" y="2363"/>
                              <a:pt x="3013" y="2363"/>
                              <a:pt x="3008" y="2366"/>
                            </a:cubicBezTo>
                            <a:cubicBezTo>
                              <a:pt x="3002" y="2368"/>
                              <a:pt x="2994" y="2371"/>
                              <a:pt x="2997" y="2373"/>
                            </a:cubicBezTo>
                            <a:cubicBezTo>
                              <a:pt x="3000" y="2376"/>
                              <a:pt x="3007" y="2376"/>
                              <a:pt x="3012" y="2374"/>
                            </a:cubicBezTo>
                            <a:cubicBezTo>
                              <a:pt x="3016" y="2373"/>
                              <a:pt x="3020" y="2369"/>
                              <a:pt x="3025" y="2367"/>
                            </a:cubicBezTo>
                            <a:cubicBezTo>
                              <a:pt x="3030" y="2365"/>
                              <a:pt x="3033" y="2362"/>
                              <a:pt x="3040" y="2364"/>
                            </a:cubicBezTo>
                            <a:cubicBezTo>
                              <a:pt x="3047" y="2366"/>
                              <a:pt x="3053" y="2368"/>
                              <a:pt x="3055" y="2372"/>
                            </a:cubicBezTo>
                            <a:cubicBezTo>
                              <a:pt x="3057" y="2375"/>
                              <a:pt x="3054" y="2378"/>
                              <a:pt x="3062" y="2379"/>
                            </a:cubicBezTo>
                            <a:cubicBezTo>
                              <a:pt x="3070" y="2381"/>
                              <a:pt x="3074" y="2379"/>
                              <a:pt x="3081" y="2382"/>
                            </a:cubicBezTo>
                            <a:cubicBezTo>
                              <a:pt x="3087" y="2384"/>
                              <a:pt x="3090" y="2382"/>
                              <a:pt x="3096" y="2388"/>
                            </a:cubicBezTo>
                            <a:cubicBezTo>
                              <a:pt x="3102" y="2394"/>
                              <a:pt x="3109" y="2397"/>
                              <a:pt x="3110" y="2402"/>
                            </a:cubicBezTo>
                            <a:cubicBezTo>
                              <a:pt x="3110" y="2408"/>
                              <a:pt x="3108" y="2418"/>
                              <a:pt x="3106" y="2420"/>
                            </a:cubicBezTo>
                            <a:cubicBezTo>
                              <a:pt x="3104" y="2423"/>
                              <a:pt x="3100" y="2427"/>
                              <a:pt x="3094" y="2429"/>
                            </a:cubicBezTo>
                            <a:cubicBezTo>
                              <a:pt x="3088" y="2431"/>
                              <a:pt x="3070" y="2437"/>
                              <a:pt x="3066" y="2442"/>
                            </a:cubicBezTo>
                            <a:cubicBezTo>
                              <a:pt x="3062" y="2447"/>
                              <a:pt x="3062" y="2448"/>
                              <a:pt x="3056" y="2448"/>
                            </a:cubicBezTo>
                            <a:cubicBezTo>
                              <a:pt x="3049" y="2448"/>
                              <a:pt x="3042" y="2445"/>
                              <a:pt x="3039" y="2444"/>
                            </a:cubicBezTo>
                            <a:cubicBezTo>
                              <a:pt x="3036" y="2443"/>
                              <a:pt x="3022" y="2441"/>
                              <a:pt x="3018" y="2441"/>
                            </a:cubicBezTo>
                            <a:cubicBezTo>
                              <a:pt x="3014" y="2441"/>
                              <a:pt x="3006" y="2438"/>
                              <a:pt x="3004" y="2443"/>
                            </a:cubicBezTo>
                            <a:cubicBezTo>
                              <a:pt x="3002" y="2448"/>
                              <a:pt x="3002" y="2451"/>
                              <a:pt x="3008" y="2455"/>
                            </a:cubicBezTo>
                            <a:cubicBezTo>
                              <a:pt x="3014" y="2458"/>
                              <a:pt x="3018" y="2458"/>
                              <a:pt x="3021" y="2461"/>
                            </a:cubicBezTo>
                            <a:cubicBezTo>
                              <a:pt x="3025" y="2464"/>
                              <a:pt x="3027" y="2468"/>
                              <a:pt x="3025" y="2469"/>
                            </a:cubicBezTo>
                            <a:cubicBezTo>
                              <a:pt x="3023" y="2470"/>
                              <a:pt x="3019" y="2470"/>
                              <a:pt x="3016" y="2470"/>
                            </a:cubicBezTo>
                            <a:cubicBezTo>
                              <a:pt x="3013" y="2470"/>
                              <a:pt x="3003" y="2471"/>
                              <a:pt x="3001" y="2471"/>
                            </a:cubicBezTo>
                            <a:cubicBezTo>
                              <a:pt x="3000" y="2471"/>
                              <a:pt x="2997" y="2468"/>
                              <a:pt x="2995" y="2468"/>
                            </a:cubicBezTo>
                            <a:cubicBezTo>
                              <a:pt x="2994" y="2468"/>
                              <a:pt x="2987" y="2468"/>
                              <a:pt x="2987" y="2472"/>
                            </a:cubicBezTo>
                            <a:cubicBezTo>
                              <a:pt x="2986" y="2475"/>
                              <a:pt x="2988" y="2480"/>
                              <a:pt x="2985" y="2483"/>
                            </a:cubicBezTo>
                            <a:cubicBezTo>
                              <a:pt x="2982" y="2486"/>
                              <a:pt x="2983" y="2491"/>
                              <a:pt x="2979" y="2493"/>
                            </a:cubicBezTo>
                            <a:cubicBezTo>
                              <a:pt x="2975" y="2495"/>
                              <a:pt x="2973" y="2494"/>
                              <a:pt x="2968" y="2492"/>
                            </a:cubicBezTo>
                            <a:cubicBezTo>
                              <a:pt x="2962" y="2490"/>
                              <a:pt x="2958" y="2488"/>
                              <a:pt x="2954" y="2491"/>
                            </a:cubicBezTo>
                            <a:cubicBezTo>
                              <a:pt x="2950" y="2494"/>
                              <a:pt x="2952" y="2497"/>
                              <a:pt x="2955" y="2498"/>
                            </a:cubicBezTo>
                            <a:cubicBezTo>
                              <a:pt x="2957" y="2499"/>
                              <a:pt x="2961" y="2497"/>
                              <a:pt x="2963" y="2501"/>
                            </a:cubicBezTo>
                            <a:cubicBezTo>
                              <a:pt x="2965" y="2505"/>
                              <a:pt x="2966" y="2507"/>
                              <a:pt x="2962" y="2512"/>
                            </a:cubicBezTo>
                            <a:cubicBezTo>
                              <a:pt x="2957" y="2517"/>
                              <a:pt x="2957" y="2524"/>
                              <a:pt x="2955" y="2525"/>
                            </a:cubicBezTo>
                            <a:cubicBezTo>
                              <a:pt x="2953" y="2527"/>
                              <a:pt x="2948" y="2524"/>
                              <a:pt x="2946" y="2526"/>
                            </a:cubicBezTo>
                            <a:cubicBezTo>
                              <a:pt x="2943" y="2528"/>
                              <a:pt x="2945" y="2533"/>
                              <a:pt x="2940" y="2533"/>
                            </a:cubicBezTo>
                            <a:cubicBezTo>
                              <a:pt x="2936" y="2534"/>
                              <a:pt x="2931" y="2530"/>
                              <a:pt x="2931" y="2534"/>
                            </a:cubicBezTo>
                            <a:cubicBezTo>
                              <a:pt x="2931" y="2539"/>
                              <a:pt x="2936" y="2544"/>
                              <a:pt x="2936" y="2548"/>
                            </a:cubicBezTo>
                            <a:cubicBezTo>
                              <a:pt x="2937" y="2552"/>
                              <a:pt x="2930" y="2560"/>
                              <a:pt x="2926" y="2561"/>
                            </a:cubicBezTo>
                            <a:cubicBezTo>
                              <a:pt x="2923" y="2561"/>
                              <a:pt x="2908" y="2568"/>
                              <a:pt x="2908" y="2573"/>
                            </a:cubicBezTo>
                            <a:cubicBezTo>
                              <a:pt x="2908" y="2578"/>
                              <a:pt x="2910" y="2583"/>
                              <a:pt x="2909" y="2585"/>
                            </a:cubicBezTo>
                            <a:cubicBezTo>
                              <a:pt x="2909" y="2587"/>
                              <a:pt x="2902" y="2585"/>
                              <a:pt x="2901" y="2589"/>
                            </a:cubicBezTo>
                            <a:cubicBezTo>
                              <a:pt x="2899" y="2593"/>
                              <a:pt x="2900" y="2603"/>
                              <a:pt x="2900" y="2606"/>
                            </a:cubicBezTo>
                            <a:cubicBezTo>
                              <a:pt x="2900" y="2610"/>
                              <a:pt x="2892" y="2619"/>
                              <a:pt x="2887" y="2624"/>
                            </a:cubicBezTo>
                            <a:cubicBezTo>
                              <a:pt x="2882" y="2629"/>
                              <a:pt x="2878" y="2637"/>
                              <a:pt x="2875" y="2643"/>
                            </a:cubicBezTo>
                            <a:cubicBezTo>
                              <a:pt x="2872" y="2649"/>
                              <a:pt x="2868" y="2658"/>
                              <a:pt x="2865" y="2659"/>
                            </a:cubicBezTo>
                            <a:cubicBezTo>
                              <a:pt x="2862" y="2660"/>
                              <a:pt x="2857" y="2663"/>
                              <a:pt x="2857" y="2667"/>
                            </a:cubicBezTo>
                            <a:cubicBezTo>
                              <a:pt x="2858" y="2672"/>
                              <a:pt x="2861" y="2673"/>
                              <a:pt x="2862" y="2679"/>
                            </a:cubicBezTo>
                            <a:cubicBezTo>
                              <a:pt x="2862" y="2686"/>
                              <a:pt x="2857" y="2694"/>
                              <a:pt x="2856" y="2701"/>
                            </a:cubicBezTo>
                            <a:cubicBezTo>
                              <a:pt x="2854" y="2709"/>
                              <a:pt x="2853" y="2726"/>
                              <a:pt x="2853" y="2730"/>
                            </a:cubicBezTo>
                            <a:cubicBezTo>
                              <a:pt x="2853" y="2735"/>
                              <a:pt x="2852" y="2745"/>
                              <a:pt x="2855" y="2755"/>
                            </a:cubicBezTo>
                            <a:cubicBezTo>
                              <a:pt x="2858" y="2764"/>
                              <a:pt x="2858" y="2771"/>
                              <a:pt x="2856" y="2778"/>
                            </a:cubicBezTo>
                            <a:cubicBezTo>
                              <a:pt x="2855" y="2785"/>
                              <a:pt x="2853" y="2789"/>
                              <a:pt x="2852" y="2792"/>
                            </a:cubicBezTo>
                            <a:cubicBezTo>
                              <a:pt x="2851" y="2796"/>
                              <a:pt x="2845" y="2794"/>
                              <a:pt x="2845" y="2799"/>
                            </a:cubicBezTo>
                            <a:cubicBezTo>
                              <a:pt x="2845" y="2804"/>
                              <a:pt x="2844" y="2814"/>
                              <a:pt x="2851" y="2816"/>
                            </a:cubicBezTo>
                            <a:cubicBezTo>
                              <a:pt x="2858" y="2817"/>
                              <a:pt x="2861" y="2819"/>
                              <a:pt x="2867" y="2820"/>
                            </a:cubicBezTo>
                            <a:cubicBezTo>
                              <a:pt x="2874" y="2821"/>
                              <a:pt x="2874" y="2815"/>
                              <a:pt x="2881" y="2822"/>
                            </a:cubicBezTo>
                            <a:cubicBezTo>
                              <a:pt x="2888" y="2829"/>
                              <a:pt x="2889" y="2835"/>
                              <a:pt x="2887" y="2838"/>
                            </a:cubicBezTo>
                            <a:cubicBezTo>
                              <a:pt x="2886" y="2842"/>
                              <a:pt x="2885" y="2845"/>
                              <a:pt x="2885" y="2852"/>
                            </a:cubicBezTo>
                            <a:cubicBezTo>
                              <a:pt x="2886" y="2858"/>
                              <a:pt x="2882" y="2869"/>
                              <a:pt x="2885" y="2867"/>
                            </a:cubicBezTo>
                            <a:cubicBezTo>
                              <a:pt x="2888" y="2865"/>
                              <a:pt x="2892" y="2853"/>
                              <a:pt x="2892" y="2849"/>
                            </a:cubicBezTo>
                            <a:cubicBezTo>
                              <a:pt x="2893" y="2844"/>
                              <a:pt x="2894" y="2835"/>
                              <a:pt x="2896" y="2833"/>
                            </a:cubicBezTo>
                            <a:cubicBezTo>
                              <a:pt x="2898" y="2832"/>
                              <a:pt x="2898" y="2830"/>
                              <a:pt x="2904" y="2829"/>
                            </a:cubicBezTo>
                            <a:cubicBezTo>
                              <a:pt x="2911" y="2827"/>
                              <a:pt x="2918" y="2825"/>
                              <a:pt x="2924" y="2828"/>
                            </a:cubicBezTo>
                            <a:cubicBezTo>
                              <a:pt x="2930" y="2830"/>
                              <a:pt x="2932" y="2829"/>
                              <a:pt x="2942" y="2830"/>
                            </a:cubicBezTo>
                            <a:cubicBezTo>
                              <a:pt x="2951" y="2830"/>
                              <a:pt x="2952" y="2831"/>
                              <a:pt x="2957" y="2842"/>
                            </a:cubicBezTo>
                            <a:cubicBezTo>
                              <a:pt x="2961" y="2853"/>
                              <a:pt x="2962" y="2860"/>
                              <a:pt x="2966" y="2866"/>
                            </a:cubicBezTo>
                            <a:cubicBezTo>
                              <a:pt x="2971" y="2873"/>
                              <a:pt x="2978" y="2882"/>
                              <a:pt x="2978" y="2890"/>
                            </a:cubicBezTo>
                            <a:cubicBezTo>
                              <a:pt x="2978" y="2898"/>
                              <a:pt x="2977" y="2900"/>
                              <a:pt x="2979" y="2906"/>
                            </a:cubicBezTo>
                            <a:cubicBezTo>
                              <a:pt x="2981" y="2911"/>
                              <a:pt x="2978" y="2910"/>
                              <a:pt x="2984" y="2921"/>
                            </a:cubicBezTo>
                            <a:cubicBezTo>
                              <a:pt x="2990" y="2931"/>
                              <a:pt x="2991" y="2931"/>
                              <a:pt x="2995" y="2939"/>
                            </a:cubicBezTo>
                            <a:cubicBezTo>
                              <a:pt x="2999" y="2947"/>
                              <a:pt x="2999" y="2951"/>
                              <a:pt x="2998" y="2956"/>
                            </a:cubicBezTo>
                            <a:cubicBezTo>
                              <a:pt x="2997" y="2961"/>
                              <a:pt x="2993" y="2967"/>
                              <a:pt x="2990" y="2972"/>
                            </a:cubicBezTo>
                            <a:cubicBezTo>
                              <a:pt x="2987" y="2976"/>
                              <a:pt x="2981" y="2981"/>
                              <a:pt x="2978" y="2984"/>
                            </a:cubicBezTo>
                            <a:cubicBezTo>
                              <a:pt x="2975" y="2987"/>
                              <a:pt x="2970" y="2991"/>
                              <a:pt x="2973" y="2992"/>
                            </a:cubicBezTo>
                            <a:cubicBezTo>
                              <a:pt x="2977" y="2992"/>
                              <a:pt x="2980" y="2991"/>
                              <a:pt x="2983" y="2988"/>
                            </a:cubicBezTo>
                            <a:cubicBezTo>
                              <a:pt x="2987" y="2985"/>
                              <a:pt x="2988" y="2981"/>
                              <a:pt x="2993" y="2981"/>
                            </a:cubicBezTo>
                            <a:cubicBezTo>
                              <a:pt x="2999" y="2982"/>
                              <a:pt x="2998" y="2984"/>
                              <a:pt x="3001" y="2985"/>
                            </a:cubicBezTo>
                            <a:cubicBezTo>
                              <a:pt x="3004" y="2987"/>
                              <a:pt x="3010" y="2988"/>
                              <a:pt x="3014" y="2986"/>
                            </a:cubicBezTo>
                            <a:cubicBezTo>
                              <a:pt x="3019" y="2984"/>
                              <a:pt x="3020" y="2980"/>
                              <a:pt x="3028" y="2978"/>
                            </a:cubicBezTo>
                            <a:cubicBezTo>
                              <a:pt x="3036" y="2977"/>
                              <a:pt x="3038" y="2976"/>
                              <a:pt x="3046" y="2975"/>
                            </a:cubicBezTo>
                            <a:cubicBezTo>
                              <a:pt x="3054" y="2974"/>
                              <a:pt x="3054" y="2969"/>
                              <a:pt x="3063" y="2966"/>
                            </a:cubicBezTo>
                            <a:cubicBezTo>
                              <a:pt x="3071" y="2964"/>
                              <a:pt x="3082" y="2961"/>
                              <a:pt x="3085" y="2961"/>
                            </a:cubicBezTo>
                            <a:cubicBezTo>
                              <a:pt x="3088" y="2961"/>
                              <a:pt x="3095" y="2961"/>
                              <a:pt x="3102" y="2965"/>
                            </a:cubicBezTo>
                            <a:cubicBezTo>
                              <a:pt x="3109" y="2969"/>
                              <a:pt x="3111" y="2970"/>
                              <a:pt x="3119" y="2974"/>
                            </a:cubicBezTo>
                            <a:cubicBezTo>
                              <a:pt x="3127" y="2977"/>
                              <a:pt x="3139" y="2980"/>
                              <a:pt x="3148" y="2982"/>
                            </a:cubicBezTo>
                            <a:cubicBezTo>
                              <a:pt x="3157" y="2985"/>
                              <a:pt x="3173" y="2987"/>
                              <a:pt x="3180" y="2989"/>
                            </a:cubicBezTo>
                            <a:cubicBezTo>
                              <a:pt x="3186" y="2991"/>
                              <a:pt x="3201" y="2995"/>
                              <a:pt x="3216" y="3000"/>
                            </a:cubicBezTo>
                            <a:cubicBezTo>
                              <a:pt x="3231" y="3005"/>
                              <a:pt x="3248" y="3012"/>
                              <a:pt x="3259" y="3023"/>
                            </a:cubicBezTo>
                            <a:cubicBezTo>
                              <a:pt x="3270" y="3033"/>
                              <a:pt x="3278" y="3036"/>
                              <a:pt x="3282" y="3041"/>
                            </a:cubicBezTo>
                            <a:cubicBezTo>
                              <a:pt x="3286" y="3047"/>
                              <a:pt x="3290" y="3058"/>
                              <a:pt x="3298" y="3066"/>
                            </a:cubicBezTo>
                            <a:cubicBezTo>
                              <a:pt x="3305" y="3073"/>
                              <a:pt x="3306" y="3071"/>
                              <a:pt x="3318" y="3074"/>
                            </a:cubicBezTo>
                            <a:cubicBezTo>
                              <a:pt x="3329" y="3077"/>
                              <a:pt x="3350" y="3083"/>
                              <a:pt x="3357" y="3087"/>
                            </a:cubicBezTo>
                            <a:cubicBezTo>
                              <a:pt x="3364" y="3090"/>
                              <a:pt x="3386" y="3098"/>
                              <a:pt x="3397" y="3104"/>
                            </a:cubicBezTo>
                            <a:cubicBezTo>
                              <a:pt x="3408" y="3110"/>
                              <a:pt x="3432" y="3117"/>
                              <a:pt x="3438" y="3122"/>
                            </a:cubicBezTo>
                            <a:cubicBezTo>
                              <a:pt x="3445" y="3127"/>
                              <a:pt x="3448" y="3128"/>
                              <a:pt x="3448" y="3130"/>
                            </a:cubicBezTo>
                            <a:cubicBezTo>
                              <a:pt x="3448" y="3133"/>
                              <a:pt x="3448" y="3134"/>
                              <a:pt x="3446" y="3137"/>
                            </a:cubicBezTo>
                            <a:cubicBezTo>
                              <a:pt x="3443" y="3139"/>
                              <a:pt x="3440" y="3143"/>
                              <a:pt x="3439" y="3147"/>
                            </a:cubicBezTo>
                            <a:cubicBezTo>
                              <a:pt x="3437" y="3151"/>
                              <a:pt x="3434" y="3157"/>
                              <a:pt x="3436" y="3156"/>
                            </a:cubicBezTo>
                            <a:cubicBezTo>
                              <a:pt x="3439" y="3155"/>
                              <a:pt x="3442" y="3153"/>
                              <a:pt x="3443" y="3149"/>
                            </a:cubicBezTo>
                            <a:cubicBezTo>
                              <a:pt x="3444" y="3145"/>
                              <a:pt x="3446" y="3142"/>
                              <a:pt x="3449" y="3140"/>
                            </a:cubicBezTo>
                            <a:cubicBezTo>
                              <a:pt x="3452" y="3138"/>
                              <a:pt x="3458" y="3135"/>
                              <a:pt x="3460" y="3135"/>
                            </a:cubicBezTo>
                            <a:cubicBezTo>
                              <a:pt x="3462" y="3134"/>
                              <a:pt x="3472" y="3134"/>
                              <a:pt x="3476" y="3136"/>
                            </a:cubicBezTo>
                            <a:cubicBezTo>
                              <a:pt x="3480" y="3137"/>
                              <a:pt x="3482" y="3139"/>
                              <a:pt x="3487" y="3138"/>
                            </a:cubicBezTo>
                            <a:cubicBezTo>
                              <a:pt x="3491" y="3137"/>
                              <a:pt x="3497" y="3134"/>
                              <a:pt x="3500" y="3134"/>
                            </a:cubicBezTo>
                            <a:cubicBezTo>
                              <a:pt x="3503" y="3134"/>
                              <a:pt x="3512" y="3133"/>
                              <a:pt x="3515" y="3134"/>
                            </a:cubicBezTo>
                            <a:cubicBezTo>
                              <a:pt x="3518" y="3135"/>
                              <a:pt x="3529" y="3141"/>
                              <a:pt x="3532" y="3142"/>
                            </a:cubicBezTo>
                            <a:cubicBezTo>
                              <a:pt x="3536" y="3144"/>
                              <a:pt x="3543" y="3147"/>
                              <a:pt x="3545" y="3145"/>
                            </a:cubicBezTo>
                            <a:cubicBezTo>
                              <a:pt x="3547" y="3143"/>
                              <a:pt x="3551" y="3137"/>
                              <a:pt x="3554" y="3136"/>
                            </a:cubicBezTo>
                            <a:cubicBezTo>
                              <a:pt x="3556" y="3135"/>
                              <a:pt x="3568" y="3136"/>
                              <a:pt x="3572" y="3137"/>
                            </a:cubicBezTo>
                            <a:cubicBezTo>
                              <a:pt x="3576" y="3137"/>
                              <a:pt x="3585" y="3139"/>
                              <a:pt x="3586" y="3141"/>
                            </a:cubicBezTo>
                            <a:cubicBezTo>
                              <a:pt x="3588" y="3144"/>
                              <a:pt x="3586" y="3147"/>
                              <a:pt x="3592" y="3148"/>
                            </a:cubicBezTo>
                            <a:cubicBezTo>
                              <a:pt x="3598" y="3150"/>
                              <a:pt x="3609" y="3149"/>
                              <a:pt x="3612" y="3148"/>
                            </a:cubicBezTo>
                            <a:cubicBezTo>
                              <a:pt x="3615" y="3148"/>
                              <a:pt x="3623" y="3146"/>
                              <a:pt x="3625" y="3149"/>
                            </a:cubicBezTo>
                            <a:cubicBezTo>
                              <a:pt x="3628" y="3152"/>
                              <a:pt x="3631" y="3155"/>
                              <a:pt x="3631" y="3160"/>
                            </a:cubicBezTo>
                            <a:cubicBezTo>
                              <a:pt x="3631" y="3165"/>
                              <a:pt x="3628" y="3170"/>
                              <a:pt x="3629" y="3175"/>
                            </a:cubicBezTo>
                            <a:cubicBezTo>
                              <a:pt x="3630" y="3180"/>
                              <a:pt x="3629" y="3189"/>
                              <a:pt x="3628" y="3194"/>
                            </a:cubicBezTo>
                            <a:cubicBezTo>
                              <a:pt x="3627" y="3199"/>
                              <a:pt x="3622" y="3202"/>
                              <a:pt x="3622" y="3208"/>
                            </a:cubicBezTo>
                            <a:cubicBezTo>
                              <a:pt x="3622" y="3214"/>
                              <a:pt x="3619" y="3215"/>
                              <a:pt x="3620" y="3223"/>
                            </a:cubicBezTo>
                            <a:cubicBezTo>
                              <a:pt x="3622" y="3232"/>
                              <a:pt x="3628" y="3234"/>
                              <a:pt x="3629" y="3241"/>
                            </a:cubicBezTo>
                            <a:cubicBezTo>
                              <a:pt x="3630" y="3249"/>
                              <a:pt x="3629" y="3255"/>
                              <a:pt x="3630" y="3263"/>
                            </a:cubicBezTo>
                            <a:cubicBezTo>
                              <a:pt x="3631" y="3270"/>
                              <a:pt x="3634" y="3276"/>
                              <a:pt x="3636" y="3285"/>
                            </a:cubicBezTo>
                            <a:cubicBezTo>
                              <a:pt x="3638" y="3294"/>
                              <a:pt x="3638" y="3300"/>
                              <a:pt x="3638" y="3303"/>
                            </a:cubicBezTo>
                            <a:cubicBezTo>
                              <a:pt x="3638" y="3305"/>
                              <a:pt x="3630" y="3317"/>
                              <a:pt x="3628" y="3321"/>
                            </a:cubicBezTo>
                            <a:cubicBezTo>
                              <a:pt x="3627" y="3326"/>
                              <a:pt x="3628" y="3331"/>
                              <a:pt x="3633" y="3336"/>
                            </a:cubicBezTo>
                            <a:cubicBezTo>
                              <a:pt x="3638" y="3342"/>
                              <a:pt x="3640" y="3342"/>
                              <a:pt x="3647" y="3348"/>
                            </a:cubicBezTo>
                            <a:cubicBezTo>
                              <a:pt x="3653" y="3355"/>
                              <a:pt x="3656" y="3362"/>
                              <a:pt x="3661" y="3368"/>
                            </a:cubicBezTo>
                            <a:cubicBezTo>
                              <a:pt x="3665" y="3373"/>
                              <a:pt x="3670" y="3378"/>
                              <a:pt x="3671" y="3381"/>
                            </a:cubicBezTo>
                            <a:cubicBezTo>
                              <a:pt x="3673" y="3383"/>
                              <a:pt x="3668" y="3390"/>
                              <a:pt x="3665" y="3391"/>
                            </a:cubicBezTo>
                            <a:cubicBezTo>
                              <a:pt x="3661" y="3392"/>
                              <a:pt x="3654" y="3394"/>
                              <a:pt x="3655" y="3396"/>
                            </a:cubicBezTo>
                            <a:cubicBezTo>
                              <a:pt x="3655" y="3397"/>
                              <a:pt x="3664" y="3398"/>
                              <a:pt x="3666" y="3396"/>
                            </a:cubicBezTo>
                            <a:cubicBezTo>
                              <a:pt x="3669" y="3395"/>
                              <a:pt x="3671" y="3393"/>
                              <a:pt x="3675" y="3394"/>
                            </a:cubicBezTo>
                            <a:cubicBezTo>
                              <a:pt x="3679" y="3396"/>
                              <a:pt x="3684" y="3399"/>
                              <a:pt x="3686" y="3401"/>
                            </a:cubicBezTo>
                            <a:cubicBezTo>
                              <a:pt x="3689" y="3404"/>
                              <a:pt x="3695" y="3403"/>
                              <a:pt x="3699" y="3406"/>
                            </a:cubicBezTo>
                            <a:cubicBezTo>
                              <a:pt x="3704" y="3410"/>
                              <a:pt x="3706" y="3411"/>
                              <a:pt x="3711" y="3417"/>
                            </a:cubicBezTo>
                            <a:cubicBezTo>
                              <a:pt x="3717" y="3423"/>
                              <a:pt x="3719" y="3425"/>
                              <a:pt x="3723" y="3430"/>
                            </a:cubicBezTo>
                            <a:cubicBezTo>
                              <a:pt x="3727" y="3436"/>
                              <a:pt x="3737" y="3448"/>
                              <a:pt x="3739" y="3452"/>
                            </a:cubicBezTo>
                            <a:cubicBezTo>
                              <a:pt x="3741" y="3456"/>
                              <a:pt x="3742" y="3459"/>
                              <a:pt x="3741" y="3461"/>
                            </a:cubicBezTo>
                            <a:cubicBezTo>
                              <a:pt x="3740" y="3464"/>
                              <a:pt x="3740" y="3465"/>
                              <a:pt x="3735" y="3468"/>
                            </a:cubicBezTo>
                            <a:cubicBezTo>
                              <a:pt x="3730" y="3470"/>
                              <a:pt x="3727" y="3474"/>
                              <a:pt x="3724" y="3476"/>
                            </a:cubicBezTo>
                            <a:cubicBezTo>
                              <a:pt x="3721" y="3478"/>
                              <a:pt x="3714" y="3483"/>
                              <a:pt x="3714" y="3486"/>
                            </a:cubicBezTo>
                            <a:cubicBezTo>
                              <a:pt x="3715" y="3490"/>
                              <a:pt x="3718" y="3489"/>
                              <a:pt x="3722" y="3486"/>
                            </a:cubicBezTo>
                            <a:cubicBezTo>
                              <a:pt x="3725" y="3482"/>
                              <a:pt x="3729" y="3478"/>
                              <a:pt x="3735" y="3477"/>
                            </a:cubicBezTo>
                            <a:cubicBezTo>
                              <a:pt x="3741" y="3475"/>
                              <a:pt x="3742" y="3472"/>
                              <a:pt x="3746" y="3471"/>
                            </a:cubicBezTo>
                            <a:cubicBezTo>
                              <a:pt x="3750" y="3469"/>
                              <a:pt x="3752" y="3468"/>
                              <a:pt x="3756" y="3469"/>
                            </a:cubicBezTo>
                            <a:cubicBezTo>
                              <a:pt x="3760" y="3471"/>
                              <a:pt x="3764" y="3473"/>
                              <a:pt x="3769" y="3476"/>
                            </a:cubicBezTo>
                            <a:cubicBezTo>
                              <a:pt x="3774" y="3480"/>
                              <a:pt x="3777" y="3480"/>
                              <a:pt x="3781" y="3486"/>
                            </a:cubicBezTo>
                            <a:cubicBezTo>
                              <a:pt x="3786" y="3493"/>
                              <a:pt x="3792" y="3498"/>
                              <a:pt x="3794" y="3502"/>
                            </a:cubicBezTo>
                            <a:cubicBezTo>
                              <a:pt x="3797" y="3505"/>
                              <a:pt x="3801" y="3507"/>
                              <a:pt x="3804" y="3510"/>
                            </a:cubicBezTo>
                            <a:cubicBezTo>
                              <a:pt x="3807" y="3512"/>
                              <a:pt x="3812" y="3515"/>
                              <a:pt x="3811" y="3512"/>
                            </a:cubicBezTo>
                            <a:cubicBezTo>
                              <a:pt x="3811" y="3508"/>
                              <a:pt x="3805" y="3501"/>
                              <a:pt x="3803" y="3499"/>
                            </a:cubicBezTo>
                            <a:cubicBezTo>
                              <a:pt x="3801" y="3498"/>
                              <a:pt x="3797" y="3492"/>
                              <a:pt x="3794" y="3489"/>
                            </a:cubicBezTo>
                            <a:cubicBezTo>
                              <a:pt x="3791" y="3485"/>
                              <a:pt x="3785" y="3480"/>
                              <a:pt x="3785" y="3476"/>
                            </a:cubicBezTo>
                            <a:cubicBezTo>
                              <a:pt x="3786" y="3473"/>
                              <a:pt x="3785" y="3471"/>
                              <a:pt x="3787" y="3467"/>
                            </a:cubicBezTo>
                            <a:cubicBezTo>
                              <a:pt x="3788" y="3464"/>
                              <a:pt x="3794" y="3458"/>
                              <a:pt x="3800" y="3454"/>
                            </a:cubicBezTo>
                            <a:cubicBezTo>
                              <a:pt x="3805" y="3450"/>
                              <a:pt x="3809" y="3445"/>
                              <a:pt x="3815" y="3445"/>
                            </a:cubicBezTo>
                            <a:cubicBezTo>
                              <a:pt x="3820" y="3445"/>
                              <a:pt x="3825" y="3448"/>
                              <a:pt x="3827" y="3453"/>
                            </a:cubicBezTo>
                            <a:cubicBezTo>
                              <a:pt x="3829" y="3457"/>
                              <a:pt x="3830" y="3457"/>
                              <a:pt x="3833" y="3465"/>
                            </a:cubicBezTo>
                            <a:cubicBezTo>
                              <a:pt x="3835" y="3474"/>
                              <a:pt x="3834" y="3480"/>
                              <a:pt x="3838" y="3479"/>
                            </a:cubicBezTo>
                            <a:cubicBezTo>
                              <a:pt x="3842" y="3479"/>
                              <a:pt x="3842" y="3470"/>
                              <a:pt x="3842" y="3468"/>
                            </a:cubicBezTo>
                            <a:cubicBezTo>
                              <a:pt x="3842" y="3465"/>
                              <a:pt x="3840" y="3463"/>
                              <a:pt x="3843" y="3460"/>
                            </a:cubicBezTo>
                            <a:cubicBezTo>
                              <a:pt x="3846" y="3458"/>
                              <a:pt x="3851" y="3456"/>
                              <a:pt x="3851" y="3454"/>
                            </a:cubicBezTo>
                            <a:cubicBezTo>
                              <a:pt x="3851" y="3453"/>
                              <a:pt x="3845" y="3446"/>
                              <a:pt x="3843" y="3445"/>
                            </a:cubicBezTo>
                            <a:cubicBezTo>
                              <a:pt x="3842" y="3443"/>
                              <a:pt x="3838" y="3437"/>
                              <a:pt x="3838" y="3435"/>
                            </a:cubicBezTo>
                            <a:cubicBezTo>
                              <a:pt x="3838" y="3434"/>
                              <a:pt x="3837" y="3430"/>
                              <a:pt x="3839" y="3427"/>
                            </a:cubicBezTo>
                            <a:cubicBezTo>
                              <a:pt x="3841" y="3423"/>
                              <a:pt x="3845" y="3416"/>
                              <a:pt x="3849" y="3413"/>
                            </a:cubicBezTo>
                            <a:cubicBezTo>
                              <a:pt x="3853" y="3409"/>
                              <a:pt x="3861" y="3403"/>
                              <a:pt x="3863" y="3399"/>
                            </a:cubicBezTo>
                            <a:cubicBezTo>
                              <a:pt x="3865" y="3395"/>
                              <a:pt x="3866" y="3391"/>
                              <a:pt x="3866" y="3385"/>
                            </a:cubicBezTo>
                            <a:cubicBezTo>
                              <a:pt x="3865" y="3380"/>
                              <a:pt x="3867" y="3373"/>
                              <a:pt x="3860" y="3369"/>
                            </a:cubicBezTo>
                            <a:cubicBezTo>
                              <a:pt x="3854" y="3365"/>
                              <a:pt x="3846" y="3369"/>
                              <a:pt x="3846" y="3363"/>
                            </a:cubicBezTo>
                            <a:cubicBezTo>
                              <a:pt x="3846" y="3358"/>
                              <a:pt x="3847" y="3352"/>
                              <a:pt x="3848" y="3347"/>
                            </a:cubicBezTo>
                            <a:cubicBezTo>
                              <a:pt x="3849" y="3342"/>
                              <a:pt x="3848" y="3337"/>
                              <a:pt x="3844" y="3335"/>
                            </a:cubicBezTo>
                            <a:cubicBezTo>
                              <a:pt x="3841" y="3332"/>
                              <a:pt x="3836" y="3328"/>
                              <a:pt x="3836" y="3326"/>
                            </a:cubicBezTo>
                            <a:cubicBezTo>
                              <a:pt x="3836" y="3323"/>
                              <a:pt x="3836" y="3315"/>
                              <a:pt x="3836" y="3309"/>
                            </a:cubicBezTo>
                            <a:cubicBezTo>
                              <a:pt x="3835" y="3302"/>
                              <a:pt x="3836" y="3298"/>
                              <a:pt x="3832" y="3295"/>
                            </a:cubicBezTo>
                            <a:cubicBezTo>
                              <a:pt x="3828" y="3292"/>
                              <a:pt x="3824" y="3287"/>
                              <a:pt x="3826" y="3284"/>
                            </a:cubicBezTo>
                            <a:cubicBezTo>
                              <a:pt x="3828" y="3282"/>
                              <a:pt x="3834" y="3285"/>
                              <a:pt x="3834" y="3279"/>
                            </a:cubicBezTo>
                            <a:cubicBezTo>
                              <a:pt x="3835" y="3273"/>
                              <a:pt x="3825" y="3268"/>
                              <a:pt x="3825" y="3265"/>
                            </a:cubicBezTo>
                            <a:cubicBezTo>
                              <a:pt x="3825" y="3262"/>
                              <a:pt x="3832" y="3262"/>
                              <a:pt x="3833" y="3258"/>
                            </a:cubicBezTo>
                            <a:cubicBezTo>
                              <a:pt x="3834" y="3254"/>
                              <a:pt x="3826" y="3252"/>
                              <a:pt x="3825" y="3249"/>
                            </a:cubicBezTo>
                            <a:cubicBezTo>
                              <a:pt x="3824" y="3245"/>
                              <a:pt x="3831" y="3244"/>
                              <a:pt x="3829" y="3240"/>
                            </a:cubicBezTo>
                            <a:cubicBezTo>
                              <a:pt x="3827" y="3237"/>
                              <a:pt x="3820" y="3240"/>
                              <a:pt x="3820" y="3236"/>
                            </a:cubicBezTo>
                            <a:cubicBezTo>
                              <a:pt x="3820" y="3232"/>
                              <a:pt x="3821" y="3232"/>
                              <a:pt x="3823" y="3231"/>
                            </a:cubicBezTo>
                            <a:cubicBezTo>
                              <a:pt x="3826" y="3229"/>
                              <a:pt x="3828" y="3227"/>
                              <a:pt x="3826" y="3226"/>
                            </a:cubicBezTo>
                            <a:cubicBezTo>
                              <a:pt x="3823" y="3225"/>
                              <a:pt x="3820" y="3225"/>
                              <a:pt x="3817" y="3224"/>
                            </a:cubicBezTo>
                            <a:cubicBezTo>
                              <a:pt x="3814" y="3223"/>
                              <a:pt x="3808" y="3222"/>
                              <a:pt x="3807" y="3218"/>
                            </a:cubicBezTo>
                            <a:cubicBezTo>
                              <a:pt x="3806" y="3214"/>
                              <a:pt x="3805" y="3210"/>
                              <a:pt x="3804" y="3206"/>
                            </a:cubicBezTo>
                            <a:cubicBezTo>
                              <a:pt x="3802" y="3202"/>
                              <a:pt x="3803" y="3200"/>
                              <a:pt x="3799" y="3197"/>
                            </a:cubicBezTo>
                            <a:cubicBezTo>
                              <a:pt x="3796" y="3193"/>
                              <a:pt x="3794" y="3195"/>
                              <a:pt x="3792" y="3191"/>
                            </a:cubicBezTo>
                            <a:cubicBezTo>
                              <a:pt x="3790" y="3188"/>
                              <a:pt x="3789" y="3187"/>
                              <a:pt x="3792" y="3185"/>
                            </a:cubicBezTo>
                            <a:cubicBezTo>
                              <a:pt x="3795" y="3183"/>
                              <a:pt x="3798" y="3180"/>
                              <a:pt x="3808" y="3177"/>
                            </a:cubicBezTo>
                            <a:cubicBezTo>
                              <a:pt x="3818" y="3174"/>
                              <a:pt x="3838" y="3164"/>
                              <a:pt x="3842" y="3162"/>
                            </a:cubicBezTo>
                            <a:cubicBezTo>
                              <a:pt x="3847" y="3161"/>
                              <a:pt x="3878" y="3147"/>
                              <a:pt x="3892" y="3142"/>
                            </a:cubicBezTo>
                            <a:cubicBezTo>
                              <a:pt x="3906" y="3136"/>
                              <a:pt x="3928" y="3118"/>
                              <a:pt x="3937" y="3109"/>
                            </a:cubicBezTo>
                            <a:cubicBezTo>
                              <a:pt x="3945" y="3101"/>
                              <a:pt x="3957" y="3092"/>
                              <a:pt x="3963" y="3084"/>
                            </a:cubicBezTo>
                            <a:cubicBezTo>
                              <a:pt x="3969" y="3075"/>
                              <a:pt x="3978" y="3063"/>
                              <a:pt x="3982" y="3057"/>
                            </a:cubicBezTo>
                            <a:cubicBezTo>
                              <a:pt x="3985" y="3051"/>
                              <a:pt x="3985" y="2996"/>
                              <a:pt x="3984" y="2982"/>
                            </a:cubicBezTo>
                            <a:cubicBezTo>
                              <a:pt x="3984" y="2968"/>
                              <a:pt x="3979" y="2948"/>
                              <a:pt x="3973" y="2935"/>
                            </a:cubicBezTo>
                            <a:cubicBezTo>
                              <a:pt x="3967" y="2922"/>
                              <a:pt x="3957" y="2907"/>
                              <a:pt x="3951" y="2899"/>
                            </a:cubicBezTo>
                            <a:cubicBezTo>
                              <a:pt x="3946" y="2890"/>
                              <a:pt x="3926" y="2877"/>
                              <a:pt x="3923" y="2874"/>
                            </a:cubicBezTo>
                            <a:cubicBezTo>
                              <a:pt x="3921" y="2872"/>
                              <a:pt x="3888" y="2856"/>
                              <a:pt x="3881" y="2852"/>
                            </a:cubicBezTo>
                            <a:cubicBezTo>
                              <a:pt x="3874" y="2849"/>
                              <a:pt x="3871" y="2849"/>
                              <a:pt x="3867" y="2840"/>
                            </a:cubicBezTo>
                            <a:cubicBezTo>
                              <a:pt x="3863" y="2831"/>
                              <a:pt x="3861" y="2825"/>
                              <a:pt x="3861" y="2821"/>
                            </a:cubicBezTo>
                            <a:cubicBezTo>
                              <a:pt x="3860" y="2816"/>
                              <a:pt x="3857" y="2811"/>
                              <a:pt x="3860" y="2810"/>
                            </a:cubicBezTo>
                            <a:cubicBezTo>
                              <a:pt x="3863" y="2809"/>
                              <a:pt x="3866" y="2811"/>
                              <a:pt x="3871" y="2810"/>
                            </a:cubicBezTo>
                            <a:cubicBezTo>
                              <a:pt x="3876" y="2809"/>
                              <a:pt x="3876" y="2802"/>
                              <a:pt x="3879" y="2796"/>
                            </a:cubicBezTo>
                            <a:cubicBezTo>
                              <a:pt x="3883" y="2791"/>
                              <a:pt x="3882" y="2789"/>
                              <a:pt x="3888" y="2784"/>
                            </a:cubicBezTo>
                            <a:cubicBezTo>
                              <a:pt x="3893" y="2780"/>
                              <a:pt x="3901" y="2776"/>
                              <a:pt x="3905" y="2775"/>
                            </a:cubicBezTo>
                            <a:cubicBezTo>
                              <a:pt x="3908" y="2774"/>
                              <a:pt x="3913" y="2771"/>
                              <a:pt x="3912" y="2769"/>
                            </a:cubicBezTo>
                            <a:cubicBezTo>
                              <a:pt x="3911" y="2767"/>
                              <a:pt x="3908" y="2766"/>
                              <a:pt x="3906" y="2765"/>
                            </a:cubicBezTo>
                            <a:cubicBezTo>
                              <a:pt x="3905" y="2763"/>
                              <a:pt x="3907" y="2758"/>
                              <a:pt x="3909" y="2757"/>
                            </a:cubicBezTo>
                            <a:cubicBezTo>
                              <a:pt x="3912" y="2756"/>
                              <a:pt x="3913" y="2751"/>
                              <a:pt x="3913" y="2748"/>
                            </a:cubicBezTo>
                            <a:cubicBezTo>
                              <a:pt x="3913" y="2745"/>
                              <a:pt x="3913" y="2741"/>
                              <a:pt x="3917" y="2742"/>
                            </a:cubicBezTo>
                            <a:cubicBezTo>
                              <a:pt x="3920" y="2743"/>
                              <a:pt x="3922" y="2751"/>
                              <a:pt x="3923" y="2753"/>
                            </a:cubicBezTo>
                            <a:cubicBezTo>
                              <a:pt x="3925" y="2755"/>
                              <a:pt x="3935" y="2755"/>
                              <a:pt x="3935" y="2753"/>
                            </a:cubicBezTo>
                            <a:cubicBezTo>
                              <a:pt x="3936" y="2751"/>
                              <a:pt x="3932" y="2749"/>
                              <a:pt x="3930" y="2747"/>
                            </a:cubicBezTo>
                            <a:cubicBezTo>
                              <a:pt x="3928" y="2745"/>
                              <a:pt x="3924" y="2741"/>
                              <a:pt x="3928" y="2738"/>
                            </a:cubicBezTo>
                            <a:cubicBezTo>
                              <a:pt x="3933" y="2735"/>
                              <a:pt x="3938" y="2735"/>
                              <a:pt x="3939" y="2734"/>
                            </a:cubicBezTo>
                            <a:cubicBezTo>
                              <a:pt x="3941" y="2734"/>
                              <a:pt x="3942" y="2731"/>
                              <a:pt x="3941" y="2729"/>
                            </a:cubicBezTo>
                            <a:cubicBezTo>
                              <a:pt x="3940" y="2728"/>
                              <a:pt x="3936" y="2727"/>
                              <a:pt x="3935" y="2725"/>
                            </a:cubicBezTo>
                            <a:cubicBezTo>
                              <a:pt x="3935" y="2723"/>
                              <a:pt x="3934" y="2722"/>
                              <a:pt x="3935" y="2720"/>
                            </a:cubicBezTo>
                            <a:cubicBezTo>
                              <a:pt x="3937" y="2719"/>
                              <a:pt x="3938" y="2718"/>
                              <a:pt x="3938" y="2716"/>
                            </a:cubicBezTo>
                            <a:cubicBezTo>
                              <a:pt x="3939" y="2715"/>
                              <a:pt x="3938" y="2711"/>
                              <a:pt x="3937" y="2711"/>
                            </a:cubicBezTo>
                            <a:cubicBezTo>
                              <a:pt x="3937" y="2710"/>
                              <a:pt x="3933" y="2709"/>
                              <a:pt x="3932" y="2708"/>
                            </a:cubicBezTo>
                            <a:cubicBezTo>
                              <a:pt x="3930" y="2707"/>
                              <a:pt x="3928" y="2707"/>
                              <a:pt x="3926" y="2706"/>
                            </a:cubicBezTo>
                            <a:cubicBezTo>
                              <a:pt x="3925" y="2704"/>
                              <a:pt x="3923" y="2704"/>
                              <a:pt x="3921" y="2702"/>
                            </a:cubicBezTo>
                            <a:cubicBezTo>
                              <a:pt x="3920" y="2700"/>
                              <a:pt x="3916" y="2693"/>
                              <a:pt x="3916" y="2693"/>
                            </a:cubicBezTo>
                            <a:cubicBezTo>
                              <a:pt x="3916" y="2693"/>
                              <a:pt x="3914" y="2685"/>
                              <a:pt x="3914" y="2680"/>
                            </a:cubicBezTo>
                            <a:cubicBezTo>
                              <a:pt x="3914" y="2676"/>
                              <a:pt x="3915" y="2674"/>
                              <a:pt x="3918" y="2672"/>
                            </a:cubicBezTo>
                            <a:cubicBezTo>
                              <a:pt x="3921" y="2670"/>
                              <a:pt x="3927" y="2667"/>
                              <a:pt x="3928" y="2665"/>
                            </a:cubicBezTo>
                            <a:cubicBezTo>
                              <a:pt x="3930" y="2663"/>
                              <a:pt x="3932" y="2662"/>
                              <a:pt x="3931" y="2660"/>
                            </a:cubicBezTo>
                            <a:cubicBezTo>
                              <a:pt x="3929" y="2658"/>
                              <a:pt x="3926" y="2657"/>
                              <a:pt x="3924" y="2656"/>
                            </a:cubicBezTo>
                            <a:cubicBezTo>
                              <a:pt x="3922" y="2656"/>
                              <a:pt x="3916" y="2657"/>
                              <a:pt x="3915" y="2653"/>
                            </a:cubicBezTo>
                            <a:cubicBezTo>
                              <a:pt x="3913" y="2649"/>
                              <a:pt x="3912" y="2648"/>
                              <a:pt x="3914" y="2646"/>
                            </a:cubicBezTo>
                            <a:cubicBezTo>
                              <a:pt x="3916" y="2644"/>
                              <a:pt x="3918" y="2641"/>
                              <a:pt x="3921" y="2639"/>
                            </a:cubicBezTo>
                            <a:cubicBezTo>
                              <a:pt x="3923" y="2637"/>
                              <a:pt x="3925" y="2635"/>
                              <a:pt x="3925" y="2634"/>
                            </a:cubicBezTo>
                            <a:cubicBezTo>
                              <a:pt x="3924" y="2632"/>
                              <a:pt x="3922" y="2631"/>
                              <a:pt x="3919" y="2631"/>
                            </a:cubicBezTo>
                            <a:cubicBezTo>
                              <a:pt x="3917" y="2631"/>
                              <a:pt x="3913" y="2631"/>
                              <a:pt x="3909" y="2632"/>
                            </a:cubicBezTo>
                            <a:cubicBezTo>
                              <a:pt x="3904" y="2632"/>
                              <a:pt x="3900" y="2633"/>
                              <a:pt x="3897" y="2634"/>
                            </a:cubicBezTo>
                            <a:cubicBezTo>
                              <a:pt x="3893" y="2635"/>
                              <a:pt x="3889" y="2634"/>
                              <a:pt x="3890" y="2633"/>
                            </a:cubicBezTo>
                            <a:cubicBezTo>
                              <a:pt x="3891" y="2631"/>
                              <a:pt x="3897" y="2625"/>
                              <a:pt x="3901" y="2621"/>
                            </a:cubicBezTo>
                            <a:cubicBezTo>
                              <a:pt x="3906" y="2617"/>
                              <a:pt x="3910" y="2614"/>
                              <a:pt x="3909" y="2607"/>
                            </a:cubicBezTo>
                            <a:cubicBezTo>
                              <a:pt x="3909" y="2599"/>
                              <a:pt x="3906" y="2593"/>
                              <a:pt x="3909" y="2587"/>
                            </a:cubicBezTo>
                            <a:cubicBezTo>
                              <a:pt x="3912" y="2582"/>
                              <a:pt x="3913" y="2585"/>
                              <a:pt x="3917" y="2579"/>
                            </a:cubicBezTo>
                            <a:cubicBezTo>
                              <a:pt x="3922" y="2573"/>
                              <a:pt x="3925" y="2570"/>
                              <a:pt x="3925" y="2568"/>
                            </a:cubicBezTo>
                            <a:cubicBezTo>
                              <a:pt x="3926" y="2566"/>
                              <a:pt x="3925" y="2566"/>
                              <a:pt x="3919" y="2560"/>
                            </a:cubicBezTo>
                            <a:cubicBezTo>
                              <a:pt x="3913" y="2554"/>
                              <a:pt x="3906" y="2555"/>
                              <a:pt x="3905" y="2546"/>
                            </a:cubicBezTo>
                            <a:cubicBezTo>
                              <a:pt x="3903" y="2537"/>
                              <a:pt x="3906" y="2533"/>
                              <a:pt x="3903" y="2527"/>
                            </a:cubicBezTo>
                            <a:cubicBezTo>
                              <a:pt x="3899" y="2521"/>
                              <a:pt x="3896" y="2522"/>
                              <a:pt x="3892" y="2513"/>
                            </a:cubicBezTo>
                            <a:cubicBezTo>
                              <a:pt x="3888" y="2504"/>
                              <a:pt x="3887" y="2497"/>
                              <a:pt x="3890" y="2496"/>
                            </a:cubicBezTo>
                            <a:cubicBezTo>
                              <a:pt x="3893" y="2495"/>
                              <a:pt x="3899" y="2492"/>
                              <a:pt x="3906" y="2488"/>
                            </a:cubicBezTo>
                            <a:cubicBezTo>
                              <a:pt x="3913" y="2484"/>
                              <a:pt x="3915" y="2482"/>
                              <a:pt x="3920" y="2479"/>
                            </a:cubicBezTo>
                            <a:cubicBezTo>
                              <a:pt x="3926" y="2475"/>
                              <a:pt x="3927" y="2473"/>
                              <a:pt x="3931" y="2473"/>
                            </a:cubicBezTo>
                            <a:cubicBezTo>
                              <a:pt x="3935" y="2473"/>
                              <a:pt x="3939" y="2473"/>
                              <a:pt x="3946" y="2476"/>
                            </a:cubicBezTo>
                            <a:cubicBezTo>
                              <a:pt x="3953" y="2479"/>
                              <a:pt x="3958" y="2480"/>
                              <a:pt x="3968" y="2483"/>
                            </a:cubicBezTo>
                            <a:cubicBezTo>
                              <a:pt x="3978" y="2486"/>
                              <a:pt x="3982" y="2485"/>
                              <a:pt x="3992" y="2487"/>
                            </a:cubicBezTo>
                            <a:cubicBezTo>
                              <a:pt x="4002" y="2490"/>
                              <a:pt x="4014" y="2493"/>
                              <a:pt x="4018" y="2495"/>
                            </a:cubicBezTo>
                            <a:cubicBezTo>
                              <a:pt x="4022" y="2497"/>
                              <a:pt x="4032" y="2496"/>
                              <a:pt x="4033" y="2500"/>
                            </a:cubicBezTo>
                            <a:cubicBezTo>
                              <a:pt x="4033" y="2504"/>
                              <a:pt x="4027" y="2506"/>
                              <a:pt x="4028" y="2509"/>
                            </a:cubicBezTo>
                            <a:cubicBezTo>
                              <a:pt x="4029" y="2511"/>
                              <a:pt x="4032" y="2511"/>
                              <a:pt x="4035" y="2509"/>
                            </a:cubicBezTo>
                            <a:cubicBezTo>
                              <a:pt x="4038" y="2507"/>
                              <a:pt x="4043" y="2504"/>
                              <a:pt x="4046" y="2502"/>
                            </a:cubicBezTo>
                            <a:cubicBezTo>
                              <a:pt x="4050" y="2501"/>
                              <a:pt x="4055" y="2500"/>
                              <a:pt x="4060" y="2500"/>
                            </a:cubicBezTo>
                            <a:cubicBezTo>
                              <a:pt x="4065" y="2501"/>
                              <a:pt x="4071" y="2503"/>
                              <a:pt x="4075" y="2505"/>
                            </a:cubicBezTo>
                            <a:cubicBezTo>
                              <a:pt x="4078" y="2508"/>
                              <a:pt x="4084" y="2512"/>
                              <a:pt x="4089" y="2515"/>
                            </a:cubicBezTo>
                            <a:cubicBezTo>
                              <a:pt x="4095" y="2518"/>
                              <a:pt x="4105" y="2521"/>
                              <a:pt x="4106" y="2519"/>
                            </a:cubicBezTo>
                            <a:cubicBezTo>
                              <a:pt x="4108" y="2517"/>
                              <a:pt x="4108" y="2513"/>
                              <a:pt x="4107" y="2511"/>
                            </a:cubicBezTo>
                            <a:cubicBezTo>
                              <a:pt x="4106" y="2509"/>
                              <a:pt x="4105" y="2505"/>
                              <a:pt x="4107" y="2504"/>
                            </a:cubicBezTo>
                            <a:cubicBezTo>
                              <a:pt x="4109" y="2503"/>
                              <a:pt x="4118" y="2501"/>
                              <a:pt x="4122" y="2500"/>
                            </a:cubicBezTo>
                            <a:cubicBezTo>
                              <a:pt x="4127" y="2498"/>
                              <a:pt x="4143" y="2491"/>
                              <a:pt x="4145" y="2490"/>
                            </a:cubicBezTo>
                            <a:cubicBezTo>
                              <a:pt x="4148" y="2489"/>
                              <a:pt x="4151" y="2483"/>
                              <a:pt x="4163" y="2485"/>
                            </a:cubicBezTo>
                            <a:cubicBezTo>
                              <a:pt x="4174" y="2486"/>
                              <a:pt x="4177" y="2494"/>
                              <a:pt x="4184" y="2499"/>
                            </a:cubicBezTo>
                            <a:cubicBezTo>
                              <a:pt x="4191" y="2503"/>
                              <a:pt x="4194" y="2506"/>
                              <a:pt x="4202" y="2507"/>
                            </a:cubicBezTo>
                            <a:cubicBezTo>
                              <a:pt x="4209" y="2509"/>
                              <a:pt x="4214" y="2510"/>
                              <a:pt x="4217" y="2513"/>
                            </a:cubicBezTo>
                            <a:cubicBezTo>
                              <a:pt x="4220" y="2517"/>
                              <a:pt x="4223" y="2516"/>
                              <a:pt x="4221" y="2521"/>
                            </a:cubicBezTo>
                            <a:cubicBezTo>
                              <a:pt x="4220" y="2526"/>
                              <a:pt x="4217" y="2528"/>
                              <a:pt x="4218" y="2532"/>
                            </a:cubicBezTo>
                            <a:cubicBezTo>
                              <a:pt x="4219" y="2536"/>
                              <a:pt x="4219" y="2543"/>
                              <a:pt x="4223" y="2544"/>
                            </a:cubicBezTo>
                            <a:cubicBezTo>
                              <a:pt x="4227" y="2546"/>
                              <a:pt x="4231" y="2542"/>
                              <a:pt x="4232" y="2539"/>
                            </a:cubicBezTo>
                            <a:cubicBezTo>
                              <a:pt x="4233" y="2536"/>
                              <a:pt x="4241" y="2536"/>
                              <a:pt x="4244" y="2539"/>
                            </a:cubicBezTo>
                            <a:cubicBezTo>
                              <a:pt x="4246" y="2541"/>
                              <a:pt x="4253" y="2547"/>
                              <a:pt x="4254" y="2551"/>
                            </a:cubicBezTo>
                            <a:cubicBezTo>
                              <a:pt x="4255" y="2554"/>
                              <a:pt x="4255" y="2557"/>
                              <a:pt x="4253" y="2558"/>
                            </a:cubicBezTo>
                            <a:cubicBezTo>
                              <a:pt x="4250" y="2560"/>
                              <a:pt x="4245" y="2562"/>
                              <a:pt x="4245" y="2565"/>
                            </a:cubicBezTo>
                            <a:cubicBezTo>
                              <a:pt x="4245" y="2568"/>
                              <a:pt x="4243" y="2572"/>
                              <a:pt x="4247" y="2571"/>
                            </a:cubicBezTo>
                            <a:cubicBezTo>
                              <a:pt x="4251" y="2571"/>
                              <a:pt x="4257" y="2568"/>
                              <a:pt x="4260" y="2566"/>
                            </a:cubicBezTo>
                            <a:cubicBezTo>
                              <a:pt x="4263" y="2564"/>
                              <a:pt x="4262" y="2559"/>
                              <a:pt x="4268" y="2559"/>
                            </a:cubicBezTo>
                            <a:cubicBezTo>
                              <a:pt x="4275" y="2559"/>
                              <a:pt x="4282" y="2555"/>
                              <a:pt x="4284" y="2559"/>
                            </a:cubicBezTo>
                            <a:cubicBezTo>
                              <a:pt x="4286" y="2563"/>
                              <a:pt x="4283" y="2568"/>
                              <a:pt x="4282" y="2570"/>
                            </a:cubicBezTo>
                            <a:cubicBezTo>
                              <a:pt x="4280" y="2571"/>
                              <a:pt x="4275" y="2575"/>
                              <a:pt x="4275" y="2579"/>
                            </a:cubicBezTo>
                            <a:cubicBezTo>
                              <a:pt x="4274" y="2582"/>
                              <a:pt x="4273" y="2584"/>
                              <a:pt x="4275" y="2588"/>
                            </a:cubicBezTo>
                            <a:cubicBezTo>
                              <a:pt x="4276" y="2592"/>
                              <a:pt x="4279" y="2593"/>
                              <a:pt x="4285" y="2596"/>
                            </a:cubicBezTo>
                            <a:cubicBezTo>
                              <a:pt x="4291" y="2598"/>
                              <a:pt x="4292" y="2600"/>
                              <a:pt x="4298" y="2604"/>
                            </a:cubicBezTo>
                            <a:cubicBezTo>
                              <a:pt x="4304" y="2608"/>
                              <a:pt x="4314" y="2612"/>
                              <a:pt x="4318" y="2614"/>
                            </a:cubicBezTo>
                            <a:cubicBezTo>
                              <a:pt x="4322" y="2615"/>
                              <a:pt x="4338" y="2618"/>
                              <a:pt x="4342" y="2619"/>
                            </a:cubicBezTo>
                            <a:cubicBezTo>
                              <a:pt x="4346" y="2620"/>
                              <a:pt x="4356" y="2621"/>
                              <a:pt x="4362" y="2619"/>
                            </a:cubicBezTo>
                            <a:cubicBezTo>
                              <a:pt x="4368" y="2617"/>
                              <a:pt x="4370" y="2615"/>
                              <a:pt x="4377" y="2616"/>
                            </a:cubicBezTo>
                            <a:cubicBezTo>
                              <a:pt x="4384" y="2617"/>
                              <a:pt x="4382" y="2624"/>
                              <a:pt x="4385" y="2629"/>
                            </a:cubicBezTo>
                            <a:cubicBezTo>
                              <a:pt x="4387" y="2633"/>
                              <a:pt x="4387" y="2636"/>
                              <a:pt x="4390" y="2638"/>
                            </a:cubicBezTo>
                            <a:cubicBezTo>
                              <a:pt x="4393" y="2639"/>
                              <a:pt x="4395" y="2638"/>
                              <a:pt x="4398" y="2636"/>
                            </a:cubicBezTo>
                            <a:cubicBezTo>
                              <a:pt x="4400" y="2635"/>
                              <a:pt x="4401" y="2634"/>
                              <a:pt x="4404" y="2631"/>
                            </a:cubicBezTo>
                            <a:cubicBezTo>
                              <a:pt x="4407" y="2628"/>
                              <a:pt x="4411" y="2629"/>
                              <a:pt x="4411" y="2626"/>
                            </a:cubicBezTo>
                            <a:cubicBezTo>
                              <a:pt x="4412" y="2622"/>
                              <a:pt x="4411" y="2618"/>
                              <a:pt x="4415" y="2621"/>
                            </a:cubicBezTo>
                            <a:cubicBezTo>
                              <a:pt x="4418" y="2623"/>
                              <a:pt x="4420" y="2626"/>
                              <a:pt x="4420" y="2630"/>
                            </a:cubicBezTo>
                            <a:cubicBezTo>
                              <a:pt x="4421" y="2634"/>
                              <a:pt x="4424" y="2635"/>
                              <a:pt x="4421" y="2638"/>
                            </a:cubicBezTo>
                            <a:cubicBezTo>
                              <a:pt x="4419" y="2642"/>
                              <a:pt x="4411" y="2644"/>
                              <a:pt x="4408" y="2646"/>
                            </a:cubicBezTo>
                            <a:cubicBezTo>
                              <a:pt x="4406" y="2649"/>
                              <a:pt x="4405" y="2650"/>
                              <a:pt x="4405" y="2654"/>
                            </a:cubicBezTo>
                            <a:cubicBezTo>
                              <a:pt x="4406" y="2657"/>
                              <a:pt x="4408" y="2657"/>
                              <a:pt x="4404" y="2659"/>
                            </a:cubicBezTo>
                            <a:cubicBezTo>
                              <a:pt x="4401" y="2662"/>
                              <a:pt x="4399" y="2661"/>
                              <a:pt x="4399" y="2664"/>
                            </a:cubicBezTo>
                            <a:cubicBezTo>
                              <a:pt x="4398" y="2667"/>
                              <a:pt x="4397" y="2670"/>
                              <a:pt x="4398" y="2673"/>
                            </a:cubicBezTo>
                            <a:cubicBezTo>
                              <a:pt x="4398" y="2676"/>
                              <a:pt x="4398" y="2680"/>
                              <a:pt x="4401" y="2683"/>
                            </a:cubicBezTo>
                            <a:cubicBezTo>
                              <a:pt x="4403" y="2685"/>
                              <a:pt x="4406" y="2688"/>
                              <a:pt x="4407" y="2692"/>
                            </a:cubicBezTo>
                            <a:cubicBezTo>
                              <a:pt x="4408" y="2696"/>
                              <a:pt x="4408" y="2700"/>
                              <a:pt x="4407" y="2702"/>
                            </a:cubicBezTo>
                            <a:cubicBezTo>
                              <a:pt x="4406" y="2704"/>
                              <a:pt x="4401" y="2703"/>
                              <a:pt x="4400" y="2706"/>
                            </a:cubicBezTo>
                            <a:cubicBezTo>
                              <a:pt x="4398" y="2708"/>
                              <a:pt x="4397" y="2709"/>
                              <a:pt x="4398" y="2712"/>
                            </a:cubicBezTo>
                            <a:cubicBezTo>
                              <a:pt x="4398" y="2714"/>
                              <a:pt x="4400" y="2717"/>
                              <a:pt x="4402" y="2719"/>
                            </a:cubicBezTo>
                            <a:cubicBezTo>
                              <a:pt x="4404" y="2721"/>
                              <a:pt x="4407" y="2721"/>
                              <a:pt x="4409" y="2725"/>
                            </a:cubicBezTo>
                            <a:cubicBezTo>
                              <a:pt x="4411" y="2730"/>
                              <a:pt x="4412" y="2733"/>
                              <a:pt x="4412" y="2737"/>
                            </a:cubicBezTo>
                            <a:cubicBezTo>
                              <a:pt x="4412" y="2741"/>
                              <a:pt x="4409" y="2747"/>
                              <a:pt x="4407" y="2749"/>
                            </a:cubicBezTo>
                            <a:cubicBezTo>
                              <a:pt x="4406" y="2751"/>
                              <a:pt x="4402" y="2755"/>
                              <a:pt x="4402" y="2756"/>
                            </a:cubicBezTo>
                            <a:cubicBezTo>
                              <a:pt x="4402" y="2756"/>
                              <a:pt x="4402" y="2759"/>
                              <a:pt x="4404" y="2762"/>
                            </a:cubicBezTo>
                            <a:cubicBezTo>
                              <a:pt x="4405" y="2764"/>
                              <a:pt x="4406" y="2767"/>
                              <a:pt x="4406" y="2768"/>
                            </a:cubicBezTo>
                            <a:cubicBezTo>
                              <a:pt x="4406" y="2770"/>
                              <a:pt x="4402" y="2772"/>
                              <a:pt x="4402" y="2775"/>
                            </a:cubicBezTo>
                            <a:cubicBezTo>
                              <a:pt x="4402" y="2777"/>
                              <a:pt x="4401" y="2781"/>
                              <a:pt x="4405" y="2780"/>
                            </a:cubicBezTo>
                            <a:cubicBezTo>
                              <a:pt x="4409" y="2780"/>
                              <a:pt x="4413" y="2779"/>
                              <a:pt x="4417" y="2779"/>
                            </a:cubicBezTo>
                            <a:cubicBezTo>
                              <a:pt x="4421" y="2780"/>
                              <a:pt x="4423" y="2780"/>
                              <a:pt x="4424" y="2784"/>
                            </a:cubicBezTo>
                            <a:cubicBezTo>
                              <a:pt x="4424" y="2787"/>
                              <a:pt x="4425" y="2794"/>
                              <a:pt x="4424" y="2795"/>
                            </a:cubicBezTo>
                            <a:cubicBezTo>
                              <a:pt x="4423" y="2797"/>
                              <a:pt x="4419" y="2794"/>
                              <a:pt x="4418" y="2799"/>
                            </a:cubicBezTo>
                            <a:cubicBezTo>
                              <a:pt x="4416" y="2803"/>
                              <a:pt x="4415" y="2807"/>
                              <a:pt x="4415" y="2810"/>
                            </a:cubicBezTo>
                            <a:cubicBezTo>
                              <a:pt x="4414" y="2814"/>
                              <a:pt x="4414" y="2815"/>
                              <a:pt x="4412" y="2814"/>
                            </a:cubicBezTo>
                            <a:cubicBezTo>
                              <a:pt x="4411" y="2814"/>
                              <a:pt x="4407" y="2811"/>
                              <a:pt x="4407" y="2809"/>
                            </a:cubicBezTo>
                            <a:cubicBezTo>
                              <a:pt x="4406" y="2807"/>
                              <a:pt x="4403" y="2800"/>
                              <a:pt x="4401" y="2800"/>
                            </a:cubicBezTo>
                            <a:cubicBezTo>
                              <a:pt x="4399" y="2800"/>
                              <a:pt x="4396" y="2799"/>
                              <a:pt x="4396" y="2802"/>
                            </a:cubicBezTo>
                            <a:cubicBezTo>
                              <a:pt x="4396" y="2805"/>
                              <a:pt x="4398" y="2809"/>
                              <a:pt x="4396" y="2811"/>
                            </a:cubicBezTo>
                            <a:cubicBezTo>
                              <a:pt x="4395" y="2813"/>
                              <a:pt x="4390" y="2815"/>
                              <a:pt x="4386" y="2816"/>
                            </a:cubicBezTo>
                            <a:cubicBezTo>
                              <a:pt x="4381" y="2818"/>
                              <a:pt x="4378" y="2819"/>
                              <a:pt x="4376" y="2821"/>
                            </a:cubicBezTo>
                            <a:cubicBezTo>
                              <a:pt x="4374" y="2823"/>
                              <a:pt x="4370" y="2824"/>
                              <a:pt x="4371" y="2826"/>
                            </a:cubicBezTo>
                            <a:cubicBezTo>
                              <a:pt x="4371" y="2828"/>
                              <a:pt x="4373" y="2830"/>
                              <a:pt x="4379" y="2831"/>
                            </a:cubicBezTo>
                            <a:cubicBezTo>
                              <a:pt x="4385" y="2831"/>
                              <a:pt x="4389" y="2833"/>
                              <a:pt x="4391" y="2837"/>
                            </a:cubicBezTo>
                            <a:cubicBezTo>
                              <a:pt x="4394" y="2841"/>
                              <a:pt x="4391" y="2844"/>
                              <a:pt x="4399" y="2842"/>
                            </a:cubicBezTo>
                            <a:cubicBezTo>
                              <a:pt x="4406" y="2840"/>
                              <a:pt x="4408" y="2839"/>
                              <a:pt x="4413" y="2832"/>
                            </a:cubicBezTo>
                            <a:cubicBezTo>
                              <a:pt x="4418" y="2826"/>
                              <a:pt x="4421" y="2822"/>
                              <a:pt x="4428" y="2819"/>
                            </a:cubicBezTo>
                            <a:cubicBezTo>
                              <a:pt x="4435" y="2817"/>
                              <a:pt x="4441" y="2816"/>
                              <a:pt x="4450" y="2815"/>
                            </a:cubicBezTo>
                            <a:cubicBezTo>
                              <a:pt x="4459" y="2815"/>
                              <a:pt x="4467" y="2814"/>
                              <a:pt x="4471" y="2817"/>
                            </a:cubicBezTo>
                            <a:cubicBezTo>
                              <a:pt x="4475" y="2819"/>
                              <a:pt x="4483" y="2822"/>
                              <a:pt x="4486" y="2827"/>
                            </a:cubicBezTo>
                            <a:cubicBezTo>
                              <a:pt x="4488" y="2831"/>
                              <a:pt x="4492" y="2834"/>
                              <a:pt x="4493" y="2842"/>
                            </a:cubicBezTo>
                            <a:cubicBezTo>
                              <a:pt x="4495" y="2850"/>
                              <a:pt x="4490" y="2856"/>
                              <a:pt x="4490" y="2862"/>
                            </a:cubicBezTo>
                            <a:cubicBezTo>
                              <a:pt x="4489" y="2868"/>
                              <a:pt x="4489" y="2874"/>
                              <a:pt x="4487" y="2877"/>
                            </a:cubicBezTo>
                            <a:cubicBezTo>
                              <a:pt x="4484" y="2881"/>
                              <a:pt x="4474" y="2888"/>
                              <a:pt x="4467" y="2889"/>
                            </a:cubicBezTo>
                            <a:cubicBezTo>
                              <a:pt x="4461" y="2891"/>
                              <a:pt x="4454" y="2895"/>
                              <a:pt x="4447" y="2898"/>
                            </a:cubicBezTo>
                            <a:cubicBezTo>
                              <a:pt x="4440" y="2902"/>
                              <a:pt x="4431" y="2909"/>
                              <a:pt x="4428" y="2912"/>
                            </a:cubicBezTo>
                            <a:cubicBezTo>
                              <a:pt x="4426" y="2916"/>
                              <a:pt x="4426" y="2921"/>
                              <a:pt x="4431" y="2918"/>
                            </a:cubicBezTo>
                            <a:cubicBezTo>
                              <a:pt x="4435" y="2915"/>
                              <a:pt x="4440" y="2911"/>
                              <a:pt x="4446" y="2906"/>
                            </a:cubicBezTo>
                            <a:cubicBezTo>
                              <a:pt x="4452" y="2902"/>
                              <a:pt x="4464" y="2899"/>
                              <a:pt x="4469" y="2897"/>
                            </a:cubicBezTo>
                            <a:cubicBezTo>
                              <a:pt x="4475" y="2895"/>
                              <a:pt x="4476" y="2894"/>
                              <a:pt x="4483" y="2892"/>
                            </a:cubicBezTo>
                            <a:cubicBezTo>
                              <a:pt x="4490" y="2890"/>
                              <a:pt x="4495" y="2883"/>
                              <a:pt x="4494" y="2878"/>
                            </a:cubicBezTo>
                            <a:cubicBezTo>
                              <a:pt x="4494" y="2874"/>
                              <a:pt x="4498" y="2863"/>
                              <a:pt x="4500" y="2860"/>
                            </a:cubicBezTo>
                            <a:cubicBezTo>
                              <a:pt x="4502" y="2857"/>
                              <a:pt x="4501" y="2846"/>
                              <a:pt x="4508" y="2848"/>
                            </a:cubicBezTo>
                            <a:cubicBezTo>
                              <a:pt x="4515" y="2849"/>
                              <a:pt x="4515" y="2857"/>
                              <a:pt x="4516" y="2861"/>
                            </a:cubicBezTo>
                            <a:cubicBezTo>
                              <a:pt x="4516" y="2865"/>
                              <a:pt x="4513" y="2872"/>
                              <a:pt x="4510" y="2875"/>
                            </a:cubicBezTo>
                            <a:cubicBezTo>
                              <a:pt x="4506" y="2878"/>
                              <a:pt x="4500" y="2885"/>
                              <a:pt x="4501" y="2888"/>
                            </a:cubicBezTo>
                            <a:cubicBezTo>
                              <a:pt x="4503" y="2891"/>
                              <a:pt x="4505" y="2890"/>
                              <a:pt x="4509" y="2886"/>
                            </a:cubicBezTo>
                            <a:cubicBezTo>
                              <a:pt x="4513" y="2881"/>
                              <a:pt x="4522" y="2877"/>
                              <a:pt x="4522" y="2871"/>
                            </a:cubicBezTo>
                            <a:cubicBezTo>
                              <a:pt x="4523" y="2865"/>
                              <a:pt x="4525" y="2858"/>
                              <a:pt x="4528" y="2861"/>
                            </a:cubicBezTo>
                            <a:cubicBezTo>
                              <a:pt x="4531" y="2864"/>
                              <a:pt x="4529" y="2872"/>
                              <a:pt x="4529" y="2878"/>
                            </a:cubicBezTo>
                            <a:cubicBezTo>
                              <a:pt x="4529" y="2884"/>
                              <a:pt x="4528" y="2890"/>
                              <a:pt x="4526" y="2895"/>
                            </a:cubicBezTo>
                            <a:cubicBezTo>
                              <a:pt x="4525" y="2900"/>
                              <a:pt x="4529" y="2908"/>
                              <a:pt x="4530" y="2902"/>
                            </a:cubicBezTo>
                            <a:cubicBezTo>
                              <a:pt x="4532" y="2897"/>
                              <a:pt x="4534" y="2888"/>
                              <a:pt x="4537" y="2882"/>
                            </a:cubicBezTo>
                            <a:cubicBezTo>
                              <a:pt x="4540" y="2876"/>
                              <a:pt x="4548" y="2871"/>
                              <a:pt x="4552" y="2869"/>
                            </a:cubicBezTo>
                            <a:cubicBezTo>
                              <a:pt x="4555" y="2867"/>
                              <a:pt x="4566" y="2863"/>
                              <a:pt x="4570" y="2863"/>
                            </a:cubicBezTo>
                            <a:cubicBezTo>
                              <a:pt x="4575" y="2862"/>
                              <a:pt x="4585" y="2857"/>
                              <a:pt x="4589" y="2856"/>
                            </a:cubicBezTo>
                            <a:cubicBezTo>
                              <a:pt x="4594" y="2855"/>
                              <a:pt x="4600" y="2850"/>
                              <a:pt x="4600" y="2846"/>
                            </a:cubicBezTo>
                            <a:cubicBezTo>
                              <a:pt x="4601" y="2842"/>
                              <a:pt x="4602" y="2839"/>
                              <a:pt x="4606" y="2832"/>
                            </a:cubicBezTo>
                            <a:cubicBezTo>
                              <a:pt x="4610" y="2826"/>
                              <a:pt x="4611" y="2824"/>
                              <a:pt x="4615" y="2825"/>
                            </a:cubicBezTo>
                            <a:cubicBezTo>
                              <a:pt x="4619" y="2825"/>
                              <a:pt x="4624" y="2832"/>
                              <a:pt x="4626" y="2835"/>
                            </a:cubicBezTo>
                            <a:cubicBezTo>
                              <a:pt x="4628" y="2837"/>
                              <a:pt x="4630" y="2837"/>
                              <a:pt x="4631" y="2840"/>
                            </a:cubicBezTo>
                            <a:cubicBezTo>
                              <a:pt x="4633" y="2843"/>
                              <a:pt x="4633" y="2845"/>
                              <a:pt x="4633" y="2848"/>
                            </a:cubicBezTo>
                            <a:cubicBezTo>
                              <a:pt x="4633" y="2850"/>
                              <a:pt x="4632" y="2854"/>
                              <a:pt x="4631" y="2858"/>
                            </a:cubicBezTo>
                            <a:cubicBezTo>
                              <a:pt x="4630" y="2862"/>
                              <a:pt x="4629" y="2867"/>
                              <a:pt x="4631" y="2867"/>
                            </a:cubicBezTo>
                            <a:cubicBezTo>
                              <a:pt x="4634" y="2868"/>
                              <a:pt x="4638" y="2865"/>
                              <a:pt x="4638" y="2860"/>
                            </a:cubicBezTo>
                            <a:cubicBezTo>
                              <a:pt x="4639" y="2856"/>
                              <a:pt x="4641" y="2850"/>
                              <a:pt x="4643" y="2848"/>
                            </a:cubicBezTo>
                            <a:cubicBezTo>
                              <a:pt x="4645" y="2845"/>
                              <a:pt x="4648" y="2846"/>
                              <a:pt x="4646" y="2843"/>
                            </a:cubicBezTo>
                            <a:cubicBezTo>
                              <a:pt x="4645" y="2839"/>
                              <a:pt x="4639" y="2837"/>
                              <a:pt x="4640" y="2833"/>
                            </a:cubicBezTo>
                            <a:cubicBezTo>
                              <a:pt x="4641" y="2829"/>
                              <a:pt x="4643" y="2825"/>
                              <a:pt x="4645" y="2825"/>
                            </a:cubicBezTo>
                            <a:cubicBezTo>
                              <a:pt x="4647" y="2824"/>
                              <a:pt x="4650" y="2823"/>
                              <a:pt x="4649" y="2820"/>
                            </a:cubicBezTo>
                            <a:cubicBezTo>
                              <a:pt x="4648" y="2817"/>
                              <a:pt x="4645" y="2816"/>
                              <a:pt x="4646" y="2814"/>
                            </a:cubicBezTo>
                            <a:cubicBezTo>
                              <a:pt x="4646" y="2812"/>
                              <a:pt x="4646" y="2810"/>
                              <a:pt x="4649" y="2810"/>
                            </a:cubicBezTo>
                            <a:cubicBezTo>
                              <a:pt x="4652" y="2811"/>
                              <a:pt x="4655" y="2812"/>
                              <a:pt x="4657" y="2811"/>
                            </a:cubicBezTo>
                            <a:cubicBezTo>
                              <a:pt x="4659" y="2809"/>
                              <a:pt x="4658" y="2806"/>
                              <a:pt x="4660" y="2806"/>
                            </a:cubicBezTo>
                            <a:cubicBezTo>
                              <a:pt x="4661" y="2805"/>
                              <a:pt x="4663" y="2805"/>
                              <a:pt x="4665" y="2804"/>
                            </a:cubicBezTo>
                            <a:cubicBezTo>
                              <a:pt x="4667" y="2804"/>
                              <a:pt x="4669" y="2804"/>
                              <a:pt x="4671" y="2804"/>
                            </a:cubicBezTo>
                            <a:cubicBezTo>
                              <a:pt x="4673" y="2803"/>
                              <a:pt x="4675" y="2805"/>
                              <a:pt x="4675" y="2803"/>
                            </a:cubicBezTo>
                            <a:cubicBezTo>
                              <a:pt x="4675" y="2800"/>
                              <a:pt x="4673" y="2799"/>
                              <a:pt x="4670" y="2798"/>
                            </a:cubicBezTo>
                            <a:cubicBezTo>
                              <a:pt x="4668" y="2798"/>
                              <a:pt x="4661" y="2797"/>
                              <a:pt x="4660" y="2795"/>
                            </a:cubicBezTo>
                            <a:cubicBezTo>
                              <a:pt x="4659" y="2792"/>
                              <a:pt x="4658" y="2791"/>
                              <a:pt x="4661" y="2790"/>
                            </a:cubicBezTo>
                            <a:cubicBezTo>
                              <a:pt x="4664" y="2789"/>
                              <a:pt x="4668" y="2788"/>
                              <a:pt x="4671" y="2786"/>
                            </a:cubicBezTo>
                            <a:cubicBezTo>
                              <a:pt x="4673" y="2784"/>
                              <a:pt x="4675" y="2783"/>
                              <a:pt x="4676" y="2781"/>
                            </a:cubicBezTo>
                            <a:cubicBezTo>
                              <a:pt x="4676" y="2778"/>
                              <a:pt x="4676" y="2773"/>
                              <a:pt x="4677" y="2772"/>
                            </a:cubicBezTo>
                            <a:cubicBezTo>
                              <a:pt x="4677" y="2772"/>
                              <a:pt x="4684" y="2770"/>
                              <a:pt x="4687" y="2771"/>
                            </a:cubicBezTo>
                            <a:cubicBezTo>
                              <a:pt x="4690" y="2771"/>
                              <a:pt x="4696" y="2774"/>
                              <a:pt x="4698" y="2771"/>
                            </a:cubicBezTo>
                            <a:cubicBezTo>
                              <a:pt x="4700" y="2768"/>
                              <a:pt x="4686" y="2764"/>
                              <a:pt x="4684" y="2762"/>
                            </a:cubicBezTo>
                            <a:cubicBezTo>
                              <a:pt x="4683" y="2760"/>
                              <a:pt x="4677" y="2756"/>
                              <a:pt x="4676" y="2755"/>
                            </a:cubicBezTo>
                            <a:cubicBezTo>
                              <a:pt x="4675" y="2754"/>
                              <a:pt x="4671" y="2748"/>
                              <a:pt x="4670" y="2743"/>
                            </a:cubicBezTo>
                            <a:cubicBezTo>
                              <a:pt x="4669" y="2739"/>
                              <a:pt x="4669" y="2735"/>
                              <a:pt x="4670" y="2733"/>
                            </a:cubicBezTo>
                            <a:cubicBezTo>
                              <a:pt x="4672" y="2730"/>
                              <a:pt x="4673" y="2728"/>
                              <a:pt x="4679" y="2729"/>
                            </a:cubicBezTo>
                            <a:cubicBezTo>
                              <a:pt x="4685" y="2731"/>
                              <a:pt x="4687" y="2734"/>
                              <a:pt x="4692" y="2735"/>
                            </a:cubicBezTo>
                            <a:cubicBezTo>
                              <a:pt x="4697" y="2735"/>
                              <a:pt x="4699" y="2734"/>
                              <a:pt x="4698" y="2733"/>
                            </a:cubicBezTo>
                            <a:cubicBezTo>
                              <a:pt x="4697" y="2731"/>
                              <a:pt x="4692" y="2729"/>
                              <a:pt x="4692" y="2727"/>
                            </a:cubicBezTo>
                            <a:cubicBezTo>
                              <a:pt x="4691" y="2725"/>
                              <a:pt x="4689" y="2724"/>
                              <a:pt x="4692" y="2722"/>
                            </a:cubicBezTo>
                            <a:cubicBezTo>
                              <a:pt x="4694" y="2719"/>
                              <a:pt x="4695" y="2718"/>
                              <a:pt x="4698" y="2718"/>
                            </a:cubicBezTo>
                            <a:cubicBezTo>
                              <a:pt x="4701" y="2718"/>
                              <a:pt x="4703" y="2718"/>
                              <a:pt x="4704" y="2718"/>
                            </a:cubicBezTo>
                            <a:cubicBezTo>
                              <a:pt x="4706" y="2718"/>
                              <a:pt x="4707" y="2718"/>
                              <a:pt x="4708" y="2716"/>
                            </a:cubicBezTo>
                            <a:cubicBezTo>
                              <a:pt x="4708" y="2714"/>
                              <a:pt x="4706" y="2713"/>
                              <a:pt x="4705" y="2712"/>
                            </a:cubicBezTo>
                            <a:cubicBezTo>
                              <a:pt x="4703" y="2710"/>
                              <a:pt x="4702" y="2708"/>
                              <a:pt x="4702" y="2706"/>
                            </a:cubicBezTo>
                            <a:cubicBezTo>
                              <a:pt x="4702" y="2705"/>
                              <a:pt x="4701" y="2703"/>
                              <a:pt x="4703" y="2701"/>
                            </a:cubicBezTo>
                            <a:cubicBezTo>
                              <a:pt x="4705" y="2699"/>
                              <a:pt x="4706" y="2697"/>
                              <a:pt x="4706" y="2695"/>
                            </a:cubicBezTo>
                            <a:cubicBezTo>
                              <a:pt x="4707" y="2694"/>
                              <a:pt x="4708" y="2689"/>
                              <a:pt x="4709" y="2689"/>
                            </a:cubicBezTo>
                            <a:cubicBezTo>
                              <a:pt x="4711" y="2688"/>
                              <a:pt x="4713" y="2686"/>
                              <a:pt x="4714" y="2688"/>
                            </a:cubicBezTo>
                            <a:cubicBezTo>
                              <a:pt x="4715" y="2690"/>
                              <a:pt x="4716" y="2695"/>
                              <a:pt x="4715" y="2697"/>
                            </a:cubicBezTo>
                            <a:cubicBezTo>
                              <a:pt x="4714" y="2699"/>
                              <a:pt x="4713" y="2702"/>
                              <a:pt x="4714" y="2704"/>
                            </a:cubicBezTo>
                            <a:cubicBezTo>
                              <a:pt x="4715" y="2705"/>
                              <a:pt x="4714" y="2707"/>
                              <a:pt x="4715" y="2709"/>
                            </a:cubicBezTo>
                            <a:cubicBezTo>
                              <a:pt x="4716" y="2712"/>
                              <a:pt x="4718" y="2712"/>
                              <a:pt x="4719" y="2714"/>
                            </a:cubicBezTo>
                            <a:cubicBezTo>
                              <a:pt x="4721" y="2717"/>
                              <a:pt x="4723" y="2717"/>
                              <a:pt x="4723" y="2721"/>
                            </a:cubicBezTo>
                            <a:cubicBezTo>
                              <a:pt x="4724" y="2724"/>
                              <a:pt x="4723" y="2726"/>
                              <a:pt x="4726" y="2726"/>
                            </a:cubicBezTo>
                            <a:cubicBezTo>
                              <a:pt x="4729" y="2725"/>
                              <a:pt x="4733" y="2726"/>
                              <a:pt x="4734" y="2723"/>
                            </a:cubicBezTo>
                            <a:cubicBezTo>
                              <a:pt x="4735" y="2721"/>
                              <a:pt x="4736" y="2719"/>
                              <a:pt x="4737" y="2718"/>
                            </a:cubicBezTo>
                            <a:cubicBezTo>
                              <a:pt x="4739" y="2717"/>
                              <a:pt x="4741" y="2714"/>
                              <a:pt x="4742" y="2716"/>
                            </a:cubicBezTo>
                            <a:cubicBezTo>
                              <a:pt x="4743" y="2719"/>
                              <a:pt x="4744" y="2720"/>
                              <a:pt x="4743" y="2722"/>
                            </a:cubicBezTo>
                            <a:cubicBezTo>
                              <a:pt x="4741" y="2725"/>
                              <a:pt x="4741" y="2725"/>
                              <a:pt x="4742" y="2727"/>
                            </a:cubicBezTo>
                            <a:cubicBezTo>
                              <a:pt x="4744" y="2730"/>
                              <a:pt x="4746" y="2731"/>
                              <a:pt x="4745" y="2734"/>
                            </a:cubicBezTo>
                            <a:cubicBezTo>
                              <a:pt x="4745" y="2736"/>
                              <a:pt x="4744" y="2739"/>
                              <a:pt x="4745" y="2740"/>
                            </a:cubicBezTo>
                            <a:cubicBezTo>
                              <a:pt x="4747" y="2741"/>
                              <a:pt x="4750" y="2741"/>
                              <a:pt x="4751" y="2743"/>
                            </a:cubicBezTo>
                            <a:cubicBezTo>
                              <a:pt x="4751" y="2746"/>
                              <a:pt x="4752" y="2748"/>
                              <a:pt x="4752" y="2751"/>
                            </a:cubicBezTo>
                            <a:cubicBezTo>
                              <a:pt x="4752" y="2754"/>
                              <a:pt x="4749" y="2757"/>
                              <a:pt x="4752" y="2758"/>
                            </a:cubicBezTo>
                            <a:cubicBezTo>
                              <a:pt x="4755" y="2758"/>
                              <a:pt x="4758" y="2759"/>
                              <a:pt x="4761" y="2758"/>
                            </a:cubicBezTo>
                            <a:cubicBezTo>
                              <a:pt x="4764" y="2758"/>
                              <a:pt x="4770" y="2759"/>
                              <a:pt x="4771" y="2760"/>
                            </a:cubicBezTo>
                            <a:cubicBezTo>
                              <a:pt x="4772" y="2762"/>
                              <a:pt x="4773" y="2765"/>
                              <a:pt x="4772" y="2765"/>
                            </a:cubicBezTo>
                            <a:cubicBezTo>
                              <a:pt x="4771" y="2766"/>
                              <a:pt x="4763" y="2767"/>
                              <a:pt x="4762" y="2768"/>
                            </a:cubicBezTo>
                            <a:cubicBezTo>
                              <a:pt x="4761" y="2769"/>
                              <a:pt x="4760" y="2772"/>
                              <a:pt x="4762" y="2773"/>
                            </a:cubicBezTo>
                            <a:cubicBezTo>
                              <a:pt x="4763" y="2774"/>
                              <a:pt x="4767" y="2772"/>
                              <a:pt x="4769" y="2774"/>
                            </a:cubicBezTo>
                            <a:cubicBezTo>
                              <a:pt x="4770" y="2776"/>
                              <a:pt x="4772" y="2777"/>
                              <a:pt x="4772" y="2780"/>
                            </a:cubicBezTo>
                            <a:cubicBezTo>
                              <a:pt x="4772" y="2782"/>
                              <a:pt x="4773" y="2782"/>
                              <a:pt x="4777" y="2783"/>
                            </a:cubicBezTo>
                            <a:cubicBezTo>
                              <a:pt x="4781" y="2783"/>
                              <a:pt x="4782" y="2782"/>
                              <a:pt x="4784" y="2785"/>
                            </a:cubicBezTo>
                            <a:cubicBezTo>
                              <a:pt x="4785" y="2787"/>
                              <a:pt x="4781" y="2786"/>
                              <a:pt x="4788" y="2790"/>
                            </a:cubicBezTo>
                            <a:cubicBezTo>
                              <a:pt x="4794" y="2794"/>
                              <a:pt x="4789" y="2796"/>
                              <a:pt x="4788" y="2796"/>
                            </a:cubicBezTo>
                            <a:cubicBezTo>
                              <a:pt x="4787" y="2796"/>
                              <a:pt x="4782" y="2796"/>
                              <a:pt x="4778" y="2796"/>
                            </a:cubicBezTo>
                            <a:cubicBezTo>
                              <a:pt x="4774" y="2796"/>
                              <a:pt x="4770" y="2795"/>
                              <a:pt x="4765" y="2797"/>
                            </a:cubicBezTo>
                            <a:cubicBezTo>
                              <a:pt x="4760" y="2798"/>
                              <a:pt x="4758" y="2799"/>
                              <a:pt x="4759" y="2802"/>
                            </a:cubicBezTo>
                            <a:cubicBezTo>
                              <a:pt x="4759" y="2806"/>
                              <a:pt x="4758" y="2812"/>
                              <a:pt x="4763" y="2811"/>
                            </a:cubicBezTo>
                            <a:cubicBezTo>
                              <a:pt x="4769" y="2811"/>
                              <a:pt x="4769" y="2805"/>
                              <a:pt x="4771" y="2804"/>
                            </a:cubicBezTo>
                            <a:cubicBezTo>
                              <a:pt x="4772" y="2803"/>
                              <a:pt x="4775" y="2803"/>
                              <a:pt x="4781" y="2803"/>
                            </a:cubicBezTo>
                            <a:cubicBezTo>
                              <a:pt x="4788" y="2803"/>
                              <a:pt x="4790" y="2805"/>
                              <a:pt x="4794" y="2803"/>
                            </a:cubicBezTo>
                            <a:cubicBezTo>
                              <a:pt x="4798" y="2800"/>
                              <a:pt x="4798" y="2796"/>
                              <a:pt x="4804" y="2799"/>
                            </a:cubicBezTo>
                            <a:cubicBezTo>
                              <a:pt x="4810" y="2801"/>
                              <a:pt x="4811" y="2802"/>
                              <a:pt x="4809" y="2804"/>
                            </a:cubicBezTo>
                            <a:cubicBezTo>
                              <a:pt x="4806" y="2807"/>
                              <a:pt x="4804" y="2805"/>
                              <a:pt x="4804" y="2810"/>
                            </a:cubicBezTo>
                            <a:cubicBezTo>
                              <a:pt x="4803" y="2815"/>
                              <a:pt x="4801" y="2817"/>
                              <a:pt x="4803" y="2820"/>
                            </a:cubicBezTo>
                            <a:cubicBezTo>
                              <a:pt x="4805" y="2823"/>
                              <a:pt x="4809" y="2823"/>
                              <a:pt x="4812" y="2822"/>
                            </a:cubicBezTo>
                            <a:cubicBezTo>
                              <a:pt x="4816" y="2822"/>
                              <a:pt x="4821" y="2819"/>
                              <a:pt x="4823" y="2821"/>
                            </a:cubicBezTo>
                            <a:cubicBezTo>
                              <a:pt x="4825" y="2824"/>
                              <a:pt x="4823" y="2825"/>
                              <a:pt x="4822" y="2828"/>
                            </a:cubicBezTo>
                            <a:cubicBezTo>
                              <a:pt x="4821" y="2831"/>
                              <a:pt x="4821" y="2832"/>
                              <a:pt x="4824" y="2835"/>
                            </a:cubicBezTo>
                            <a:cubicBezTo>
                              <a:pt x="4826" y="2837"/>
                              <a:pt x="4826" y="2840"/>
                              <a:pt x="4824" y="2842"/>
                            </a:cubicBezTo>
                            <a:cubicBezTo>
                              <a:pt x="4823" y="2844"/>
                              <a:pt x="4819" y="2845"/>
                              <a:pt x="4817" y="2846"/>
                            </a:cubicBezTo>
                            <a:cubicBezTo>
                              <a:pt x="4814" y="2848"/>
                              <a:pt x="4810" y="2849"/>
                              <a:pt x="4805" y="2849"/>
                            </a:cubicBezTo>
                            <a:cubicBezTo>
                              <a:pt x="4800" y="2849"/>
                              <a:pt x="4793" y="2848"/>
                              <a:pt x="4791" y="2850"/>
                            </a:cubicBezTo>
                            <a:cubicBezTo>
                              <a:pt x="4790" y="2852"/>
                              <a:pt x="4791" y="2853"/>
                              <a:pt x="4792" y="2855"/>
                            </a:cubicBezTo>
                            <a:cubicBezTo>
                              <a:pt x="4793" y="2857"/>
                              <a:pt x="4792" y="2858"/>
                              <a:pt x="4790" y="2860"/>
                            </a:cubicBezTo>
                            <a:cubicBezTo>
                              <a:pt x="4788" y="2861"/>
                              <a:pt x="4784" y="2864"/>
                              <a:pt x="4784" y="2867"/>
                            </a:cubicBezTo>
                            <a:cubicBezTo>
                              <a:pt x="4784" y="2869"/>
                              <a:pt x="4787" y="2869"/>
                              <a:pt x="4789" y="2868"/>
                            </a:cubicBezTo>
                            <a:cubicBezTo>
                              <a:pt x="4792" y="2867"/>
                              <a:pt x="4798" y="2862"/>
                              <a:pt x="4801" y="2859"/>
                            </a:cubicBezTo>
                            <a:cubicBezTo>
                              <a:pt x="4804" y="2857"/>
                              <a:pt x="4809" y="2853"/>
                              <a:pt x="4810" y="2856"/>
                            </a:cubicBezTo>
                            <a:cubicBezTo>
                              <a:pt x="4812" y="2859"/>
                              <a:pt x="4807" y="2862"/>
                              <a:pt x="4812" y="2862"/>
                            </a:cubicBezTo>
                            <a:cubicBezTo>
                              <a:pt x="4817" y="2862"/>
                              <a:pt x="4821" y="2860"/>
                              <a:pt x="4822" y="2859"/>
                            </a:cubicBezTo>
                            <a:cubicBezTo>
                              <a:pt x="4824" y="2857"/>
                              <a:pt x="4823" y="2855"/>
                              <a:pt x="4828" y="2854"/>
                            </a:cubicBezTo>
                            <a:cubicBezTo>
                              <a:pt x="4834" y="2853"/>
                              <a:pt x="4834" y="2853"/>
                              <a:pt x="4839" y="2853"/>
                            </a:cubicBezTo>
                            <a:cubicBezTo>
                              <a:pt x="4844" y="2853"/>
                              <a:pt x="4849" y="2852"/>
                              <a:pt x="4849" y="2856"/>
                            </a:cubicBezTo>
                            <a:cubicBezTo>
                              <a:pt x="4850" y="2859"/>
                              <a:pt x="4849" y="2864"/>
                              <a:pt x="4844" y="2866"/>
                            </a:cubicBezTo>
                            <a:cubicBezTo>
                              <a:pt x="4840" y="2868"/>
                              <a:pt x="4831" y="2869"/>
                              <a:pt x="4828" y="2871"/>
                            </a:cubicBezTo>
                            <a:cubicBezTo>
                              <a:pt x="4825" y="2873"/>
                              <a:pt x="4825" y="2876"/>
                              <a:pt x="4823" y="2877"/>
                            </a:cubicBezTo>
                            <a:cubicBezTo>
                              <a:pt x="4821" y="2879"/>
                              <a:pt x="4816" y="2883"/>
                              <a:pt x="4812" y="2883"/>
                            </a:cubicBezTo>
                            <a:cubicBezTo>
                              <a:pt x="4808" y="2884"/>
                              <a:pt x="4802" y="2887"/>
                              <a:pt x="4801" y="2890"/>
                            </a:cubicBezTo>
                            <a:cubicBezTo>
                              <a:pt x="4800" y="2893"/>
                              <a:pt x="4800" y="2895"/>
                              <a:pt x="4802" y="2897"/>
                            </a:cubicBezTo>
                            <a:cubicBezTo>
                              <a:pt x="4805" y="2899"/>
                              <a:pt x="4808" y="2900"/>
                              <a:pt x="4810" y="2898"/>
                            </a:cubicBezTo>
                            <a:cubicBezTo>
                              <a:pt x="4812" y="2896"/>
                              <a:pt x="4814" y="2893"/>
                              <a:pt x="4817" y="2891"/>
                            </a:cubicBezTo>
                            <a:cubicBezTo>
                              <a:pt x="4819" y="2888"/>
                              <a:pt x="4824" y="2888"/>
                              <a:pt x="4826" y="2887"/>
                            </a:cubicBezTo>
                            <a:cubicBezTo>
                              <a:pt x="4827" y="2886"/>
                              <a:pt x="4828" y="2882"/>
                              <a:pt x="4831" y="2882"/>
                            </a:cubicBezTo>
                            <a:cubicBezTo>
                              <a:pt x="4835" y="2881"/>
                              <a:pt x="4842" y="2882"/>
                              <a:pt x="4845" y="2882"/>
                            </a:cubicBezTo>
                            <a:cubicBezTo>
                              <a:pt x="4847" y="2883"/>
                              <a:pt x="4851" y="2882"/>
                              <a:pt x="4852" y="2886"/>
                            </a:cubicBezTo>
                            <a:cubicBezTo>
                              <a:pt x="4853" y="2889"/>
                              <a:pt x="4852" y="2892"/>
                              <a:pt x="4850" y="2893"/>
                            </a:cubicBezTo>
                            <a:cubicBezTo>
                              <a:pt x="4849" y="2894"/>
                              <a:pt x="4845" y="2895"/>
                              <a:pt x="4843" y="2897"/>
                            </a:cubicBezTo>
                            <a:cubicBezTo>
                              <a:pt x="4842" y="2899"/>
                              <a:pt x="4840" y="2900"/>
                              <a:pt x="4841" y="2901"/>
                            </a:cubicBezTo>
                            <a:cubicBezTo>
                              <a:pt x="4843" y="2903"/>
                              <a:pt x="4844" y="2902"/>
                              <a:pt x="4847" y="2902"/>
                            </a:cubicBezTo>
                            <a:cubicBezTo>
                              <a:pt x="4850" y="2902"/>
                              <a:pt x="4853" y="2903"/>
                              <a:pt x="4854" y="2905"/>
                            </a:cubicBezTo>
                            <a:cubicBezTo>
                              <a:pt x="4856" y="2908"/>
                              <a:pt x="4857" y="2907"/>
                              <a:pt x="4860" y="2907"/>
                            </a:cubicBezTo>
                            <a:cubicBezTo>
                              <a:pt x="4863" y="2907"/>
                              <a:pt x="4867" y="2907"/>
                              <a:pt x="4869" y="2910"/>
                            </a:cubicBezTo>
                            <a:cubicBezTo>
                              <a:pt x="4872" y="2912"/>
                              <a:pt x="4873" y="2915"/>
                              <a:pt x="4874" y="2916"/>
                            </a:cubicBezTo>
                            <a:cubicBezTo>
                              <a:pt x="4876" y="2917"/>
                              <a:pt x="4879" y="2919"/>
                              <a:pt x="4881" y="2921"/>
                            </a:cubicBezTo>
                            <a:cubicBezTo>
                              <a:pt x="4882" y="2923"/>
                              <a:pt x="4882" y="2925"/>
                              <a:pt x="4882" y="2926"/>
                            </a:cubicBezTo>
                            <a:cubicBezTo>
                              <a:pt x="4882" y="2927"/>
                              <a:pt x="4882" y="2932"/>
                              <a:pt x="4877" y="2933"/>
                            </a:cubicBezTo>
                            <a:cubicBezTo>
                              <a:pt x="4872" y="2934"/>
                              <a:pt x="4868" y="2934"/>
                              <a:pt x="4866" y="2937"/>
                            </a:cubicBezTo>
                            <a:cubicBezTo>
                              <a:pt x="4864" y="2940"/>
                              <a:pt x="4863" y="2940"/>
                              <a:pt x="4859" y="2939"/>
                            </a:cubicBezTo>
                            <a:cubicBezTo>
                              <a:pt x="4856" y="2939"/>
                              <a:pt x="4855" y="2936"/>
                              <a:pt x="4851" y="2936"/>
                            </a:cubicBezTo>
                            <a:cubicBezTo>
                              <a:pt x="4847" y="2937"/>
                              <a:pt x="4846" y="2940"/>
                              <a:pt x="4848" y="2942"/>
                            </a:cubicBezTo>
                            <a:cubicBezTo>
                              <a:pt x="4850" y="2943"/>
                              <a:pt x="4854" y="2944"/>
                              <a:pt x="4857" y="2946"/>
                            </a:cubicBezTo>
                            <a:cubicBezTo>
                              <a:pt x="4860" y="2949"/>
                              <a:pt x="4862" y="2950"/>
                              <a:pt x="4866" y="2948"/>
                            </a:cubicBezTo>
                            <a:cubicBezTo>
                              <a:pt x="4869" y="2945"/>
                              <a:pt x="4872" y="2943"/>
                              <a:pt x="4874" y="2944"/>
                            </a:cubicBezTo>
                            <a:cubicBezTo>
                              <a:pt x="4875" y="2944"/>
                              <a:pt x="4878" y="2945"/>
                              <a:pt x="4881" y="2947"/>
                            </a:cubicBezTo>
                            <a:cubicBezTo>
                              <a:pt x="4883" y="2949"/>
                              <a:pt x="4887" y="2947"/>
                              <a:pt x="4888" y="2950"/>
                            </a:cubicBezTo>
                            <a:cubicBezTo>
                              <a:pt x="4889" y="2952"/>
                              <a:pt x="4890" y="2955"/>
                              <a:pt x="4888" y="2956"/>
                            </a:cubicBezTo>
                            <a:cubicBezTo>
                              <a:pt x="4886" y="2958"/>
                              <a:pt x="4882" y="2959"/>
                              <a:pt x="4882" y="2961"/>
                            </a:cubicBezTo>
                            <a:cubicBezTo>
                              <a:pt x="4882" y="2964"/>
                              <a:pt x="4882" y="2966"/>
                              <a:pt x="4886" y="2967"/>
                            </a:cubicBezTo>
                            <a:cubicBezTo>
                              <a:pt x="4889" y="2968"/>
                              <a:pt x="4892" y="2972"/>
                              <a:pt x="4895" y="2972"/>
                            </a:cubicBezTo>
                            <a:cubicBezTo>
                              <a:pt x="4898" y="2973"/>
                              <a:pt x="4900" y="2973"/>
                              <a:pt x="4903" y="2973"/>
                            </a:cubicBezTo>
                            <a:cubicBezTo>
                              <a:pt x="4907" y="2973"/>
                              <a:pt x="4908" y="2972"/>
                              <a:pt x="4911" y="2974"/>
                            </a:cubicBezTo>
                            <a:cubicBezTo>
                              <a:pt x="4914" y="2976"/>
                              <a:pt x="4917" y="2977"/>
                              <a:pt x="4919" y="2979"/>
                            </a:cubicBezTo>
                            <a:cubicBezTo>
                              <a:pt x="4921" y="2981"/>
                              <a:pt x="4920" y="2985"/>
                              <a:pt x="4917" y="2985"/>
                            </a:cubicBezTo>
                            <a:cubicBezTo>
                              <a:pt x="4915" y="2985"/>
                              <a:pt x="4911" y="2984"/>
                              <a:pt x="4909" y="2986"/>
                            </a:cubicBezTo>
                            <a:cubicBezTo>
                              <a:pt x="4907" y="2988"/>
                              <a:pt x="4906" y="2991"/>
                              <a:pt x="4904" y="2993"/>
                            </a:cubicBezTo>
                            <a:cubicBezTo>
                              <a:pt x="4901" y="2996"/>
                              <a:pt x="4895" y="2999"/>
                              <a:pt x="4893" y="3002"/>
                            </a:cubicBezTo>
                            <a:cubicBezTo>
                              <a:pt x="4892" y="3006"/>
                              <a:pt x="4888" y="3007"/>
                              <a:pt x="4886" y="3007"/>
                            </a:cubicBezTo>
                            <a:cubicBezTo>
                              <a:pt x="4883" y="3007"/>
                              <a:pt x="4875" y="3009"/>
                              <a:pt x="4874" y="3007"/>
                            </a:cubicBezTo>
                            <a:cubicBezTo>
                              <a:pt x="4873" y="3004"/>
                              <a:pt x="4873" y="3002"/>
                              <a:pt x="4876" y="3002"/>
                            </a:cubicBezTo>
                            <a:cubicBezTo>
                              <a:pt x="4879" y="3002"/>
                              <a:pt x="4882" y="3001"/>
                              <a:pt x="4882" y="2998"/>
                            </a:cubicBezTo>
                            <a:cubicBezTo>
                              <a:pt x="4881" y="2996"/>
                              <a:pt x="4873" y="2994"/>
                              <a:pt x="4869" y="2995"/>
                            </a:cubicBezTo>
                            <a:cubicBezTo>
                              <a:pt x="4864" y="2996"/>
                              <a:pt x="4864" y="2997"/>
                              <a:pt x="4858" y="2996"/>
                            </a:cubicBezTo>
                            <a:cubicBezTo>
                              <a:pt x="4853" y="2996"/>
                              <a:pt x="4849" y="2997"/>
                              <a:pt x="4848" y="3000"/>
                            </a:cubicBezTo>
                            <a:cubicBezTo>
                              <a:pt x="4847" y="3003"/>
                              <a:pt x="4845" y="3005"/>
                              <a:pt x="4849" y="3006"/>
                            </a:cubicBezTo>
                            <a:cubicBezTo>
                              <a:pt x="4854" y="3007"/>
                              <a:pt x="4856" y="3006"/>
                              <a:pt x="4859" y="3009"/>
                            </a:cubicBezTo>
                            <a:cubicBezTo>
                              <a:pt x="4861" y="3012"/>
                              <a:pt x="4864" y="3010"/>
                              <a:pt x="4866" y="3015"/>
                            </a:cubicBezTo>
                            <a:cubicBezTo>
                              <a:pt x="4867" y="3020"/>
                              <a:pt x="4867" y="3022"/>
                              <a:pt x="4870" y="3023"/>
                            </a:cubicBezTo>
                            <a:cubicBezTo>
                              <a:pt x="4873" y="3024"/>
                              <a:pt x="4876" y="3024"/>
                              <a:pt x="4879" y="3024"/>
                            </a:cubicBezTo>
                            <a:cubicBezTo>
                              <a:pt x="4882" y="3024"/>
                              <a:pt x="4888" y="3021"/>
                              <a:pt x="4889" y="3024"/>
                            </a:cubicBezTo>
                            <a:cubicBezTo>
                              <a:pt x="4890" y="3026"/>
                              <a:pt x="4887" y="3028"/>
                              <a:pt x="4886" y="3029"/>
                            </a:cubicBezTo>
                            <a:cubicBezTo>
                              <a:pt x="4884" y="3029"/>
                              <a:pt x="4880" y="3030"/>
                              <a:pt x="4880" y="3031"/>
                            </a:cubicBezTo>
                            <a:cubicBezTo>
                              <a:pt x="4879" y="3033"/>
                              <a:pt x="4880" y="3035"/>
                              <a:pt x="4882" y="3036"/>
                            </a:cubicBezTo>
                            <a:cubicBezTo>
                              <a:pt x="4885" y="3037"/>
                              <a:pt x="4887" y="3035"/>
                              <a:pt x="4890" y="3037"/>
                            </a:cubicBezTo>
                            <a:cubicBezTo>
                              <a:pt x="4894" y="3040"/>
                              <a:pt x="4896" y="3041"/>
                              <a:pt x="4895" y="3043"/>
                            </a:cubicBezTo>
                            <a:cubicBezTo>
                              <a:pt x="4894" y="3044"/>
                              <a:pt x="4891" y="3045"/>
                              <a:pt x="4889" y="3045"/>
                            </a:cubicBezTo>
                            <a:cubicBezTo>
                              <a:pt x="4887" y="3045"/>
                              <a:pt x="4882" y="3043"/>
                              <a:pt x="4882" y="3047"/>
                            </a:cubicBezTo>
                            <a:cubicBezTo>
                              <a:pt x="4881" y="3051"/>
                              <a:pt x="4884" y="3053"/>
                              <a:pt x="4885" y="3054"/>
                            </a:cubicBezTo>
                            <a:cubicBezTo>
                              <a:pt x="4887" y="3054"/>
                              <a:pt x="4890" y="3054"/>
                              <a:pt x="4893" y="3054"/>
                            </a:cubicBezTo>
                            <a:cubicBezTo>
                              <a:pt x="4896" y="3054"/>
                              <a:pt x="4903" y="3054"/>
                              <a:pt x="4908" y="3055"/>
                            </a:cubicBezTo>
                            <a:cubicBezTo>
                              <a:pt x="4913" y="3056"/>
                              <a:pt x="4916" y="3055"/>
                              <a:pt x="4917" y="3058"/>
                            </a:cubicBezTo>
                            <a:cubicBezTo>
                              <a:pt x="4917" y="3061"/>
                              <a:pt x="4920" y="3060"/>
                              <a:pt x="4917" y="3064"/>
                            </a:cubicBezTo>
                            <a:cubicBezTo>
                              <a:pt x="4915" y="3068"/>
                              <a:pt x="4913" y="3070"/>
                              <a:pt x="4914" y="3072"/>
                            </a:cubicBezTo>
                            <a:cubicBezTo>
                              <a:pt x="4916" y="3074"/>
                              <a:pt x="4916" y="3075"/>
                              <a:pt x="4921" y="3075"/>
                            </a:cubicBezTo>
                            <a:cubicBezTo>
                              <a:pt x="4926" y="3076"/>
                              <a:pt x="4927" y="3075"/>
                              <a:pt x="4929" y="3078"/>
                            </a:cubicBezTo>
                            <a:cubicBezTo>
                              <a:pt x="4932" y="3081"/>
                              <a:pt x="4932" y="3084"/>
                              <a:pt x="4934" y="3086"/>
                            </a:cubicBezTo>
                            <a:cubicBezTo>
                              <a:pt x="4935" y="3087"/>
                              <a:pt x="4938" y="3088"/>
                              <a:pt x="4941" y="3088"/>
                            </a:cubicBezTo>
                            <a:cubicBezTo>
                              <a:pt x="4944" y="3088"/>
                              <a:pt x="4947" y="3087"/>
                              <a:pt x="4947" y="3090"/>
                            </a:cubicBezTo>
                            <a:cubicBezTo>
                              <a:pt x="4948" y="3093"/>
                              <a:pt x="4946" y="3094"/>
                              <a:pt x="4948" y="3095"/>
                            </a:cubicBezTo>
                            <a:cubicBezTo>
                              <a:pt x="4950" y="3097"/>
                              <a:pt x="4955" y="3097"/>
                              <a:pt x="4957" y="3096"/>
                            </a:cubicBezTo>
                            <a:cubicBezTo>
                              <a:pt x="4958" y="3095"/>
                              <a:pt x="4960" y="3092"/>
                              <a:pt x="4963" y="3094"/>
                            </a:cubicBezTo>
                            <a:cubicBezTo>
                              <a:pt x="4965" y="3097"/>
                              <a:pt x="4965" y="3099"/>
                              <a:pt x="4965" y="3101"/>
                            </a:cubicBezTo>
                            <a:cubicBezTo>
                              <a:pt x="4964" y="3103"/>
                              <a:pt x="4962" y="3106"/>
                              <a:pt x="4964" y="3107"/>
                            </a:cubicBezTo>
                            <a:cubicBezTo>
                              <a:pt x="4965" y="3108"/>
                              <a:pt x="4967" y="3109"/>
                              <a:pt x="4969" y="3108"/>
                            </a:cubicBezTo>
                            <a:cubicBezTo>
                              <a:pt x="4971" y="3107"/>
                              <a:pt x="4973" y="3104"/>
                              <a:pt x="4974" y="3104"/>
                            </a:cubicBezTo>
                            <a:cubicBezTo>
                              <a:pt x="4975" y="3104"/>
                              <a:pt x="4978" y="3106"/>
                              <a:pt x="4978" y="3107"/>
                            </a:cubicBezTo>
                            <a:cubicBezTo>
                              <a:pt x="4979" y="3109"/>
                              <a:pt x="4979" y="3114"/>
                              <a:pt x="4979" y="3115"/>
                            </a:cubicBezTo>
                            <a:cubicBezTo>
                              <a:pt x="4979" y="3117"/>
                              <a:pt x="4979" y="3121"/>
                              <a:pt x="4979" y="3123"/>
                            </a:cubicBezTo>
                            <a:cubicBezTo>
                              <a:pt x="4979" y="3125"/>
                              <a:pt x="4977" y="3131"/>
                              <a:pt x="4974" y="3133"/>
                            </a:cubicBezTo>
                            <a:cubicBezTo>
                              <a:pt x="4971" y="3136"/>
                              <a:pt x="4971" y="3137"/>
                              <a:pt x="4969" y="3140"/>
                            </a:cubicBezTo>
                            <a:cubicBezTo>
                              <a:pt x="4968" y="3143"/>
                              <a:pt x="4967" y="3146"/>
                              <a:pt x="4967" y="3149"/>
                            </a:cubicBezTo>
                            <a:cubicBezTo>
                              <a:pt x="4967" y="3151"/>
                              <a:pt x="4964" y="3154"/>
                              <a:pt x="4963" y="3155"/>
                            </a:cubicBezTo>
                            <a:cubicBezTo>
                              <a:pt x="4962" y="3157"/>
                              <a:pt x="4960" y="3161"/>
                              <a:pt x="4963" y="3161"/>
                            </a:cubicBezTo>
                            <a:cubicBezTo>
                              <a:pt x="4967" y="3160"/>
                              <a:pt x="4974" y="3161"/>
                              <a:pt x="4974" y="3156"/>
                            </a:cubicBezTo>
                            <a:cubicBezTo>
                              <a:pt x="4974" y="3152"/>
                              <a:pt x="4975" y="3148"/>
                              <a:pt x="4977" y="3147"/>
                            </a:cubicBezTo>
                            <a:cubicBezTo>
                              <a:pt x="4979" y="3147"/>
                              <a:pt x="4983" y="3147"/>
                              <a:pt x="4984" y="3145"/>
                            </a:cubicBezTo>
                            <a:cubicBezTo>
                              <a:pt x="4986" y="3143"/>
                              <a:pt x="4987" y="3140"/>
                              <a:pt x="4990" y="3140"/>
                            </a:cubicBezTo>
                            <a:cubicBezTo>
                              <a:pt x="4992" y="3141"/>
                              <a:pt x="4994" y="3143"/>
                              <a:pt x="4993" y="3145"/>
                            </a:cubicBezTo>
                            <a:cubicBezTo>
                              <a:pt x="4992" y="3147"/>
                              <a:pt x="4990" y="3147"/>
                              <a:pt x="4988" y="3150"/>
                            </a:cubicBezTo>
                            <a:cubicBezTo>
                              <a:pt x="4986" y="3153"/>
                              <a:pt x="4984" y="3157"/>
                              <a:pt x="4987" y="3158"/>
                            </a:cubicBezTo>
                            <a:cubicBezTo>
                              <a:pt x="4989" y="3158"/>
                              <a:pt x="4990" y="3159"/>
                              <a:pt x="4993" y="3157"/>
                            </a:cubicBezTo>
                            <a:cubicBezTo>
                              <a:pt x="4996" y="3155"/>
                              <a:pt x="4998" y="3151"/>
                              <a:pt x="4998" y="3149"/>
                            </a:cubicBezTo>
                            <a:cubicBezTo>
                              <a:pt x="4998" y="3147"/>
                              <a:pt x="5001" y="3146"/>
                              <a:pt x="5004" y="3145"/>
                            </a:cubicBezTo>
                            <a:cubicBezTo>
                              <a:pt x="5006" y="3144"/>
                              <a:pt x="5007" y="3143"/>
                              <a:pt x="5008" y="3141"/>
                            </a:cubicBezTo>
                            <a:cubicBezTo>
                              <a:pt x="5009" y="3140"/>
                              <a:pt x="5013" y="3137"/>
                              <a:pt x="5015" y="3139"/>
                            </a:cubicBezTo>
                            <a:cubicBezTo>
                              <a:pt x="5017" y="3141"/>
                              <a:pt x="5018" y="3143"/>
                              <a:pt x="5017" y="3144"/>
                            </a:cubicBezTo>
                            <a:cubicBezTo>
                              <a:pt x="5015" y="3145"/>
                              <a:pt x="5013" y="3145"/>
                              <a:pt x="5012" y="3146"/>
                            </a:cubicBezTo>
                            <a:cubicBezTo>
                              <a:pt x="5011" y="3147"/>
                              <a:pt x="5009" y="3150"/>
                              <a:pt x="5010" y="3151"/>
                            </a:cubicBezTo>
                            <a:cubicBezTo>
                              <a:pt x="5011" y="3153"/>
                              <a:pt x="5012" y="3154"/>
                              <a:pt x="5014" y="3153"/>
                            </a:cubicBezTo>
                            <a:cubicBezTo>
                              <a:pt x="5015" y="3151"/>
                              <a:pt x="5015" y="3149"/>
                              <a:pt x="5018" y="3148"/>
                            </a:cubicBezTo>
                            <a:cubicBezTo>
                              <a:pt x="5021" y="3148"/>
                              <a:pt x="5024" y="3148"/>
                              <a:pt x="5025" y="3150"/>
                            </a:cubicBezTo>
                            <a:cubicBezTo>
                              <a:pt x="5027" y="3151"/>
                              <a:pt x="5030" y="3152"/>
                              <a:pt x="5027" y="3155"/>
                            </a:cubicBezTo>
                            <a:cubicBezTo>
                              <a:pt x="5025" y="3157"/>
                              <a:pt x="5022" y="3157"/>
                              <a:pt x="5019" y="3159"/>
                            </a:cubicBezTo>
                            <a:cubicBezTo>
                              <a:pt x="5017" y="3162"/>
                              <a:pt x="5015" y="3166"/>
                              <a:pt x="5015" y="3168"/>
                            </a:cubicBezTo>
                            <a:cubicBezTo>
                              <a:pt x="5015" y="3171"/>
                              <a:pt x="5013" y="3171"/>
                              <a:pt x="5011" y="3173"/>
                            </a:cubicBezTo>
                            <a:cubicBezTo>
                              <a:pt x="5010" y="3176"/>
                              <a:pt x="5008" y="3180"/>
                              <a:pt x="5010" y="3180"/>
                            </a:cubicBezTo>
                            <a:cubicBezTo>
                              <a:pt x="5013" y="3181"/>
                              <a:pt x="5016" y="3182"/>
                              <a:pt x="5017" y="3180"/>
                            </a:cubicBezTo>
                            <a:cubicBezTo>
                              <a:pt x="5019" y="3177"/>
                              <a:pt x="5018" y="3172"/>
                              <a:pt x="5020" y="3171"/>
                            </a:cubicBezTo>
                            <a:cubicBezTo>
                              <a:pt x="5022" y="3169"/>
                              <a:pt x="5028" y="3166"/>
                              <a:pt x="5030" y="3165"/>
                            </a:cubicBezTo>
                            <a:cubicBezTo>
                              <a:pt x="5031" y="3165"/>
                              <a:pt x="5036" y="3160"/>
                              <a:pt x="5038" y="3160"/>
                            </a:cubicBezTo>
                            <a:cubicBezTo>
                              <a:pt x="5040" y="3159"/>
                              <a:pt x="5046" y="3160"/>
                              <a:pt x="5048" y="3160"/>
                            </a:cubicBezTo>
                            <a:cubicBezTo>
                              <a:pt x="5050" y="3160"/>
                              <a:pt x="5055" y="3158"/>
                              <a:pt x="5058" y="3156"/>
                            </a:cubicBezTo>
                            <a:cubicBezTo>
                              <a:pt x="5061" y="3155"/>
                              <a:pt x="5067" y="3152"/>
                              <a:pt x="5069" y="3153"/>
                            </a:cubicBezTo>
                            <a:cubicBezTo>
                              <a:pt x="5072" y="3154"/>
                              <a:pt x="5072" y="3161"/>
                              <a:pt x="5072" y="3163"/>
                            </a:cubicBezTo>
                            <a:cubicBezTo>
                              <a:pt x="5071" y="3165"/>
                              <a:pt x="5066" y="3164"/>
                              <a:pt x="5067" y="3168"/>
                            </a:cubicBezTo>
                            <a:cubicBezTo>
                              <a:pt x="5069" y="3171"/>
                              <a:pt x="5069" y="3175"/>
                              <a:pt x="5077" y="3175"/>
                            </a:cubicBezTo>
                            <a:cubicBezTo>
                              <a:pt x="5084" y="3176"/>
                              <a:pt x="5089" y="3174"/>
                              <a:pt x="5093" y="3178"/>
                            </a:cubicBezTo>
                            <a:cubicBezTo>
                              <a:pt x="5097" y="3181"/>
                              <a:pt x="5101" y="3182"/>
                              <a:pt x="5105" y="3181"/>
                            </a:cubicBezTo>
                            <a:cubicBezTo>
                              <a:pt x="5108" y="3181"/>
                              <a:pt x="5109" y="3179"/>
                              <a:pt x="5114" y="3179"/>
                            </a:cubicBezTo>
                            <a:cubicBezTo>
                              <a:pt x="5119" y="3179"/>
                              <a:pt x="5123" y="3177"/>
                              <a:pt x="5127" y="3180"/>
                            </a:cubicBezTo>
                            <a:cubicBezTo>
                              <a:pt x="5130" y="3183"/>
                              <a:pt x="5134" y="3182"/>
                              <a:pt x="5139" y="3184"/>
                            </a:cubicBezTo>
                            <a:cubicBezTo>
                              <a:pt x="5144" y="3187"/>
                              <a:pt x="5145" y="3188"/>
                              <a:pt x="5148" y="3189"/>
                            </a:cubicBezTo>
                            <a:cubicBezTo>
                              <a:pt x="5151" y="3191"/>
                              <a:pt x="5157" y="3191"/>
                              <a:pt x="5159" y="3193"/>
                            </a:cubicBezTo>
                            <a:cubicBezTo>
                              <a:pt x="5162" y="3195"/>
                              <a:pt x="5165" y="3193"/>
                              <a:pt x="5165" y="3197"/>
                            </a:cubicBezTo>
                            <a:cubicBezTo>
                              <a:pt x="5166" y="3200"/>
                              <a:pt x="5158" y="3200"/>
                              <a:pt x="5154" y="3201"/>
                            </a:cubicBezTo>
                            <a:cubicBezTo>
                              <a:pt x="5150" y="3203"/>
                              <a:pt x="5148" y="3203"/>
                              <a:pt x="5148" y="3205"/>
                            </a:cubicBezTo>
                            <a:cubicBezTo>
                              <a:pt x="5148" y="3208"/>
                              <a:pt x="5141" y="3211"/>
                              <a:pt x="5137" y="3211"/>
                            </a:cubicBezTo>
                            <a:cubicBezTo>
                              <a:pt x="5133" y="3211"/>
                              <a:pt x="5124" y="3210"/>
                              <a:pt x="5122" y="3211"/>
                            </a:cubicBezTo>
                            <a:cubicBezTo>
                              <a:pt x="5120" y="3213"/>
                              <a:pt x="5120" y="3216"/>
                              <a:pt x="5118" y="3217"/>
                            </a:cubicBezTo>
                            <a:cubicBezTo>
                              <a:pt x="5116" y="3219"/>
                              <a:pt x="5107" y="3222"/>
                              <a:pt x="5106" y="3223"/>
                            </a:cubicBezTo>
                            <a:cubicBezTo>
                              <a:pt x="5104" y="3223"/>
                              <a:pt x="5104" y="3226"/>
                              <a:pt x="5093" y="3227"/>
                            </a:cubicBezTo>
                            <a:cubicBezTo>
                              <a:pt x="5083" y="3228"/>
                              <a:pt x="5069" y="3231"/>
                              <a:pt x="5061" y="3232"/>
                            </a:cubicBezTo>
                            <a:cubicBezTo>
                              <a:pt x="5053" y="3233"/>
                              <a:pt x="5036" y="3233"/>
                              <a:pt x="5034" y="3235"/>
                            </a:cubicBezTo>
                            <a:cubicBezTo>
                              <a:pt x="5032" y="3237"/>
                              <a:pt x="5033" y="3242"/>
                              <a:pt x="5038" y="3242"/>
                            </a:cubicBezTo>
                            <a:cubicBezTo>
                              <a:pt x="5042" y="3243"/>
                              <a:pt x="5047" y="3240"/>
                              <a:pt x="5053" y="3240"/>
                            </a:cubicBezTo>
                            <a:cubicBezTo>
                              <a:pt x="5058" y="3240"/>
                              <a:pt x="5063" y="3240"/>
                              <a:pt x="5063" y="3242"/>
                            </a:cubicBezTo>
                            <a:cubicBezTo>
                              <a:pt x="5063" y="3244"/>
                              <a:pt x="5058" y="3245"/>
                              <a:pt x="5052" y="3248"/>
                            </a:cubicBezTo>
                            <a:cubicBezTo>
                              <a:pt x="5047" y="3251"/>
                              <a:pt x="5042" y="3257"/>
                              <a:pt x="5039" y="3257"/>
                            </a:cubicBezTo>
                            <a:cubicBezTo>
                              <a:pt x="5036" y="3258"/>
                              <a:pt x="5028" y="3257"/>
                              <a:pt x="5024" y="3258"/>
                            </a:cubicBezTo>
                            <a:cubicBezTo>
                              <a:pt x="5020" y="3258"/>
                              <a:pt x="5008" y="3262"/>
                              <a:pt x="5006" y="3265"/>
                            </a:cubicBezTo>
                            <a:cubicBezTo>
                              <a:pt x="5004" y="3267"/>
                              <a:pt x="5003" y="3274"/>
                              <a:pt x="4999" y="3275"/>
                            </a:cubicBezTo>
                            <a:cubicBezTo>
                              <a:pt x="4995" y="3277"/>
                              <a:pt x="4990" y="3279"/>
                              <a:pt x="4987" y="3276"/>
                            </a:cubicBezTo>
                            <a:cubicBezTo>
                              <a:pt x="4984" y="3273"/>
                              <a:pt x="4976" y="3266"/>
                              <a:pt x="4972" y="3266"/>
                            </a:cubicBezTo>
                            <a:cubicBezTo>
                              <a:pt x="4967" y="3266"/>
                              <a:pt x="4960" y="3261"/>
                              <a:pt x="4957" y="3259"/>
                            </a:cubicBezTo>
                            <a:cubicBezTo>
                              <a:pt x="4954" y="3257"/>
                              <a:pt x="4948" y="3261"/>
                              <a:pt x="4948" y="3265"/>
                            </a:cubicBezTo>
                            <a:cubicBezTo>
                              <a:pt x="4949" y="3269"/>
                              <a:pt x="4948" y="3273"/>
                              <a:pt x="4954" y="3272"/>
                            </a:cubicBezTo>
                            <a:cubicBezTo>
                              <a:pt x="4959" y="3272"/>
                              <a:pt x="4965" y="3270"/>
                              <a:pt x="4969" y="3273"/>
                            </a:cubicBezTo>
                            <a:cubicBezTo>
                              <a:pt x="4973" y="3275"/>
                              <a:pt x="4973" y="3275"/>
                              <a:pt x="4977" y="3278"/>
                            </a:cubicBezTo>
                            <a:cubicBezTo>
                              <a:pt x="4982" y="3282"/>
                              <a:pt x="4991" y="3285"/>
                              <a:pt x="4994" y="3286"/>
                            </a:cubicBezTo>
                            <a:cubicBezTo>
                              <a:pt x="4997" y="3287"/>
                              <a:pt x="5000" y="3288"/>
                              <a:pt x="4998" y="3289"/>
                            </a:cubicBezTo>
                            <a:cubicBezTo>
                              <a:pt x="4995" y="3291"/>
                              <a:pt x="4988" y="3291"/>
                              <a:pt x="4985" y="3293"/>
                            </a:cubicBezTo>
                            <a:cubicBezTo>
                              <a:pt x="4983" y="3294"/>
                              <a:pt x="4978" y="3299"/>
                              <a:pt x="4979" y="3302"/>
                            </a:cubicBezTo>
                            <a:cubicBezTo>
                              <a:pt x="4980" y="3304"/>
                              <a:pt x="4987" y="3308"/>
                              <a:pt x="4992" y="3308"/>
                            </a:cubicBezTo>
                            <a:cubicBezTo>
                              <a:pt x="4997" y="3307"/>
                              <a:pt x="5005" y="3303"/>
                              <a:pt x="5006" y="3300"/>
                            </a:cubicBezTo>
                            <a:cubicBezTo>
                              <a:pt x="5007" y="3296"/>
                              <a:pt x="5011" y="3290"/>
                              <a:pt x="5014" y="3289"/>
                            </a:cubicBezTo>
                            <a:cubicBezTo>
                              <a:pt x="5018" y="3287"/>
                              <a:pt x="5023" y="3288"/>
                              <a:pt x="5027" y="3286"/>
                            </a:cubicBezTo>
                            <a:cubicBezTo>
                              <a:pt x="5032" y="3285"/>
                              <a:pt x="5036" y="3283"/>
                              <a:pt x="5038" y="3280"/>
                            </a:cubicBezTo>
                            <a:cubicBezTo>
                              <a:pt x="5040" y="3277"/>
                              <a:pt x="5044" y="3273"/>
                              <a:pt x="5046" y="3273"/>
                            </a:cubicBezTo>
                            <a:cubicBezTo>
                              <a:pt x="5049" y="3273"/>
                              <a:pt x="5054" y="3272"/>
                              <a:pt x="5059" y="3271"/>
                            </a:cubicBezTo>
                            <a:cubicBezTo>
                              <a:pt x="5063" y="3270"/>
                              <a:pt x="5068" y="3264"/>
                              <a:pt x="5068" y="3260"/>
                            </a:cubicBezTo>
                            <a:cubicBezTo>
                              <a:pt x="5069" y="3256"/>
                              <a:pt x="5075" y="3252"/>
                              <a:pt x="5077" y="3250"/>
                            </a:cubicBezTo>
                            <a:cubicBezTo>
                              <a:pt x="5079" y="3248"/>
                              <a:pt x="5084" y="3246"/>
                              <a:pt x="5087" y="3244"/>
                            </a:cubicBezTo>
                            <a:cubicBezTo>
                              <a:pt x="5090" y="3242"/>
                              <a:pt x="5091" y="3240"/>
                              <a:pt x="5098" y="3241"/>
                            </a:cubicBezTo>
                            <a:cubicBezTo>
                              <a:pt x="5105" y="3241"/>
                              <a:pt x="5109" y="3243"/>
                              <a:pt x="5113" y="3239"/>
                            </a:cubicBezTo>
                            <a:cubicBezTo>
                              <a:pt x="5117" y="3236"/>
                              <a:pt x="5133" y="3241"/>
                              <a:pt x="5134" y="3238"/>
                            </a:cubicBezTo>
                            <a:cubicBezTo>
                              <a:pt x="5136" y="3235"/>
                              <a:pt x="5132" y="3232"/>
                              <a:pt x="5129" y="3232"/>
                            </a:cubicBezTo>
                            <a:cubicBezTo>
                              <a:pt x="5126" y="3232"/>
                              <a:pt x="5126" y="3229"/>
                              <a:pt x="5127" y="3227"/>
                            </a:cubicBezTo>
                            <a:cubicBezTo>
                              <a:pt x="5129" y="3225"/>
                              <a:pt x="5134" y="3226"/>
                              <a:pt x="5141" y="3227"/>
                            </a:cubicBezTo>
                            <a:cubicBezTo>
                              <a:pt x="5148" y="3227"/>
                              <a:pt x="5156" y="3228"/>
                              <a:pt x="5162" y="3233"/>
                            </a:cubicBezTo>
                            <a:cubicBezTo>
                              <a:pt x="5168" y="3238"/>
                              <a:pt x="5168" y="3237"/>
                              <a:pt x="5173" y="3242"/>
                            </a:cubicBezTo>
                            <a:cubicBezTo>
                              <a:pt x="5178" y="3247"/>
                              <a:pt x="5183" y="3248"/>
                              <a:pt x="5181" y="3252"/>
                            </a:cubicBezTo>
                            <a:cubicBezTo>
                              <a:pt x="5179" y="3256"/>
                              <a:pt x="5175" y="3257"/>
                              <a:pt x="5172" y="3262"/>
                            </a:cubicBezTo>
                            <a:cubicBezTo>
                              <a:pt x="5168" y="3266"/>
                              <a:pt x="5164" y="3266"/>
                              <a:pt x="5163" y="3271"/>
                            </a:cubicBezTo>
                            <a:cubicBezTo>
                              <a:pt x="5162" y="3276"/>
                              <a:pt x="5160" y="3280"/>
                              <a:pt x="5165" y="3281"/>
                            </a:cubicBezTo>
                            <a:cubicBezTo>
                              <a:pt x="5169" y="3282"/>
                              <a:pt x="5176" y="3277"/>
                              <a:pt x="5180" y="3274"/>
                            </a:cubicBezTo>
                            <a:cubicBezTo>
                              <a:pt x="5184" y="3272"/>
                              <a:pt x="5185" y="3267"/>
                              <a:pt x="5190" y="3266"/>
                            </a:cubicBezTo>
                            <a:cubicBezTo>
                              <a:pt x="5195" y="3265"/>
                              <a:pt x="5201" y="3262"/>
                              <a:pt x="5206" y="3266"/>
                            </a:cubicBezTo>
                            <a:cubicBezTo>
                              <a:pt x="5212" y="3269"/>
                              <a:pt x="5211" y="3265"/>
                              <a:pt x="5216" y="3269"/>
                            </a:cubicBezTo>
                            <a:cubicBezTo>
                              <a:pt x="5221" y="3273"/>
                              <a:pt x="5217" y="3273"/>
                              <a:pt x="5225" y="3276"/>
                            </a:cubicBezTo>
                            <a:cubicBezTo>
                              <a:pt x="5233" y="3278"/>
                              <a:pt x="5237" y="3275"/>
                              <a:pt x="5240" y="3278"/>
                            </a:cubicBezTo>
                            <a:cubicBezTo>
                              <a:pt x="5243" y="3281"/>
                              <a:pt x="5243" y="3284"/>
                              <a:pt x="5244" y="3287"/>
                            </a:cubicBezTo>
                            <a:cubicBezTo>
                              <a:pt x="5245" y="3290"/>
                              <a:pt x="5246" y="3293"/>
                              <a:pt x="5250" y="3295"/>
                            </a:cubicBezTo>
                            <a:cubicBezTo>
                              <a:pt x="5254" y="3296"/>
                              <a:pt x="5259" y="3294"/>
                              <a:pt x="5263" y="3298"/>
                            </a:cubicBezTo>
                            <a:cubicBezTo>
                              <a:pt x="5266" y="3301"/>
                              <a:pt x="5268" y="3304"/>
                              <a:pt x="5268" y="3307"/>
                            </a:cubicBezTo>
                            <a:cubicBezTo>
                              <a:pt x="5268" y="3310"/>
                              <a:pt x="5267" y="3315"/>
                              <a:pt x="5263" y="3318"/>
                            </a:cubicBezTo>
                            <a:cubicBezTo>
                              <a:pt x="5260" y="3320"/>
                              <a:pt x="5254" y="3321"/>
                              <a:pt x="5252" y="3325"/>
                            </a:cubicBezTo>
                            <a:cubicBezTo>
                              <a:pt x="5251" y="3328"/>
                              <a:pt x="5253" y="3332"/>
                              <a:pt x="5255" y="3333"/>
                            </a:cubicBezTo>
                            <a:cubicBezTo>
                              <a:pt x="5257" y="3335"/>
                              <a:pt x="5261" y="3335"/>
                              <a:pt x="5263" y="3337"/>
                            </a:cubicBezTo>
                            <a:cubicBezTo>
                              <a:pt x="5264" y="3339"/>
                              <a:pt x="5264" y="3340"/>
                              <a:pt x="5262" y="3342"/>
                            </a:cubicBezTo>
                            <a:cubicBezTo>
                              <a:pt x="5260" y="3343"/>
                              <a:pt x="5249" y="3343"/>
                              <a:pt x="5249" y="3345"/>
                            </a:cubicBezTo>
                            <a:cubicBezTo>
                              <a:pt x="5249" y="3347"/>
                              <a:pt x="5251" y="3349"/>
                              <a:pt x="5254" y="3351"/>
                            </a:cubicBezTo>
                            <a:cubicBezTo>
                              <a:pt x="5257" y="3353"/>
                              <a:pt x="5262" y="3352"/>
                              <a:pt x="5261" y="3355"/>
                            </a:cubicBezTo>
                            <a:cubicBezTo>
                              <a:pt x="5260" y="3358"/>
                              <a:pt x="5255" y="3361"/>
                              <a:pt x="5253" y="3362"/>
                            </a:cubicBezTo>
                            <a:cubicBezTo>
                              <a:pt x="5252" y="3363"/>
                              <a:pt x="5245" y="3363"/>
                              <a:pt x="5242" y="3363"/>
                            </a:cubicBezTo>
                            <a:cubicBezTo>
                              <a:pt x="5239" y="3363"/>
                              <a:pt x="5232" y="3362"/>
                              <a:pt x="5234" y="3365"/>
                            </a:cubicBezTo>
                            <a:cubicBezTo>
                              <a:pt x="5237" y="3368"/>
                              <a:pt x="5242" y="3368"/>
                              <a:pt x="5246" y="3368"/>
                            </a:cubicBezTo>
                            <a:cubicBezTo>
                              <a:pt x="5250" y="3369"/>
                              <a:pt x="5256" y="3368"/>
                              <a:pt x="5259" y="3370"/>
                            </a:cubicBezTo>
                            <a:cubicBezTo>
                              <a:pt x="5261" y="3372"/>
                              <a:pt x="5267" y="3372"/>
                              <a:pt x="5269" y="3374"/>
                            </a:cubicBezTo>
                            <a:cubicBezTo>
                              <a:pt x="5271" y="3377"/>
                              <a:pt x="5274" y="3378"/>
                              <a:pt x="5270" y="3379"/>
                            </a:cubicBezTo>
                            <a:cubicBezTo>
                              <a:pt x="5265" y="3380"/>
                              <a:pt x="5259" y="3379"/>
                              <a:pt x="5257" y="3379"/>
                            </a:cubicBezTo>
                            <a:cubicBezTo>
                              <a:pt x="5256" y="3379"/>
                              <a:pt x="5249" y="3375"/>
                              <a:pt x="5248" y="3377"/>
                            </a:cubicBezTo>
                            <a:cubicBezTo>
                              <a:pt x="5247" y="3378"/>
                              <a:pt x="5244" y="3380"/>
                              <a:pt x="5248" y="3382"/>
                            </a:cubicBezTo>
                            <a:cubicBezTo>
                              <a:pt x="5252" y="3384"/>
                              <a:pt x="5261" y="3385"/>
                              <a:pt x="5263" y="3387"/>
                            </a:cubicBezTo>
                            <a:cubicBezTo>
                              <a:pt x="5266" y="3389"/>
                              <a:pt x="5270" y="3387"/>
                              <a:pt x="5270" y="3393"/>
                            </a:cubicBezTo>
                            <a:cubicBezTo>
                              <a:pt x="5270" y="3399"/>
                              <a:pt x="5264" y="3402"/>
                              <a:pt x="5264" y="3404"/>
                            </a:cubicBezTo>
                            <a:cubicBezTo>
                              <a:pt x="5263" y="3407"/>
                              <a:pt x="5259" y="3412"/>
                              <a:pt x="5254" y="3418"/>
                            </a:cubicBezTo>
                            <a:cubicBezTo>
                              <a:pt x="5249" y="3424"/>
                              <a:pt x="5239" y="3429"/>
                              <a:pt x="5235" y="3430"/>
                            </a:cubicBezTo>
                            <a:cubicBezTo>
                              <a:pt x="5231" y="3431"/>
                              <a:pt x="5223" y="3438"/>
                              <a:pt x="5218" y="3441"/>
                            </a:cubicBezTo>
                            <a:cubicBezTo>
                              <a:pt x="5214" y="3445"/>
                              <a:pt x="5204" y="3448"/>
                              <a:pt x="5201" y="3451"/>
                            </a:cubicBezTo>
                            <a:cubicBezTo>
                              <a:pt x="5198" y="3454"/>
                              <a:pt x="5189" y="3457"/>
                              <a:pt x="5184" y="3457"/>
                            </a:cubicBezTo>
                            <a:cubicBezTo>
                              <a:pt x="5180" y="3457"/>
                              <a:pt x="5174" y="3456"/>
                              <a:pt x="5167" y="3455"/>
                            </a:cubicBezTo>
                            <a:cubicBezTo>
                              <a:pt x="5159" y="3454"/>
                              <a:pt x="5143" y="3452"/>
                              <a:pt x="5139" y="3454"/>
                            </a:cubicBezTo>
                            <a:cubicBezTo>
                              <a:pt x="5135" y="3456"/>
                              <a:pt x="5126" y="3459"/>
                              <a:pt x="5120" y="3461"/>
                            </a:cubicBezTo>
                            <a:cubicBezTo>
                              <a:pt x="5115" y="3463"/>
                              <a:pt x="5101" y="3468"/>
                              <a:pt x="5098" y="3471"/>
                            </a:cubicBezTo>
                            <a:cubicBezTo>
                              <a:pt x="5095" y="3474"/>
                              <a:pt x="5089" y="3475"/>
                              <a:pt x="5087" y="3479"/>
                            </a:cubicBezTo>
                            <a:cubicBezTo>
                              <a:pt x="5084" y="3483"/>
                              <a:pt x="5075" y="3488"/>
                              <a:pt x="5073" y="3492"/>
                            </a:cubicBezTo>
                            <a:cubicBezTo>
                              <a:pt x="5071" y="3496"/>
                              <a:pt x="5071" y="3505"/>
                              <a:pt x="5069" y="3509"/>
                            </a:cubicBezTo>
                            <a:cubicBezTo>
                              <a:pt x="5067" y="3513"/>
                              <a:pt x="5066" y="3513"/>
                              <a:pt x="5063" y="3512"/>
                            </a:cubicBezTo>
                            <a:cubicBezTo>
                              <a:pt x="5061" y="3512"/>
                              <a:pt x="5059" y="3511"/>
                              <a:pt x="5056" y="3512"/>
                            </a:cubicBezTo>
                            <a:cubicBezTo>
                              <a:pt x="5053" y="3513"/>
                              <a:pt x="5045" y="3515"/>
                              <a:pt x="5043" y="3518"/>
                            </a:cubicBezTo>
                            <a:cubicBezTo>
                              <a:pt x="5041" y="3521"/>
                              <a:pt x="5038" y="3526"/>
                              <a:pt x="5035" y="3529"/>
                            </a:cubicBezTo>
                            <a:cubicBezTo>
                              <a:pt x="5033" y="3531"/>
                              <a:pt x="5029" y="3535"/>
                              <a:pt x="5025" y="3537"/>
                            </a:cubicBezTo>
                            <a:cubicBezTo>
                              <a:pt x="5021" y="3539"/>
                              <a:pt x="5015" y="3544"/>
                              <a:pt x="5013" y="3546"/>
                            </a:cubicBezTo>
                            <a:cubicBezTo>
                              <a:pt x="5011" y="3549"/>
                              <a:pt x="5007" y="3554"/>
                              <a:pt x="5002" y="3554"/>
                            </a:cubicBezTo>
                            <a:cubicBezTo>
                              <a:pt x="4996" y="3555"/>
                              <a:pt x="4982" y="3556"/>
                              <a:pt x="4980" y="3555"/>
                            </a:cubicBezTo>
                            <a:cubicBezTo>
                              <a:pt x="4977" y="3554"/>
                              <a:pt x="4958" y="3555"/>
                              <a:pt x="4951" y="3556"/>
                            </a:cubicBezTo>
                            <a:cubicBezTo>
                              <a:pt x="4945" y="3558"/>
                              <a:pt x="4940" y="3558"/>
                              <a:pt x="4934" y="3561"/>
                            </a:cubicBezTo>
                            <a:cubicBezTo>
                              <a:pt x="4928" y="3564"/>
                              <a:pt x="4920" y="3565"/>
                              <a:pt x="4918" y="3565"/>
                            </a:cubicBezTo>
                            <a:cubicBezTo>
                              <a:pt x="4915" y="3565"/>
                              <a:pt x="4914" y="3567"/>
                              <a:pt x="4907" y="3566"/>
                            </a:cubicBezTo>
                            <a:cubicBezTo>
                              <a:pt x="4900" y="3565"/>
                              <a:pt x="4898" y="3561"/>
                              <a:pt x="4891" y="3558"/>
                            </a:cubicBezTo>
                            <a:cubicBezTo>
                              <a:pt x="4884" y="3555"/>
                              <a:pt x="4873" y="3555"/>
                              <a:pt x="4866" y="3555"/>
                            </a:cubicBezTo>
                            <a:cubicBezTo>
                              <a:pt x="4860" y="3555"/>
                              <a:pt x="4852" y="3555"/>
                              <a:pt x="4847" y="3553"/>
                            </a:cubicBezTo>
                            <a:cubicBezTo>
                              <a:pt x="4842" y="3550"/>
                              <a:pt x="4833" y="3552"/>
                              <a:pt x="4826" y="3553"/>
                            </a:cubicBezTo>
                            <a:cubicBezTo>
                              <a:pt x="4819" y="3555"/>
                              <a:pt x="4811" y="3559"/>
                              <a:pt x="4805" y="3558"/>
                            </a:cubicBezTo>
                            <a:cubicBezTo>
                              <a:pt x="4798" y="3557"/>
                              <a:pt x="4795" y="3557"/>
                              <a:pt x="4791" y="3555"/>
                            </a:cubicBezTo>
                            <a:cubicBezTo>
                              <a:pt x="4787" y="3553"/>
                              <a:pt x="4782" y="3552"/>
                              <a:pt x="4773" y="3551"/>
                            </a:cubicBezTo>
                            <a:cubicBezTo>
                              <a:pt x="4764" y="3551"/>
                              <a:pt x="4723" y="3549"/>
                              <a:pt x="4717" y="3550"/>
                            </a:cubicBezTo>
                            <a:cubicBezTo>
                              <a:pt x="4710" y="3551"/>
                              <a:pt x="4698" y="3551"/>
                              <a:pt x="4689" y="3551"/>
                            </a:cubicBezTo>
                            <a:cubicBezTo>
                              <a:pt x="4680" y="3551"/>
                              <a:pt x="4668" y="3552"/>
                              <a:pt x="4662" y="3555"/>
                            </a:cubicBezTo>
                            <a:cubicBezTo>
                              <a:pt x="4657" y="3558"/>
                              <a:pt x="4650" y="3557"/>
                              <a:pt x="4645" y="3558"/>
                            </a:cubicBezTo>
                            <a:cubicBezTo>
                              <a:pt x="4639" y="3559"/>
                              <a:pt x="4635" y="3561"/>
                              <a:pt x="4626" y="3559"/>
                            </a:cubicBezTo>
                            <a:cubicBezTo>
                              <a:pt x="4618" y="3557"/>
                              <a:pt x="4614" y="3553"/>
                              <a:pt x="4610" y="3553"/>
                            </a:cubicBezTo>
                            <a:cubicBezTo>
                              <a:pt x="4605" y="3553"/>
                              <a:pt x="4596" y="3562"/>
                              <a:pt x="4591" y="3566"/>
                            </a:cubicBezTo>
                            <a:cubicBezTo>
                              <a:pt x="4586" y="3569"/>
                              <a:pt x="4578" y="3575"/>
                              <a:pt x="4574" y="3581"/>
                            </a:cubicBezTo>
                            <a:cubicBezTo>
                              <a:pt x="4570" y="3586"/>
                              <a:pt x="4561" y="3590"/>
                              <a:pt x="4561" y="3597"/>
                            </a:cubicBezTo>
                            <a:cubicBezTo>
                              <a:pt x="4561" y="3605"/>
                              <a:pt x="4564" y="3613"/>
                              <a:pt x="4560" y="3616"/>
                            </a:cubicBezTo>
                            <a:cubicBezTo>
                              <a:pt x="4555" y="3619"/>
                              <a:pt x="4548" y="3617"/>
                              <a:pt x="4543" y="3620"/>
                            </a:cubicBezTo>
                            <a:cubicBezTo>
                              <a:pt x="4537" y="3622"/>
                              <a:pt x="4536" y="3627"/>
                              <a:pt x="4532" y="3627"/>
                            </a:cubicBezTo>
                            <a:cubicBezTo>
                              <a:pt x="4528" y="3628"/>
                              <a:pt x="4518" y="3626"/>
                              <a:pt x="4514" y="3629"/>
                            </a:cubicBezTo>
                            <a:cubicBezTo>
                              <a:pt x="4510" y="3632"/>
                              <a:pt x="4507" y="3632"/>
                              <a:pt x="4504" y="3636"/>
                            </a:cubicBezTo>
                            <a:cubicBezTo>
                              <a:pt x="4501" y="3640"/>
                              <a:pt x="4497" y="3643"/>
                              <a:pt x="4493" y="3644"/>
                            </a:cubicBezTo>
                            <a:cubicBezTo>
                              <a:pt x="4490" y="3645"/>
                              <a:pt x="4485" y="3646"/>
                              <a:pt x="4482" y="3647"/>
                            </a:cubicBezTo>
                            <a:cubicBezTo>
                              <a:pt x="4480" y="3648"/>
                              <a:pt x="4474" y="3654"/>
                              <a:pt x="4464" y="3661"/>
                            </a:cubicBezTo>
                            <a:cubicBezTo>
                              <a:pt x="4453" y="3668"/>
                              <a:pt x="4439" y="3680"/>
                              <a:pt x="4439" y="3683"/>
                            </a:cubicBezTo>
                            <a:cubicBezTo>
                              <a:pt x="4438" y="3685"/>
                              <a:pt x="4433" y="3695"/>
                              <a:pt x="4431" y="3698"/>
                            </a:cubicBezTo>
                            <a:cubicBezTo>
                              <a:pt x="4429" y="3701"/>
                              <a:pt x="4420" y="3710"/>
                              <a:pt x="4417" y="3712"/>
                            </a:cubicBezTo>
                            <a:cubicBezTo>
                              <a:pt x="4414" y="3715"/>
                              <a:pt x="4409" y="3721"/>
                              <a:pt x="4407" y="3721"/>
                            </a:cubicBezTo>
                            <a:cubicBezTo>
                              <a:pt x="4406" y="3722"/>
                              <a:pt x="4401" y="3722"/>
                              <a:pt x="4397" y="3719"/>
                            </a:cubicBezTo>
                            <a:cubicBezTo>
                              <a:pt x="4393" y="3717"/>
                              <a:pt x="4375" y="3707"/>
                              <a:pt x="4372" y="3706"/>
                            </a:cubicBezTo>
                            <a:cubicBezTo>
                              <a:pt x="4369" y="3705"/>
                              <a:pt x="4353" y="3703"/>
                              <a:pt x="4351" y="3703"/>
                            </a:cubicBezTo>
                            <a:cubicBezTo>
                              <a:pt x="4348" y="3703"/>
                              <a:pt x="4343" y="3703"/>
                              <a:pt x="4340" y="3702"/>
                            </a:cubicBezTo>
                            <a:cubicBezTo>
                              <a:pt x="4336" y="3702"/>
                              <a:pt x="4329" y="3698"/>
                              <a:pt x="4327" y="3700"/>
                            </a:cubicBezTo>
                            <a:cubicBezTo>
                              <a:pt x="4325" y="3701"/>
                              <a:pt x="4327" y="3706"/>
                              <a:pt x="4330" y="3707"/>
                            </a:cubicBezTo>
                            <a:cubicBezTo>
                              <a:pt x="4334" y="3707"/>
                              <a:pt x="4335" y="3709"/>
                              <a:pt x="4339" y="3710"/>
                            </a:cubicBezTo>
                            <a:cubicBezTo>
                              <a:pt x="4343" y="3710"/>
                              <a:pt x="4348" y="3710"/>
                              <a:pt x="4351" y="3710"/>
                            </a:cubicBezTo>
                            <a:cubicBezTo>
                              <a:pt x="4354" y="3710"/>
                              <a:pt x="4363" y="3711"/>
                              <a:pt x="4367" y="3712"/>
                            </a:cubicBezTo>
                            <a:cubicBezTo>
                              <a:pt x="4372" y="3714"/>
                              <a:pt x="4380" y="3716"/>
                              <a:pt x="4384" y="3718"/>
                            </a:cubicBezTo>
                            <a:cubicBezTo>
                              <a:pt x="4388" y="3720"/>
                              <a:pt x="4393" y="3723"/>
                              <a:pt x="4396" y="3726"/>
                            </a:cubicBezTo>
                            <a:cubicBezTo>
                              <a:pt x="4398" y="3729"/>
                              <a:pt x="4400" y="3733"/>
                              <a:pt x="4400" y="3736"/>
                            </a:cubicBezTo>
                            <a:cubicBezTo>
                              <a:pt x="4400" y="3739"/>
                              <a:pt x="4397" y="3746"/>
                              <a:pt x="4393" y="3748"/>
                            </a:cubicBezTo>
                            <a:cubicBezTo>
                              <a:pt x="4390" y="3751"/>
                              <a:pt x="4384" y="3755"/>
                              <a:pt x="4381" y="3758"/>
                            </a:cubicBezTo>
                            <a:cubicBezTo>
                              <a:pt x="4378" y="3761"/>
                              <a:pt x="4365" y="3767"/>
                              <a:pt x="4360" y="3775"/>
                            </a:cubicBezTo>
                            <a:cubicBezTo>
                              <a:pt x="4355" y="3783"/>
                              <a:pt x="4352" y="3781"/>
                              <a:pt x="4350" y="3791"/>
                            </a:cubicBezTo>
                            <a:cubicBezTo>
                              <a:pt x="4347" y="3801"/>
                              <a:pt x="4345" y="3802"/>
                              <a:pt x="4340" y="3806"/>
                            </a:cubicBezTo>
                            <a:cubicBezTo>
                              <a:pt x="4335" y="3809"/>
                              <a:pt x="4328" y="3813"/>
                              <a:pt x="4329" y="3817"/>
                            </a:cubicBezTo>
                            <a:cubicBezTo>
                              <a:pt x="4330" y="3821"/>
                              <a:pt x="4334" y="3824"/>
                              <a:pt x="4339" y="3820"/>
                            </a:cubicBezTo>
                            <a:cubicBezTo>
                              <a:pt x="4344" y="3816"/>
                              <a:pt x="4350" y="3813"/>
                              <a:pt x="4357" y="3807"/>
                            </a:cubicBezTo>
                            <a:cubicBezTo>
                              <a:pt x="4364" y="3802"/>
                              <a:pt x="4373" y="3792"/>
                              <a:pt x="4377" y="3788"/>
                            </a:cubicBezTo>
                            <a:cubicBezTo>
                              <a:pt x="4382" y="3785"/>
                              <a:pt x="4392" y="3777"/>
                              <a:pt x="4397" y="3771"/>
                            </a:cubicBezTo>
                            <a:cubicBezTo>
                              <a:pt x="4402" y="3765"/>
                              <a:pt x="4407" y="3758"/>
                              <a:pt x="4412" y="3754"/>
                            </a:cubicBezTo>
                            <a:cubicBezTo>
                              <a:pt x="4417" y="3750"/>
                              <a:pt x="4429" y="3733"/>
                              <a:pt x="4434" y="3730"/>
                            </a:cubicBezTo>
                            <a:cubicBezTo>
                              <a:pt x="4438" y="3727"/>
                              <a:pt x="4456" y="3709"/>
                              <a:pt x="4462" y="3705"/>
                            </a:cubicBezTo>
                            <a:cubicBezTo>
                              <a:pt x="4467" y="3702"/>
                              <a:pt x="4477" y="3693"/>
                              <a:pt x="4485" y="3690"/>
                            </a:cubicBezTo>
                            <a:cubicBezTo>
                              <a:pt x="4493" y="3687"/>
                              <a:pt x="4512" y="3680"/>
                              <a:pt x="4523" y="3674"/>
                            </a:cubicBezTo>
                            <a:cubicBezTo>
                              <a:pt x="4534" y="3669"/>
                              <a:pt x="4543" y="3664"/>
                              <a:pt x="4550" y="3662"/>
                            </a:cubicBezTo>
                            <a:cubicBezTo>
                              <a:pt x="4558" y="3660"/>
                              <a:pt x="4572" y="3654"/>
                              <a:pt x="4581" y="3651"/>
                            </a:cubicBezTo>
                            <a:cubicBezTo>
                              <a:pt x="4591" y="3648"/>
                              <a:pt x="4612" y="3641"/>
                              <a:pt x="4614" y="3641"/>
                            </a:cubicBezTo>
                            <a:cubicBezTo>
                              <a:pt x="4617" y="3641"/>
                              <a:pt x="4647" y="3636"/>
                              <a:pt x="4656" y="3636"/>
                            </a:cubicBezTo>
                            <a:cubicBezTo>
                              <a:pt x="4665" y="3635"/>
                              <a:pt x="4677" y="3635"/>
                              <a:pt x="4683" y="3636"/>
                            </a:cubicBezTo>
                            <a:cubicBezTo>
                              <a:pt x="4690" y="3637"/>
                              <a:pt x="4703" y="3639"/>
                              <a:pt x="4708" y="3641"/>
                            </a:cubicBezTo>
                            <a:cubicBezTo>
                              <a:pt x="4713" y="3643"/>
                              <a:pt x="4721" y="3647"/>
                              <a:pt x="4725" y="3649"/>
                            </a:cubicBezTo>
                            <a:cubicBezTo>
                              <a:pt x="4728" y="3652"/>
                              <a:pt x="4735" y="3654"/>
                              <a:pt x="4738" y="3658"/>
                            </a:cubicBezTo>
                            <a:cubicBezTo>
                              <a:pt x="4741" y="3662"/>
                              <a:pt x="4746" y="3665"/>
                              <a:pt x="4746" y="3668"/>
                            </a:cubicBezTo>
                            <a:cubicBezTo>
                              <a:pt x="4746" y="3671"/>
                              <a:pt x="4744" y="3675"/>
                              <a:pt x="4742" y="3674"/>
                            </a:cubicBezTo>
                            <a:cubicBezTo>
                              <a:pt x="4739" y="3674"/>
                              <a:pt x="4733" y="3670"/>
                              <a:pt x="4732" y="3670"/>
                            </a:cubicBezTo>
                            <a:cubicBezTo>
                              <a:pt x="4731" y="3670"/>
                              <a:pt x="4729" y="3670"/>
                              <a:pt x="4730" y="3672"/>
                            </a:cubicBezTo>
                            <a:cubicBezTo>
                              <a:pt x="4730" y="3674"/>
                              <a:pt x="4736" y="3678"/>
                              <a:pt x="4737" y="3679"/>
                            </a:cubicBezTo>
                            <a:cubicBezTo>
                              <a:pt x="4739" y="3681"/>
                              <a:pt x="4741" y="3682"/>
                              <a:pt x="4742" y="3685"/>
                            </a:cubicBezTo>
                            <a:cubicBezTo>
                              <a:pt x="4742" y="3687"/>
                              <a:pt x="4743" y="3692"/>
                              <a:pt x="4742" y="3693"/>
                            </a:cubicBezTo>
                            <a:cubicBezTo>
                              <a:pt x="4742" y="3695"/>
                              <a:pt x="4723" y="3703"/>
                              <a:pt x="4719" y="3704"/>
                            </a:cubicBezTo>
                            <a:cubicBezTo>
                              <a:pt x="4714" y="3705"/>
                              <a:pt x="4709" y="3707"/>
                              <a:pt x="4703" y="3715"/>
                            </a:cubicBezTo>
                            <a:cubicBezTo>
                              <a:pt x="4697" y="3723"/>
                              <a:pt x="4694" y="3729"/>
                              <a:pt x="4691" y="3730"/>
                            </a:cubicBezTo>
                            <a:cubicBezTo>
                              <a:pt x="4688" y="3732"/>
                              <a:pt x="4687" y="3732"/>
                              <a:pt x="4683" y="3731"/>
                            </a:cubicBezTo>
                            <a:cubicBezTo>
                              <a:pt x="4680" y="3730"/>
                              <a:pt x="4671" y="3725"/>
                              <a:pt x="4667" y="3724"/>
                            </a:cubicBezTo>
                            <a:cubicBezTo>
                              <a:pt x="4663" y="3723"/>
                              <a:pt x="4641" y="3719"/>
                              <a:pt x="4638" y="3719"/>
                            </a:cubicBezTo>
                            <a:cubicBezTo>
                              <a:pt x="4634" y="3720"/>
                              <a:pt x="4633" y="3720"/>
                              <a:pt x="4628" y="3723"/>
                            </a:cubicBezTo>
                            <a:cubicBezTo>
                              <a:pt x="4623" y="3726"/>
                              <a:pt x="4610" y="3724"/>
                              <a:pt x="4607" y="3727"/>
                            </a:cubicBezTo>
                            <a:cubicBezTo>
                              <a:pt x="4604" y="3730"/>
                              <a:pt x="4603" y="3733"/>
                              <a:pt x="4610" y="3733"/>
                            </a:cubicBezTo>
                            <a:cubicBezTo>
                              <a:pt x="4616" y="3733"/>
                              <a:pt x="4620" y="3732"/>
                              <a:pt x="4625" y="3733"/>
                            </a:cubicBezTo>
                            <a:cubicBezTo>
                              <a:pt x="4630" y="3733"/>
                              <a:pt x="4633" y="3730"/>
                              <a:pt x="4638" y="3736"/>
                            </a:cubicBezTo>
                            <a:cubicBezTo>
                              <a:pt x="4643" y="3742"/>
                              <a:pt x="4645" y="3744"/>
                              <a:pt x="4647" y="3747"/>
                            </a:cubicBezTo>
                            <a:cubicBezTo>
                              <a:pt x="4650" y="3751"/>
                              <a:pt x="4651" y="3757"/>
                              <a:pt x="4654" y="3760"/>
                            </a:cubicBezTo>
                            <a:cubicBezTo>
                              <a:pt x="4658" y="3764"/>
                              <a:pt x="4656" y="3766"/>
                              <a:pt x="4662" y="3764"/>
                            </a:cubicBezTo>
                            <a:cubicBezTo>
                              <a:pt x="4667" y="3763"/>
                              <a:pt x="4670" y="3761"/>
                              <a:pt x="4673" y="3759"/>
                            </a:cubicBezTo>
                            <a:cubicBezTo>
                              <a:pt x="4676" y="3757"/>
                              <a:pt x="4680" y="3755"/>
                              <a:pt x="4684" y="3756"/>
                            </a:cubicBezTo>
                            <a:cubicBezTo>
                              <a:pt x="4689" y="3757"/>
                              <a:pt x="4693" y="3757"/>
                              <a:pt x="4697" y="3757"/>
                            </a:cubicBezTo>
                            <a:cubicBezTo>
                              <a:pt x="4701" y="3757"/>
                              <a:pt x="4705" y="3756"/>
                              <a:pt x="4707" y="3755"/>
                            </a:cubicBezTo>
                            <a:cubicBezTo>
                              <a:pt x="4709" y="3754"/>
                              <a:pt x="4710" y="3751"/>
                              <a:pt x="4713" y="3749"/>
                            </a:cubicBezTo>
                            <a:cubicBezTo>
                              <a:pt x="4716" y="3747"/>
                              <a:pt x="4721" y="3739"/>
                              <a:pt x="4724" y="3742"/>
                            </a:cubicBezTo>
                            <a:cubicBezTo>
                              <a:pt x="4727" y="3745"/>
                              <a:pt x="4726" y="3748"/>
                              <a:pt x="4722" y="3751"/>
                            </a:cubicBezTo>
                            <a:cubicBezTo>
                              <a:pt x="4719" y="3755"/>
                              <a:pt x="4714" y="3758"/>
                              <a:pt x="4711" y="3763"/>
                            </a:cubicBezTo>
                            <a:cubicBezTo>
                              <a:pt x="4708" y="3767"/>
                              <a:pt x="4704" y="3770"/>
                              <a:pt x="4704" y="3773"/>
                            </a:cubicBezTo>
                            <a:cubicBezTo>
                              <a:pt x="4704" y="3776"/>
                              <a:pt x="4703" y="3783"/>
                              <a:pt x="4701" y="3786"/>
                            </a:cubicBezTo>
                            <a:cubicBezTo>
                              <a:pt x="4700" y="3789"/>
                              <a:pt x="4694" y="3792"/>
                              <a:pt x="4691" y="3793"/>
                            </a:cubicBezTo>
                            <a:cubicBezTo>
                              <a:pt x="4689" y="3794"/>
                              <a:pt x="4678" y="3802"/>
                              <a:pt x="4679" y="3804"/>
                            </a:cubicBezTo>
                            <a:cubicBezTo>
                              <a:pt x="4680" y="3807"/>
                              <a:pt x="4681" y="3808"/>
                              <a:pt x="4686" y="3808"/>
                            </a:cubicBezTo>
                            <a:cubicBezTo>
                              <a:pt x="4691" y="3807"/>
                              <a:pt x="4701" y="3804"/>
                              <a:pt x="4703" y="3806"/>
                            </a:cubicBezTo>
                            <a:cubicBezTo>
                              <a:pt x="4705" y="3807"/>
                              <a:pt x="4707" y="3812"/>
                              <a:pt x="4707" y="3814"/>
                            </a:cubicBezTo>
                            <a:cubicBezTo>
                              <a:pt x="4706" y="3817"/>
                              <a:pt x="4704" y="3820"/>
                              <a:pt x="4705" y="3823"/>
                            </a:cubicBezTo>
                            <a:cubicBezTo>
                              <a:pt x="4706" y="3827"/>
                              <a:pt x="4710" y="3833"/>
                              <a:pt x="4711" y="3835"/>
                            </a:cubicBezTo>
                            <a:cubicBezTo>
                              <a:pt x="4712" y="3837"/>
                              <a:pt x="4715" y="3836"/>
                              <a:pt x="4716" y="3842"/>
                            </a:cubicBezTo>
                            <a:cubicBezTo>
                              <a:pt x="4717" y="3848"/>
                              <a:pt x="4718" y="3850"/>
                              <a:pt x="4717" y="3855"/>
                            </a:cubicBezTo>
                            <a:cubicBezTo>
                              <a:pt x="4716" y="3861"/>
                              <a:pt x="4713" y="3863"/>
                              <a:pt x="4718" y="3866"/>
                            </a:cubicBezTo>
                            <a:cubicBezTo>
                              <a:pt x="4724" y="3869"/>
                              <a:pt x="4728" y="3869"/>
                              <a:pt x="4733" y="3873"/>
                            </a:cubicBezTo>
                            <a:cubicBezTo>
                              <a:pt x="4737" y="3877"/>
                              <a:pt x="4739" y="3877"/>
                              <a:pt x="4745" y="3877"/>
                            </a:cubicBezTo>
                            <a:cubicBezTo>
                              <a:pt x="4751" y="3878"/>
                              <a:pt x="4762" y="3877"/>
                              <a:pt x="4764" y="3879"/>
                            </a:cubicBezTo>
                            <a:cubicBezTo>
                              <a:pt x="4767" y="3881"/>
                              <a:pt x="4769" y="3882"/>
                              <a:pt x="4766" y="3886"/>
                            </a:cubicBezTo>
                            <a:cubicBezTo>
                              <a:pt x="4763" y="3889"/>
                              <a:pt x="4759" y="3890"/>
                              <a:pt x="4762" y="3893"/>
                            </a:cubicBezTo>
                            <a:cubicBezTo>
                              <a:pt x="4765" y="3896"/>
                              <a:pt x="4767" y="3897"/>
                              <a:pt x="4773" y="3897"/>
                            </a:cubicBezTo>
                            <a:cubicBezTo>
                              <a:pt x="4779" y="3898"/>
                              <a:pt x="4787" y="3896"/>
                              <a:pt x="4791" y="3902"/>
                            </a:cubicBezTo>
                            <a:cubicBezTo>
                              <a:pt x="4796" y="3907"/>
                              <a:pt x="4797" y="3911"/>
                              <a:pt x="4803" y="3911"/>
                            </a:cubicBezTo>
                            <a:cubicBezTo>
                              <a:pt x="4810" y="3910"/>
                              <a:pt x="4831" y="3907"/>
                              <a:pt x="4834" y="3909"/>
                            </a:cubicBezTo>
                            <a:cubicBezTo>
                              <a:pt x="4837" y="3912"/>
                              <a:pt x="4836" y="3920"/>
                              <a:pt x="4840" y="3921"/>
                            </a:cubicBezTo>
                            <a:cubicBezTo>
                              <a:pt x="4845" y="3922"/>
                              <a:pt x="4853" y="3915"/>
                              <a:pt x="4857" y="3914"/>
                            </a:cubicBezTo>
                            <a:cubicBezTo>
                              <a:pt x="4862" y="3914"/>
                              <a:pt x="4868" y="3909"/>
                              <a:pt x="4873" y="3906"/>
                            </a:cubicBezTo>
                            <a:cubicBezTo>
                              <a:pt x="4878" y="3903"/>
                              <a:pt x="4880" y="3896"/>
                              <a:pt x="4886" y="3899"/>
                            </a:cubicBezTo>
                            <a:cubicBezTo>
                              <a:pt x="4892" y="3901"/>
                              <a:pt x="4885" y="3912"/>
                              <a:pt x="4887" y="3915"/>
                            </a:cubicBezTo>
                            <a:cubicBezTo>
                              <a:pt x="4889" y="3917"/>
                              <a:pt x="4888" y="3917"/>
                              <a:pt x="4895" y="3917"/>
                            </a:cubicBezTo>
                            <a:cubicBezTo>
                              <a:pt x="4901" y="3917"/>
                              <a:pt x="4910" y="3914"/>
                              <a:pt x="4914" y="3917"/>
                            </a:cubicBezTo>
                            <a:cubicBezTo>
                              <a:pt x="4918" y="3919"/>
                              <a:pt x="4918" y="3920"/>
                              <a:pt x="4923" y="3925"/>
                            </a:cubicBezTo>
                            <a:cubicBezTo>
                              <a:pt x="4928" y="3930"/>
                              <a:pt x="4933" y="3929"/>
                              <a:pt x="4936" y="3934"/>
                            </a:cubicBezTo>
                            <a:cubicBezTo>
                              <a:pt x="4939" y="3938"/>
                              <a:pt x="4940" y="3941"/>
                              <a:pt x="4937" y="3944"/>
                            </a:cubicBezTo>
                            <a:cubicBezTo>
                              <a:pt x="4934" y="3946"/>
                              <a:pt x="4925" y="3948"/>
                              <a:pt x="4914" y="3954"/>
                            </a:cubicBezTo>
                            <a:cubicBezTo>
                              <a:pt x="4902" y="3959"/>
                              <a:pt x="4895" y="3965"/>
                              <a:pt x="4888" y="3968"/>
                            </a:cubicBezTo>
                            <a:cubicBezTo>
                              <a:pt x="4882" y="3971"/>
                              <a:pt x="4878" y="3967"/>
                              <a:pt x="4868" y="3973"/>
                            </a:cubicBezTo>
                            <a:cubicBezTo>
                              <a:pt x="4857" y="3978"/>
                              <a:pt x="4842" y="3985"/>
                              <a:pt x="4839" y="3986"/>
                            </a:cubicBezTo>
                            <a:cubicBezTo>
                              <a:pt x="4836" y="3987"/>
                              <a:pt x="4819" y="3995"/>
                              <a:pt x="4810" y="3995"/>
                            </a:cubicBezTo>
                            <a:cubicBezTo>
                              <a:pt x="4801" y="3996"/>
                              <a:pt x="4794" y="3997"/>
                              <a:pt x="4792" y="3996"/>
                            </a:cubicBezTo>
                            <a:cubicBezTo>
                              <a:pt x="4790" y="3995"/>
                              <a:pt x="4784" y="3986"/>
                              <a:pt x="4781" y="3989"/>
                            </a:cubicBezTo>
                            <a:cubicBezTo>
                              <a:pt x="4778" y="3992"/>
                              <a:pt x="4777" y="3993"/>
                              <a:pt x="4780" y="3995"/>
                            </a:cubicBezTo>
                            <a:cubicBezTo>
                              <a:pt x="4783" y="3998"/>
                              <a:pt x="4785" y="4002"/>
                              <a:pt x="4785" y="4005"/>
                            </a:cubicBezTo>
                            <a:cubicBezTo>
                              <a:pt x="4784" y="4008"/>
                              <a:pt x="4781" y="4009"/>
                              <a:pt x="4777" y="4010"/>
                            </a:cubicBezTo>
                            <a:cubicBezTo>
                              <a:pt x="4774" y="4010"/>
                              <a:pt x="4769" y="4007"/>
                              <a:pt x="4767" y="4006"/>
                            </a:cubicBezTo>
                            <a:cubicBezTo>
                              <a:pt x="4765" y="4004"/>
                              <a:pt x="4764" y="4003"/>
                              <a:pt x="4764" y="3999"/>
                            </a:cubicBezTo>
                            <a:cubicBezTo>
                              <a:pt x="4764" y="3996"/>
                              <a:pt x="4761" y="3991"/>
                              <a:pt x="4758" y="3993"/>
                            </a:cubicBezTo>
                            <a:cubicBezTo>
                              <a:pt x="4755" y="3994"/>
                              <a:pt x="4753" y="3999"/>
                              <a:pt x="4751" y="4003"/>
                            </a:cubicBezTo>
                            <a:cubicBezTo>
                              <a:pt x="4750" y="4007"/>
                              <a:pt x="4749" y="4007"/>
                              <a:pt x="4746" y="4007"/>
                            </a:cubicBezTo>
                            <a:cubicBezTo>
                              <a:pt x="4743" y="4006"/>
                              <a:pt x="4741" y="4001"/>
                              <a:pt x="4739" y="4005"/>
                            </a:cubicBezTo>
                            <a:cubicBezTo>
                              <a:pt x="4737" y="4008"/>
                              <a:pt x="4737" y="4010"/>
                              <a:pt x="4736" y="4014"/>
                            </a:cubicBezTo>
                            <a:cubicBezTo>
                              <a:pt x="4735" y="4018"/>
                              <a:pt x="4732" y="4015"/>
                              <a:pt x="4730" y="4022"/>
                            </a:cubicBezTo>
                            <a:cubicBezTo>
                              <a:pt x="4728" y="4030"/>
                              <a:pt x="4724" y="4036"/>
                              <a:pt x="4720" y="4039"/>
                            </a:cubicBezTo>
                            <a:cubicBezTo>
                              <a:pt x="4715" y="4042"/>
                              <a:pt x="4706" y="4048"/>
                              <a:pt x="4704" y="4051"/>
                            </a:cubicBezTo>
                            <a:cubicBezTo>
                              <a:pt x="4701" y="4054"/>
                              <a:pt x="4696" y="4062"/>
                              <a:pt x="4691" y="4062"/>
                            </a:cubicBezTo>
                            <a:cubicBezTo>
                              <a:pt x="4687" y="4062"/>
                              <a:pt x="4685" y="4057"/>
                              <a:pt x="4681" y="4059"/>
                            </a:cubicBezTo>
                            <a:cubicBezTo>
                              <a:pt x="4676" y="4062"/>
                              <a:pt x="4672" y="4063"/>
                              <a:pt x="4671" y="4067"/>
                            </a:cubicBezTo>
                            <a:cubicBezTo>
                              <a:pt x="4670" y="4072"/>
                              <a:pt x="4669" y="4079"/>
                              <a:pt x="4666" y="4080"/>
                            </a:cubicBezTo>
                            <a:cubicBezTo>
                              <a:pt x="4663" y="4081"/>
                              <a:pt x="4660" y="4082"/>
                              <a:pt x="4657" y="4080"/>
                            </a:cubicBezTo>
                            <a:cubicBezTo>
                              <a:pt x="4654" y="4078"/>
                              <a:pt x="4649" y="4075"/>
                              <a:pt x="4648" y="4072"/>
                            </a:cubicBezTo>
                            <a:cubicBezTo>
                              <a:pt x="4647" y="4068"/>
                              <a:pt x="4644" y="4062"/>
                              <a:pt x="4643" y="4060"/>
                            </a:cubicBezTo>
                            <a:cubicBezTo>
                              <a:pt x="4641" y="4058"/>
                              <a:pt x="4637" y="4052"/>
                              <a:pt x="4633" y="4053"/>
                            </a:cubicBezTo>
                            <a:cubicBezTo>
                              <a:pt x="4630" y="4055"/>
                              <a:pt x="4622" y="4052"/>
                              <a:pt x="4622" y="4052"/>
                            </a:cubicBezTo>
                            <a:cubicBezTo>
                              <a:pt x="4622" y="4052"/>
                              <a:pt x="4622" y="4039"/>
                              <a:pt x="4622" y="4036"/>
                            </a:cubicBezTo>
                            <a:cubicBezTo>
                              <a:pt x="4621" y="4034"/>
                              <a:pt x="4624" y="4031"/>
                              <a:pt x="4625" y="4027"/>
                            </a:cubicBezTo>
                            <a:cubicBezTo>
                              <a:pt x="4627" y="4024"/>
                              <a:pt x="4626" y="4023"/>
                              <a:pt x="4627" y="4021"/>
                            </a:cubicBezTo>
                            <a:cubicBezTo>
                              <a:pt x="4628" y="4019"/>
                              <a:pt x="4628" y="4018"/>
                              <a:pt x="4628" y="4014"/>
                            </a:cubicBezTo>
                            <a:cubicBezTo>
                              <a:pt x="4629" y="4009"/>
                              <a:pt x="4631" y="4005"/>
                              <a:pt x="4636" y="4002"/>
                            </a:cubicBezTo>
                            <a:cubicBezTo>
                              <a:pt x="4640" y="3999"/>
                              <a:pt x="4649" y="3992"/>
                              <a:pt x="4654" y="3990"/>
                            </a:cubicBezTo>
                            <a:cubicBezTo>
                              <a:pt x="4659" y="3988"/>
                              <a:pt x="4669" y="3984"/>
                              <a:pt x="4673" y="3982"/>
                            </a:cubicBezTo>
                            <a:cubicBezTo>
                              <a:pt x="4677" y="3980"/>
                              <a:pt x="4685" y="3972"/>
                              <a:pt x="4688" y="3970"/>
                            </a:cubicBezTo>
                            <a:cubicBezTo>
                              <a:pt x="4692" y="3968"/>
                              <a:pt x="4697" y="3964"/>
                              <a:pt x="4702" y="3961"/>
                            </a:cubicBezTo>
                            <a:cubicBezTo>
                              <a:pt x="4706" y="3959"/>
                              <a:pt x="4712" y="3951"/>
                              <a:pt x="4718" y="3950"/>
                            </a:cubicBezTo>
                            <a:cubicBezTo>
                              <a:pt x="4723" y="3948"/>
                              <a:pt x="4732" y="3948"/>
                              <a:pt x="4733" y="3950"/>
                            </a:cubicBezTo>
                            <a:cubicBezTo>
                              <a:pt x="4735" y="3951"/>
                              <a:pt x="4734" y="3956"/>
                              <a:pt x="4737" y="3960"/>
                            </a:cubicBezTo>
                            <a:cubicBezTo>
                              <a:pt x="4740" y="3963"/>
                              <a:pt x="4745" y="3964"/>
                              <a:pt x="4750" y="3964"/>
                            </a:cubicBezTo>
                            <a:cubicBezTo>
                              <a:pt x="4755" y="3963"/>
                              <a:pt x="4761" y="3961"/>
                              <a:pt x="4764" y="3960"/>
                            </a:cubicBezTo>
                            <a:cubicBezTo>
                              <a:pt x="4767" y="3959"/>
                              <a:pt x="4770" y="3952"/>
                              <a:pt x="4775" y="3950"/>
                            </a:cubicBezTo>
                            <a:cubicBezTo>
                              <a:pt x="4780" y="3949"/>
                              <a:pt x="4789" y="3945"/>
                              <a:pt x="4791" y="3942"/>
                            </a:cubicBezTo>
                            <a:cubicBezTo>
                              <a:pt x="4793" y="3940"/>
                              <a:pt x="4791" y="3935"/>
                              <a:pt x="4788" y="3936"/>
                            </a:cubicBezTo>
                            <a:cubicBezTo>
                              <a:pt x="4784" y="3936"/>
                              <a:pt x="4781" y="3939"/>
                              <a:pt x="4775" y="3940"/>
                            </a:cubicBezTo>
                            <a:cubicBezTo>
                              <a:pt x="4769" y="3941"/>
                              <a:pt x="4761" y="3939"/>
                              <a:pt x="4756" y="3939"/>
                            </a:cubicBezTo>
                            <a:cubicBezTo>
                              <a:pt x="4751" y="3939"/>
                              <a:pt x="4748" y="3939"/>
                              <a:pt x="4744" y="3939"/>
                            </a:cubicBezTo>
                            <a:cubicBezTo>
                              <a:pt x="4740" y="3940"/>
                              <a:pt x="4720" y="3938"/>
                              <a:pt x="4720" y="3935"/>
                            </a:cubicBezTo>
                            <a:cubicBezTo>
                              <a:pt x="4720" y="3933"/>
                              <a:pt x="4727" y="3927"/>
                              <a:pt x="4729" y="3925"/>
                            </a:cubicBezTo>
                            <a:cubicBezTo>
                              <a:pt x="4731" y="3923"/>
                              <a:pt x="4734" y="3917"/>
                              <a:pt x="4737" y="3914"/>
                            </a:cubicBezTo>
                            <a:cubicBezTo>
                              <a:pt x="4739" y="3911"/>
                              <a:pt x="4742" y="3903"/>
                              <a:pt x="4741" y="3903"/>
                            </a:cubicBezTo>
                            <a:cubicBezTo>
                              <a:pt x="4740" y="3903"/>
                              <a:pt x="4736" y="3903"/>
                              <a:pt x="4733" y="3903"/>
                            </a:cubicBezTo>
                            <a:cubicBezTo>
                              <a:pt x="4730" y="3902"/>
                              <a:pt x="4723" y="3897"/>
                              <a:pt x="4722" y="3895"/>
                            </a:cubicBezTo>
                            <a:cubicBezTo>
                              <a:pt x="4721" y="3892"/>
                              <a:pt x="4715" y="3883"/>
                              <a:pt x="4715" y="3883"/>
                            </a:cubicBezTo>
                            <a:cubicBezTo>
                              <a:pt x="4715" y="3883"/>
                              <a:pt x="4709" y="3880"/>
                              <a:pt x="4709" y="3884"/>
                            </a:cubicBezTo>
                            <a:cubicBezTo>
                              <a:pt x="4709" y="3888"/>
                              <a:pt x="4712" y="3891"/>
                              <a:pt x="4713" y="3899"/>
                            </a:cubicBezTo>
                            <a:cubicBezTo>
                              <a:pt x="4713" y="3906"/>
                              <a:pt x="4708" y="3911"/>
                              <a:pt x="4704" y="3914"/>
                            </a:cubicBezTo>
                            <a:cubicBezTo>
                              <a:pt x="4701" y="3917"/>
                              <a:pt x="4697" y="3918"/>
                              <a:pt x="4690" y="3920"/>
                            </a:cubicBezTo>
                            <a:cubicBezTo>
                              <a:pt x="4684" y="3923"/>
                              <a:pt x="4675" y="3928"/>
                              <a:pt x="4672" y="3931"/>
                            </a:cubicBezTo>
                            <a:cubicBezTo>
                              <a:pt x="4669" y="3935"/>
                              <a:pt x="4661" y="3938"/>
                              <a:pt x="4658" y="3941"/>
                            </a:cubicBezTo>
                            <a:cubicBezTo>
                              <a:pt x="4655" y="3944"/>
                              <a:pt x="4650" y="3947"/>
                              <a:pt x="4646" y="3947"/>
                            </a:cubicBezTo>
                            <a:cubicBezTo>
                              <a:pt x="4643" y="3947"/>
                              <a:pt x="4634" y="3944"/>
                              <a:pt x="4634" y="3942"/>
                            </a:cubicBezTo>
                            <a:cubicBezTo>
                              <a:pt x="4633" y="3941"/>
                              <a:pt x="4634" y="3933"/>
                              <a:pt x="4634" y="3933"/>
                            </a:cubicBezTo>
                            <a:cubicBezTo>
                              <a:pt x="4634" y="3933"/>
                              <a:pt x="4628" y="3929"/>
                              <a:pt x="4624" y="3935"/>
                            </a:cubicBezTo>
                            <a:cubicBezTo>
                              <a:pt x="4621" y="3941"/>
                              <a:pt x="4620" y="3945"/>
                              <a:pt x="4617" y="3949"/>
                            </a:cubicBezTo>
                            <a:cubicBezTo>
                              <a:pt x="4613" y="3953"/>
                              <a:pt x="4608" y="3958"/>
                              <a:pt x="4605" y="3959"/>
                            </a:cubicBezTo>
                            <a:cubicBezTo>
                              <a:pt x="4603" y="3960"/>
                              <a:pt x="4594" y="3960"/>
                              <a:pt x="4591" y="3960"/>
                            </a:cubicBezTo>
                            <a:cubicBezTo>
                              <a:pt x="4589" y="3960"/>
                              <a:pt x="4582" y="3959"/>
                              <a:pt x="4576" y="3958"/>
                            </a:cubicBezTo>
                            <a:cubicBezTo>
                              <a:pt x="4572" y="3955"/>
                              <a:pt x="4568" y="3953"/>
                              <a:pt x="4567" y="3952"/>
                            </a:cubicBezTo>
                            <a:cubicBezTo>
                              <a:pt x="4564" y="3950"/>
                              <a:pt x="4561" y="3950"/>
                              <a:pt x="4558" y="3950"/>
                            </a:cubicBezTo>
                            <a:cubicBezTo>
                              <a:pt x="4556" y="3949"/>
                              <a:pt x="4554" y="3949"/>
                              <a:pt x="4554" y="3948"/>
                            </a:cubicBezTo>
                            <a:cubicBezTo>
                              <a:pt x="4553" y="3946"/>
                              <a:pt x="4553" y="3944"/>
                              <a:pt x="4553" y="3941"/>
                            </a:cubicBezTo>
                            <a:cubicBezTo>
                              <a:pt x="4553" y="3941"/>
                              <a:pt x="4553" y="3941"/>
                              <a:pt x="4553" y="3941"/>
                            </a:cubicBezTo>
                            <a:cubicBezTo>
                              <a:pt x="4553" y="3935"/>
                              <a:pt x="4552" y="3928"/>
                              <a:pt x="4548" y="3920"/>
                            </a:cubicBezTo>
                            <a:cubicBezTo>
                              <a:pt x="4544" y="3911"/>
                              <a:pt x="4539" y="3910"/>
                              <a:pt x="4535" y="3910"/>
                            </a:cubicBezTo>
                            <a:cubicBezTo>
                              <a:pt x="4533" y="3909"/>
                              <a:pt x="4531" y="3909"/>
                              <a:pt x="4530" y="3907"/>
                            </a:cubicBezTo>
                            <a:cubicBezTo>
                              <a:pt x="4529" y="3906"/>
                              <a:pt x="4529" y="3891"/>
                              <a:pt x="4530" y="3873"/>
                            </a:cubicBezTo>
                            <a:cubicBezTo>
                              <a:pt x="4530" y="3845"/>
                              <a:pt x="4531" y="3811"/>
                              <a:pt x="4523" y="3804"/>
                            </a:cubicBezTo>
                            <a:cubicBezTo>
                              <a:pt x="4518" y="3798"/>
                              <a:pt x="4513" y="3793"/>
                              <a:pt x="4507" y="3790"/>
                            </a:cubicBezTo>
                            <a:cubicBezTo>
                              <a:pt x="4502" y="3786"/>
                              <a:pt x="4496" y="3783"/>
                              <a:pt x="4489" y="3783"/>
                            </a:cubicBezTo>
                            <a:cubicBezTo>
                              <a:pt x="4485" y="3783"/>
                              <a:pt x="4479" y="3785"/>
                              <a:pt x="4474" y="3787"/>
                            </a:cubicBezTo>
                            <a:cubicBezTo>
                              <a:pt x="4467" y="3790"/>
                              <a:pt x="4460" y="3792"/>
                              <a:pt x="4456" y="3791"/>
                            </a:cubicBezTo>
                            <a:cubicBezTo>
                              <a:pt x="4453" y="3790"/>
                              <a:pt x="4450" y="3787"/>
                              <a:pt x="4448" y="3784"/>
                            </a:cubicBezTo>
                            <a:cubicBezTo>
                              <a:pt x="4443" y="3779"/>
                              <a:pt x="4438" y="3773"/>
                              <a:pt x="4430" y="3779"/>
                            </a:cubicBezTo>
                            <a:cubicBezTo>
                              <a:pt x="4421" y="3784"/>
                              <a:pt x="4411" y="3801"/>
                              <a:pt x="4403" y="3814"/>
                            </a:cubicBezTo>
                            <a:cubicBezTo>
                              <a:pt x="4402" y="3817"/>
                              <a:pt x="4400" y="3819"/>
                              <a:pt x="4399" y="3822"/>
                            </a:cubicBezTo>
                            <a:cubicBezTo>
                              <a:pt x="4395" y="3828"/>
                              <a:pt x="4391" y="3836"/>
                              <a:pt x="4387" y="3844"/>
                            </a:cubicBezTo>
                            <a:cubicBezTo>
                              <a:pt x="4381" y="3855"/>
                              <a:pt x="4376" y="3865"/>
                              <a:pt x="4372" y="3870"/>
                            </a:cubicBezTo>
                            <a:cubicBezTo>
                              <a:pt x="4368" y="3875"/>
                              <a:pt x="4368" y="3879"/>
                              <a:pt x="4368" y="3883"/>
                            </a:cubicBezTo>
                            <a:cubicBezTo>
                              <a:pt x="4367" y="3886"/>
                              <a:pt x="4367" y="3890"/>
                              <a:pt x="4364" y="3895"/>
                            </a:cubicBezTo>
                            <a:cubicBezTo>
                              <a:pt x="4363" y="3897"/>
                              <a:pt x="4362" y="3898"/>
                              <a:pt x="4361" y="3899"/>
                            </a:cubicBezTo>
                            <a:cubicBezTo>
                              <a:pt x="4352" y="3913"/>
                              <a:pt x="4333" y="3942"/>
                              <a:pt x="4325" y="3942"/>
                            </a:cubicBezTo>
                            <a:cubicBezTo>
                              <a:pt x="4321" y="3941"/>
                              <a:pt x="4318" y="3941"/>
                              <a:pt x="4315" y="3940"/>
                            </a:cubicBezTo>
                            <a:cubicBezTo>
                              <a:pt x="4310" y="3939"/>
                              <a:pt x="4306" y="3939"/>
                              <a:pt x="4301" y="3941"/>
                            </a:cubicBezTo>
                            <a:cubicBezTo>
                              <a:pt x="4297" y="3943"/>
                              <a:pt x="4294" y="3948"/>
                              <a:pt x="4292" y="3953"/>
                            </a:cubicBezTo>
                            <a:cubicBezTo>
                              <a:pt x="4290" y="3957"/>
                              <a:pt x="4287" y="3961"/>
                              <a:pt x="4285" y="3961"/>
                            </a:cubicBezTo>
                            <a:cubicBezTo>
                              <a:pt x="4280" y="3962"/>
                              <a:pt x="4228" y="3963"/>
                              <a:pt x="4188" y="3964"/>
                            </a:cubicBezTo>
                            <a:cubicBezTo>
                              <a:pt x="4165" y="3964"/>
                              <a:pt x="4146" y="3964"/>
                              <a:pt x="4141" y="3963"/>
                            </a:cubicBezTo>
                            <a:cubicBezTo>
                              <a:pt x="4134" y="3962"/>
                              <a:pt x="4122" y="3962"/>
                              <a:pt x="4111" y="3963"/>
                            </a:cubicBezTo>
                            <a:cubicBezTo>
                              <a:pt x="4097" y="3964"/>
                              <a:pt x="4084" y="3965"/>
                              <a:pt x="4079" y="3967"/>
                            </a:cubicBezTo>
                            <a:cubicBezTo>
                              <a:pt x="4074" y="3969"/>
                              <a:pt x="4048" y="3987"/>
                              <a:pt x="4025" y="4004"/>
                            </a:cubicBezTo>
                            <a:cubicBezTo>
                              <a:pt x="4018" y="4009"/>
                              <a:pt x="4012" y="4014"/>
                              <a:pt x="4006" y="4019"/>
                            </a:cubicBezTo>
                            <a:cubicBezTo>
                              <a:pt x="4005" y="4019"/>
                              <a:pt x="4003" y="4019"/>
                              <a:pt x="4001" y="4019"/>
                            </a:cubicBezTo>
                            <a:cubicBezTo>
                              <a:pt x="3986" y="4021"/>
                              <a:pt x="3982" y="4019"/>
                              <a:pt x="3969" y="4029"/>
                            </a:cubicBezTo>
                            <a:cubicBezTo>
                              <a:pt x="3956" y="4039"/>
                              <a:pt x="3961" y="4045"/>
                              <a:pt x="3946" y="4043"/>
                            </a:cubicBezTo>
                            <a:cubicBezTo>
                              <a:pt x="3931" y="4041"/>
                              <a:pt x="3931" y="4038"/>
                              <a:pt x="3914" y="4041"/>
                            </a:cubicBezTo>
                            <a:cubicBezTo>
                              <a:pt x="3897" y="4044"/>
                              <a:pt x="3895" y="4041"/>
                              <a:pt x="3877" y="4049"/>
                            </a:cubicBezTo>
                            <a:cubicBezTo>
                              <a:pt x="3863" y="4056"/>
                              <a:pt x="3853" y="4054"/>
                              <a:pt x="3839" y="4056"/>
                            </a:cubicBezTo>
                            <a:cubicBezTo>
                              <a:pt x="3825" y="4058"/>
                              <a:pt x="3814" y="4058"/>
                              <a:pt x="3807" y="4064"/>
                            </a:cubicBezTo>
                            <a:cubicBezTo>
                              <a:pt x="3791" y="4076"/>
                              <a:pt x="3775" y="4099"/>
                              <a:pt x="3803" y="4097"/>
                            </a:cubicBezTo>
                            <a:cubicBezTo>
                              <a:pt x="3810" y="4096"/>
                              <a:pt x="3815" y="4097"/>
                              <a:pt x="3822" y="4096"/>
                            </a:cubicBezTo>
                            <a:cubicBezTo>
                              <a:pt x="3823" y="4104"/>
                              <a:pt x="3826" y="4114"/>
                              <a:pt x="3828" y="4122"/>
                            </a:cubicBezTo>
                            <a:cubicBezTo>
                              <a:pt x="3822" y="4122"/>
                              <a:pt x="3820" y="4126"/>
                              <a:pt x="3811" y="4128"/>
                            </a:cubicBezTo>
                            <a:cubicBezTo>
                              <a:pt x="3800" y="4131"/>
                              <a:pt x="3802" y="4129"/>
                              <a:pt x="3792" y="4129"/>
                            </a:cubicBezTo>
                            <a:cubicBezTo>
                              <a:pt x="3783" y="4129"/>
                              <a:pt x="3778" y="4130"/>
                              <a:pt x="3764" y="4134"/>
                            </a:cubicBezTo>
                            <a:cubicBezTo>
                              <a:pt x="3750" y="4137"/>
                              <a:pt x="3758" y="4137"/>
                              <a:pt x="3750" y="4141"/>
                            </a:cubicBezTo>
                            <a:cubicBezTo>
                              <a:pt x="3742" y="4146"/>
                              <a:pt x="3742" y="4145"/>
                              <a:pt x="3733" y="4147"/>
                            </a:cubicBezTo>
                            <a:cubicBezTo>
                              <a:pt x="3723" y="4148"/>
                              <a:pt x="3725" y="4147"/>
                              <a:pt x="3716" y="4146"/>
                            </a:cubicBezTo>
                            <a:cubicBezTo>
                              <a:pt x="3708" y="4145"/>
                              <a:pt x="3704" y="4144"/>
                              <a:pt x="3693" y="4144"/>
                            </a:cubicBezTo>
                            <a:cubicBezTo>
                              <a:pt x="3680" y="4144"/>
                              <a:pt x="3675" y="4150"/>
                              <a:pt x="3666" y="4156"/>
                            </a:cubicBezTo>
                            <a:cubicBezTo>
                              <a:pt x="3656" y="4162"/>
                              <a:pt x="3658" y="4163"/>
                              <a:pt x="3643" y="4174"/>
                            </a:cubicBezTo>
                            <a:cubicBezTo>
                              <a:pt x="3628" y="4185"/>
                              <a:pt x="3623" y="4186"/>
                              <a:pt x="3615" y="4190"/>
                            </a:cubicBezTo>
                            <a:cubicBezTo>
                              <a:pt x="3606" y="4195"/>
                              <a:pt x="3601" y="4195"/>
                              <a:pt x="3591" y="4195"/>
                            </a:cubicBezTo>
                            <a:cubicBezTo>
                              <a:pt x="3588" y="4195"/>
                              <a:pt x="3584" y="4195"/>
                              <a:pt x="3581" y="4196"/>
                            </a:cubicBezTo>
                            <a:cubicBezTo>
                              <a:pt x="3580" y="4195"/>
                              <a:pt x="3580" y="4195"/>
                              <a:pt x="3580" y="4194"/>
                            </a:cubicBezTo>
                            <a:cubicBezTo>
                              <a:pt x="3577" y="4191"/>
                              <a:pt x="3576" y="4187"/>
                              <a:pt x="3577" y="4183"/>
                            </a:cubicBezTo>
                            <a:cubicBezTo>
                              <a:pt x="3577" y="4177"/>
                              <a:pt x="3580" y="4172"/>
                              <a:pt x="3583" y="4169"/>
                            </a:cubicBezTo>
                            <a:cubicBezTo>
                              <a:pt x="3585" y="4167"/>
                              <a:pt x="3589" y="4163"/>
                              <a:pt x="3594" y="4159"/>
                            </a:cubicBezTo>
                            <a:cubicBezTo>
                              <a:pt x="3601" y="4153"/>
                              <a:pt x="3609" y="4147"/>
                              <a:pt x="3612" y="4142"/>
                            </a:cubicBezTo>
                            <a:cubicBezTo>
                              <a:pt x="3614" y="4138"/>
                              <a:pt x="3619" y="4125"/>
                              <a:pt x="3624" y="4111"/>
                            </a:cubicBezTo>
                            <a:cubicBezTo>
                              <a:pt x="3634" y="4110"/>
                              <a:pt x="3635" y="4110"/>
                              <a:pt x="3646" y="4095"/>
                            </a:cubicBezTo>
                            <a:cubicBezTo>
                              <a:pt x="3658" y="4078"/>
                              <a:pt x="3658" y="4081"/>
                              <a:pt x="3661" y="4067"/>
                            </a:cubicBezTo>
                            <a:cubicBezTo>
                              <a:pt x="3664" y="4054"/>
                              <a:pt x="3661" y="4054"/>
                              <a:pt x="3665" y="4038"/>
                            </a:cubicBezTo>
                            <a:cubicBezTo>
                              <a:pt x="3669" y="4023"/>
                              <a:pt x="3677" y="4010"/>
                              <a:pt x="3683" y="4007"/>
                            </a:cubicBezTo>
                            <a:cubicBezTo>
                              <a:pt x="3688" y="4004"/>
                              <a:pt x="3690" y="3995"/>
                              <a:pt x="3689" y="3989"/>
                            </a:cubicBezTo>
                            <a:cubicBezTo>
                              <a:pt x="3689" y="3984"/>
                              <a:pt x="3691" y="3983"/>
                              <a:pt x="3685" y="3976"/>
                            </a:cubicBezTo>
                            <a:cubicBezTo>
                              <a:pt x="3680" y="3969"/>
                              <a:pt x="3684" y="3967"/>
                              <a:pt x="3677" y="3961"/>
                            </a:cubicBezTo>
                            <a:cubicBezTo>
                              <a:pt x="3669" y="3956"/>
                              <a:pt x="3663" y="3954"/>
                              <a:pt x="3667" y="3950"/>
                            </a:cubicBezTo>
                            <a:cubicBezTo>
                              <a:pt x="3671" y="3946"/>
                              <a:pt x="3673" y="3949"/>
                              <a:pt x="3680" y="3950"/>
                            </a:cubicBezTo>
                            <a:cubicBezTo>
                              <a:pt x="3688" y="3952"/>
                              <a:pt x="3692" y="3954"/>
                              <a:pt x="3692" y="3958"/>
                            </a:cubicBezTo>
                            <a:cubicBezTo>
                              <a:pt x="3692" y="3962"/>
                              <a:pt x="3687" y="3960"/>
                              <a:pt x="3692" y="3966"/>
                            </a:cubicBezTo>
                            <a:cubicBezTo>
                              <a:pt x="3696" y="3972"/>
                              <a:pt x="3708" y="3968"/>
                              <a:pt x="3708" y="3972"/>
                            </a:cubicBezTo>
                            <a:cubicBezTo>
                              <a:pt x="3708" y="3977"/>
                              <a:pt x="3702" y="3977"/>
                              <a:pt x="3702" y="3983"/>
                            </a:cubicBezTo>
                            <a:cubicBezTo>
                              <a:pt x="3703" y="3989"/>
                              <a:pt x="3705" y="4000"/>
                              <a:pt x="3711" y="3996"/>
                            </a:cubicBezTo>
                            <a:cubicBezTo>
                              <a:pt x="3718" y="3993"/>
                              <a:pt x="3718" y="3987"/>
                              <a:pt x="3724" y="3989"/>
                            </a:cubicBezTo>
                            <a:cubicBezTo>
                              <a:pt x="3730" y="3990"/>
                              <a:pt x="3735" y="3991"/>
                              <a:pt x="3739" y="3997"/>
                            </a:cubicBezTo>
                            <a:cubicBezTo>
                              <a:pt x="3744" y="4003"/>
                              <a:pt x="3744" y="4003"/>
                              <a:pt x="3751" y="4005"/>
                            </a:cubicBezTo>
                            <a:cubicBezTo>
                              <a:pt x="3758" y="4006"/>
                              <a:pt x="3764" y="4009"/>
                              <a:pt x="3765" y="4002"/>
                            </a:cubicBezTo>
                            <a:cubicBezTo>
                              <a:pt x="3766" y="3994"/>
                              <a:pt x="3760" y="3989"/>
                              <a:pt x="3763" y="3985"/>
                            </a:cubicBezTo>
                            <a:cubicBezTo>
                              <a:pt x="3766" y="3981"/>
                              <a:pt x="3767" y="3974"/>
                              <a:pt x="3774" y="3979"/>
                            </a:cubicBezTo>
                            <a:cubicBezTo>
                              <a:pt x="3782" y="3985"/>
                              <a:pt x="3788" y="3989"/>
                              <a:pt x="3788" y="3985"/>
                            </a:cubicBezTo>
                            <a:cubicBezTo>
                              <a:pt x="3789" y="3980"/>
                              <a:pt x="3783" y="3972"/>
                              <a:pt x="3779" y="3969"/>
                            </a:cubicBezTo>
                            <a:cubicBezTo>
                              <a:pt x="3775" y="3965"/>
                              <a:pt x="3769" y="3967"/>
                              <a:pt x="3768" y="3957"/>
                            </a:cubicBezTo>
                            <a:cubicBezTo>
                              <a:pt x="3767" y="3946"/>
                              <a:pt x="3772" y="3943"/>
                              <a:pt x="3766" y="3936"/>
                            </a:cubicBezTo>
                            <a:cubicBezTo>
                              <a:pt x="3761" y="3929"/>
                              <a:pt x="3749" y="3923"/>
                              <a:pt x="3743" y="3918"/>
                            </a:cubicBezTo>
                            <a:cubicBezTo>
                              <a:pt x="3738" y="3914"/>
                              <a:pt x="3731" y="3907"/>
                              <a:pt x="3725" y="3900"/>
                            </a:cubicBezTo>
                            <a:cubicBezTo>
                              <a:pt x="3719" y="3892"/>
                              <a:pt x="3717" y="3892"/>
                              <a:pt x="3705" y="3892"/>
                            </a:cubicBezTo>
                            <a:cubicBezTo>
                              <a:pt x="3694" y="3892"/>
                              <a:pt x="3682" y="3893"/>
                              <a:pt x="3673" y="3889"/>
                            </a:cubicBezTo>
                            <a:cubicBezTo>
                              <a:pt x="3664" y="3885"/>
                              <a:pt x="3654" y="3876"/>
                              <a:pt x="3635" y="3876"/>
                            </a:cubicBezTo>
                            <a:cubicBezTo>
                              <a:pt x="3617" y="3876"/>
                              <a:pt x="3610" y="3877"/>
                              <a:pt x="3600" y="3876"/>
                            </a:cubicBezTo>
                            <a:cubicBezTo>
                              <a:pt x="3589" y="3875"/>
                              <a:pt x="3585" y="3874"/>
                              <a:pt x="3577" y="3871"/>
                            </a:cubicBezTo>
                            <a:cubicBezTo>
                              <a:pt x="3569" y="3868"/>
                              <a:pt x="3558" y="3873"/>
                              <a:pt x="3550" y="3871"/>
                            </a:cubicBezTo>
                            <a:cubicBezTo>
                              <a:pt x="3545" y="3870"/>
                              <a:pt x="3532" y="3871"/>
                              <a:pt x="3524" y="3873"/>
                            </a:cubicBezTo>
                            <a:cubicBezTo>
                              <a:pt x="3523" y="3872"/>
                              <a:pt x="3522" y="3869"/>
                              <a:pt x="3521" y="3867"/>
                            </a:cubicBezTo>
                            <a:cubicBezTo>
                              <a:pt x="3519" y="3863"/>
                              <a:pt x="3518" y="3860"/>
                              <a:pt x="3518" y="3858"/>
                            </a:cubicBezTo>
                            <a:cubicBezTo>
                              <a:pt x="3516" y="3852"/>
                              <a:pt x="3515" y="3848"/>
                              <a:pt x="3510" y="3847"/>
                            </a:cubicBezTo>
                            <a:cubicBezTo>
                              <a:pt x="3506" y="3846"/>
                              <a:pt x="3502" y="3846"/>
                              <a:pt x="3497" y="3847"/>
                            </a:cubicBezTo>
                            <a:cubicBezTo>
                              <a:pt x="3494" y="3847"/>
                              <a:pt x="3491" y="3848"/>
                              <a:pt x="3487" y="3848"/>
                            </a:cubicBezTo>
                            <a:cubicBezTo>
                              <a:pt x="3483" y="3848"/>
                              <a:pt x="3481" y="3847"/>
                              <a:pt x="3479" y="3844"/>
                            </a:cubicBezTo>
                            <a:close/>
                            <a:moveTo>
                              <a:pt x="5156" y="3547"/>
                            </a:moveTo>
                            <a:cubicBezTo>
                              <a:pt x="5147" y="3559"/>
                              <a:pt x="5146" y="3567"/>
                              <a:pt x="5145" y="3574"/>
                            </a:cubicBezTo>
                            <a:cubicBezTo>
                              <a:pt x="5144" y="3581"/>
                              <a:pt x="5144" y="3584"/>
                              <a:pt x="5137" y="3593"/>
                            </a:cubicBezTo>
                            <a:cubicBezTo>
                              <a:pt x="5130" y="3602"/>
                              <a:pt x="5122" y="3611"/>
                              <a:pt x="5119" y="3617"/>
                            </a:cubicBezTo>
                            <a:cubicBezTo>
                              <a:pt x="5116" y="3622"/>
                              <a:pt x="5113" y="3627"/>
                              <a:pt x="5118" y="3630"/>
                            </a:cubicBezTo>
                            <a:cubicBezTo>
                              <a:pt x="5123" y="3632"/>
                              <a:pt x="5123" y="3630"/>
                              <a:pt x="5129" y="3633"/>
                            </a:cubicBezTo>
                            <a:cubicBezTo>
                              <a:pt x="5136" y="3637"/>
                              <a:pt x="5141" y="3641"/>
                              <a:pt x="5136" y="3642"/>
                            </a:cubicBezTo>
                            <a:cubicBezTo>
                              <a:pt x="5131" y="3642"/>
                              <a:pt x="5121" y="3636"/>
                              <a:pt x="5123" y="3643"/>
                            </a:cubicBezTo>
                            <a:cubicBezTo>
                              <a:pt x="5125" y="3650"/>
                              <a:pt x="5133" y="3657"/>
                              <a:pt x="5130" y="3658"/>
                            </a:cubicBezTo>
                            <a:cubicBezTo>
                              <a:pt x="5128" y="3659"/>
                              <a:pt x="5121" y="3659"/>
                              <a:pt x="5118" y="3655"/>
                            </a:cubicBezTo>
                            <a:cubicBezTo>
                              <a:pt x="5115" y="3651"/>
                              <a:pt x="5105" y="3645"/>
                              <a:pt x="5101" y="3650"/>
                            </a:cubicBezTo>
                            <a:cubicBezTo>
                              <a:pt x="5096" y="3656"/>
                              <a:pt x="5092" y="3665"/>
                              <a:pt x="5092" y="3672"/>
                            </a:cubicBezTo>
                            <a:cubicBezTo>
                              <a:pt x="5092" y="3678"/>
                              <a:pt x="5092" y="3683"/>
                              <a:pt x="5089" y="3684"/>
                            </a:cubicBezTo>
                            <a:cubicBezTo>
                              <a:pt x="5085" y="3684"/>
                              <a:pt x="5076" y="3686"/>
                              <a:pt x="5075" y="3684"/>
                            </a:cubicBezTo>
                            <a:cubicBezTo>
                              <a:pt x="5074" y="3681"/>
                              <a:pt x="5081" y="3675"/>
                              <a:pt x="5080" y="3675"/>
                            </a:cubicBezTo>
                            <a:cubicBezTo>
                              <a:pt x="5078" y="3674"/>
                              <a:pt x="5076" y="3674"/>
                              <a:pt x="5070" y="3678"/>
                            </a:cubicBezTo>
                            <a:cubicBezTo>
                              <a:pt x="5064" y="3682"/>
                              <a:pt x="5065" y="3685"/>
                              <a:pt x="5060" y="3689"/>
                            </a:cubicBezTo>
                            <a:cubicBezTo>
                              <a:pt x="5054" y="3692"/>
                              <a:pt x="5049" y="3696"/>
                              <a:pt x="5054" y="3697"/>
                            </a:cubicBezTo>
                            <a:cubicBezTo>
                              <a:pt x="5060" y="3698"/>
                              <a:pt x="5067" y="3696"/>
                              <a:pt x="5071" y="3695"/>
                            </a:cubicBezTo>
                            <a:cubicBezTo>
                              <a:pt x="5075" y="3694"/>
                              <a:pt x="5078" y="3692"/>
                              <a:pt x="5085" y="3694"/>
                            </a:cubicBezTo>
                            <a:cubicBezTo>
                              <a:pt x="5092" y="3695"/>
                              <a:pt x="5102" y="3691"/>
                              <a:pt x="5106" y="3694"/>
                            </a:cubicBezTo>
                            <a:cubicBezTo>
                              <a:pt x="5111" y="3696"/>
                              <a:pt x="5102" y="3702"/>
                              <a:pt x="5096" y="3704"/>
                            </a:cubicBezTo>
                            <a:cubicBezTo>
                              <a:pt x="5089" y="3706"/>
                              <a:pt x="5068" y="3717"/>
                              <a:pt x="5065" y="3723"/>
                            </a:cubicBezTo>
                            <a:cubicBezTo>
                              <a:pt x="5063" y="3729"/>
                              <a:pt x="5059" y="3733"/>
                              <a:pt x="5055" y="3737"/>
                            </a:cubicBezTo>
                            <a:cubicBezTo>
                              <a:pt x="5051" y="3741"/>
                              <a:pt x="5045" y="3743"/>
                              <a:pt x="5047" y="3748"/>
                            </a:cubicBezTo>
                            <a:cubicBezTo>
                              <a:pt x="5049" y="3752"/>
                              <a:pt x="5052" y="3750"/>
                              <a:pt x="5055" y="3757"/>
                            </a:cubicBezTo>
                            <a:cubicBezTo>
                              <a:pt x="5058" y="3764"/>
                              <a:pt x="5066" y="3764"/>
                              <a:pt x="5079" y="3764"/>
                            </a:cubicBezTo>
                            <a:cubicBezTo>
                              <a:pt x="5093" y="3764"/>
                              <a:pt x="5107" y="3760"/>
                              <a:pt x="5111" y="3759"/>
                            </a:cubicBezTo>
                            <a:cubicBezTo>
                              <a:pt x="5115" y="3759"/>
                              <a:pt x="5125" y="3758"/>
                              <a:pt x="5132" y="3759"/>
                            </a:cubicBezTo>
                            <a:cubicBezTo>
                              <a:pt x="5140" y="3760"/>
                              <a:pt x="5149" y="3757"/>
                              <a:pt x="5160" y="3762"/>
                            </a:cubicBezTo>
                            <a:cubicBezTo>
                              <a:pt x="5172" y="3766"/>
                              <a:pt x="5182" y="3767"/>
                              <a:pt x="5191" y="3767"/>
                            </a:cubicBezTo>
                            <a:cubicBezTo>
                              <a:pt x="5200" y="3767"/>
                              <a:pt x="5205" y="3767"/>
                              <a:pt x="5209" y="3765"/>
                            </a:cubicBezTo>
                            <a:cubicBezTo>
                              <a:pt x="5213" y="3763"/>
                              <a:pt x="5224" y="3763"/>
                              <a:pt x="5227" y="3762"/>
                            </a:cubicBezTo>
                            <a:cubicBezTo>
                              <a:pt x="5229" y="3761"/>
                              <a:pt x="5235" y="3754"/>
                              <a:pt x="5237" y="3752"/>
                            </a:cubicBezTo>
                            <a:cubicBezTo>
                              <a:pt x="5238" y="3749"/>
                              <a:pt x="5247" y="3749"/>
                              <a:pt x="5252" y="3750"/>
                            </a:cubicBezTo>
                            <a:cubicBezTo>
                              <a:pt x="5257" y="3751"/>
                              <a:pt x="5261" y="3742"/>
                              <a:pt x="5263" y="3743"/>
                            </a:cubicBezTo>
                            <a:cubicBezTo>
                              <a:pt x="5266" y="3744"/>
                              <a:pt x="5264" y="3748"/>
                              <a:pt x="5265" y="3753"/>
                            </a:cubicBezTo>
                            <a:cubicBezTo>
                              <a:pt x="5266" y="3758"/>
                              <a:pt x="5277" y="3757"/>
                              <a:pt x="5276" y="3761"/>
                            </a:cubicBezTo>
                            <a:cubicBezTo>
                              <a:pt x="5275" y="3764"/>
                              <a:pt x="5266" y="3769"/>
                              <a:pt x="5271" y="3771"/>
                            </a:cubicBezTo>
                            <a:cubicBezTo>
                              <a:pt x="5275" y="3773"/>
                              <a:pt x="5283" y="3779"/>
                              <a:pt x="5288" y="3776"/>
                            </a:cubicBezTo>
                            <a:cubicBezTo>
                              <a:pt x="5293" y="3772"/>
                              <a:pt x="5284" y="3759"/>
                              <a:pt x="5293" y="3759"/>
                            </a:cubicBezTo>
                            <a:cubicBezTo>
                              <a:pt x="5302" y="3759"/>
                              <a:pt x="5300" y="3770"/>
                              <a:pt x="5308" y="3762"/>
                            </a:cubicBezTo>
                            <a:cubicBezTo>
                              <a:pt x="5316" y="3754"/>
                              <a:pt x="5317" y="3748"/>
                              <a:pt x="5320" y="3752"/>
                            </a:cubicBezTo>
                            <a:cubicBezTo>
                              <a:pt x="5324" y="3756"/>
                              <a:pt x="5319" y="3761"/>
                              <a:pt x="5322" y="3762"/>
                            </a:cubicBezTo>
                            <a:cubicBezTo>
                              <a:pt x="5326" y="3764"/>
                              <a:pt x="5331" y="3763"/>
                              <a:pt x="5331" y="3765"/>
                            </a:cubicBezTo>
                            <a:cubicBezTo>
                              <a:pt x="5331" y="3768"/>
                              <a:pt x="5326" y="3774"/>
                              <a:pt x="5317" y="3776"/>
                            </a:cubicBezTo>
                            <a:cubicBezTo>
                              <a:pt x="5308" y="3777"/>
                              <a:pt x="5300" y="3779"/>
                              <a:pt x="5295" y="3787"/>
                            </a:cubicBezTo>
                            <a:cubicBezTo>
                              <a:pt x="5290" y="3795"/>
                              <a:pt x="5286" y="3798"/>
                              <a:pt x="5278" y="3801"/>
                            </a:cubicBezTo>
                            <a:cubicBezTo>
                              <a:pt x="5269" y="3804"/>
                              <a:pt x="5262" y="3806"/>
                              <a:pt x="5260" y="3812"/>
                            </a:cubicBezTo>
                            <a:cubicBezTo>
                              <a:pt x="5259" y="3819"/>
                              <a:pt x="5263" y="3824"/>
                              <a:pt x="5273" y="3821"/>
                            </a:cubicBezTo>
                            <a:cubicBezTo>
                              <a:pt x="5283" y="3819"/>
                              <a:pt x="5286" y="3817"/>
                              <a:pt x="5293" y="3819"/>
                            </a:cubicBezTo>
                            <a:cubicBezTo>
                              <a:pt x="5299" y="3821"/>
                              <a:pt x="5311" y="3819"/>
                              <a:pt x="5314" y="3809"/>
                            </a:cubicBezTo>
                            <a:cubicBezTo>
                              <a:pt x="5317" y="3800"/>
                              <a:pt x="5321" y="3786"/>
                              <a:pt x="5327" y="3783"/>
                            </a:cubicBezTo>
                            <a:cubicBezTo>
                              <a:pt x="5333" y="3781"/>
                              <a:pt x="5339" y="3784"/>
                              <a:pt x="5343" y="3781"/>
                            </a:cubicBezTo>
                            <a:cubicBezTo>
                              <a:pt x="5347" y="3779"/>
                              <a:pt x="5352" y="3771"/>
                              <a:pt x="5355" y="3764"/>
                            </a:cubicBezTo>
                            <a:cubicBezTo>
                              <a:pt x="5358" y="3757"/>
                              <a:pt x="5360" y="3748"/>
                              <a:pt x="5367" y="3750"/>
                            </a:cubicBezTo>
                            <a:cubicBezTo>
                              <a:pt x="5374" y="3752"/>
                              <a:pt x="5376" y="3758"/>
                              <a:pt x="5378" y="3763"/>
                            </a:cubicBezTo>
                            <a:cubicBezTo>
                              <a:pt x="5379" y="3769"/>
                              <a:pt x="5381" y="3770"/>
                              <a:pt x="5383" y="3774"/>
                            </a:cubicBezTo>
                            <a:cubicBezTo>
                              <a:pt x="5384" y="3778"/>
                              <a:pt x="5378" y="3783"/>
                              <a:pt x="5375" y="3785"/>
                            </a:cubicBezTo>
                            <a:cubicBezTo>
                              <a:pt x="5372" y="3788"/>
                              <a:pt x="5369" y="3794"/>
                              <a:pt x="5370" y="3802"/>
                            </a:cubicBezTo>
                            <a:cubicBezTo>
                              <a:pt x="5372" y="3810"/>
                              <a:pt x="5366" y="3811"/>
                              <a:pt x="5367" y="3818"/>
                            </a:cubicBezTo>
                            <a:cubicBezTo>
                              <a:pt x="5369" y="3824"/>
                              <a:pt x="5369" y="3827"/>
                              <a:pt x="5376" y="3824"/>
                            </a:cubicBezTo>
                            <a:cubicBezTo>
                              <a:pt x="5382" y="3822"/>
                              <a:pt x="5384" y="3818"/>
                              <a:pt x="5386" y="3814"/>
                            </a:cubicBezTo>
                            <a:cubicBezTo>
                              <a:pt x="5388" y="3810"/>
                              <a:pt x="5391" y="3800"/>
                              <a:pt x="5396" y="3805"/>
                            </a:cubicBezTo>
                            <a:cubicBezTo>
                              <a:pt x="5400" y="3811"/>
                              <a:pt x="5399" y="3814"/>
                              <a:pt x="5400" y="3819"/>
                            </a:cubicBezTo>
                            <a:cubicBezTo>
                              <a:pt x="5402" y="3824"/>
                              <a:pt x="5403" y="3826"/>
                              <a:pt x="5402" y="3832"/>
                            </a:cubicBezTo>
                            <a:cubicBezTo>
                              <a:pt x="5401" y="3838"/>
                              <a:pt x="5402" y="3840"/>
                              <a:pt x="5406" y="3841"/>
                            </a:cubicBezTo>
                            <a:cubicBezTo>
                              <a:pt x="5409" y="3841"/>
                              <a:pt x="5416" y="3837"/>
                              <a:pt x="5418" y="3836"/>
                            </a:cubicBezTo>
                            <a:cubicBezTo>
                              <a:pt x="5421" y="3835"/>
                              <a:pt x="5426" y="3838"/>
                              <a:pt x="5430" y="3839"/>
                            </a:cubicBezTo>
                            <a:cubicBezTo>
                              <a:pt x="5434" y="3840"/>
                              <a:pt x="5439" y="3836"/>
                              <a:pt x="5441" y="3832"/>
                            </a:cubicBezTo>
                            <a:cubicBezTo>
                              <a:pt x="5442" y="3827"/>
                              <a:pt x="5441" y="3821"/>
                              <a:pt x="5443" y="3811"/>
                            </a:cubicBezTo>
                            <a:cubicBezTo>
                              <a:pt x="5446" y="3802"/>
                              <a:pt x="5449" y="3799"/>
                              <a:pt x="5452" y="3792"/>
                            </a:cubicBezTo>
                            <a:cubicBezTo>
                              <a:pt x="5455" y="3784"/>
                              <a:pt x="5457" y="3783"/>
                              <a:pt x="5459" y="3779"/>
                            </a:cubicBezTo>
                            <a:cubicBezTo>
                              <a:pt x="5460" y="3775"/>
                              <a:pt x="5462" y="3771"/>
                              <a:pt x="5458" y="3768"/>
                            </a:cubicBezTo>
                            <a:cubicBezTo>
                              <a:pt x="5454" y="3765"/>
                              <a:pt x="5447" y="3761"/>
                              <a:pt x="5444" y="3763"/>
                            </a:cubicBezTo>
                            <a:cubicBezTo>
                              <a:pt x="5441" y="3765"/>
                              <a:pt x="5435" y="3774"/>
                              <a:pt x="5431" y="3774"/>
                            </a:cubicBezTo>
                            <a:cubicBezTo>
                              <a:pt x="5428" y="3773"/>
                              <a:pt x="5424" y="3768"/>
                              <a:pt x="5426" y="3764"/>
                            </a:cubicBezTo>
                            <a:cubicBezTo>
                              <a:pt x="5429" y="3761"/>
                              <a:pt x="5431" y="3757"/>
                              <a:pt x="5434" y="3752"/>
                            </a:cubicBezTo>
                            <a:cubicBezTo>
                              <a:pt x="5438" y="3748"/>
                              <a:pt x="5436" y="3743"/>
                              <a:pt x="5441" y="3738"/>
                            </a:cubicBezTo>
                            <a:cubicBezTo>
                              <a:pt x="5446" y="3732"/>
                              <a:pt x="5454" y="3727"/>
                              <a:pt x="5450" y="3726"/>
                            </a:cubicBezTo>
                            <a:cubicBezTo>
                              <a:pt x="5445" y="3726"/>
                              <a:pt x="5433" y="3729"/>
                              <a:pt x="5429" y="3731"/>
                            </a:cubicBezTo>
                            <a:cubicBezTo>
                              <a:pt x="5425" y="3733"/>
                              <a:pt x="5420" y="3732"/>
                              <a:pt x="5419" y="3738"/>
                            </a:cubicBezTo>
                            <a:cubicBezTo>
                              <a:pt x="5418" y="3743"/>
                              <a:pt x="5415" y="3752"/>
                              <a:pt x="5414" y="3757"/>
                            </a:cubicBezTo>
                            <a:cubicBezTo>
                              <a:pt x="5412" y="3762"/>
                              <a:pt x="5408" y="3769"/>
                              <a:pt x="5403" y="3769"/>
                            </a:cubicBezTo>
                            <a:cubicBezTo>
                              <a:pt x="5398" y="3768"/>
                              <a:pt x="5390" y="3766"/>
                              <a:pt x="5391" y="3760"/>
                            </a:cubicBezTo>
                            <a:cubicBezTo>
                              <a:pt x="5391" y="3754"/>
                              <a:pt x="5393" y="3752"/>
                              <a:pt x="5397" y="3744"/>
                            </a:cubicBezTo>
                            <a:cubicBezTo>
                              <a:pt x="5400" y="3737"/>
                              <a:pt x="5398" y="3733"/>
                              <a:pt x="5401" y="3727"/>
                            </a:cubicBezTo>
                            <a:cubicBezTo>
                              <a:pt x="5404" y="3721"/>
                              <a:pt x="5407" y="3717"/>
                              <a:pt x="5413" y="3714"/>
                            </a:cubicBezTo>
                            <a:cubicBezTo>
                              <a:pt x="5418" y="3711"/>
                              <a:pt x="5426" y="3707"/>
                              <a:pt x="5430" y="3704"/>
                            </a:cubicBezTo>
                            <a:cubicBezTo>
                              <a:pt x="5434" y="3700"/>
                              <a:pt x="5438" y="3696"/>
                              <a:pt x="5438" y="3692"/>
                            </a:cubicBezTo>
                            <a:cubicBezTo>
                              <a:pt x="5438" y="3689"/>
                              <a:pt x="5437" y="3683"/>
                              <a:pt x="5429" y="3685"/>
                            </a:cubicBezTo>
                            <a:cubicBezTo>
                              <a:pt x="5422" y="3687"/>
                              <a:pt x="5415" y="3686"/>
                              <a:pt x="5413" y="3687"/>
                            </a:cubicBezTo>
                            <a:cubicBezTo>
                              <a:pt x="5410" y="3687"/>
                              <a:pt x="5406" y="3689"/>
                              <a:pt x="5403" y="3694"/>
                            </a:cubicBezTo>
                            <a:cubicBezTo>
                              <a:pt x="5400" y="3699"/>
                              <a:pt x="5393" y="3703"/>
                              <a:pt x="5388" y="3703"/>
                            </a:cubicBezTo>
                            <a:cubicBezTo>
                              <a:pt x="5382" y="3703"/>
                              <a:pt x="5376" y="3706"/>
                              <a:pt x="5376" y="3702"/>
                            </a:cubicBezTo>
                            <a:cubicBezTo>
                              <a:pt x="5377" y="3698"/>
                              <a:pt x="5380" y="3697"/>
                              <a:pt x="5383" y="3692"/>
                            </a:cubicBezTo>
                            <a:cubicBezTo>
                              <a:pt x="5386" y="3687"/>
                              <a:pt x="5384" y="3682"/>
                              <a:pt x="5382" y="3681"/>
                            </a:cubicBezTo>
                            <a:cubicBezTo>
                              <a:pt x="5380" y="3679"/>
                              <a:pt x="5374" y="3674"/>
                              <a:pt x="5371" y="3673"/>
                            </a:cubicBezTo>
                            <a:cubicBezTo>
                              <a:pt x="5368" y="3672"/>
                              <a:pt x="5368" y="3669"/>
                              <a:pt x="5374" y="3667"/>
                            </a:cubicBezTo>
                            <a:cubicBezTo>
                              <a:pt x="5379" y="3665"/>
                              <a:pt x="5378" y="3666"/>
                              <a:pt x="5384" y="3663"/>
                            </a:cubicBezTo>
                            <a:cubicBezTo>
                              <a:pt x="5389" y="3660"/>
                              <a:pt x="5390" y="3661"/>
                              <a:pt x="5397" y="3656"/>
                            </a:cubicBezTo>
                            <a:cubicBezTo>
                              <a:pt x="5404" y="3650"/>
                              <a:pt x="5409" y="3646"/>
                              <a:pt x="5409" y="3642"/>
                            </a:cubicBezTo>
                            <a:cubicBezTo>
                              <a:pt x="5409" y="3637"/>
                              <a:pt x="5414" y="3637"/>
                              <a:pt x="5406" y="3633"/>
                            </a:cubicBezTo>
                            <a:cubicBezTo>
                              <a:pt x="5398" y="3629"/>
                              <a:pt x="5390" y="3624"/>
                              <a:pt x="5386" y="3622"/>
                            </a:cubicBezTo>
                            <a:cubicBezTo>
                              <a:pt x="5382" y="3620"/>
                              <a:pt x="5374" y="3618"/>
                              <a:pt x="5369" y="3620"/>
                            </a:cubicBezTo>
                            <a:cubicBezTo>
                              <a:pt x="5365" y="3623"/>
                              <a:pt x="5368" y="3623"/>
                              <a:pt x="5360" y="3625"/>
                            </a:cubicBezTo>
                            <a:cubicBezTo>
                              <a:pt x="5351" y="3626"/>
                              <a:pt x="5353" y="3620"/>
                              <a:pt x="5349" y="3619"/>
                            </a:cubicBezTo>
                            <a:cubicBezTo>
                              <a:pt x="5345" y="3619"/>
                              <a:pt x="5338" y="3617"/>
                              <a:pt x="5335" y="3623"/>
                            </a:cubicBezTo>
                            <a:cubicBezTo>
                              <a:pt x="5332" y="3630"/>
                              <a:pt x="5333" y="3633"/>
                              <a:pt x="5326" y="3633"/>
                            </a:cubicBezTo>
                            <a:cubicBezTo>
                              <a:pt x="5318" y="3634"/>
                              <a:pt x="5313" y="3633"/>
                              <a:pt x="5309" y="3636"/>
                            </a:cubicBezTo>
                            <a:cubicBezTo>
                              <a:pt x="5306" y="3639"/>
                              <a:pt x="5304" y="3644"/>
                              <a:pt x="5301" y="3646"/>
                            </a:cubicBezTo>
                            <a:cubicBezTo>
                              <a:pt x="5298" y="3648"/>
                              <a:pt x="5293" y="3650"/>
                              <a:pt x="5293" y="3645"/>
                            </a:cubicBezTo>
                            <a:cubicBezTo>
                              <a:pt x="5294" y="3641"/>
                              <a:pt x="5298" y="3637"/>
                              <a:pt x="5298" y="3634"/>
                            </a:cubicBezTo>
                            <a:cubicBezTo>
                              <a:pt x="5298" y="3630"/>
                              <a:pt x="5300" y="3628"/>
                              <a:pt x="5293" y="3626"/>
                            </a:cubicBezTo>
                            <a:cubicBezTo>
                              <a:pt x="5287" y="3625"/>
                              <a:pt x="5281" y="3626"/>
                              <a:pt x="5277" y="3624"/>
                            </a:cubicBezTo>
                            <a:cubicBezTo>
                              <a:pt x="5274" y="3622"/>
                              <a:pt x="5272" y="3618"/>
                              <a:pt x="5267" y="3617"/>
                            </a:cubicBezTo>
                            <a:cubicBezTo>
                              <a:pt x="5262" y="3617"/>
                              <a:pt x="5256" y="3617"/>
                              <a:pt x="5252" y="3618"/>
                            </a:cubicBezTo>
                            <a:cubicBezTo>
                              <a:pt x="5248" y="3618"/>
                              <a:pt x="5248" y="3611"/>
                              <a:pt x="5252" y="3605"/>
                            </a:cubicBezTo>
                            <a:cubicBezTo>
                              <a:pt x="5256" y="3599"/>
                              <a:pt x="5257" y="3598"/>
                              <a:pt x="5262" y="3595"/>
                            </a:cubicBezTo>
                            <a:cubicBezTo>
                              <a:pt x="5268" y="3592"/>
                              <a:pt x="5274" y="3587"/>
                              <a:pt x="5275" y="3585"/>
                            </a:cubicBezTo>
                            <a:cubicBezTo>
                              <a:pt x="5276" y="3583"/>
                              <a:pt x="5279" y="3580"/>
                              <a:pt x="5273" y="3579"/>
                            </a:cubicBezTo>
                            <a:cubicBezTo>
                              <a:pt x="5267" y="3578"/>
                              <a:pt x="5262" y="3577"/>
                              <a:pt x="5259" y="3574"/>
                            </a:cubicBezTo>
                            <a:cubicBezTo>
                              <a:pt x="5256" y="3572"/>
                              <a:pt x="5258" y="3571"/>
                              <a:pt x="5252" y="3571"/>
                            </a:cubicBezTo>
                            <a:cubicBezTo>
                              <a:pt x="5246" y="3572"/>
                              <a:pt x="5242" y="3568"/>
                              <a:pt x="5239" y="3566"/>
                            </a:cubicBezTo>
                            <a:cubicBezTo>
                              <a:pt x="5235" y="3565"/>
                              <a:pt x="5230" y="3572"/>
                              <a:pt x="5228" y="3576"/>
                            </a:cubicBezTo>
                            <a:cubicBezTo>
                              <a:pt x="5227" y="3581"/>
                              <a:pt x="5228" y="3578"/>
                              <a:pt x="5221" y="3588"/>
                            </a:cubicBezTo>
                            <a:cubicBezTo>
                              <a:pt x="5214" y="3598"/>
                              <a:pt x="5207" y="3610"/>
                              <a:pt x="5204" y="3607"/>
                            </a:cubicBezTo>
                            <a:cubicBezTo>
                              <a:pt x="5201" y="3604"/>
                              <a:pt x="5202" y="3592"/>
                              <a:pt x="5203" y="3585"/>
                            </a:cubicBezTo>
                            <a:cubicBezTo>
                              <a:pt x="5205" y="3579"/>
                              <a:pt x="5205" y="3578"/>
                              <a:pt x="5211" y="3568"/>
                            </a:cubicBezTo>
                            <a:cubicBezTo>
                              <a:pt x="5217" y="3559"/>
                              <a:pt x="5221" y="3555"/>
                              <a:pt x="5229" y="3546"/>
                            </a:cubicBezTo>
                            <a:cubicBezTo>
                              <a:pt x="5236" y="3537"/>
                              <a:pt x="5245" y="3529"/>
                              <a:pt x="5246" y="3524"/>
                            </a:cubicBezTo>
                            <a:cubicBezTo>
                              <a:pt x="5247" y="3520"/>
                              <a:pt x="5244" y="3513"/>
                              <a:pt x="5247" y="3511"/>
                            </a:cubicBezTo>
                            <a:cubicBezTo>
                              <a:pt x="5249" y="3510"/>
                              <a:pt x="5252" y="3511"/>
                              <a:pt x="5255" y="3510"/>
                            </a:cubicBezTo>
                            <a:cubicBezTo>
                              <a:pt x="5258" y="3508"/>
                              <a:pt x="5262" y="3505"/>
                              <a:pt x="5263" y="3501"/>
                            </a:cubicBezTo>
                            <a:cubicBezTo>
                              <a:pt x="5264" y="3497"/>
                              <a:pt x="5264" y="3495"/>
                              <a:pt x="5264" y="3489"/>
                            </a:cubicBezTo>
                            <a:cubicBezTo>
                              <a:pt x="5264" y="3484"/>
                              <a:pt x="5268" y="3483"/>
                              <a:pt x="5261" y="3480"/>
                            </a:cubicBezTo>
                            <a:cubicBezTo>
                              <a:pt x="5254" y="3476"/>
                              <a:pt x="5250" y="3473"/>
                              <a:pt x="5252" y="3470"/>
                            </a:cubicBezTo>
                            <a:cubicBezTo>
                              <a:pt x="5254" y="3467"/>
                              <a:pt x="5256" y="3464"/>
                              <a:pt x="5261" y="3468"/>
                            </a:cubicBezTo>
                            <a:cubicBezTo>
                              <a:pt x="5267" y="3472"/>
                              <a:pt x="5271" y="3474"/>
                              <a:pt x="5274" y="3471"/>
                            </a:cubicBezTo>
                            <a:cubicBezTo>
                              <a:pt x="5277" y="3467"/>
                              <a:pt x="5282" y="3467"/>
                              <a:pt x="5285" y="3459"/>
                            </a:cubicBezTo>
                            <a:cubicBezTo>
                              <a:pt x="5288" y="3452"/>
                              <a:pt x="5293" y="3447"/>
                              <a:pt x="5291" y="3446"/>
                            </a:cubicBezTo>
                            <a:cubicBezTo>
                              <a:pt x="5290" y="3444"/>
                              <a:pt x="5279" y="3441"/>
                              <a:pt x="5274" y="3444"/>
                            </a:cubicBezTo>
                            <a:cubicBezTo>
                              <a:pt x="5269" y="3447"/>
                              <a:pt x="5270" y="3454"/>
                              <a:pt x="5269" y="3455"/>
                            </a:cubicBezTo>
                            <a:cubicBezTo>
                              <a:pt x="5268" y="3457"/>
                              <a:pt x="5263" y="3459"/>
                              <a:pt x="5262" y="3454"/>
                            </a:cubicBezTo>
                            <a:cubicBezTo>
                              <a:pt x="5262" y="3448"/>
                              <a:pt x="5260" y="3441"/>
                              <a:pt x="5253" y="3443"/>
                            </a:cubicBezTo>
                            <a:cubicBezTo>
                              <a:pt x="5246" y="3445"/>
                              <a:pt x="5248" y="3451"/>
                              <a:pt x="5240" y="3453"/>
                            </a:cubicBezTo>
                            <a:cubicBezTo>
                              <a:pt x="5232" y="3455"/>
                              <a:pt x="5228" y="3455"/>
                              <a:pt x="5219" y="3460"/>
                            </a:cubicBezTo>
                            <a:cubicBezTo>
                              <a:pt x="5210" y="3465"/>
                              <a:pt x="5209" y="3467"/>
                              <a:pt x="5207" y="3474"/>
                            </a:cubicBezTo>
                            <a:cubicBezTo>
                              <a:pt x="5205" y="3481"/>
                              <a:pt x="5201" y="3485"/>
                              <a:pt x="5195" y="3486"/>
                            </a:cubicBezTo>
                            <a:cubicBezTo>
                              <a:pt x="5189" y="3487"/>
                              <a:pt x="5184" y="3488"/>
                              <a:pt x="5186" y="3493"/>
                            </a:cubicBezTo>
                            <a:cubicBezTo>
                              <a:pt x="5188" y="3499"/>
                              <a:pt x="5194" y="3502"/>
                              <a:pt x="5188" y="3506"/>
                            </a:cubicBezTo>
                            <a:cubicBezTo>
                              <a:pt x="5182" y="3511"/>
                              <a:pt x="5177" y="3509"/>
                              <a:pt x="5173" y="3514"/>
                            </a:cubicBezTo>
                            <a:cubicBezTo>
                              <a:pt x="5169" y="3519"/>
                              <a:pt x="5173" y="3518"/>
                              <a:pt x="5167" y="3526"/>
                            </a:cubicBezTo>
                            <a:cubicBezTo>
                              <a:pt x="5162" y="3535"/>
                              <a:pt x="5160" y="3539"/>
                              <a:pt x="5156" y="3547"/>
                            </a:cubicBezTo>
                            <a:close/>
                            <a:moveTo>
                              <a:pt x="5226" y="3809"/>
                            </a:moveTo>
                            <a:cubicBezTo>
                              <a:pt x="5226" y="3818"/>
                              <a:pt x="5227" y="3815"/>
                              <a:pt x="5227" y="3821"/>
                            </a:cubicBezTo>
                            <a:cubicBezTo>
                              <a:pt x="5228" y="3828"/>
                              <a:pt x="5228" y="3833"/>
                              <a:pt x="5231" y="3830"/>
                            </a:cubicBezTo>
                            <a:cubicBezTo>
                              <a:pt x="5235" y="3826"/>
                              <a:pt x="5233" y="3822"/>
                              <a:pt x="5236" y="3815"/>
                            </a:cubicBezTo>
                            <a:cubicBezTo>
                              <a:pt x="5238" y="3808"/>
                              <a:pt x="5242" y="3805"/>
                              <a:pt x="5237" y="3803"/>
                            </a:cubicBezTo>
                            <a:cubicBezTo>
                              <a:pt x="5233" y="3802"/>
                              <a:pt x="5225" y="3801"/>
                              <a:pt x="5226" y="3809"/>
                            </a:cubicBezTo>
                            <a:close/>
                            <a:moveTo>
                              <a:pt x="4813" y="3853"/>
                            </a:moveTo>
                            <a:cubicBezTo>
                              <a:pt x="4803" y="3845"/>
                              <a:pt x="4792" y="3854"/>
                              <a:pt x="4784" y="3854"/>
                            </a:cubicBezTo>
                            <a:cubicBezTo>
                              <a:pt x="4775" y="3854"/>
                              <a:pt x="4771" y="3859"/>
                              <a:pt x="4774" y="3862"/>
                            </a:cubicBezTo>
                            <a:cubicBezTo>
                              <a:pt x="4776" y="3865"/>
                              <a:pt x="4786" y="3871"/>
                              <a:pt x="4790" y="3874"/>
                            </a:cubicBezTo>
                            <a:cubicBezTo>
                              <a:pt x="4794" y="3877"/>
                              <a:pt x="4803" y="3878"/>
                              <a:pt x="4805" y="3873"/>
                            </a:cubicBezTo>
                            <a:cubicBezTo>
                              <a:pt x="4808" y="3867"/>
                              <a:pt x="4812" y="3869"/>
                              <a:pt x="4815" y="3870"/>
                            </a:cubicBezTo>
                            <a:cubicBezTo>
                              <a:pt x="4818" y="3871"/>
                              <a:pt x="4817" y="3874"/>
                              <a:pt x="4816" y="3882"/>
                            </a:cubicBezTo>
                            <a:cubicBezTo>
                              <a:pt x="4814" y="3890"/>
                              <a:pt x="4826" y="3891"/>
                              <a:pt x="4832" y="3893"/>
                            </a:cubicBezTo>
                            <a:cubicBezTo>
                              <a:pt x="4837" y="3895"/>
                              <a:pt x="4846" y="3889"/>
                              <a:pt x="4848" y="3886"/>
                            </a:cubicBezTo>
                            <a:cubicBezTo>
                              <a:pt x="4849" y="3883"/>
                              <a:pt x="4843" y="3880"/>
                              <a:pt x="4841" y="3875"/>
                            </a:cubicBezTo>
                            <a:cubicBezTo>
                              <a:pt x="4840" y="3871"/>
                              <a:pt x="4858" y="3869"/>
                              <a:pt x="4870" y="3865"/>
                            </a:cubicBezTo>
                            <a:cubicBezTo>
                              <a:pt x="4881" y="3860"/>
                              <a:pt x="4876" y="3856"/>
                              <a:pt x="4867" y="3854"/>
                            </a:cubicBezTo>
                            <a:cubicBezTo>
                              <a:pt x="4858" y="3852"/>
                              <a:pt x="4853" y="3854"/>
                              <a:pt x="4841" y="3856"/>
                            </a:cubicBezTo>
                            <a:cubicBezTo>
                              <a:pt x="4829" y="3858"/>
                              <a:pt x="4826" y="3857"/>
                              <a:pt x="4813" y="3853"/>
                            </a:cubicBezTo>
                            <a:close/>
                            <a:moveTo>
                              <a:pt x="4749" y="3818"/>
                            </a:moveTo>
                            <a:cubicBezTo>
                              <a:pt x="4746" y="3826"/>
                              <a:pt x="4741" y="3828"/>
                              <a:pt x="4739" y="3830"/>
                            </a:cubicBezTo>
                            <a:cubicBezTo>
                              <a:pt x="4736" y="3832"/>
                              <a:pt x="4732" y="3834"/>
                              <a:pt x="4736" y="3837"/>
                            </a:cubicBezTo>
                            <a:cubicBezTo>
                              <a:pt x="4740" y="3841"/>
                              <a:pt x="4748" y="3837"/>
                              <a:pt x="4750" y="3841"/>
                            </a:cubicBezTo>
                            <a:cubicBezTo>
                              <a:pt x="4751" y="3845"/>
                              <a:pt x="4746" y="3848"/>
                              <a:pt x="4752" y="3850"/>
                            </a:cubicBezTo>
                            <a:cubicBezTo>
                              <a:pt x="4757" y="3853"/>
                              <a:pt x="4762" y="3854"/>
                              <a:pt x="4764" y="3849"/>
                            </a:cubicBezTo>
                            <a:cubicBezTo>
                              <a:pt x="4767" y="3844"/>
                              <a:pt x="4767" y="3842"/>
                              <a:pt x="4763" y="3836"/>
                            </a:cubicBezTo>
                            <a:cubicBezTo>
                              <a:pt x="4759" y="3831"/>
                              <a:pt x="4757" y="3830"/>
                              <a:pt x="4759" y="3825"/>
                            </a:cubicBezTo>
                            <a:cubicBezTo>
                              <a:pt x="4761" y="3820"/>
                              <a:pt x="4764" y="3814"/>
                              <a:pt x="4760" y="3813"/>
                            </a:cubicBezTo>
                            <a:cubicBezTo>
                              <a:pt x="4757" y="3811"/>
                              <a:pt x="4753" y="3809"/>
                              <a:pt x="4749" y="3818"/>
                            </a:cubicBezTo>
                            <a:close/>
                            <a:moveTo>
                              <a:pt x="4945" y="3843"/>
                            </a:moveTo>
                            <a:cubicBezTo>
                              <a:pt x="4942" y="3851"/>
                              <a:pt x="4935" y="3858"/>
                              <a:pt x="4931" y="3861"/>
                            </a:cubicBezTo>
                            <a:cubicBezTo>
                              <a:pt x="4928" y="3864"/>
                              <a:pt x="4921" y="3872"/>
                              <a:pt x="4918" y="3877"/>
                            </a:cubicBezTo>
                            <a:cubicBezTo>
                              <a:pt x="4916" y="3881"/>
                              <a:pt x="4913" y="3884"/>
                              <a:pt x="4913" y="3893"/>
                            </a:cubicBezTo>
                            <a:cubicBezTo>
                              <a:pt x="4914" y="3901"/>
                              <a:pt x="4914" y="3904"/>
                              <a:pt x="4916" y="3906"/>
                            </a:cubicBezTo>
                            <a:cubicBezTo>
                              <a:pt x="4919" y="3908"/>
                              <a:pt x="4923" y="3908"/>
                              <a:pt x="4928" y="3913"/>
                            </a:cubicBezTo>
                            <a:cubicBezTo>
                              <a:pt x="4932" y="3917"/>
                              <a:pt x="4936" y="3921"/>
                              <a:pt x="4939" y="3919"/>
                            </a:cubicBezTo>
                            <a:cubicBezTo>
                              <a:pt x="4941" y="3916"/>
                              <a:pt x="4944" y="3912"/>
                              <a:pt x="4942" y="3909"/>
                            </a:cubicBezTo>
                            <a:cubicBezTo>
                              <a:pt x="4939" y="3905"/>
                              <a:pt x="4940" y="3907"/>
                              <a:pt x="4939" y="3900"/>
                            </a:cubicBezTo>
                            <a:cubicBezTo>
                              <a:pt x="4939" y="3893"/>
                              <a:pt x="4936" y="3893"/>
                              <a:pt x="4938" y="3891"/>
                            </a:cubicBezTo>
                            <a:cubicBezTo>
                              <a:pt x="4940" y="3889"/>
                              <a:pt x="4946" y="3889"/>
                              <a:pt x="4950" y="3888"/>
                            </a:cubicBezTo>
                            <a:cubicBezTo>
                              <a:pt x="4954" y="3888"/>
                              <a:pt x="4960" y="3888"/>
                              <a:pt x="4961" y="3881"/>
                            </a:cubicBezTo>
                            <a:cubicBezTo>
                              <a:pt x="4962" y="3874"/>
                              <a:pt x="4964" y="3865"/>
                              <a:pt x="4965" y="3862"/>
                            </a:cubicBezTo>
                            <a:cubicBezTo>
                              <a:pt x="4967" y="3859"/>
                              <a:pt x="4972" y="3856"/>
                              <a:pt x="4975" y="3851"/>
                            </a:cubicBezTo>
                            <a:cubicBezTo>
                              <a:pt x="4977" y="3847"/>
                              <a:pt x="4980" y="3839"/>
                              <a:pt x="4980" y="3835"/>
                            </a:cubicBezTo>
                            <a:cubicBezTo>
                              <a:pt x="4981" y="3832"/>
                              <a:pt x="4987" y="3827"/>
                              <a:pt x="4984" y="3825"/>
                            </a:cubicBezTo>
                            <a:cubicBezTo>
                              <a:pt x="4981" y="3823"/>
                              <a:pt x="4979" y="3826"/>
                              <a:pt x="4979" y="3822"/>
                            </a:cubicBezTo>
                            <a:cubicBezTo>
                              <a:pt x="4978" y="3818"/>
                              <a:pt x="4982" y="3814"/>
                              <a:pt x="4978" y="3812"/>
                            </a:cubicBezTo>
                            <a:cubicBezTo>
                              <a:pt x="4974" y="3810"/>
                              <a:pt x="4970" y="3807"/>
                              <a:pt x="4968" y="3812"/>
                            </a:cubicBezTo>
                            <a:cubicBezTo>
                              <a:pt x="4965" y="3816"/>
                              <a:pt x="4968" y="3817"/>
                              <a:pt x="4964" y="3823"/>
                            </a:cubicBezTo>
                            <a:cubicBezTo>
                              <a:pt x="4960" y="3828"/>
                              <a:pt x="4948" y="3833"/>
                              <a:pt x="4945" y="3843"/>
                            </a:cubicBezTo>
                            <a:close/>
                            <a:moveTo>
                              <a:pt x="4996" y="3872"/>
                            </a:moveTo>
                            <a:cubicBezTo>
                              <a:pt x="4991" y="3874"/>
                              <a:pt x="4989" y="3875"/>
                              <a:pt x="4988" y="3878"/>
                            </a:cubicBezTo>
                            <a:cubicBezTo>
                              <a:pt x="4987" y="3880"/>
                              <a:pt x="4985" y="3883"/>
                              <a:pt x="4976" y="3885"/>
                            </a:cubicBezTo>
                            <a:cubicBezTo>
                              <a:pt x="4968" y="3887"/>
                              <a:pt x="4969" y="3889"/>
                              <a:pt x="4968" y="3893"/>
                            </a:cubicBezTo>
                            <a:cubicBezTo>
                              <a:pt x="4968" y="3898"/>
                              <a:pt x="4975" y="3895"/>
                              <a:pt x="4976" y="3897"/>
                            </a:cubicBezTo>
                            <a:cubicBezTo>
                              <a:pt x="4978" y="3899"/>
                              <a:pt x="4975" y="3902"/>
                              <a:pt x="4965" y="3905"/>
                            </a:cubicBezTo>
                            <a:cubicBezTo>
                              <a:pt x="4955" y="3908"/>
                              <a:pt x="4957" y="3914"/>
                              <a:pt x="4958" y="3918"/>
                            </a:cubicBezTo>
                            <a:cubicBezTo>
                              <a:pt x="4958" y="3922"/>
                              <a:pt x="4967" y="3922"/>
                              <a:pt x="4970" y="3918"/>
                            </a:cubicBezTo>
                            <a:cubicBezTo>
                              <a:pt x="4973" y="3915"/>
                              <a:pt x="4984" y="3915"/>
                              <a:pt x="4990" y="3911"/>
                            </a:cubicBezTo>
                            <a:cubicBezTo>
                              <a:pt x="4995" y="3907"/>
                              <a:pt x="4998" y="3901"/>
                              <a:pt x="5002" y="3899"/>
                            </a:cubicBezTo>
                            <a:cubicBezTo>
                              <a:pt x="5006" y="3897"/>
                              <a:pt x="5014" y="3896"/>
                              <a:pt x="5017" y="3893"/>
                            </a:cubicBezTo>
                            <a:cubicBezTo>
                              <a:pt x="5020" y="3891"/>
                              <a:pt x="5019" y="3885"/>
                              <a:pt x="5015" y="3880"/>
                            </a:cubicBezTo>
                            <a:cubicBezTo>
                              <a:pt x="5012" y="3876"/>
                              <a:pt x="5011" y="3879"/>
                              <a:pt x="5006" y="3875"/>
                            </a:cubicBezTo>
                            <a:cubicBezTo>
                              <a:pt x="5001" y="3871"/>
                              <a:pt x="5000" y="3871"/>
                              <a:pt x="4996" y="3872"/>
                            </a:cubicBezTo>
                            <a:close/>
                            <a:moveTo>
                              <a:pt x="3566" y="2222"/>
                            </a:moveTo>
                            <a:cubicBezTo>
                              <a:pt x="3579" y="2227"/>
                              <a:pt x="3575" y="2226"/>
                              <a:pt x="3584" y="2234"/>
                            </a:cubicBezTo>
                            <a:cubicBezTo>
                              <a:pt x="3592" y="2241"/>
                              <a:pt x="3597" y="2245"/>
                              <a:pt x="3607" y="2248"/>
                            </a:cubicBezTo>
                            <a:cubicBezTo>
                              <a:pt x="3616" y="2251"/>
                              <a:pt x="3622" y="2253"/>
                              <a:pt x="3628" y="2256"/>
                            </a:cubicBezTo>
                            <a:cubicBezTo>
                              <a:pt x="3634" y="2259"/>
                              <a:pt x="3640" y="2261"/>
                              <a:pt x="3642" y="2266"/>
                            </a:cubicBezTo>
                            <a:cubicBezTo>
                              <a:pt x="3644" y="2271"/>
                              <a:pt x="3637" y="2270"/>
                              <a:pt x="3646" y="2279"/>
                            </a:cubicBezTo>
                            <a:cubicBezTo>
                              <a:pt x="3655" y="2289"/>
                              <a:pt x="3656" y="2289"/>
                              <a:pt x="3660" y="2293"/>
                            </a:cubicBezTo>
                            <a:cubicBezTo>
                              <a:pt x="3664" y="2297"/>
                              <a:pt x="3669" y="2303"/>
                              <a:pt x="3669" y="2307"/>
                            </a:cubicBezTo>
                            <a:cubicBezTo>
                              <a:pt x="3669" y="2311"/>
                              <a:pt x="3663" y="2315"/>
                              <a:pt x="3659" y="2318"/>
                            </a:cubicBezTo>
                            <a:cubicBezTo>
                              <a:pt x="3655" y="2321"/>
                              <a:pt x="3647" y="2328"/>
                              <a:pt x="3655" y="2329"/>
                            </a:cubicBezTo>
                            <a:cubicBezTo>
                              <a:pt x="3663" y="2329"/>
                              <a:pt x="3672" y="2328"/>
                              <a:pt x="3677" y="2326"/>
                            </a:cubicBezTo>
                            <a:cubicBezTo>
                              <a:pt x="3683" y="2324"/>
                              <a:pt x="3680" y="2321"/>
                              <a:pt x="3690" y="2322"/>
                            </a:cubicBezTo>
                            <a:cubicBezTo>
                              <a:pt x="3699" y="2323"/>
                              <a:pt x="3703" y="2323"/>
                              <a:pt x="3706" y="2323"/>
                            </a:cubicBezTo>
                            <a:cubicBezTo>
                              <a:pt x="3709" y="2322"/>
                              <a:pt x="3711" y="2320"/>
                              <a:pt x="3715" y="2323"/>
                            </a:cubicBezTo>
                            <a:cubicBezTo>
                              <a:pt x="3719" y="2327"/>
                              <a:pt x="3717" y="2333"/>
                              <a:pt x="3723" y="2337"/>
                            </a:cubicBezTo>
                            <a:cubicBezTo>
                              <a:pt x="3728" y="2342"/>
                              <a:pt x="3732" y="2343"/>
                              <a:pt x="3739" y="2346"/>
                            </a:cubicBezTo>
                            <a:cubicBezTo>
                              <a:pt x="3745" y="2349"/>
                              <a:pt x="3752" y="2345"/>
                              <a:pt x="3753" y="2350"/>
                            </a:cubicBezTo>
                            <a:cubicBezTo>
                              <a:pt x="3753" y="2356"/>
                              <a:pt x="3748" y="2356"/>
                              <a:pt x="3743" y="2359"/>
                            </a:cubicBezTo>
                            <a:cubicBezTo>
                              <a:pt x="3737" y="2363"/>
                              <a:pt x="3727" y="2368"/>
                              <a:pt x="3726" y="2372"/>
                            </a:cubicBezTo>
                            <a:cubicBezTo>
                              <a:pt x="3724" y="2376"/>
                              <a:pt x="3710" y="2378"/>
                              <a:pt x="3710" y="2381"/>
                            </a:cubicBezTo>
                            <a:cubicBezTo>
                              <a:pt x="3709" y="2385"/>
                              <a:pt x="3699" y="2383"/>
                              <a:pt x="3692" y="2379"/>
                            </a:cubicBezTo>
                            <a:cubicBezTo>
                              <a:pt x="3685" y="2375"/>
                              <a:pt x="3682" y="2376"/>
                              <a:pt x="3673" y="2370"/>
                            </a:cubicBezTo>
                            <a:cubicBezTo>
                              <a:pt x="3664" y="2365"/>
                              <a:pt x="3657" y="2362"/>
                              <a:pt x="3651" y="2362"/>
                            </a:cubicBezTo>
                            <a:cubicBezTo>
                              <a:pt x="3645" y="2362"/>
                              <a:pt x="3636" y="2362"/>
                              <a:pt x="3632" y="2362"/>
                            </a:cubicBezTo>
                            <a:cubicBezTo>
                              <a:pt x="3629" y="2361"/>
                              <a:pt x="3617" y="2359"/>
                              <a:pt x="3617" y="2356"/>
                            </a:cubicBezTo>
                            <a:cubicBezTo>
                              <a:pt x="3617" y="2354"/>
                              <a:pt x="3619" y="2351"/>
                              <a:pt x="3623" y="2347"/>
                            </a:cubicBezTo>
                            <a:cubicBezTo>
                              <a:pt x="3627" y="2344"/>
                              <a:pt x="3626" y="2338"/>
                              <a:pt x="3619" y="2337"/>
                            </a:cubicBezTo>
                            <a:cubicBezTo>
                              <a:pt x="3613" y="2336"/>
                              <a:pt x="3611" y="2334"/>
                              <a:pt x="3602" y="2334"/>
                            </a:cubicBezTo>
                            <a:cubicBezTo>
                              <a:pt x="3593" y="2333"/>
                              <a:pt x="3585" y="2333"/>
                              <a:pt x="3583" y="2330"/>
                            </a:cubicBezTo>
                            <a:cubicBezTo>
                              <a:pt x="3581" y="2328"/>
                              <a:pt x="3579" y="2326"/>
                              <a:pt x="3584" y="2323"/>
                            </a:cubicBezTo>
                            <a:cubicBezTo>
                              <a:pt x="3588" y="2320"/>
                              <a:pt x="3587" y="2314"/>
                              <a:pt x="3585" y="2312"/>
                            </a:cubicBezTo>
                            <a:cubicBezTo>
                              <a:pt x="3583" y="2310"/>
                              <a:pt x="3581" y="2310"/>
                              <a:pt x="3573" y="2313"/>
                            </a:cubicBezTo>
                            <a:cubicBezTo>
                              <a:pt x="3564" y="2315"/>
                              <a:pt x="3555" y="2322"/>
                              <a:pt x="3549" y="2325"/>
                            </a:cubicBezTo>
                            <a:cubicBezTo>
                              <a:pt x="3544" y="2327"/>
                              <a:pt x="3541" y="2322"/>
                              <a:pt x="3540" y="2329"/>
                            </a:cubicBezTo>
                            <a:cubicBezTo>
                              <a:pt x="3540" y="2337"/>
                              <a:pt x="3542" y="2342"/>
                              <a:pt x="3542" y="2346"/>
                            </a:cubicBezTo>
                            <a:cubicBezTo>
                              <a:pt x="3542" y="2350"/>
                              <a:pt x="3535" y="2353"/>
                              <a:pt x="3526" y="2358"/>
                            </a:cubicBezTo>
                            <a:cubicBezTo>
                              <a:pt x="3517" y="2362"/>
                              <a:pt x="3505" y="2363"/>
                              <a:pt x="3499" y="2367"/>
                            </a:cubicBezTo>
                            <a:cubicBezTo>
                              <a:pt x="3493" y="2370"/>
                              <a:pt x="3491" y="2379"/>
                              <a:pt x="3489" y="2385"/>
                            </a:cubicBezTo>
                            <a:cubicBezTo>
                              <a:pt x="3487" y="2390"/>
                              <a:pt x="3487" y="2394"/>
                              <a:pt x="3478" y="2397"/>
                            </a:cubicBezTo>
                            <a:cubicBezTo>
                              <a:pt x="3470" y="2400"/>
                              <a:pt x="3458" y="2401"/>
                              <a:pt x="3456" y="2405"/>
                            </a:cubicBezTo>
                            <a:cubicBezTo>
                              <a:pt x="3453" y="2409"/>
                              <a:pt x="3450" y="2411"/>
                              <a:pt x="3447" y="2411"/>
                            </a:cubicBezTo>
                            <a:cubicBezTo>
                              <a:pt x="3444" y="2411"/>
                              <a:pt x="3439" y="2411"/>
                              <a:pt x="3434" y="2405"/>
                            </a:cubicBezTo>
                            <a:cubicBezTo>
                              <a:pt x="3429" y="2399"/>
                              <a:pt x="3427" y="2400"/>
                              <a:pt x="3425" y="2392"/>
                            </a:cubicBezTo>
                            <a:cubicBezTo>
                              <a:pt x="3422" y="2384"/>
                              <a:pt x="3424" y="2384"/>
                              <a:pt x="3424" y="2375"/>
                            </a:cubicBezTo>
                            <a:cubicBezTo>
                              <a:pt x="3424" y="2366"/>
                              <a:pt x="3424" y="2358"/>
                              <a:pt x="3419" y="2356"/>
                            </a:cubicBezTo>
                            <a:cubicBezTo>
                              <a:pt x="3414" y="2353"/>
                              <a:pt x="3408" y="2351"/>
                              <a:pt x="3401" y="2353"/>
                            </a:cubicBezTo>
                            <a:cubicBezTo>
                              <a:pt x="3395" y="2355"/>
                              <a:pt x="3394" y="2355"/>
                              <a:pt x="3379" y="2357"/>
                            </a:cubicBezTo>
                            <a:cubicBezTo>
                              <a:pt x="3364" y="2359"/>
                              <a:pt x="3362" y="2360"/>
                              <a:pt x="3355" y="2360"/>
                            </a:cubicBezTo>
                            <a:cubicBezTo>
                              <a:pt x="3348" y="2360"/>
                              <a:pt x="3336" y="2365"/>
                              <a:pt x="3334" y="2362"/>
                            </a:cubicBezTo>
                            <a:cubicBezTo>
                              <a:pt x="3331" y="2360"/>
                              <a:pt x="3334" y="2355"/>
                              <a:pt x="3339" y="2351"/>
                            </a:cubicBezTo>
                            <a:cubicBezTo>
                              <a:pt x="3344" y="2346"/>
                              <a:pt x="3346" y="2341"/>
                              <a:pt x="3351" y="2339"/>
                            </a:cubicBezTo>
                            <a:cubicBezTo>
                              <a:pt x="3355" y="2337"/>
                              <a:pt x="3356" y="2335"/>
                              <a:pt x="3364" y="2333"/>
                            </a:cubicBezTo>
                            <a:cubicBezTo>
                              <a:pt x="3373" y="2331"/>
                              <a:pt x="3377" y="2328"/>
                              <a:pt x="3385" y="2324"/>
                            </a:cubicBezTo>
                            <a:cubicBezTo>
                              <a:pt x="3392" y="2319"/>
                              <a:pt x="3386" y="2311"/>
                              <a:pt x="3383" y="2307"/>
                            </a:cubicBezTo>
                            <a:cubicBezTo>
                              <a:pt x="3380" y="2303"/>
                              <a:pt x="3378" y="2300"/>
                              <a:pt x="3377" y="2295"/>
                            </a:cubicBezTo>
                            <a:cubicBezTo>
                              <a:pt x="3377" y="2291"/>
                              <a:pt x="3376" y="2284"/>
                              <a:pt x="3376" y="2277"/>
                            </a:cubicBezTo>
                            <a:cubicBezTo>
                              <a:pt x="3375" y="2270"/>
                              <a:pt x="3379" y="2268"/>
                              <a:pt x="3383" y="2262"/>
                            </a:cubicBezTo>
                            <a:cubicBezTo>
                              <a:pt x="3387" y="2257"/>
                              <a:pt x="3391" y="2258"/>
                              <a:pt x="3391" y="2251"/>
                            </a:cubicBezTo>
                            <a:cubicBezTo>
                              <a:pt x="3392" y="2243"/>
                              <a:pt x="3392" y="2235"/>
                              <a:pt x="3392" y="2228"/>
                            </a:cubicBezTo>
                            <a:cubicBezTo>
                              <a:pt x="3392" y="2221"/>
                              <a:pt x="3392" y="2215"/>
                              <a:pt x="3392" y="2204"/>
                            </a:cubicBezTo>
                            <a:cubicBezTo>
                              <a:pt x="3392" y="2193"/>
                              <a:pt x="3392" y="2188"/>
                              <a:pt x="3394" y="2182"/>
                            </a:cubicBezTo>
                            <a:cubicBezTo>
                              <a:pt x="3396" y="2175"/>
                              <a:pt x="3395" y="2173"/>
                              <a:pt x="3400" y="2165"/>
                            </a:cubicBezTo>
                            <a:cubicBezTo>
                              <a:pt x="3404" y="2157"/>
                              <a:pt x="3406" y="2155"/>
                              <a:pt x="3413" y="2150"/>
                            </a:cubicBezTo>
                            <a:cubicBezTo>
                              <a:pt x="3419" y="2145"/>
                              <a:pt x="3423" y="2142"/>
                              <a:pt x="3423" y="2143"/>
                            </a:cubicBezTo>
                            <a:cubicBezTo>
                              <a:pt x="3424" y="2145"/>
                              <a:pt x="3423" y="2152"/>
                              <a:pt x="3427" y="2153"/>
                            </a:cubicBezTo>
                            <a:cubicBezTo>
                              <a:pt x="3431" y="2153"/>
                              <a:pt x="3432" y="2152"/>
                              <a:pt x="3438" y="2153"/>
                            </a:cubicBezTo>
                            <a:cubicBezTo>
                              <a:pt x="3444" y="2154"/>
                              <a:pt x="3446" y="2154"/>
                              <a:pt x="3447" y="2159"/>
                            </a:cubicBezTo>
                            <a:cubicBezTo>
                              <a:pt x="3449" y="2164"/>
                              <a:pt x="3450" y="2162"/>
                              <a:pt x="3451" y="2166"/>
                            </a:cubicBezTo>
                            <a:cubicBezTo>
                              <a:pt x="3452" y="2170"/>
                              <a:pt x="3450" y="2171"/>
                              <a:pt x="3445" y="2173"/>
                            </a:cubicBezTo>
                            <a:cubicBezTo>
                              <a:pt x="3439" y="2175"/>
                              <a:pt x="3435" y="2175"/>
                              <a:pt x="3438" y="2180"/>
                            </a:cubicBezTo>
                            <a:cubicBezTo>
                              <a:pt x="3440" y="2185"/>
                              <a:pt x="3441" y="2186"/>
                              <a:pt x="3447" y="2188"/>
                            </a:cubicBezTo>
                            <a:cubicBezTo>
                              <a:pt x="3453" y="2190"/>
                              <a:pt x="3457" y="2192"/>
                              <a:pt x="3459" y="2198"/>
                            </a:cubicBezTo>
                            <a:cubicBezTo>
                              <a:pt x="3461" y="2204"/>
                              <a:pt x="3458" y="2210"/>
                              <a:pt x="3462" y="2212"/>
                            </a:cubicBezTo>
                            <a:cubicBezTo>
                              <a:pt x="3466" y="2213"/>
                              <a:pt x="3471" y="2212"/>
                              <a:pt x="3472" y="2207"/>
                            </a:cubicBezTo>
                            <a:cubicBezTo>
                              <a:pt x="3473" y="2202"/>
                              <a:pt x="3477" y="2194"/>
                              <a:pt x="3483" y="2192"/>
                            </a:cubicBezTo>
                            <a:cubicBezTo>
                              <a:pt x="3488" y="2191"/>
                              <a:pt x="3491" y="2189"/>
                              <a:pt x="3494" y="2194"/>
                            </a:cubicBezTo>
                            <a:cubicBezTo>
                              <a:pt x="3498" y="2199"/>
                              <a:pt x="3496" y="2202"/>
                              <a:pt x="3504" y="2207"/>
                            </a:cubicBezTo>
                            <a:cubicBezTo>
                              <a:pt x="3513" y="2212"/>
                              <a:pt x="3511" y="2215"/>
                              <a:pt x="3521" y="2217"/>
                            </a:cubicBezTo>
                            <a:cubicBezTo>
                              <a:pt x="3530" y="2219"/>
                              <a:pt x="3530" y="2219"/>
                              <a:pt x="3539" y="2219"/>
                            </a:cubicBezTo>
                            <a:cubicBezTo>
                              <a:pt x="3547" y="2219"/>
                              <a:pt x="3556" y="2217"/>
                              <a:pt x="3566" y="2222"/>
                            </a:cubicBezTo>
                            <a:close/>
                            <a:moveTo>
                              <a:pt x="3596" y="2442"/>
                            </a:moveTo>
                            <a:cubicBezTo>
                              <a:pt x="3609" y="2436"/>
                              <a:pt x="3613" y="2435"/>
                              <a:pt x="3622" y="2433"/>
                            </a:cubicBezTo>
                            <a:cubicBezTo>
                              <a:pt x="3631" y="2431"/>
                              <a:pt x="3634" y="2430"/>
                              <a:pt x="3642" y="2432"/>
                            </a:cubicBezTo>
                            <a:cubicBezTo>
                              <a:pt x="3649" y="2435"/>
                              <a:pt x="3653" y="2441"/>
                              <a:pt x="3650" y="2447"/>
                            </a:cubicBezTo>
                            <a:cubicBezTo>
                              <a:pt x="3647" y="2454"/>
                              <a:pt x="3650" y="2456"/>
                              <a:pt x="3640" y="2461"/>
                            </a:cubicBezTo>
                            <a:cubicBezTo>
                              <a:pt x="3630" y="2466"/>
                              <a:pt x="3625" y="2465"/>
                              <a:pt x="3618" y="2470"/>
                            </a:cubicBezTo>
                            <a:cubicBezTo>
                              <a:pt x="3611" y="2476"/>
                              <a:pt x="3600" y="2483"/>
                              <a:pt x="3596" y="2489"/>
                            </a:cubicBezTo>
                            <a:cubicBezTo>
                              <a:pt x="3592" y="2495"/>
                              <a:pt x="3587" y="2501"/>
                              <a:pt x="3583" y="2504"/>
                            </a:cubicBezTo>
                            <a:cubicBezTo>
                              <a:pt x="3579" y="2507"/>
                              <a:pt x="3571" y="2505"/>
                              <a:pt x="3567" y="2504"/>
                            </a:cubicBezTo>
                            <a:cubicBezTo>
                              <a:pt x="3562" y="2504"/>
                              <a:pt x="3554" y="2499"/>
                              <a:pt x="3548" y="2504"/>
                            </a:cubicBezTo>
                            <a:cubicBezTo>
                              <a:pt x="3541" y="2510"/>
                              <a:pt x="3538" y="2504"/>
                              <a:pt x="3535" y="2497"/>
                            </a:cubicBezTo>
                            <a:cubicBezTo>
                              <a:pt x="3533" y="2490"/>
                              <a:pt x="3531" y="2483"/>
                              <a:pt x="3531" y="2480"/>
                            </a:cubicBezTo>
                            <a:cubicBezTo>
                              <a:pt x="3531" y="2476"/>
                              <a:pt x="3535" y="2472"/>
                              <a:pt x="3540" y="2466"/>
                            </a:cubicBezTo>
                            <a:cubicBezTo>
                              <a:pt x="3544" y="2461"/>
                              <a:pt x="3547" y="2455"/>
                              <a:pt x="3554" y="2448"/>
                            </a:cubicBezTo>
                            <a:cubicBezTo>
                              <a:pt x="3561" y="2441"/>
                              <a:pt x="3562" y="2437"/>
                              <a:pt x="3570" y="2440"/>
                            </a:cubicBezTo>
                            <a:cubicBezTo>
                              <a:pt x="3577" y="2443"/>
                              <a:pt x="3588" y="2444"/>
                              <a:pt x="3596" y="2442"/>
                            </a:cubicBezTo>
                            <a:close/>
                            <a:moveTo>
                              <a:pt x="3759" y="2501"/>
                            </a:moveTo>
                            <a:cubicBezTo>
                              <a:pt x="3771" y="2488"/>
                              <a:pt x="3780" y="2490"/>
                              <a:pt x="3787" y="2488"/>
                            </a:cubicBezTo>
                            <a:cubicBezTo>
                              <a:pt x="3794" y="2486"/>
                              <a:pt x="3798" y="2488"/>
                              <a:pt x="3802" y="2489"/>
                            </a:cubicBezTo>
                            <a:cubicBezTo>
                              <a:pt x="3805" y="2490"/>
                              <a:pt x="3812" y="2501"/>
                              <a:pt x="3814" y="2508"/>
                            </a:cubicBezTo>
                            <a:cubicBezTo>
                              <a:pt x="3817" y="2515"/>
                              <a:pt x="3813" y="2516"/>
                              <a:pt x="3808" y="2524"/>
                            </a:cubicBezTo>
                            <a:cubicBezTo>
                              <a:pt x="3804" y="2531"/>
                              <a:pt x="3799" y="2533"/>
                              <a:pt x="3796" y="2540"/>
                            </a:cubicBezTo>
                            <a:cubicBezTo>
                              <a:pt x="3793" y="2548"/>
                              <a:pt x="3788" y="2552"/>
                              <a:pt x="3785" y="2557"/>
                            </a:cubicBezTo>
                            <a:cubicBezTo>
                              <a:pt x="3782" y="2563"/>
                              <a:pt x="3775" y="2562"/>
                              <a:pt x="3768" y="2554"/>
                            </a:cubicBezTo>
                            <a:cubicBezTo>
                              <a:pt x="3760" y="2547"/>
                              <a:pt x="3759" y="2550"/>
                              <a:pt x="3756" y="2542"/>
                            </a:cubicBezTo>
                            <a:cubicBezTo>
                              <a:pt x="3753" y="2534"/>
                              <a:pt x="3755" y="2531"/>
                              <a:pt x="3752" y="2525"/>
                            </a:cubicBezTo>
                            <a:cubicBezTo>
                              <a:pt x="3748" y="2518"/>
                              <a:pt x="3753" y="2511"/>
                              <a:pt x="3759" y="2501"/>
                            </a:cubicBezTo>
                            <a:close/>
                            <a:moveTo>
                              <a:pt x="3873" y="2401"/>
                            </a:moveTo>
                            <a:cubicBezTo>
                              <a:pt x="3865" y="2398"/>
                              <a:pt x="3864" y="2391"/>
                              <a:pt x="3863" y="2386"/>
                            </a:cubicBezTo>
                            <a:cubicBezTo>
                              <a:pt x="3862" y="2381"/>
                              <a:pt x="3875" y="2381"/>
                              <a:pt x="3883" y="2383"/>
                            </a:cubicBezTo>
                            <a:cubicBezTo>
                              <a:pt x="3891" y="2384"/>
                              <a:pt x="3898" y="2386"/>
                              <a:pt x="3908" y="2386"/>
                            </a:cubicBezTo>
                            <a:cubicBezTo>
                              <a:pt x="3918" y="2387"/>
                              <a:pt x="3924" y="2398"/>
                              <a:pt x="3922" y="2404"/>
                            </a:cubicBezTo>
                            <a:cubicBezTo>
                              <a:pt x="3920" y="2410"/>
                              <a:pt x="3909" y="2410"/>
                              <a:pt x="3907" y="2413"/>
                            </a:cubicBezTo>
                            <a:cubicBezTo>
                              <a:pt x="3905" y="2416"/>
                              <a:pt x="3900" y="2418"/>
                              <a:pt x="3892" y="2418"/>
                            </a:cubicBezTo>
                            <a:cubicBezTo>
                              <a:pt x="3885" y="2417"/>
                              <a:pt x="3888" y="2412"/>
                              <a:pt x="3873" y="2401"/>
                            </a:cubicBezTo>
                            <a:close/>
                            <a:moveTo>
                              <a:pt x="3939" y="2375"/>
                            </a:moveTo>
                            <a:cubicBezTo>
                              <a:pt x="3932" y="2371"/>
                              <a:pt x="3937" y="2365"/>
                              <a:pt x="3944" y="2365"/>
                            </a:cubicBezTo>
                            <a:cubicBezTo>
                              <a:pt x="3951" y="2365"/>
                              <a:pt x="3952" y="2367"/>
                              <a:pt x="3956" y="2371"/>
                            </a:cubicBezTo>
                            <a:cubicBezTo>
                              <a:pt x="3959" y="2375"/>
                              <a:pt x="3964" y="2378"/>
                              <a:pt x="3970" y="2379"/>
                            </a:cubicBezTo>
                            <a:cubicBezTo>
                              <a:pt x="3976" y="2380"/>
                              <a:pt x="3977" y="2384"/>
                              <a:pt x="3976" y="2387"/>
                            </a:cubicBezTo>
                            <a:cubicBezTo>
                              <a:pt x="3976" y="2391"/>
                              <a:pt x="3972" y="2392"/>
                              <a:pt x="3965" y="2392"/>
                            </a:cubicBezTo>
                            <a:cubicBezTo>
                              <a:pt x="3959" y="2392"/>
                              <a:pt x="3956" y="2389"/>
                              <a:pt x="3953" y="2385"/>
                            </a:cubicBezTo>
                            <a:cubicBezTo>
                              <a:pt x="3950" y="2382"/>
                              <a:pt x="3947" y="2380"/>
                              <a:pt x="3939" y="2375"/>
                            </a:cubicBezTo>
                            <a:close/>
                            <a:moveTo>
                              <a:pt x="3673" y="3313"/>
                            </a:moveTo>
                            <a:cubicBezTo>
                              <a:pt x="3655" y="3312"/>
                              <a:pt x="3657" y="3315"/>
                              <a:pt x="3650" y="3318"/>
                            </a:cubicBezTo>
                            <a:cubicBezTo>
                              <a:pt x="3644" y="3321"/>
                              <a:pt x="3649" y="3323"/>
                              <a:pt x="3654" y="3327"/>
                            </a:cubicBezTo>
                            <a:cubicBezTo>
                              <a:pt x="3658" y="3330"/>
                              <a:pt x="3665" y="3333"/>
                              <a:pt x="3676" y="3335"/>
                            </a:cubicBezTo>
                            <a:cubicBezTo>
                              <a:pt x="3686" y="3336"/>
                              <a:pt x="3694" y="3339"/>
                              <a:pt x="3703" y="3343"/>
                            </a:cubicBezTo>
                            <a:cubicBezTo>
                              <a:pt x="3712" y="3347"/>
                              <a:pt x="3713" y="3349"/>
                              <a:pt x="3718" y="3348"/>
                            </a:cubicBezTo>
                            <a:cubicBezTo>
                              <a:pt x="3723" y="3348"/>
                              <a:pt x="3724" y="3342"/>
                              <a:pt x="3721" y="3335"/>
                            </a:cubicBezTo>
                            <a:cubicBezTo>
                              <a:pt x="3719" y="3327"/>
                              <a:pt x="3718" y="3329"/>
                              <a:pt x="3709" y="3323"/>
                            </a:cubicBezTo>
                            <a:cubicBezTo>
                              <a:pt x="3701" y="3317"/>
                              <a:pt x="3707" y="3319"/>
                              <a:pt x="3703" y="3313"/>
                            </a:cubicBezTo>
                            <a:cubicBezTo>
                              <a:pt x="3699" y="3307"/>
                              <a:pt x="3694" y="3312"/>
                              <a:pt x="3689" y="3313"/>
                            </a:cubicBezTo>
                            <a:cubicBezTo>
                              <a:pt x="3684" y="3314"/>
                              <a:pt x="3682" y="3314"/>
                              <a:pt x="3673" y="3313"/>
                            </a:cubicBezTo>
                            <a:close/>
                            <a:moveTo>
                              <a:pt x="3895" y="2328"/>
                            </a:moveTo>
                            <a:cubicBezTo>
                              <a:pt x="3899" y="2328"/>
                              <a:pt x="3902" y="2330"/>
                              <a:pt x="3905" y="2331"/>
                            </a:cubicBezTo>
                            <a:cubicBezTo>
                              <a:pt x="3907" y="2332"/>
                              <a:pt x="3912" y="2335"/>
                              <a:pt x="3907" y="2336"/>
                            </a:cubicBezTo>
                            <a:cubicBezTo>
                              <a:pt x="3902" y="2336"/>
                              <a:pt x="3902" y="2335"/>
                              <a:pt x="3895" y="2335"/>
                            </a:cubicBezTo>
                            <a:cubicBezTo>
                              <a:pt x="3889" y="2334"/>
                              <a:pt x="3887" y="2329"/>
                              <a:pt x="3895" y="2328"/>
                            </a:cubicBezTo>
                            <a:close/>
                            <a:moveTo>
                              <a:pt x="4106" y="2453"/>
                            </a:moveTo>
                            <a:cubicBezTo>
                              <a:pt x="4110" y="2446"/>
                              <a:pt x="4120" y="2453"/>
                              <a:pt x="4124" y="2457"/>
                            </a:cubicBezTo>
                            <a:cubicBezTo>
                              <a:pt x="4128" y="2461"/>
                              <a:pt x="4133" y="2462"/>
                              <a:pt x="4132" y="2466"/>
                            </a:cubicBezTo>
                            <a:cubicBezTo>
                              <a:pt x="4131" y="2469"/>
                              <a:pt x="4125" y="2465"/>
                              <a:pt x="4121" y="2463"/>
                            </a:cubicBezTo>
                            <a:cubicBezTo>
                              <a:pt x="4118" y="2460"/>
                              <a:pt x="4114" y="2461"/>
                              <a:pt x="4107" y="2461"/>
                            </a:cubicBezTo>
                            <a:cubicBezTo>
                              <a:pt x="4100" y="2461"/>
                              <a:pt x="4103" y="2455"/>
                              <a:pt x="4106" y="2453"/>
                            </a:cubicBezTo>
                            <a:close/>
                            <a:moveTo>
                              <a:pt x="4331" y="2446"/>
                            </a:moveTo>
                            <a:cubicBezTo>
                              <a:pt x="4341" y="2448"/>
                              <a:pt x="4337" y="2448"/>
                              <a:pt x="4346" y="2452"/>
                            </a:cubicBezTo>
                            <a:cubicBezTo>
                              <a:pt x="4355" y="2457"/>
                              <a:pt x="4354" y="2455"/>
                              <a:pt x="4362" y="2461"/>
                            </a:cubicBezTo>
                            <a:cubicBezTo>
                              <a:pt x="4370" y="2466"/>
                              <a:pt x="4376" y="2469"/>
                              <a:pt x="4373" y="2471"/>
                            </a:cubicBezTo>
                            <a:cubicBezTo>
                              <a:pt x="4369" y="2473"/>
                              <a:pt x="4365" y="2468"/>
                              <a:pt x="4355" y="2470"/>
                            </a:cubicBezTo>
                            <a:cubicBezTo>
                              <a:pt x="4345" y="2471"/>
                              <a:pt x="4342" y="2475"/>
                              <a:pt x="4338" y="2471"/>
                            </a:cubicBezTo>
                            <a:cubicBezTo>
                              <a:pt x="4334" y="2467"/>
                              <a:pt x="4337" y="2464"/>
                              <a:pt x="4335" y="2460"/>
                            </a:cubicBezTo>
                            <a:cubicBezTo>
                              <a:pt x="4333" y="2457"/>
                              <a:pt x="4329" y="2454"/>
                              <a:pt x="4325" y="2451"/>
                            </a:cubicBezTo>
                            <a:cubicBezTo>
                              <a:pt x="4320" y="2448"/>
                              <a:pt x="4319" y="2443"/>
                              <a:pt x="4331" y="2446"/>
                            </a:cubicBezTo>
                            <a:close/>
                            <a:moveTo>
                              <a:pt x="4695" y="2560"/>
                            </a:moveTo>
                            <a:cubicBezTo>
                              <a:pt x="4688" y="2560"/>
                              <a:pt x="4686" y="2561"/>
                              <a:pt x="4682" y="2561"/>
                            </a:cubicBezTo>
                            <a:cubicBezTo>
                              <a:pt x="4677" y="2561"/>
                              <a:pt x="4675" y="2560"/>
                              <a:pt x="4671" y="2562"/>
                            </a:cubicBezTo>
                            <a:cubicBezTo>
                              <a:pt x="4667" y="2564"/>
                              <a:pt x="4669" y="2566"/>
                              <a:pt x="4677" y="2571"/>
                            </a:cubicBezTo>
                            <a:cubicBezTo>
                              <a:pt x="4686" y="2576"/>
                              <a:pt x="4687" y="2575"/>
                              <a:pt x="4691" y="2579"/>
                            </a:cubicBezTo>
                            <a:cubicBezTo>
                              <a:pt x="4696" y="2584"/>
                              <a:pt x="4697" y="2588"/>
                              <a:pt x="4703" y="2589"/>
                            </a:cubicBezTo>
                            <a:cubicBezTo>
                              <a:pt x="4708" y="2590"/>
                              <a:pt x="4706" y="2583"/>
                              <a:pt x="4708" y="2577"/>
                            </a:cubicBezTo>
                            <a:cubicBezTo>
                              <a:pt x="4710" y="2570"/>
                              <a:pt x="4718" y="2571"/>
                              <a:pt x="4718" y="2567"/>
                            </a:cubicBezTo>
                            <a:cubicBezTo>
                              <a:pt x="4718" y="2564"/>
                              <a:pt x="4715" y="2563"/>
                              <a:pt x="4706" y="2563"/>
                            </a:cubicBezTo>
                            <a:cubicBezTo>
                              <a:pt x="4697" y="2563"/>
                              <a:pt x="4702" y="2561"/>
                              <a:pt x="4695" y="2560"/>
                            </a:cubicBezTo>
                            <a:close/>
                            <a:moveTo>
                              <a:pt x="4684" y="2535"/>
                            </a:moveTo>
                            <a:cubicBezTo>
                              <a:pt x="4682" y="2523"/>
                              <a:pt x="4699" y="2536"/>
                              <a:pt x="4702" y="2541"/>
                            </a:cubicBezTo>
                            <a:cubicBezTo>
                              <a:pt x="4705" y="2546"/>
                              <a:pt x="4706" y="2547"/>
                              <a:pt x="4703" y="2549"/>
                            </a:cubicBezTo>
                            <a:cubicBezTo>
                              <a:pt x="4700" y="2550"/>
                              <a:pt x="4695" y="2546"/>
                              <a:pt x="4690" y="2545"/>
                            </a:cubicBezTo>
                            <a:cubicBezTo>
                              <a:pt x="4686" y="2545"/>
                              <a:pt x="4684" y="2540"/>
                              <a:pt x="4684" y="2535"/>
                            </a:cubicBezTo>
                            <a:close/>
                            <a:moveTo>
                              <a:pt x="4706" y="2483"/>
                            </a:moveTo>
                            <a:cubicBezTo>
                              <a:pt x="4698" y="2479"/>
                              <a:pt x="4710" y="2473"/>
                              <a:pt x="4715" y="2473"/>
                            </a:cubicBezTo>
                            <a:cubicBezTo>
                              <a:pt x="4720" y="2473"/>
                              <a:pt x="4723" y="2474"/>
                              <a:pt x="4727" y="2474"/>
                            </a:cubicBezTo>
                            <a:cubicBezTo>
                              <a:pt x="4731" y="2474"/>
                              <a:pt x="4728" y="2478"/>
                              <a:pt x="4727" y="2482"/>
                            </a:cubicBezTo>
                            <a:cubicBezTo>
                              <a:pt x="4725" y="2485"/>
                              <a:pt x="4722" y="2487"/>
                              <a:pt x="4718" y="2488"/>
                            </a:cubicBezTo>
                            <a:cubicBezTo>
                              <a:pt x="4713" y="2489"/>
                              <a:pt x="4712" y="2485"/>
                              <a:pt x="4706" y="2483"/>
                            </a:cubicBezTo>
                            <a:close/>
                            <a:moveTo>
                              <a:pt x="4684" y="2452"/>
                            </a:moveTo>
                            <a:cubicBezTo>
                              <a:pt x="4689" y="2447"/>
                              <a:pt x="4692" y="2448"/>
                              <a:pt x="4693" y="2453"/>
                            </a:cubicBezTo>
                            <a:cubicBezTo>
                              <a:pt x="4693" y="2458"/>
                              <a:pt x="4696" y="2459"/>
                              <a:pt x="4695" y="2464"/>
                            </a:cubicBezTo>
                            <a:cubicBezTo>
                              <a:pt x="4694" y="2469"/>
                              <a:pt x="4690" y="2468"/>
                              <a:pt x="4686" y="2468"/>
                            </a:cubicBezTo>
                            <a:cubicBezTo>
                              <a:pt x="4681" y="2469"/>
                              <a:pt x="4684" y="2465"/>
                              <a:pt x="4682" y="2460"/>
                            </a:cubicBezTo>
                            <a:cubicBezTo>
                              <a:pt x="4680" y="2454"/>
                              <a:pt x="4681" y="2454"/>
                              <a:pt x="4684" y="2452"/>
                            </a:cubicBezTo>
                            <a:close/>
                            <a:moveTo>
                              <a:pt x="4498" y="2668"/>
                            </a:moveTo>
                            <a:cubicBezTo>
                              <a:pt x="4497" y="2675"/>
                              <a:pt x="4492" y="2674"/>
                              <a:pt x="4488" y="2678"/>
                            </a:cubicBezTo>
                            <a:cubicBezTo>
                              <a:pt x="4484" y="2682"/>
                              <a:pt x="4478" y="2691"/>
                              <a:pt x="4487" y="2691"/>
                            </a:cubicBezTo>
                            <a:cubicBezTo>
                              <a:pt x="4495" y="2691"/>
                              <a:pt x="4496" y="2688"/>
                              <a:pt x="4505" y="2684"/>
                            </a:cubicBezTo>
                            <a:cubicBezTo>
                              <a:pt x="4514" y="2681"/>
                              <a:pt x="4519" y="2678"/>
                              <a:pt x="4519" y="2673"/>
                            </a:cubicBezTo>
                            <a:cubicBezTo>
                              <a:pt x="4519" y="2667"/>
                              <a:pt x="4516" y="2660"/>
                              <a:pt x="4512" y="2659"/>
                            </a:cubicBezTo>
                            <a:cubicBezTo>
                              <a:pt x="4507" y="2658"/>
                              <a:pt x="4498" y="2659"/>
                              <a:pt x="4498" y="2668"/>
                            </a:cubicBezTo>
                            <a:close/>
                            <a:moveTo>
                              <a:pt x="3814" y="3022"/>
                            </a:moveTo>
                            <a:cubicBezTo>
                              <a:pt x="3810" y="3029"/>
                              <a:pt x="3810" y="3030"/>
                              <a:pt x="3810" y="3037"/>
                            </a:cubicBezTo>
                            <a:cubicBezTo>
                              <a:pt x="3810" y="3044"/>
                              <a:pt x="3809" y="3047"/>
                              <a:pt x="3806" y="3054"/>
                            </a:cubicBezTo>
                            <a:cubicBezTo>
                              <a:pt x="3803" y="3060"/>
                              <a:pt x="3801" y="3063"/>
                              <a:pt x="3798" y="3068"/>
                            </a:cubicBezTo>
                            <a:cubicBezTo>
                              <a:pt x="3794" y="3073"/>
                              <a:pt x="3788" y="3078"/>
                              <a:pt x="3790" y="3080"/>
                            </a:cubicBezTo>
                            <a:cubicBezTo>
                              <a:pt x="3793" y="3083"/>
                              <a:pt x="3796" y="3085"/>
                              <a:pt x="3799" y="3082"/>
                            </a:cubicBezTo>
                            <a:cubicBezTo>
                              <a:pt x="3803" y="3078"/>
                              <a:pt x="3803" y="3078"/>
                              <a:pt x="3807" y="3071"/>
                            </a:cubicBezTo>
                            <a:cubicBezTo>
                              <a:pt x="3811" y="3064"/>
                              <a:pt x="3812" y="3061"/>
                              <a:pt x="3815" y="3057"/>
                            </a:cubicBezTo>
                            <a:cubicBezTo>
                              <a:pt x="3819" y="3053"/>
                              <a:pt x="3821" y="3051"/>
                              <a:pt x="3824" y="3049"/>
                            </a:cubicBezTo>
                            <a:cubicBezTo>
                              <a:pt x="3827" y="3046"/>
                              <a:pt x="3832" y="3046"/>
                              <a:pt x="3831" y="3040"/>
                            </a:cubicBezTo>
                            <a:cubicBezTo>
                              <a:pt x="3831" y="3035"/>
                              <a:pt x="3831" y="3039"/>
                              <a:pt x="3827" y="3032"/>
                            </a:cubicBezTo>
                            <a:cubicBezTo>
                              <a:pt x="3823" y="3026"/>
                              <a:pt x="3823" y="3026"/>
                              <a:pt x="3822" y="3024"/>
                            </a:cubicBezTo>
                            <a:cubicBezTo>
                              <a:pt x="3820" y="3022"/>
                              <a:pt x="3816" y="3018"/>
                              <a:pt x="3814" y="3022"/>
                            </a:cubicBezTo>
                            <a:close/>
                            <a:moveTo>
                              <a:pt x="3846" y="3037"/>
                            </a:moveTo>
                            <a:cubicBezTo>
                              <a:pt x="3842" y="3040"/>
                              <a:pt x="3843" y="3041"/>
                              <a:pt x="3843" y="3044"/>
                            </a:cubicBezTo>
                            <a:cubicBezTo>
                              <a:pt x="3844" y="3048"/>
                              <a:pt x="3843" y="3049"/>
                              <a:pt x="3841" y="3051"/>
                            </a:cubicBezTo>
                            <a:cubicBezTo>
                              <a:pt x="3839" y="3054"/>
                              <a:pt x="3835" y="3056"/>
                              <a:pt x="3840" y="3057"/>
                            </a:cubicBezTo>
                            <a:cubicBezTo>
                              <a:pt x="3845" y="3058"/>
                              <a:pt x="3849" y="3059"/>
                              <a:pt x="3850" y="3056"/>
                            </a:cubicBezTo>
                            <a:cubicBezTo>
                              <a:pt x="3851" y="3054"/>
                              <a:pt x="3850" y="3053"/>
                              <a:pt x="3849" y="3049"/>
                            </a:cubicBezTo>
                            <a:cubicBezTo>
                              <a:pt x="3848" y="3045"/>
                              <a:pt x="3849" y="3045"/>
                              <a:pt x="3849" y="3042"/>
                            </a:cubicBezTo>
                            <a:cubicBezTo>
                              <a:pt x="3849" y="3039"/>
                              <a:pt x="3849" y="3035"/>
                              <a:pt x="3846" y="3037"/>
                            </a:cubicBezTo>
                            <a:close/>
                            <a:moveTo>
                              <a:pt x="3789" y="3056"/>
                            </a:moveTo>
                            <a:cubicBezTo>
                              <a:pt x="3786" y="3061"/>
                              <a:pt x="3788" y="3061"/>
                              <a:pt x="3784" y="3063"/>
                            </a:cubicBezTo>
                            <a:cubicBezTo>
                              <a:pt x="3780" y="3065"/>
                              <a:pt x="3775" y="3069"/>
                              <a:pt x="3773" y="3072"/>
                            </a:cubicBezTo>
                            <a:cubicBezTo>
                              <a:pt x="3772" y="3076"/>
                              <a:pt x="3770" y="3077"/>
                              <a:pt x="3773" y="3079"/>
                            </a:cubicBezTo>
                            <a:cubicBezTo>
                              <a:pt x="3776" y="3081"/>
                              <a:pt x="3779" y="3082"/>
                              <a:pt x="3780" y="3078"/>
                            </a:cubicBezTo>
                            <a:cubicBezTo>
                              <a:pt x="3781" y="3075"/>
                              <a:pt x="3781" y="3073"/>
                              <a:pt x="3784" y="3070"/>
                            </a:cubicBezTo>
                            <a:cubicBezTo>
                              <a:pt x="3788" y="3068"/>
                              <a:pt x="3791" y="3066"/>
                              <a:pt x="3792" y="3063"/>
                            </a:cubicBezTo>
                            <a:cubicBezTo>
                              <a:pt x="3792" y="3061"/>
                              <a:pt x="3792" y="3061"/>
                              <a:pt x="3792" y="3058"/>
                            </a:cubicBezTo>
                            <a:cubicBezTo>
                              <a:pt x="3792" y="3055"/>
                              <a:pt x="3791" y="3053"/>
                              <a:pt x="3789" y="3056"/>
                            </a:cubicBezTo>
                            <a:close/>
                            <a:moveTo>
                              <a:pt x="4221" y="2032"/>
                            </a:moveTo>
                            <a:cubicBezTo>
                              <a:pt x="4220" y="2040"/>
                              <a:pt x="4219" y="2042"/>
                              <a:pt x="4212" y="2046"/>
                            </a:cubicBezTo>
                            <a:cubicBezTo>
                              <a:pt x="4205" y="2051"/>
                              <a:pt x="4200" y="2051"/>
                              <a:pt x="4196" y="2058"/>
                            </a:cubicBezTo>
                            <a:cubicBezTo>
                              <a:pt x="4191" y="2065"/>
                              <a:pt x="4195" y="2060"/>
                              <a:pt x="4183" y="2069"/>
                            </a:cubicBezTo>
                            <a:cubicBezTo>
                              <a:pt x="4170" y="2078"/>
                              <a:pt x="4154" y="2081"/>
                              <a:pt x="4150" y="2089"/>
                            </a:cubicBezTo>
                            <a:cubicBezTo>
                              <a:pt x="4146" y="2098"/>
                              <a:pt x="4150" y="2098"/>
                              <a:pt x="4136" y="2105"/>
                            </a:cubicBezTo>
                            <a:cubicBezTo>
                              <a:pt x="4123" y="2111"/>
                              <a:pt x="4117" y="2116"/>
                              <a:pt x="4120" y="2121"/>
                            </a:cubicBezTo>
                            <a:cubicBezTo>
                              <a:pt x="4123" y="2125"/>
                              <a:pt x="4128" y="2135"/>
                              <a:pt x="4140" y="2143"/>
                            </a:cubicBezTo>
                            <a:cubicBezTo>
                              <a:pt x="4153" y="2150"/>
                              <a:pt x="4150" y="2148"/>
                              <a:pt x="4157" y="2157"/>
                            </a:cubicBezTo>
                            <a:cubicBezTo>
                              <a:pt x="4165" y="2166"/>
                              <a:pt x="4168" y="2168"/>
                              <a:pt x="4169" y="2177"/>
                            </a:cubicBezTo>
                            <a:cubicBezTo>
                              <a:pt x="4169" y="2185"/>
                              <a:pt x="4165" y="2189"/>
                              <a:pt x="4157" y="2185"/>
                            </a:cubicBezTo>
                            <a:cubicBezTo>
                              <a:pt x="4148" y="2181"/>
                              <a:pt x="4145" y="2177"/>
                              <a:pt x="4137" y="2179"/>
                            </a:cubicBezTo>
                            <a:cubicBezTo>
                              <a:pt x="4129" y="2182"/>
                              <a:pt x="4125" y="2185"/>
                              <a:pt x="4122" y="2190"/>
                            </a:cubicBezTo>
                            <a:cubicBezTo>
                              <a:pt x="4119" y="2195"/>
                              <a:pt x="4121" y="2200"/>
                              <a:pt x="4113" y="2196"/>
                            </a:cubicBezTo>
                            <a:cubicBezTo>
                              <a:pt x="4105" y="2193"/>
                              <a:pt x="4111" y="2189"/>
                              <a:pt x="4099" y="2189"/>
                            </a:cubicBezTo>
                            <a:cubicBezTo>
                              <a:pt x="4086" y="2189"/>
                              <a:pt x="4079" y="2189"/>
                              <a:pt x="4077" y="2195"/>
                            </a:cubicBezTo>
                            <a:cubicBezTo>
                              <a:pt x="4076" y="2201"/>
                              <a:pt x="4076" y="2202"/>
                              <a:pt x="4070" y="2203"/>
                            </a:cubicBezTo>
                            <a:cubicBezTo>
                              <a:pt x="4064" y="2203"/>
                              <a:pt x="4059" y="2199"/>
                              <a:pt x="4053" y="2198"/>
                            </a:cubicBezTo>
                            <a:cubicBezTo>
                              <a:pt x="4047" y="2198"/>
                              <a:pt x="4051" y="2194"/>
                              <a:pt x="4039" y="2195"/>
                            </a:cubicBezTo>
                            <a:cubicBezTo>
                              <a:pt x="4028" y="2197"/>
                              <a:pt x="4022" y="2194"/>
                              <a:pt x="4027" y="2202"/>
                            </a:cubicBezTo>
                            <a:cubicBezTo>
                              <a:pt x="4031" y="2210"/>
                              <a:pt x="4036" y="2212"/>
                              <a:pt x="4042" y="2213"/>
                            </a:cubicBezTo>
                            <a:cubicBezTo>
                              <a:pt x="4049" y="2215"/>
                              <a:pt x="4048" y="2215"/>
                              <a:pt x="4054" y="2222"/>
                            </a:cubicBezTo>
                            <a:cubicBezTo>
                              <a:pt x="4060" y="2228"/>
                              <a:pt x="4065" y="2224"/>
                              <a:pt x="4064" y="2231"/>
                            </a:cubicBezTo>
                            <a:cubicBezTo>
                              <a:pt x="4064" y="2238"/>
                              <a:pt x="4057" y="2234"/>
                              <a:pt x="4056" y="2241"/>
                            </a:cubicBezTo>
                            <a:cubicBezTo>
                              <a:pt x="4056" y="2249"/>
                              <a:pt x="4061" y="2260"/>
                              <a:pt x="4057" y="2258"/>
                            </a:cubicBezTo>
                            <a:cubicBezTo>
                              <a:pt x="4052" y="2257"/>
                              <a:pt x="4046" y="2250"/>
                              <a:pt x="4042" y="2242"/>
                            </a:cubicBezTo>
                            <a:cubicBezTo>
                              <a:pt x="4038" y="2234"/>
                              <a:pt x="4042" y="2236"/>
                              <a:pt x="4042" y="2230"/>
                            </a:cubicBezTo>
                            <a:cubicBezTo>
                              <a:pt x="4042" y="2224"/>
                              <a:pt x="4050" y="2224"/>
                              <a:pt x="4031" y="2221"/>
                            </a:cubicBezTo>
                            <a:cubicBezTo>
                              <a:pt x="4013" y="2218"/>
                              <a:pt x="4012" y="2218"/>
                              <a:pt x="4007" y="2210"/>
                            </a:cubicBezTo>
                            <a:cubicBezTo>
                              <a:pt x="4001" y="2203"/>
                              <a:pt x="4001" y="2198"/>
                              <a:pt x="3992" y="2198"/>
                            </a:cubicBezTo>
                            <a:cubicBezTo>
                              <a:pt x="3984" y="2197"/>
                              <a:pt x="3977" y="2200"/>
                              <a:pt x="3966" y="2196"/>
                            </a:cubicBezTo>
                            <a:cubicBezTo>
                              <a:pt x="3954" y="2193"/>
                              <a:pt x="3953" y="2187"/>
                              <a:pt x="3946" y="2189"/>
                            </a:cubicBezTo>
                            <a:cubicBezTo>
                              <a:pt x="3938" y="2192"/>
                              <a:pt x="3933" y="2197"/>
                              <a:pt x="3935" y="2207"/>
                            </a:cubicBezTo>
                            <a:cubicBezTo>
                              <a:pt x="3938" y="2217"/>
                              <a:pt x="3928" y="2219"/>
                              <a:pt x="3918" y="2220"/>
                            </a:cubicBezTo>
                            <a:cubicBezTo>
                              <a:pt x="3907" y="2222"/>
                              <a:pt x="3899" y="2218"/>
                              <a:pt x="3892" y="2230"/>
                            </a:cubicBezTo>
                            <a:cubicBezTo>
                              <a:pt x="3884" y="2242"/>
                              <a:pt x="3880" y="2241"/>
                              <a:pt x="3878" y="2251"/>
                            </a:cubicBezTo>
                            <a:cubicBezTo>
                              <a:pt x="3877" y="2260"/>
                              <a:pt x="3871" y="2263"/>
                              <a:pt x="3882" y="2272"/>
                            </a:cubicBezTo>
                            <a:cubicBezTo>
                              <a:pt x="3894" y="2282"/>
                              <a:pt x="3897" y="2276"/>
                              <a:pt x="3905" y="2288"/>
                            </a:cubicBezTo>
                            <a:cubicBezTo>
                              <a:pt x="3913" y="2299"/>
                              <a:pt x="3917" y="2299"/>
                              <a:pt x="3930" y="2303"/>
                            </a:cubicBezTo>
                            <a:cubicBezTo>
                              <a:pt x="3942" y="2306"/>
                              <a:pt x="3951" y="2306"/>
                              <a:pt x="3958" y="2306"/>
                            </a:cubicBezTo>
                            <a:cubicBezTo>
                              <a:pt x="3966" y="2306"/>
                              <a:pt x="3967" y="2309"/>
                              <a:pt x="3972" y="2303"/>
                            </a:cubicBezTo>
                            <a:cubicBezTo>
                              <a:pt x="3977" y="2297"/>
                              <a:pt x="3977" y="2294"/>
                              <a:pt x="3986" y="2296"/>
                            </a:cubicBezTo>
                            <a:cubicBezTo>
                              <a:pt x="3996" y="2299"/>
                              <a:pt x="3998" y="2300"/>
                              <a:pt x="4002" y="2294"/>
                            </a:cubicBezTo>
                            <a:cubicBezTo>
                              <a:pt x="4006" y="2288"/>
                              <a:pt x="4006" y="2286"/>
                              <a:pt x="4014" y="2288"/>
                            </a:cubicBezTo>
                            <a:cubicBezTo>
                              <a:pt x="4022" y="2290"/>
                              <a:pt x="4024" y="2285"/>
                              <a:pt x="4025" y="2282"/>
                            </a:cubicBezTo>
                            <a:cubicBezTo>
                              <a:pt x="4026" y="2278"/>
                              <a:pt x="4018" y="2272"/>
                              <a:pt x="4028" y="2272"/>
                            </a:cubicBezTo>
                            <a:cubicBezTo>
                              <a:pt x="4038" y="2272"/>
                              <a:pt x="4043" y="2270"/>
                              <a:pt x="4054" y="2276"/>
                            </a:cubicBezTo>
                            <a:cubicBezTo>
                              <a:pt x="4064" y="2283"/>
                              <a:pt x="4068" y="2284"/>
                              <a:pt x="4077" y="2284"/>
                            </a:cubicBezTo>
                            <a:cubicBezTo>
                              <a:pt x="4086" y="2284"/>
                              <a:pt x="4086" y="2290"/>
                              <a:pt x="4093" y="2284"/>
                            </a:cubicBezTo>
                            <a:cubicBezTo>
                              <a:pt x="4100" y="2279"/>
                              <a:pt x="4106" y="2278"/>
                              <a:pt x="4102" y="2273"/>
                            </a:cubicBezTo>
                            <a:cubicBezTo>
                              <a:pt x="4097" y="2268"/>
                              <a:pt x="4091" y="2266"/>
                              <a:pt x="4088" y="2262"/>
                            </a:cubicBezTo>
                            <a:cubicBezTo>
                              <a:pt x="4084" y="2258"/>
                              <a:pt x="4076" y="2255"/>
                              <a:pt x="4085" y="2253"/>
                            </a:cubicBezTo>
                            <a:cubicBezTo>
                              <a:pt x="4093" y="2251"/>
                              <a:pt x="4093" y="2248"/>
                              <a:pt x="4099" y="2243"/>
                            </a:cubicBezTo>
                            <a:cubicBezTo>
                              <a:pt x="4106" y="2238"/>
                              <a:pt x="4111" y="2242"/>
                              <a:pt x="4108" y="2249"/>
                            </a:cubicBezTo>
                            <a:cubicBezTo>
                              <a:pt x="4106" y="2256"/>
                              <a:pt x="4100" y="2261"/>
                              <a:pt x="4108" y="2264"/>
                            </a:cubicBezTo>
                            <a:cubicBezTo>
                              <a:pt x="4116" y="2266"/>
                              <a:pt x="4120" y="2270"/>
                              <a:pt x="4127" y="2264"/>
                            </a:cubicBezTo>
                            <a:cubicBezTo>
                              <a:pt x="4133" y="2257"/>
                              <a:pt x="4138" y="2252"/>
                              <a:pt x="4143" y="2259"/>
                            </a:cubicBezTo>
                            <a:cubicBezTo>
                              <a:pt x="4148" y="2266"/>
                              <a:pt x="4141" y="2269"/>
                              <a:pt x="4151" y="2271"/>
                            </a:cubicBezTo>
                            <a:cubicBezTo>
                              <a:pt x="4160" y="2272"/>
                              <a:pt x="4160" y="2270"/>
                              <a:pt x="4166" y="2267"/>
                            </a:cubicBezTo>
                            <a:cubicBezTo>
                              <a:pt x="4172" y="2263"/>
                              <a:pt x="4172" y="2267"/>
                              <a:pt x="4178" y="2269"/>
                            </a:cubicBezTo>
                            <a:cubicBezTo>
                              <a:pt x="4185" y="2270"/>
                              <a:pt x="4187" y="2264"/>
                              <a:pt x="4188" y="2272"/>
                            </a:cubicBezTo>
                            <a:cubicBezTo>
                              <a:pt x="4188" y="2279"/>
                              <a:pt x="4180" y="2283"/>
                              <a:pt x="4178" y="2288"/>
                            </a:cubicBezTo>
                            <a:cubicBezTo>
                              <a:pt x="4177" y="2294"/>
                              <a:pt x="4175" y="2299"/>
                              <a:pt x="4183" y="2302"/>
                            </a:cubicBezTo>
                            <a:cubicBezTo>
                              <a:pt x="4190" y="2304"/>
                              <a:pt x="4192" y="2296"/>
                              <a:pt x="4198" y="2304"/>
                            </a:cubicBezTo>
                            <a:cubicBezTo>
                              <a:pt x="4204" y="2311"/>
                              <a:pt x="4203" y="2312"/>
                              <a:pt x="4208" y="2319"/>
                            </a:cubicBezTo>
                            <a:cubicBezTo>
                              <a:pt x="4214" y="2327"/>
                              <a:pt x="4218" y="2325"/>
                              <a:pt x="4222" y="2326"/>
                            </a:cubicBezTo>
                            <a:cubicBezTo>
                              <a:pt x="4226" y="2328"/>
                              <a:pt x="4224" y="2329"/>
                              <a:pt x="4226" y="2335"/>
                            </a:cubicBezTo>
                            <a:cubicBezTo>
                              <a:pt x="4227" y="2342"/>
                              <a:pt x="4225" y="2347"/>
                              <a:pt x="4232" y="2346"/>
                            </a:cubicBezTo>
                            <a:cubicBezTo>
                              <a:pt x="4238" y="2345"/>
                              <a:pt x="4240" y="2340"/>
                              <a:pt x="4244" y="2338"/>
                            </a:cubicBezTo>
                            <a:cubicBezTo>
                              <a:pt x="4249" y="2336"/>
                              <a:pt x="4249" y="2342"/>
                              <a:pt x="4250" y="2347"/>
                            </a:cubicBezTo>
                            <a:cubicBezTo>
                              <a:pt x="4252" y="2352"/>
                              <a:pt x="4253" y="2352"/>
                              <a:pt x="4260" y="2352"/>
                            </a:cubicBezTo>
                            <a:cubicBezTo>
                              <a:pt x="4267" y="2352"/>
                              <a:pt x="4267" y="2355"/>
                              <a:pt x="4271" y="2352"/>
                            </a:cubicBezTo>
                            <a:cubicBezTo>
                              <a:pt x="4275" y="2349"/>
                              <a:pt x="4280" y="2348"/>
                              <a:pt x="4283" y="2352"/>
                            </a:cubicBezTo>
                            <a:cubicBezTo>
                              <a:pt x="4286" y="2355"/>
                              <a:pt x="4289" y="2352"/>
                              <a:pt x="4292" y="2357"/>
                            </a:cubicBezTo>
                            <a:cubicBezTo>
                              <a:pt x="4295" y="2363"/>
                              <a:pt x="4290" y="2365"/>
                              <a:pt x="4294" y="2367"/>
                            </a:cubicBezTo>
                            <a:cubicBezTo>
                              <a:pt x="4298" y="2368"/>
                              <a:pt x="4301" y="2367"/>
                              <a:pt x="4303" y="2371"/>
                            </a:cubicBezTo>
                            <a:cubicBezTo>
                              <a:pt x="4304" y="2374"/>
                              <a:pt x="4304" y="2376"/>
                              <a:pt x="4299" y="2379"/>
                            </a:cubicBezTo>
                            <a:cubicBezTo>
                              <a:pt x="4295" y="2382"/>
                              <a:pt x="4291" y="2383"/>
                              <a:pt x="4290" y="2387"/>
                            </a:cubicBezTo>
                            <a:cubicBezTo>
                              <a:pt x="4288" y="2390"/>
                              <a:pt x="4285" y="2393"/>
                              <a:pt x="4277" y="2390"/>
                            </a:cubicBezTo>
                            <a:cubicBezTo>
                              <a:pt x="4269" y="2387"/>
                              <a:pt x="4265" y="2384"/>
                              <a:pt x="4265" y="2388"/>
                            </a:cubicBezTo>
                            <a:cubicBezTo>
                              <a:pt x="4265" y="2392"/>
                              <a:pt x="4265" y="2396"/>
                              <a:pt x="4273" y="2401"/>
                            </a:cubicBezTo>
                            <a:cubicBezTo>
                              <a:pt x="4282" y="2406"/>
                              <a:pt x="4277" y="2409"/>
                              <a:pt x="4285" y="2411"/>
                            </a:cubicBezTo>
                            <a:cubicBezTo>
                              <a:pt x="4292" y="2412"/>
                              <a:pt x="4296" y="2414"/>
                              <a:pt x="4304" y="2414"/>
                            </a:cubicBezTo>
                            <a:cubicBezTo>
                              <a:pt x="4312" y="2413"/>
                              <a:pt x="4315" y="2411"/>
                              <a:pt x="4322" y="2412"/>
                            </a:cubicBezTo>
                            <a:cubicBezTo>
                              <a:pt x="4329" y="2413"/>
                              <a:pt x="4329" y="2416"/>
                              <a:pt x="4328" y="2422"/>
                            </a:cubicBezTo>
                            <a:cubicBezTo>
                              <a:pt x="4326" y="2428"/>
                              <a:pt x="4319" y="2431"/>
                              <a:pt x="4333" y="2432"/>
                            </a:cubicBezTo>
                            <a:cubicBezTo>
                              <a:pt x="4346" y="2433"/>
                              <a:pt x="4353" y="2430"/>
                              <a:pt x="4360" y="2433"/>
                            </a:cubicBezTo>
                            <a:cubicBezTo>
                              <a:pt x="4367" y="2435"/>
                              <a:pt x="4368" y="2432"/>
                              <a:pt x="4377" y="2440"/>
                            </a:cubicBezTo>
                            <a:cubicBezTo>
                              <a:pt x="4385" y="2448"/>
                              <a:pt x="4384" y="2452"/>
                              <a:pt x="4395" y="2449"/>
                            </a:cubicBezTo>
                            <a:cubicBezTo>
                              <a:pt x="4406" y="2446"/>
                              <a:pt x="4411" y="2442"/>
                              <a:pt x="4417" y="2446"/>
                            </a:cubicBezTo>
                            <a:cubicBezTo>
                              <a:pt x="4424" y="2450"/>
                              <a:pt x="4417" y="2455"/>
                              <a:pt x="4419" y="2462"/>
                            </a:cubicBezTo>
                            <a:cubicBezTo>
                              <a:pt x="4421" y="2469"/>
                              <a:pt x="4422" y="2460"/>
                              <a:pt x="4430" y="2469"/>
                            </a:cubicBezTo>
                            <a:cubicBezTo>
                              <a:pt x="4437" y="2477"/>
                              <a:pt x="4430" y="2483"/>
                              <a:pt x="4445" y="2487"/>
                            </a:cubicBezTo>
                            <a:cubicBezTo>
                              <a:pt x="4459" y="2490"/>
                              <a:pt x="4460" y="2482"/>
                              <a:pt x="4474" y="2492"/>
                            </a:cubicBezTo>
                            <a:cubicBezTo>
                              <a:pt x="4489" y="2502"/>
                              <a:pt x="4494" y="2501"/>
                              <a:pt x="4506" y="2504"/>
                            </a:cubicBezTo>
                            <a:cubicBezTo>
                              <a:pt x="4519" y="2506"/>
                              <a:pt x="4518" y="2503"/>
                              <a:pt x="4532" y="2509"/>
                            </a:cubicBezTo>
                            <a:cubicBezTo>
                              <a:pt x="4546" y="2515"/>
                              <a:pt x="4553" y="2508"/>
                              <a:pt x="4569" y="2518"/>
                            </a:cubicBezTo>
                            <a:cubicBezTo>
                              <a:pt x="4585" y="2529"/>
                              <a:pt x="4586" y="2527"/>
                              <a:pt x="4599" y="2532"/>
                            </a:cubicBezTo>
                            <a:cubicBezTo>
                              <a:pt x="4612" y="2537"/>
                              <a:pt x="4621" y="2540"/>
                              <a:pt x="4629" y="2537"/>
                            </a:cubicBezTo>
                            <a:cubicBezTo>
                              <a:pt x="4636" y="2533"/>
                              <a:pt x="4643" y="2537"/>
                              <a:pt x="4635" y="2529"/>
                            </a:cubicBezTo>
                            <a:cubicBezTo>
                              <a:pt x="4628" y="2520"/>
                              <a:pt x="4622" y="2517"/>
                              <a:pt x="4628" y="2512"/>
                            </a:cubicBezTo>
                            <a:cubicBezTo>
                              <a:pt x="4633" y="2508"/>
                              <a:pt x="4645" y="2512"/>
                              <a:pt x="4632" y="2504"/>
                            </a:cubicBezTo>
                            <a:cubicBezTo>
                              <a:pt x="4619" y="2495"/>
                              <a:pt x="4617" y="2501"/>
                              <a:pt x="4610" y="2490"/>
                            </a:cubicBezTo>
                            <a:cubicBezTo>
                              <a:pt x="4602" y="2479"/>
                              <a:pt x="4611" y="2481"/>
                              <a:pt x="4601" y="2473"/>
                            </a:cubicBezTo>
                            <a:cubicBezTo>
                              <a:pt x="4591" y="2466"/>
                              <a:pt x="4592" y="2467"/>
                              <a:pt x="4579" y="2463"/>
                            </a:cubicBezTo>
                            <a:cubicBezTo>
                              <a:pt x="4566" y="2458"/>
                              <a:pt x="4564" y="2456"/>
                              <a:pt x="4559" y="2448"/>
                            </a:cubicBezTo>
                            <a:cubicBezTo>
                              <a:pt x="4555" y="2439"/>
                              <a:pt x="4554" y="2434"/>
                              <a:pt x="4543" y="2435"/>
                            </a:cubicBezTo>
                            <a:cubicBezTo>
                              <a:pt x="4532" y="2436"/>
                              <a:pt x="4526" y="2440"/>
                              <a:pt x="4527" y="2430"/>
                            </a:cubicBezTo>
                            <a:cubicBezTo>
                              <a:pt x="4529" y="2421"/>
                              <a:pt x="4531" y="2416"/>
                              <a:pt x="4518" y="2416"/>
                            </a:cubicBezTo>
                            <a:cubicBezTo>
                              <a:pt x="4505" y="2416"/>
                              <a:pt x="4504" y="2419"/>
                              <a:pt x="4497" y="2409"/>
                            </a:cubicBezTo>
                            <a:cubicBezTo>
                              <a:pt x="4490" y="2400"/>
                              <a:pt x="4487" y="2395"/>
                              <a:pt x="4480" y="2392"/>
                            </a:cubicBezTo>
                            <a:cubicBezTo>
                              <a:pt x="4473" y="2389"/>
                              <a:pt x="4471" y="2386"/>
                              <a:pt x="4465" y="2377"/>
                            </a:cubicBezTo>
                            <a:cubicBezTo>
                              <a:pt x="4460" y="2369"/>
                              <a:pt x="4443" y="2359"/>
                              <a:pt x="4454" y="2356"/>
                            </a:cubicBezTo>
                            <a:cubicBezTo>
                              <a:pt x="4465" y="2352"/>
                              <a:pt x="4478" y="2351"/>
                              <a:pt x="4483" y="2359"/>
                            </a:cubicBezTo>
                            <a:cubicBezTo>
                              <a:pt x="4489" y="2368"/>
                              <a:pt x="4506" y="2376"/>
                              <a:pt x="4512" y="2382"/>
                            </a:cubicBezTo>
                            <a:cubicBezTo>
                              <a:pt x="4519" y="2389"/>
                              <a:pt x="4524" y="2395"/>
                              <a:pt x="4527" y="2392"/>
                            </a:cubicBezTo>
                            <a:cubicBezTo>
                              <a:pt x="4529" y="2388"/>
                              <a:pt x="4529" y="2383"/>
                              <a:pt x="4526" y="2377"/>
                            </a:cubicBezTo>
                            <a:cubicBezTo>
                              <a:pt x="4523" y="2371"/>
                              <a:pt x="4519" y="2362"/>
                              <a:pt x="4524" y="2362"/>
                            </a:cubicBezTo>
                            <a:cubicBezTo>
                              <a:pt x="4530" y="2363"/>
                              <a:pt x="4536" y="2364"/>
                              <a:pt x="4541" y="2375"/>
                            </a:cubicBezTo>
                            <a:cubicBezTo>
                              <a:pt x="4545" y="2386"/>
                              <a:pt x="4543" y="2387"/>
                              <a:pt x="4552" y="2394"/>
                            </a:cubicBezTo>
                            <a:cubicBezTo>
                              <a:pt x="4562" y="2401"/>
                              <a:pt x="4564" y="2399"/>
                              <a:pt x="4571" y="2401"/>
                            </a:cubicBezTo>
                            <a:cubicBezTo>
                              <a:pt x="4577" y="2403"/>
                              <a:pt x="4574" y="2403"/>
                              <a:pt x="4580" y="2410"/>
                            </a:cubicBezTo>
                            <a:cubicBezTo>
                              <a:pt x="4586" y="2416"/>
                              <a:pt x="4590" y="2422"/>
                              <a:pt x="4591" y="2418"/>
                            </a:cubicBezTo>
                            <a:cubicBezTo>
                              <a:pt x="4592" y="2413"/>
                              <a:pt x="4587" y="2406"/>
                              <a:pt x="4592" y="2406"/>
                            </a:cubicBezTo>
                            <a:cubicBezTo>
                              <a:pt x="4598" y="2406"/>
                              <a:pt x="4604" y="2409"/>
                              <a:pt x="4606" y="2413"/>
                            </a:cubicBezTo>
                            <a:cubicBezTo>
                              <a:pt x="4607" y="2417"/>
                              <a:pt x="4604" y="2422"/>
                              <a:pt x="4610" y="2425"/>
                            </a:cubicBezTo>
                            <a:cubicBezTo>
                              <a:pt x="4617" y="2429"/>
                              <a:pt x="4622" y="2434"/>
                              <a:pt x="4622" y="2428"/>
                            </a:cubicBezTo>
                            <a:cubicBezTo>
                              <a:pt x="4622" y="2423"/>
                              <a:pt x="4618" y="2417"/>
                              <a:pt x="4625" y="2420"/>
                            </a:cubicBezTo>
                            <a:cubicBezTo>
                              <a:pt x="4631" y="2422"/>
                              <a:pt x="4626" y="2424"/>
                              <a:pt x="4632" y="2427"/>
                            </a:cubicBezTo>
                            <a:cubicBezTo>
                              <a:pt x="4639" y="2430"/>
                              <a:pt x="4641" y="2424"/>
                              <a:pt x="4643" y="2428"/>
                            </a:cubicBezTo>
                            <a:cubicBezTo>
                              <a:pt x="4645" y="2432"/>
                              <a:pt x="4640" y="2435"/>
                              <a:pt x="4644" y="2436"/>
                            </a:cubicBezTo>
                            <a:cubicBezTo>
                              <a:pt x="4648" y="2438"/>
                              <a:pt x="4649" y="2433"/>
                              <a:pt x="4653" y="2436"/>
                            </a:cubicBezTo>
                            <a:cubicBezTo>
                              <a:pt x="4657" y="2440"/>
                              <a:pt x="4654" y="2446"/>
                              <a:pt x="4660" y="2445"/>
                            </a:cubicBezTo>
                            <a:cubicBezTo>
                              <a:pt x="4666" y="2444"/>
                              <a:pt x="4672" y="2442"/>
                              <a:pt x="4674" y="2442"/>
                            </a:cubicBezTo>
                            <a:cubicBezTo>
                              <a:pt x="4676" y="2441"/>
                              <a:pt x="4678" y="2448"/>
                              <a:pt x="4679" y="2440"/>
                            </a:cubicBezTo>
                            <a:cubicBezTo>
                              <a:pt x="4679" y="2431"/>
                              <a:pt x="4678" y="2428"/>
                              <a:pt x="4686" y="2429"/>
                            </a:cubicBezTo>
                            <a:cubicBezTo>
                              <a:pt x="4694" y="2430"/>
                              <a:pt x="4694" y="2431"/>
                              <a:pt x="4700" y="2436"/>
                            </a:cubicBezTo>
                            <a:cubicBezTo>
                              <a:pt x="4706" y="2440"/>
                              <a:pt x="4714" y="2445"/>
                              <a:pt x="4713" y="2437"/>
                            </a:cubicBezTo>
                            <a:cubicBezTo>
                              <a:pt x="4712" y="2429"/>
                              <a:pt x="4707" y="2425"/>
                              <a:pt x="4709" y="2421"/>
                            </a:cubicBezTo>
                            <a:cubicBezTo>
                              <a:pt x="4711" y="2417"/>
                              <a:pt x="4708" y="2414"/>
                              <a:pt x="4700" y="2408"/>
                            </a:cubicBezTo>
                            <a:cubicBezTo>
                              <a:pt x="4692" y="2403"/>
                              <a:pt x="4694" y="2403"/>
                              <a:pt x="4695" y="2397"/>
                            </a:cubicBezTo>
                            <a:cubicBezTo>
                              <a:pt x="4696" y="2391"/>
                              <a:pt x="4691" y="2391"/>
                              <a:pt x="4692" y="2382"/>
                            </a:cubicBezTo>
                            <a:cubicBezTo>
                              <a:pt x="4693" y="2372"/>
                              <a:pt x="4698" y="2372"/>
                              <a:pt x="4691" y="2366"/>
                            </a:cubicBezTo>
                            <a:cubicBezTo>
                              <a:pt x="4684" y="2360"/>
                              <a:pt x="4674" y="2347"/>
                              <a:pt x="4682" y="2349"/>
                            </a:cubicBezTo>
                            <a:cubicBezTo>
                              <a:pt x="4689" y="2351"/>
                              <a:pt x="4698" y="2359"/>
                              <a:pt x="4701" y="2364"/>
                            </a:cubicBezTo>
                            <a:cubicBezTo>
                              <a:pt x="4703" y="2369"/>
                              <a:pt x="4705" y="2372"/>
                              <a:pt x="4708" y="2380"/>
                            </a:cubicBezTo>
                            <a:cubicBezTo>
                              <a:pt x="4711" y="2388"/>
                              <a:pt x="4711" y="2396"/>
                              <a:pt x="4715" y="2399"/>
                            </a:cubicBezTo>
                            <a:cubicBezTo>
                              <a:pt x="4720" y="2402"/>
                              <a:pt x="4724" y="2404"/>
                              <a:pt x="4724" y="2396"/>
                            </a:cubicBezTo>
                            <a:cubicBezTo>
                              <a:pt x="4724" y="2389"/>
                              <a:pt x="4722" y="2386"/>
                              <a:pt x="4723" y="2376"/>
                            </a:cubicBezTo>
                            <a:cubicBezTo>
                              <a:pt x="4724" y="2366"/>
                              <a:pt x="4723" y="2363"/>
                              <a:pt x="4715" y="2357"/>
                            </a:cubicBezTo>
                            <a:cubicBezTo>
                              <a:pt x="4707" y="2351"/>
                              <a:pt x="4698" y="2351"/>
                              <a:pt x="4702" y="2346"/>
                            </a:cubicBezTo>
                            <a:cubicBezTo>
                              <a:pt x="4706" y="2340"/>
                              <a:pt x="4716" y="2343"/>
                              <a:pt x="4715" y="2337"/>
                            </a:cubicBezTo>
                            <a:cubicBezTo>
                              <a:pt x="4713" y="2331"/>
                              <a:pt x="4712" y="2331"/>
                              <a:pt x="4702" y="2329"/>
                            </a:cubicBezTo>
                            <a:cubicBezTo>
                              <a:pt x="4692" y="2328"/>
                              <a:pt x="4688" y="2325"/>
                              <a:pt x="4687" y="2319"/>
                            </a:cubicBezTo>
                            <a:cubicBezTo>
                              <a:pt x="4685" y="2313"/>
                              <a:pt x="4683" y="2313"/>
                              <a:pt x="4673" y="2309"/>
                            </a:cubicBezTo>
                            <a:cubicBezTo>
                              <a:pt x="4663" y="2305"/>
                              <a:pt x="4652" y="2303"/>
                              <a:pt x="4659" y="2299"/>
                            </a:cubicBezTo>
                            <a:cubicBezTo>
                              <a:pt x="4667" y="2294"/>
                              <a:pt x="4674" y="2298"/>
                              <a:pt x="4682" y="2296"/>
                            </a:cubicBezTo>
                            <a:cubicBezTo>
                              <a:pt x="4689" y="2294"/>
                              <a:pt x="4694" y="2292"/>
                              <a:pt x="4692" y="2288"/>
                            </a:cubicBezTo>
                            <a:cubicBezTo>
                              <a:pt x="4691" y="2284"/>
                              <a:pt x="4686" y="2283"/>
                              <a:pt x="4675" y="2281"/>
                            </a:cubicBezTo>
                            <a:cubicBezTo>
                              <a:pt x="4664" y="2279"/>
                              <a:pt x="4653" y="2282"/>
                              <a:pt x="4655" y="2276"/>
                            </a:cubicBezTo>
                            <a:cubicBezTo>
                              <a:pt x="4657" y="2271"/>
                              <a:pt x="4663" y="2270"/>
                              <a:pt x="4661" y="2263"/>
                            </a:cubicBezTo>
                            <a:cubicBezTo>
                              <a:pt x="4659" y="2255"/>
                              <a:pt x="4645" y="2246"/>
                              <a:pt x="4643" y="2250"/>
                            </a:cubicBezTo>
                            <a:cubicBezTo>
                              <a:pt x="4641" y="2254"/>
                              <a:pt x="4645" y="2255"/>
                              <a:pt x="4644" y="2261"/>
                            </a:cubicBezTo>
                            <a:cubicBezTo>
                              <a:pt x="4642" y="2267"/>
                              <a:pt x="4639" y="2261"/>
                              <a:pt x="4634" y="2259"/>
                            </a:cubicBezTo>
                            <a:cubicBezTo>
                              <a:pt x="4628" y="2257"/>
                              <a:pt x="4627" y="2263"/>
                              <a:pt x="4621" y="2261"/>
                            </a:cubicBezTo>
                            <a:cubicBezTo>
                              <a:pt x="4615" y="2259"/>
                              <a:pt x="4612" y="2257"/>
                              <a:pt x="4615" y="2254"/>
                            </a:cubicBezTo>
                            <a:cubicBezTo>
                              <a:pt x="4617" y="2251"/>
                              <a:pt x="4626" y="2251"/>
                              <a:pt x="4622" y="2246"/>
                            </a:cubicBezTo>
                            <a:cubicBezTo>
                              <a:pt x="4617" y="2241"/>
                              <a:pt x="4613" y="2243"/>
                              <a:pt x="4607" y="2237"/>
                            </a:cubicBezTo>
                            <a:cubicBezTo>
                              <a:pt x="4601" y="2231"/>
                              <a:pt x="4601" y="2223"/>
                              <a:pt x="4596" y="2227"/>
                            </a:cubicBezTo>
                            <a:cubicBezTo>
                              <a:pt x="4592" y="2230"/>
                              <a:pt x="4593" y="2236"/>
                              <a:pt x="4594" y="2242"/>
                            </a:cubicBezTo>
                            <a:cubicBezTo>
                              <a:pt x="4596" y="2247"/>
                              <a:pt x="4597" y="2259"/>
                              <a:pt x="4592" y="2253"/>
                            </a:cubicBezTo>
                            <a:cubicBezTo>
                              <a:pt x="4587" y="2247"/>
                              <a:pt x="4587" y="2244"/>
                              <a:pt x="4586" y="2239"/>
                            </a:cubicBezTo>
                            <a:cubicBezTo>
                              <a:pt x="4584" y="2234"/>
                              <a:pt x="4577" y="2234"/>
                              <a:pt x="4577" y="2230"/>
                            </a:cubicBezTo>
                            <a:cubicBezTo>
                              <a:pt x="4577" y="2225"/>
                              <a:pt x="4584" y="2217"/>
                              <a:pt x="4581" y="2216"/>
                            </a:cubicBezTo>
                            <a:cubicBezTo>
                              <a:pt x="4578" y="2214"/>
                              <a:pt x="4575" y="2217"/>
                              <a:pt x="4571" y="2213"/>
                            </a:cubicBezTo>
                            <a:cubicBezTo>
                              <a:pt x="4567" y="2210"/>
                              <a:pt x="4563" y="2211"/>
                              <a:pt x="4562" y="2206"/>
                            </a:cubicBezTo>
                            <a:cubicBezTo>
                              <a:pt x="4562" y="2200"/>
                              <a:pt x="4555" y="2199"/>
                              <a:pt x="4554" y="2196"/>
                            </a:cubicBezTo>
                            <a:cubicBezTo>
                              <a:pt x="4553" y="2194"/>
                              <a:pt x="4560" y="2192"/>
                              <a:pt x="4563" y="2187"/>
                            </a:cubicBezTo>
                            <a:cubicBezTo>
                              <a:pt x="4565" y="2182"/>
                              <a:pt x="4563" y="2182"/>
                              <a:pt x="4554" y="2179"/>
                            </a:cubicBezTo>
                            <a:cubicBezTo>
                              <a:pt x="4545" y="2177"/>
                              <a:pt x="4547" y="2174"/>
                              <a:pt x="4546" y="2169"/>
                            </a:cubicBezTo>
                            <a:cubicBezTo>
                              <a:pt x="4545" y="2164"/>
                              <a:pt x="4541" y="2161"/>
                              <a:pt x="4535" y="2164"/>
                            </a:cubicBezTo>
                            <a:cubicBezTo>
                              <a:pt x="4529" y="2166"/>
                              <a:pt x="4528" y="2168"/>
                              <a:pt x="4523" y="2173"/>
                            </a:cubicBezTo>
                            <a:cubicBezTo>
                              <a:pt x="4518" y="2178"/>
                              <a:pt x="4510" y="2185"/>
                              <a:pt x="4510" y="2177"/>
                            </a:cubicBezTo>
                            <a:cubicBezTo>
                              <a:pt x="4510" y="2170"/>
                              <a:pt x="4510" y="2171"/>
                              <a:pt x="4513" y="2163"/>
                            </a:cubicBezTo>
                            <a:cubicBezTo>
                              <a:pt x="4517" y="2156"/>
                              <a:pt x="4521" y="2153"/>
                              <a:pt x="4513" y="2151"/>
                            </a:cubicBezTo>
                            <a:cubicBezTo>
                              <a:pt x="4505" y="2150"/>
                              <a:pt x="4501" y="2154"/>
                              <a:pt x="4500" y="2148"/>
                            </a:cubicBezTo>
                            <a:cubicBezTo>
                              <a:pt x="4500" y="2143"/>
                              <a:pt x="4504" y="2141"/>
                              <a:pt x="4497" y="2138"/>
                            </a:cubicBezTo>
                            <a:cubicBezTo>
                              <a:pt x="4491" y="2134"/>
                              <a:pt x="4485" y="2130"/>
                              <a:pt x="4489" y="2129"/>
                            </a:cubicBezTo>
                            <a:cubicBezTo>
                              <a:pt x="4493" y="2128"/>
                              <a:pt x="4496" y="2131"/>
                              <a:pt x="4498" y="2128"/>
                            </a:cubicBezTo>
                            <a:cubicBezTo>
                              <a:pt x="4500" y="2125"/>
                              <a:pt x="4499" y="2121"/>
                              <a:pt x="4496" y="2120"/>
                            </a:cubicBezTo>
                            <a:cubicBezTo>
                              <a:pt x="4492" y="2119"/>
                              <a:pt x="4487" y="2117"/>
                              <a:pt x="4479" y="2116"/>
                            </a:cubicBezTo>
                            <a:cubicBezTo>
                              <a:pt x="4470" y="2114"/>
                              <a:pt x="4461" y="2115"/>
                              <a:pt x="4465" y="2111"/>
                            </a:cubicBezTo>
                            <a:cubicBezTo>
                              <a:pt x="4469" y="2108"/>
                              <a:pt x="4470" y="2106"/>
                              <a:pt x="4480" y="2108"/>
                            </a:cubicBezTo>
                            <a:cubicBezTo>
                              <a:pt x="4489" y="2110"/>
                              <a:pt x="4498" y="2108"/>
                              <a:pt x="4503" y="2112"/>
                            </a:cubicBezTo>
                            <a:cubicBezTo>
                              <a:pt x="4508" y="2116"/>
                              <a:pt x="4511" y="2120"/>
                              <a:pt x="4512" y="2126"/>
                            </a:cubicBezTo>
                            <a:cubicBezTo>
                              <a:pt x="4513" y="2131"/>
                              <a:pt x="4508" y="2136"/>
                              <a:pt x="4519" y="2139"/>
                            </a:cubicBezTo>
                            <a:cubicBezTo>
                              <a:pt x="4531" y="2142"/>
                              <a:pt x="4534" y="2144"/>
                              <a:pt x="4543" y="2142"/>
                            </a:cubicBezTo>
                            <a:cubicBezTo>
                              <a:pt x="4553" y="2139"/>
                              <a:pt x="4566" y="2141"/>
                              <a:pt x="4563" y="2133"/>
                            </a:cubicBezTo>
                            <a:cubicBezTo>
                              <a:pt x="4560" y="2126"/>
                              <a:pt x="4559" y="2120"/>
                              <a:pt x="4550" y="2117"/>
                            </a:cubicBezTo>
                            <a:cubicBezTo>
                              <a:pt x="4541" y="2114"/>
                              <a:pt x="4529" y="2113"/>
                              <a:pt x="4528" y="2106"/>
                            </a:cubicBezTo>
                            <a:cubicBezTo>
                              <a:pt x="4527" y="2099"/>
                              <a:pt x="4532" y="2098"/>
                              <a:pt x="4526" y="2094"/>
                            </a:cubicBezTo>
                            <a:cubicBezTo>
                              <a:pt x="4520" y="2090"/>
                              <a:pt x="4508" y="2083"/>
                              <a:pt x="4513" y="2080"/>
                            </a:cubicBezTo>
                            <a:cubicBezTo>
                              <a:pt x="4518" y="2077"/>
                              <a:pt x="4523" y="2077"/>
                              <a:pt x="4526" y="2082"/>
                            </a:cubicBezTo>
                            <a:cubicBezTo>
                              <a:pt x="4529" y="2087"/>
                              <a:pt x="4533" y="2093"/>
                              <a:pt x="4539" y="2096"/>
                            </a:cubicBezTo>
                            <a:cubicBezTo>
                              <a:pt x="4545" y="2099"/>
                              <a:pt x="4548" y="2099"/>
                              <a:pt x="4549" y="2095"/>
                            </a:cubicBezTo>
                            <a:cubicBezTo>
                              <a:pt x="4550" y="2091"/>
                              <a:pt x="4543" y="2086"/>
                              <a:pt x="4551" y="2085"/>
                            </a:cubicBezTo>
                            <a:cubicBezTo>
                              <a:pt x="4559" y="2084"/>
                              <a:pt x="4563" y="2083"/>
                              <a:pt x="4560" y="2080"/>
                            </a:cubicBezTo>
                            <a:cubicBezTo>
                              <a:pt x="4557" y="2076"/>
                              <a:pt x="4552" y="2077"/>
                              <a:pt x="4546" y="2075"/>
                            </a:cubicBezTo>
                            <a:cubicBezTo>
                              <a:pt x="4541" y="2073"/>
                              <a:pt x="4535" y="2071"/>
                              <a:pt x="4539" y="2069"/>
                            </a:cubicBezTo>
                            <a:cubicBezTo>
                              <a:pt x="4544" y="2066"/>
                              <a:pt x="4551" y="2066"/>
                              <a:pt x="4558" y="2067"/>
                            </a:cubicBezTo>
                            <a:cubicBezTo>
                              <a:pt x="4565" y="2069"/>
                              <a:pt x="4565" y="2066"/>
                              <a:pt x="4574" y="2065"/>
                            </a:cubicBezTo>
                            <a:cubicBezTo>
                              <a:pt x="4582" y="2065"/>
                              <a:pt x="4585" y="2061"/>
                              <a:pt x="4586" y="2069"/>
                            </a:cubicBezTo>
                            <a:cubicBezTo>
                              <a:pt x="4587" y="2076"/>
                              <a:pt x="4579" y="2081"/>
                              <a:pt x="4584" y="2085"/>
                            </a:cubicBezTo>
                            <a:cubicBezTo>
                              <a:pt x="4589" y="2088"/>
                              <a:pt x="4595" y="2088"/>
                              <a:pt x="4601" y="2089"/>
                            </a:cubicBezTo>
                            <a:cubicBezTo>
                              <a:pt x="4606" y="2091"/>
                              <a:pt x="4604" y="2095"/>
                              <a:pt x="4609" y="2098"/>
                            </a:cubicBezTo>
                            <a:cubicBezTo>
                              <a:pt x="4614" y="2101"/>
                              <a:pt x="4619" y="2097"/>
                              <a:pt x="4624" y="2102"/>
                            </a:cubicBezTo>
                            <a:cubicBezTo>
                              <a:pt x="4629" y="2108"/>
                              <a:pt x="4624" y="2112"/>
                              <a:pt x="4632" y="2115"/>
                            </a:cubicBezTo>
                            <a:cubicBezTo>
                              <a:pt x="4639" y="2118"/>
                              <a:pt x="4642" y="2117"/>
                              <a:pt x="4646" y="2110"/>
                            </a:cubicBezTo>
                            <a:cubicBezTo>
                              <a:pt x="4649" y="2103"/>
                              <a:pt x="4664" y="2084"/>
                              <a:pt x="4665" y="2090"/>
                            </a:cubicBezTo>
                            <a:cubicBezTo>
                              <a:pt x="4667" y="2096"/>
                              <a:pt x="4666" y="2101"/>
                              <a:pt x="4659" y="2108"/>
                            </a:cubicBezTo>
                            <a:cubicBezTo>
                              <a:pt x="4653" y="2114"/>
                              <a:pt x="4643" y="2123"/>
                              <a:pt x="4643" y="2128"/>
                            </a:cubicBezTo>
                            <a:cubicBezTo>
                              <a:pt x="4644" y="2132"/>
                              <a:pt x="4655" y="2129"/>
                              <a:pt x="4662" y="2125"/>
                            </a:cubicBezTo>
                            <a:cubicBezTo>
                              <a:pt x="4669" y="2121"/>
                              <a:pt x="4672" y="2120"/>
                              <a:pt x="4681" y="2117"/>
                            </a:cubicBezTo>
                            <a:cubicBezTo>
                              <a:pt x="4689" y="2113"/>
                              <a:pt x="4694" y="2114"/>
                              <a:pt x="4702" y="2111"/>
                            </a:cubicBezTo>
                            <a:cubicBezTo>
                              <a:pt x="4710" y="2108"/>
                              <a:pt x="4715" y="2109"/>
                              <a:pt x="4721" y="2102"/>
                            </a:cubicBezTo>
                            <a:cubicBezTo>
                              <a:pt x="4727" y="2096"/>
                              <a:pt x="4732" y="2097"/>
                              <a:pt x="4731" y="2101"/>
                            </a:cubicBezTo>
                            <a:cubicBezTo>
                              <a:pt x="4731" y="2104"/>
                              <a:pt x="4729" y="2107"/>
                              <a:pt x="4722" y="2111"/>
                            </a:cubicBezTo>
                            <a:cubicBezTo>
                              <a:pt x="4715" y="2114"/>
                              <a:pt x="4710" y="2114"/>
                              <a:pt x="4710" y="2120"/>
                            </a:cubicBezTo>
                            <a:cubicBezTo>
                              <a:pt x="4710" y="2126"/>
                              <a:pt x="4713" y="2127"/>
                              <a:pt x="4711" y="2131"/>
                            </a:cubicBezTo>
                            <a:cubicBezTo>
                              <a:pt x="4709" y="2134"/>
                              <a:pt x="4705" y="2135"/>
                              <a:pt x="4698" y="2136"/>
                            </a:cubicBezTo>
                            <a:cubicBezTo>
                              <a:pt x="4692" y="2137"/>
                              <a:pt x="4685" y="2133"/>
                              <a:pt x="4678" y="2138"/>
                            </a:cubicBezTo>
                            <a:cubicBezTo>
                              <a:pt x="4671" y="2143"/>
                              <a:pt x="4668" y="2152"/>
                              <a:pt x="4669" y="2154"/>
                            </a:cubicBezTo>
                            <a:cubicBezTo>
                              <a:pt x="4669" y="2156"/>
                              <a:pt x="4664" y="2164"/>
                              <a:pt x="4674" y="2164"/>
                            </a:cubicBezTo>
                            <a:cubicBezTo>
                              <a:pt x="4685" y="2164"/>
                              <a:pt x="4688" y="2157"/>
                              <a:pt x="4689" y="2163"/>
                            </a:cubicBezTo>
                            <a:cubicBezTo>
                              <a:pt x="4691" y="2169"/>
                              <a:pt x="4681" y="2170"/>
                              <a:pt x="4681" y="2174"/>
                            </a:cubicBezTo>
                            <a:cubicBezTo>
                              <a:pt x="4681" y="2177"/>
                              <a:pt x="4680" y="2176"/>
                              <a:pt x="4689" y="2176"/>
                            </a:cubicBezTo>
                            <a:cubicBezTo>
                              <a:pt x="4698" y="2176"/>
                              <a:pt x="4705" y="2172"/>
                              <a:pt x="4703" y="2177"/>
                            </a:cubicBezTo>
                            <a:cubicBezTo>
                              <a:pt x="4702" y="2182"/>
                              <a:pt x="4695" y="2177"/>
                              <a:pt x="4694" y="2183"/>
                            </a:cubicBezTo>
                            <a:cubicBezTo>
                              <a:pt x="4692" y="2190"/>
                              <a:pt x="4689" y="2192"/>
                              <a:pt x="4695" y="2193"/>
                            </a:cubicBezTo>
                            <a:cubicBezTo>
                              <a:pt x="4702" y="2193"/>
                              <a:pt x="4702" y="2193"/>
                              <a:pt x="4708" y="2191"/>
                            </a:cubicBezTo>
                            <a:cubicBezTo>
                              <a:pt x="4714" y="2188"/>
                              <a:pt x="4722" y="2183"/>
                              <a:pt x="4722" y="2188"/>
                            </a:cubicBezTo>
                            <a:cubicBezTo>
                              <a:pt x="4723" y="2193"/>
                              <a:pt x="4716" y="2193"/>
                              <a:pt x="4714" y="2196"/>
                            </a:cubicBezTo>
                            <a:cubicBezTo>
                              <a:pt x="4712" y="2200"/>
                              <a:pt x="4710" y="2202"/>
                              <a:pt x="4713" y="2205"/>
                            </a:cubicBezTo>
                            <a:cubicBezTo>
                              <a:pt x="4716" y="2209"/>
                              <a:pt x="4714" y="2206"/>
                              <a:pt x="4720" y="2212"/>
                            </a:cubicBezTo>
                            <a:cubicBezTo>
                              <a:pt x="4725" y="2218"/>
                              <a:pt x="4728" y="2217"/>
                              <a:pt x="4730" y="2213"/>
                            </a:cubicBezTo>
                            <a:cubicBezTo>
                              <a:pt x="4733" y="2209"/>
                              <a:pt x="4733" y="2198"/>
                              <a:pt x="4737" y="2198"/>
                            </a:cubicBezTo>
                            <a:cubicBezTo>
                              <a:pt x="4740" y="2199"/>
                              <a:pt x="4734" y="2207"/>
                              <a:pt x="4741" y="2210"/>
                            </a:cubicBezTo>
                            <a:cubicBezTo>
                              <a:pt x="4747" y="2213"/>
                              <a:pt x="4751" y="2207"/>
                              <a:pt x="4753" y="2211"/>
                            </a:cubicBezTo>
                            <a:cubicBezTo>
                              <a:pt x="4755" y="2214"/>
                              <a:pt x="4749" y="2215"/>
                              <a:pt x="4755" y="2219"/>
                            </a:cubicBezTo>
                            <a:cubicBezTo>
                              <a:pt x="4760" y="2222"/>
                              <a:pt x="4760" y="2219"/>
                              <a:pt x="4766" y="2222"/>
                            </a:cubicBezTo>
                            <a:cubicBezTo>
                              <a:pt x="4772" y="2226"/>
                              <a:pt x="4772" y="2227"/>
                              <a:pt x="4774" y="2230"/>
                            </a:cubicBezTo>
                            <a:cubicBezTo>
                              <a:pt x="4777" y="2233"/>
                              <a:pt x="4776" y="2238"/>
                              <a:pt x="4781" y="2236"/>
                            </a:cubicBezTo>
                            <a:cubicBezTo>
                              <a:pt x="4787" y="2235"/>
                              <a:pt x="4787" y="2232"/>
                              <a:pt x="4787" y="2226"/>
                            </a:cubicBezTo>
                            <a:cubicBezTo>
                              <a:pt x="4786" y="2220"/>
                              <a:pt x="4780" y="2221"/>
                              <a:pt x="4788" y="2215"/>
                            </a:cubicBezTo>
                            <a:cubicBezTo>
                              <a:pt x="4796" y="2209"/>
                              <a:pt x="4800" y="2208"/>
                              <a:pt x="4796" y="2204"/>
                            </a:cubicBezTo>
                            <a:cubicBezTo>
                              <a:pt x="4793" y="2201"/>
                              <a:pt x="4790" y="2200"/>
                              <a:pt x="4787" y="2197"/>
                            </a:cubicBezTo>
                            <a:cubicBezTo>
                              <a:pt x="4783" y="2193"/>
                              <a:pt x="4779" y="2193"/>
                              <a:pt x="4781" y="2187"/>
                            </a:cubicBezTo>
                            <a:cubicBezTo>
                              <a:pt x="4783" y="2181"/>
                              <a:pt x="4788" y="2181"/>
                              <a:pt x="4783" y="2174"/>
                            </a:cubicBezTo>
                            <a:cubicBezTo>
                              <a:pt x="4777" y="2168"/>
                              <a:pt x="4771" y="2168"/>
                              <a:pt x="4774" y="2164"/>
                            </a:cubicBezTo>
                            <a:cubicBezTo>
                              <a:pt x="4777" y="2161"/>
                              <a:pt x="4777" y="2159"/>
                              <a:pt x="4785" y="2161"/>
                            </a:cubicBezTo>
                            <a:cubicBezTo>
                              <a:pt x="4794" y="2164"/>
                              <a:pt x="4796" y="2163"/>
                              <a:pt x="4795" y="2159"/>
                            </a:cubicBezTo>
                            <a:cubicBezTo>
                              <a:pt x="4793" y="2155"/>
                              <a:pt x="4790" y="2150"/>
                              <a:pt x="4787" y="2145"/>
                            </a:cubicBezTo>
                            <a:cubicBezTo>
                              <a:pt x="4784" y="2140"/>
                              <a:pt x="4785" y="2135"/>
                              <a:pt x="4789" y="2136"/>
                            </a:cubicBezTo>
                            <a:cubicBezTo>
                              <a:pt x="4793" y="2138"/>
                              <a:pt x="4796" y="2143"/>
                              <a:pt x="4798" y="2149"/>
                            </a:cubicBezTo>
                            <a:cubicBezTo>
                              <a:pt x="4800" y="2154"/>
                              <a:pt x="4803" y="2156"/>
                              <a:pt x="4808" y="2162"/>
                            </a:cubicBezTo>
                            <a:cubicBezTo>
                              <a:pt x="4812" y="2167"/>
                              <a:pt x="4816" y="2174"/>
                              <a:pt x="4819" y="2172"/>
                            </a:cubicBezTo>
                            <a:cubicBezTo>
                              <a:pt x="4822" y="2170"/>
                              <a:pt x="4824" y="2169"/>
                              <a:pt x="4823" y="2162"/>
                            </a:cubicBezTo>
                            <a:cubicBezTo>
                              <a:pt x="4822" y="2156"/>
                              <a:pt x="4822" y="2155"/>
                              <a:pt x="4826" y="2154"/>
                            </a:cubicBezTo>
                            <a:cubicBezTo>
                              <a:pt x="4831" y="2154"/>
                              <a:pt x="4835" y="2158"/>
                              <a:pt x="4835" y="2153"/>
                            </a:cubicBezTo>
                            <a:cubicBezTo>
                              <a:pt x="4835" y="2148"/>
                              <a:pt x="4835" y="2148"/>
                              <a:pt x="4831" y="2144"/>
                            </a:cubicBezTo>
                            <a:cubicBezTo>
                              <a:pt x="4827" y="2141"/>
                              <a:pt x="4823" y="2137"/>
                              <a:pt x="4829" y="2137"/>
                            </a:cubicBezTo>
                            <a:cubicBezTo>
                              <a:pt x="4836" y="2137"/>
                              <a:pt x="4841" y="2143"/>
                              <a:pt x="4847" y="2147"/>
                            </a:cubicBezTo>
                            <a:cubicBezTo>
                              <a:pt x="4852" y="2151"/>
                              <a:pt x="4857" y="2155"/>
                              <a:pt x="4860" y="2151"/>
                            </a:cubicBezTo>
                            <a:cubicBezTo>
                              <a:pt x="4863" y="2148"/>
                              <a:pt x="4868" y="2144"/>
                              <a:pt x="4861" y="2140"/>
                            </a:cubicBezTo>
                            <a:cubicBezTo>
                              <a:pt x="4853" y="2136"/>
                              <a:pt x="4851" y="2132"/>
                              <a:pt x="4844" y="2130"/>
                            </a:cubicBezTo>
                            <a:cubicBezTo>
                              <a:pt x="4836" y="2128"/>
                              <a:pt x="4828" y="2129"/>
                              <a:pt x="4823" y="2123"/>
                            </a:cubicBezTo>
                            <a:cubicBezTo>
                              <a:pt x="4818" y="2116"/>
                              <a:pt x="4818" y="2112"/>
                              <a:pt x="4825" y="2115"/>
                            </a:cubicBezTo>
                            <a:cubicBezTo>
                              <a:pt x="4832" y="2118"/>
                              <a:pt x="4836" y="2120"/>
                              <a:pt x="4845" y="2123"/>
                            </a:cubicBezTo>
                            <a:cubicBezTo>
                              <a:pt x="4853" y="2126"/>
                              <a:pt x="4854" y="2129"/>
                              <a:pt x="4866" y="2129"/>
                            </a:cubicBezTo>
                            <a:cubicBezTo>
                              <a:pt x="4877" y="2129"/>
                              <a:pt x="4877" y="2121"/>
                              <a:pt x="4871" y="2117"/>
                            </a:cubicBezTo>
                            <a:cubicBezTo>
                              <a:pt x="4866" y="2114"/>
                              <a:pt x="4856" y="2114"/>
                              <a:pt x="4852" y="2112"/>
                            </a:cubicBezTo>
                            <a:cubicBezTo>
                              <a:pt x="4848" y="2110"/>
                              <a:pt x="4846" y="2112"/>
                              <a:pt x="4842" y="2110"/>
                            </a:cubicBezTo>
                            <a:cubicBezTo>
                              <a:pt x="4837" y="2108"/>
                              <a:pt x="4828" y="2101"/>
                              <a:pt x="4829" y="2097"/>
                            </a:cubicBezTo>
                            <a:cubicBezTo>
                              <a:pt x="4830" y="2094"/>
                              <a:pt x="4832" y="2097"/>
                              <a:pt x="4834" y="2099"/>
                            </a:cubicBezTo>
                            <a:cubicBezTo>
                              <a:pt x="4837" y="2101"/>
                              <a:pt x="4838" y="2103"/>
                              <a:pt x="4842" y="2102"/>
                            </a:cubicBezTo>
                            <a:cubicBezTo>
                              <a:pt x="4847" y="2101"/>
                              <a:pt x="4850" y="2100"/>
                              <a:pt x="4849" y="2097"/>
                            </a:cubicBezTo>
                            <a:cubicBezTo>
                              <a:pt x="4848" y="2093"/>
                              <a:pt x="4847" y="2094"/>
                              <a:pt x="4843" y="2091"/>
                            </a:cubicBezTo>
                            <a:cubicBezTo>
                              <a:pt x="4840" y="2087"/>
                              <a:pt x="4838" y="2084"/>
                              <a:pt x="4843" y="2085"/>
                            </a:cubicBezTo>
                            <a:cubicBezTo>
                              <a:pt x="4847" y="2086"/>
                              <a:pt x="4850" y="2087"/>
                              <a:pt x="4856" y="2090"/>
                            </a:cubicBezTo>
                            <a:cubicBezTo>
                              <a:pt x="4862" y="2093"/>
                              <a:pt x="4864" y="2092"/>
                              <a:pt x="4870" y="2094"/>
                            </a:cubicBezTo>
                            <a:cubicBezTo>
                              <a:pt x="4876" y="2096"/>
                              <a:pt x="4877" y="2096"/>
                              <a:pt x="4881" y="2099"/>
                            </a:cubicBezTo>
                            <a:cubicBezTo>
                              <a:pt x="4884" y="2101"/>
                              <a:pt x="4896" y="2102"/>
                              <a:pt x="4899" y="2101"/>
                            </a:cubicBezTo>
                            <a:cubicBezTo>
                              <a:pt x="4903" y="2099"/>
                              <a:pt x="4913" y="2093"/>
                              <a:pt x="4911" y="2093"/>
                            </a:cubicBezTo>
                            <a:cubicBezTo>
                              <a:pt x="4909" y="2092"/>
                              <a:pt x="4904" y="2092"/>
                              <a:pt x="4899" y="2093"/>
                            </a:cubicBezTo>
                            <a:cubicBezTo>
                              <a:pt x="4894" y="2094"/>
                              <a:pt x="4886" y="2091"/>
                              <a:pt x="4885" y="2089"/>
                            </a:cubicBezTo>
                            <a:cubicBezTo>
                              <a:pt x="4885" y="2086"/>
                              <a:pt x="4885" y="2084"/>
                              <a:pt x="4891" y="2084"/>
                            </a:cubicBezTo>
                            <a:cubicBezTo>
                              <a:pt x="4898" y="2084"/>
                              <a:pt x="4899" y="2084"/>
                              <a:pt x="4900" y="2082"/>
                            </a:cubicBezTo>
                            <a:cubicBezTo>
                              <a:pt x="4902" y="2080"/>
                              <a:pt x="4904" y="2079"/>
                              <a:pt x="4899" y="2075"/>
                            </a:cubicBezTo>
                            <a:cubicBezTo>
                              <a:pt x="4894" y="2071"/>
                              <a:pt x="4886" y="2066"/>
                              <a:pt x="4882" y="2066"/>
                            </a:cubicBezTo>
                            <a:cubicBezTo>
                              <a:pt x="4879" y="2066"/>
                              <a:pt x="4878" y="2069"/>
                              <a:pt x="4875" y="2069"/>
                            </a:cubicBezTo>
                            <a:cubicBezTo>
                              <a:pt x="4871" y="2069"/>
                              <a:pt x="4867" y="2065"/>
                              <a:pt x="4870" y="2063"/>
                            </a:cubicBezTo>
                            <a:cubicBezTo>
                              <a:pt x="4873" y="2062"/>
                              <a:pt x="4874" y="2059"/>
                              <a:pt x="4880" y="2058"/>
                            </a:cubicBezTo>
                            <a:cubicBezTo>
                              <a:pt x="4886" y="2058"/>
                              <a:pt x="4891" y="2059"/>
                              <a:pt x="4897" y="2062"/>
                            </a:cubicBezTo>
                            <a:cubicBezTo>
                              <a:pt x="4902" y="2066"/>
                              <a:pt x="4903" y="2070"/>
                              <a:pt x="4910" y="2070"/>
                            </a:cubicBezTo>
                            <a:cubicBezTo>
                              <a:pt x="4917" y="2070"/>
                              <a:pt x="4923" y="2071"/>
                              <a:pt x="4923" y="2067"/>
                            </a:cubicBezTo>
                            <a:cubicBezTo>
                              <a:pt x="4924" y="2063"/>
                              <a:pt x="4923" y="2061"/>
                              <a:pt x="4917" y="2055"/>
                            </a:cubicBezTo>
                            <a:cubicBezTo>
                              <a:pt x="4911" y="2049"/>
                              <a:pt x="4908" y="2046"/>
                              <a:pt x="4904" y="2040"/>
                            </a:cubicBezTo>
                            <a:cubicBezTo>
                              <a:pt x="4901" y="2035"/>
                              <a:pt x="4902" y="2030"/>
                              <a:pt x="4895" y="2032"/>
                            </a:cubicBezTo>
                            <a:cubicBezTo>
                              <a:pt x="4888" y="2033"/>
                              <a:pt x="4885" y="2037"/>
                              <a:pt x="4881" y="2035"/>
                            </a:cubicBezTo>
                            <a:cubicBezTo>
                              <a:pt x="4878" y="2032"/>
                              <a:pt x="4878" y="2029"/>
                              <a:pt x="4874" y="2029"/>
                            </a:cubicBezTo>
                            <a:cubicBezTo>
                              <a:pt x="4870" y="2029"/>
                              <a:pt x="4863" y="2029"/>
                              <a:pt x="4861" y="2032"/>
                            </a:cubicBezTo>
                            <a:cubicBezTo>
                              <a:pt x="4859" y="2036"/>
                              <a:pt x="4857" y="2037"/>
                              <a:pt x="4861" y="2042"/>
                            </a:cubicBezTo>
                            <a:cubicBezTo>
                              <a:pt x="4866" y="2048"/>
                              <a:pt x="4867" y="2055"/>
                              <a:pt x="4866" y="2056"/>
                            </a:cubicBezTo>
                            <a:cubicBezTo>
                              <a:pt x="4864" y="2056"/>
                              <a:pt x="4859" y="2057"/>
                              <a:pt x="4859" y="2052"/>
                            </a:cubicBezTo>
                            <a:cubicBezTo>
                              <a:pt x="4858" y="2048"/>
                              <a:pt x="4855" y="2043"/>
                              <a:pt x="4852" y="2040"/>
                            </a:cubicBezTo>
                            <a:cubicBezTo>
                              <a:pt x="4850" y="2036"/>
                              <a:pt x="4847" y="2033"/>
                              <a:pt x="4844" y="2035"/>
                            </a:cubicBezTo>
                            <a:cubicBezTo>
                              <a:pt x="4841" y="2037"/>
                              <a:pt x="4839" y="2038"/>
                              <a:pt x="4838" y="2044"/>
                            </a:cubicBezTo>
                            <a:cubicBezTo>
                              <a:pt x="4837" y="2051"/>
                              <a:pt x="4833" y="2055"/>
                              <a:pt x="4831" y="2059"/>
                            </a:cubicBezTo>
                            <a:cubicBezTo>
                              <a:pt x="4828" y="2063"/>
                              <a:pt x="4826" y="2062"/>
                              <a:pt x="4827" y="2056"/>
                            </a:cubicBezTo>
                            <a:cubicBezTo>
                              <a:pt x="4827" y="2050"/>
                              <a:pt x="4828" y="2046"/>
                              <a:pt x="4827" y="2040"/>
                            </a:cubicBezTo>
                            <a:cubicBezTo>
                              <a:pt x="4827" y="2035"/>
                              <a:pt x="4827" y="2030"/>
                              <a:pt x="4821" y="2030"/>
                            </a:cubicBezTo>
                            <a:cubicBezTo>
                              <a:pt x="4815" y="2031"/>
                              <a:pt x="4812" y="2031"/>
                              <a:pt x="4808" y="2034"/>
                            </a:cubicBezTo>
                            <a:cubicBezTo>
                              <a:pt x="4805" y="2037"/>
                              <a:pt x="4801" y="2039"/>
                              <a:pt x="4800" y="2044"/>
                            </a:cubicBezTo>
                            <a:cubicBezTo>
                              <a:pt x="4800" y="2049"/>
                              <a:pt x="4800" y="2057"/>
                              <a:pt x="4796" y="2055"/>
                            </a:cubicBezTo>
                            <a:cubicBezTo>
                              <a:pt x="4792" y="2052"/>
                              <a:pt x="4796" y="2049"/>
                              <a:pt x="4790" y="2048"/>
                            </a:cubicBezTo>
                            <a:cubicBezTo>
                              <a:pt x="4785" y="2046"/>
                              <a:pt x="4782" y="2047"/>
                              <a:pt x="4778" y="2046"/>
                            </a:cubicBezTo>
                            <a:cubicBezTo>
                              <a:pt x="4773" y="2046"/>
                              <a:pt x="4771" y="2046"/>
                              <a:pt x="4773" y="2043"/>
                            </a:cubicBezTo>
                            <a:cubicBezTo>
                              <a:pt x="4776" y="2040"/>
                              <a:pt x="4778" y="2039"/>
                              <a:pt x="4783" y="2037"/>
                            </a:cubicBezTo>
                            <a:cubicBezTo>
                              <a:pt x="4789" y="2035"/>
                              <a:pt x="4794" y="2033"/>
                              <a:pt x="4798" y="2030"/>
                            </a:cubicBezTo>
                            <a:cubicBezTo>
                              <a:pt x="4802" y="2026"/>
                              <a:pt x="4804" y="2027"/>
                              <a:pt x="4804" y="2022"/>
                            </a:cubicBezTo>
                            <a:cubicBezTo>
                              <a:pt x="4804" y="2018"/>
                              <a:pt x="4804" y="2017"/>
                              <a:pt x="4805" y="2015"/>
                            </a:cubicBezTo>
                            <a:cubicBezTo>
                              <a:pt x="4807" y="2013"/>
                              <a:pt x="4806" y="2013"/>
                              <a:pt x="4812" y="2011"/>
                            </a:cubicBezTo>
                            <a:cubicBezTo>
                              <a:pt x="4818" y="2008"/>
                              <a:pt x="4823" y="2006"/>
                              <a:pt x="4822" y="2004"/>
                            </a:cubicBezTo>
                            <a:cubicBezTo>
                              <a:pt x="4821" y="2001"/>
                              <a:pt x="4820" y="1997"/>
                              <a:pt x="4814" y="1998"/>
                            </a:cubicBezTo>
                            <a:cubicBezTo>
                              <a:pt x="4807" y="1998"/>
                              <a:pt x="4803" y="1999"/>
                              <a:pt x="4801" y="2004"/>
                            </a:cubicBezTo>
                            <a:cubicBezTo>
                              <a:pt x="4798" y="2009"/>
                              <a:pt x="4797" y="2012"/>
                              <a:pt x="4795" y="2015"/>
                            </a:cubicBezTo>
                            <a:cubicBezTo>
                              <a:pt x="4793" y="2018"/>
                              <a:pt x="4791" y="2020"/>
                              <a:pt x="4785" y="2023"/>
                            </a:cubicBezTo>
                            <a:cubicBezTo>
                              <a:pt x="4779" y="2027"/>
                              <a:pt x="4775" y="2032"/>
                              <a:pt x="4773" y="2029"/>
                            </a:cubicBezTo>
                            <a:cubicBezTo>
                              <a:pt x="4772" y="2026"/>
                              <a:pt x="4772" y="2025"/>
                              <a:pt x="4776" y="2022"/>
                            </a:cubicBezTo>
                            <a:cubicBezTo>
                              <a:pt x="4780" y="2018"/>
                              <a:pt x="4784" y="2014"/>
                              <a:pt x="4784" y="2010"/>
                            </a:cubicBezTo>
                            <a:cubicBezTo>
                              <a:pt x="4785" y="2005"/>
                              <a:pt x="4784" y="2003"/>
                              <a:pt x="4780" y="2003"/>
                            </a:cubicBezTo>
                            <a:cubicBezTo>
                              <a:pt x="4777" y="2003"/>
                              <a:pt x="4772" y="2002"/>
                              <a:pt x="4767" y="2004"/>
                            </a:cubicBezTo>
                            <a:cubicBezTo>
                              <a:pt x="4762" y="2007"/>
                              <a:pt x="4766" y="2008"/>
                              <a:pt x="4757" y="2010"/>
                            </a:cubicBezTo>
                            <a:cubicBezTo>
                              <a:pt x="4748" y="2011"/>
                              <a:pt x="4746" y="2010"/>
                              <a:pt x="4741" y="2011"/>
                            </a:cubicBezTo>
                            <a:cubicBezTo>
                              <a:pt x="4736" y="2011"/>
                              <a:pt x="4735" y="2011"/>
                              <a:pt x="4730" y="2016"/>
                            </a:cubicBezTo>
                            <a:cubicBezTo>
                              <a:pt x="4725" y="2022"/>
                              <a:pt x="4725" y="2024"/>
                              <a:pt x="4721" y="2026"/>
                            </a:cubicBezTo>
                            <a:cubicBezTo>
                              <a:pt x="4716" y="2028"/>
                              <a:pt x="4713" y="2030"/>
                              <a:pt x="4714" y="2025"/>
                            </a:cubicBezTo>
                            <a:cubicBezTo>
                              <a:pt x="4715" y="2019"/>
                              <a:pt x="4718" y="2019"/>
                              <a:pt x="4718" y="2015"/>
                            </a:cubicBezTo>
                            <a:cubicBezTo>
                              <a:pt x="4718" y="2011"/>
                              <a:pt x="4718" y="2010"/>
                              <a:pt x="4714" y="2010"/>
                            </a:cubicBezTo>
                            <a:cubicBezTo>
                              <a:pt x="4709" y="2009"/>
                              <a:pt x="4707" y="2008"/>
                              <a:pt x="4708" y="2006"/>
                            </a:cubicBezTo>
                            <a:cubicBezTo>
                              <a:pt x="4710" y="2004"/>
                              <a:pt x="4711" y="2002"/>
                              <a:pt x="4716" y="2002"/>
                            </a:cubicBezTo>
                            <a:cubicBezTo>
                              <a:pt x="4721" y="2001"/>
                              <a:pt x="4724" y="2000"/>
                              <a:pt x="4722" y="1998"/>
                            </a:cubicBezTo>
                            <a:cubicBezTo>
                              <a:pt x="4720" y="1996"/>
                              <a:pt x="4719" y="1997"/>
                              <a:pt x="4716" y="1996"/>
                            </a:cubicBezTo>
                            <a:cubicBezTo>
                              <a:pt x="4712" y="1995"/>
                              <a:pt x="4711" y="1992"/>
                              <a:pt x="4712" y="1991"/>
                            </a:cubicBezTo>
                            <a:cubicBezTo>
                              <a:pt x="4713" y="1990"/>
                              <a:pt x="4719" y="1988"/>
                              <a:pt x="4725" y="1990"/>
                            </a:cubicBezTo>
                            <a:cubicBezTo>
                              <a:pt x="4730" y="1992"/>
                              <a:pt x="4736" y="1992"/>
                              <a:pt x="4744" y="1992"/>
                            </a:cubicBezTo>
                            <a:cubicBezTo>
                              <a:pt x="4751" y="1993"/>
                              <a:pt x="4757" y="1994"/>
                              <a:pt x="4758" y="1992"/>
                            </a:cubicBezTo>
                            <a:cubicBezTo>
                              <a:pt x="4759" y="1989"/>
                              <a:pt x="4760" y="1988"/>
                              <a:pt x="4758" y="1983"/>
                            </a:cubicBezTo>
                            <a:cubicBezTo>
                              <a:pt x="4757" y="1979"/>
                              <a:pt x="4756" y="1967"/>
                              <a:pt x="4750" y="1962"/>
                            </a:cubicBezTo>
                            <a:cubicBezTo>
                              <a:pt x="4744" y="1957"/>
                              <a:pt x="4742" y="1950"/>
                              <a:pt x="4732" y="1947"/>
                            </a:cubicBezTo>
                            <a:cubicBezTo>
                              <a:pt x="4722" y="1944"/>
                              <a:pt x="4716" y="1945"/>
                              <a:pt x="4714" y="1950"/>
                            </a:cubicBezTo>
                            <a:cubicBezTo>
                              <a:pt x="4711" y="1955"/>
                              <a:pt x="4712" y="1956"/>
                              <a:pt x="4705" y="1954"/>
                            </a:cubicBezTo>
                            <a:cubicBezTo>
                              <a:pt x="4699" y="1951"/>
                              <a:pt x="4693" y="1950"/>
                              <a:pt x="4692" y="1954"/>
                            </a:cubicBezTo>
                            <a:cubicBezTo>
                              <a:pt x="4691" y="1958"/>
                              <a:pt x="4691" y="1962"/>
                              <a:pt x="4688" y="1961"/>
                            </a:cubicBezTo>
                            <a:cubicBezTo>
                              <a:pt x="4686" y="1960"/>
                              <a:pt x="4680" y="1960"/>
                              <a:pt x="4683" y="1955"/>
                            </a:cubicBezTo>
                            <a:cubicBezTo>
                              <a:pt x="4686" y="1950"/>
                              <a:pt x="4690" y="1950"/>
                              <a:pt x="4691" y="1946"/>
                            </a:cubicBezTo>
                            <a:cubicBezTo>
                              <a:pt x="4692" y="1942"/>
                              <a:pt x="4691" y="1934"/>
                              <a:pt x="4685" y="1932"/>
                            </a:cubicBezTo>
                            <a:cubicBezTo>
                              <a:pt x="4679" y="1930"/>
                              <a:pt x="4675" y="1928"/>
                              <a:pt x="4673" y="1933"/>
                            </a:cubicBezTo>
                            <a:cubicBezTo>
                              <a:pt x="4670" y="1939"/>
                              <a:pt x="4668" y="1940"/>
                              <a:pt x="4671" y="1945"/>
                            </a:cubicBezTo>
                            <a:cubicBezTo>
                              <a:pt x="4675" y="1949"/>
                              <a:pt x="4675" y="1947"/>
                              <a:pt x="4675" y="1952"/>
                            </a:cubicBezTo>
                            <a:cubicBezTo>
                              <a:pt x="4676" y="1958"/>
                              <a:pt x="4681" y="1963"/>
                              <a:pt x="4675" y="1962"/>
                            </a:cubicBezTo>
                            <a:cubicBezTo>
                              <a:pt x="4670" y="1961"/>
                              <a:pt x="4667" y="1960"/>
                              <a:pt x="4665" y="1954"/>
                            </a:cubicBezTo>
                            <a:cubicBezTo>
                              <a:pt x="4663" y="1949"/>
                              <a:pt x="4662" y="1948"/>
                              <a:pt x="4662" y="1943"/>
                            </a:cubicBezTo>
                            <a:cubicBezTo>
                              <a:pt x="4661" y="1938"/>
                              <a:pt x="4663" y="1935"/>
                              <a:pt x="4664" y="1929"/>
                            </a:cubicBezTo>
                            <a:cubicBezTo>
                              <a:pt x="4664" y="1922"/>
                              <a:pt x="4662" y="1917"/>
                              <a:pt x="4654" y="1923"/>
                            </a:cubicBezTo>
                            <a:cubicBezTo>
                              <a:pt x="4647" y="1929"/>
                              <a:pt x="4647" y="1927"/>
                              <a:pt x="4644" y="1936"/>
                            </a:cubicBezTo>
                            <a:cubicBezTo>
                              <a:pt x="4641" y="1945"/>
                              <a:pt x="4642" y="1945"/>
                              <a:pt x="4639" y="1953"/>
                            </a:cubicBezTo>
                            <a:cubicBezTo>
                              <a:pt x="4635" y="1962"/>
                              <a:pt x="4631" y="1969"/>
                              <a:pt x="4631" y="1963"/>
                            </a:cubicBezTo>
                            <a:cubicBezTo>
                              <a:pt x="4630" y="1956"/>
                              <a:pt x="4628" y="1956"/>
                              <a:pt x="4631" y="1948"/>
                            </a:cubicBezTo>
                            <a:cubicBezTo>
                              <a:pt x="4635" y="1940"/>
                              <a:pt x="4636" y="1936"/>
                              <a:pt x="4636" y="1930"/>
                            </a:cubicBezTo>
                            <a:cubicBezTo>
                              <a:pt x="4636" y="1924"/>
                              <a:pt x="4642" y="1918"/>
                              <a:pt x="4636" y="1918"/>
                            </a:cubicBezTo>
                            <a:cubicBezTo>
                              <a:pt x="4630" y="1918"/>
                              <a:pt x="4621" y="1920"/>
                              <a:pt x="4621" y="1926"/>
                            </a:cubicBezTo>
                            <a:cubicBezTo>
                              <a:pt x="4620" y="1931"/>
                              <a:pt x="4620" y="1936"/>
                              <a:pt x="4618" y="1940"/>
                            </a:cubicBezTo>
                            <a:cubicBezTo>
                              <a:pt x="4615" y="1944"/>
                              <a:pt x="4616" y="1947"/>
                              <a:pt x="4610" y="1945"/>
                            </a:cubicBezTo>
                            <a:cubicBezTo>
                              <a:pt x="4605" y="1942"/>
                              <a:pt x="4600" y="1939"/>
                              <a:pt x="4595" y="1938"/>
                            </a:cubicBezTo>
                            <a:cubicBezTo>
                              <a:pt x="4591" y="1937"/>
                              <a:pt x="4586" y="1935"/>
                              <a:pt x="4589" y="1933"/>
                            </a:cubicBezTo>
                            <a:cubicBezTo>
                              <a:pt x="4591" y="1930"/>
                              <a:pt x="4594" y="1930"/>
                              <a:pt x="4598" y="1930"/>
                            </a:cubicBezTo>
                            <a:cubicBezTo>
                              <a:pt x="4603" y="1930"/>
                              <a:pt x="4601" y="1931"/>
                              <a:pt x="4606" y="1926"/>
                            </a:cubicBezTo>
                            <a:cubicBezTo>
                              <a:pt x="4612" y="1921"/>
                              <a:pt x="4617" y="1919"/>
                              <a:pt x="4611" y="1918"/>
                            </a:cubicBezTo>
                            <a:cubicBezTo>
                              <a:pt x="4605" y="1917"/>
                              <a:pt x="4599" y="1921"/>
                              <a:pt x="4594" y="1921"/>
                            </a:cubicBezTo>
                            <a:cubicBezTo>
                              <a:pt x="4590" y="1921"/>
                              <a:pt x="4588" y="1916"/>
                              <a:pt x="4585" y="1917"/>
                            </a:cubicBezTo>
                            <a:cubicBezTo>
                              <a:pt x="4582" y="1918"/>
                              <a:pt x="4579" y="1923"/>
                              <a:pt x="4576" y="1920"/>
                            </a:cubicBezTo>
                            <a:cubicBezTo>
                              <a:pt x="4574" y="1916"/>
                              <a:pt x="4572" y="1918"/>
                              <a:pt x="4576" y="1910"/>
                            </a:cubicBezTo>
                            <a:cubicBezTo>
                              <a:pt x="4579" y="1902"/>
                              <a:pt x="4583" y="1899"/>
                              <a:pt x="4571" y="1899"/>
                            </a:cubicBezTo>
                            <a:cubicBezTo>
                              <a:pt x="4558" y="1898"/>
                              <a:pt x="4557" y="1905"/>
                              <a:pt x="4554" y="1908"/>
                            </a:cubicBezTo>
                            <a:cubicBezTo>
                              <a:pt x="4551" y="1911"/>
                              <a:pt x="4549" y="1912"/>
                              <a:pt x="4545" y="1910"/>
                            </a:cubicBezTo>
                            <a:cubicBezTo>
                              <a:pt x="4540" y="1908"/>
                              <a:pt x="4534" y="1908"/>
                              <a:pt x="4538" y="1905"/>
                            </a:cubicBezTo>
                            <a:cubicBezTo>
                              <a:pt x="4543" y="1903"/>
                              <a:pt x="4541" y="1904"/>
                              <a:pt x="4544" y="1902"/>
                            </a:cubicBezTo>
                            <a:cubicBezTo>
                              <a:pt x="4548" y="1900"/>
                              <a:pt x="4550" y="1900"/>
                              <a:pt x="4550" y="1897"/>
                            </a:cubicBezTo>
                            <a:cubicBezTo>
                              <a:pt x="4550" y="1893"/>
                              <a:pt x="4552" y="1890"/>
                              <a:pt x="4545" y="1892"/>
                            </a:cubicBezTo>
                            <a:cubicBezTo>
                              <a:pt x="4538" y="1895"/>
                              <a:pt x="4538" y="1897"/>
                              <a:pt x="4534" y="1896"/>
                            </a:cubicBezTo>
                            <a:cubicBezTo>
                              <a:pt x="4530" y="1895"/>
                              <a:pt x="4522" y="1896"/>
                              <a:pt x="4520" y="1892"/>
                            </a:cubicBezTo>
                            <a:cubicBezTo>
                              <a:pt x="4519" y="1889"/>
                              <a:pt x="4515" y="1889"/>
                              <a:pt x="4521" y="1887"/>
                            </a:cubicBezTo>
                            <a:cubicBezTo>
                              <a:pt x="4527" y="1884"/>
                              <a:pt x="4529" y="1885"/>
                              <a:pt x="4531" y="1881"/>
                            </a:cubicBezTo>
                            <a:cubicBezTo>
                              <a:pt x="4534" y="1877"/>
                              <a:pt x="4539" y="1874"/>
                              <a:pt x="4532" y="1874"/>
                            </a:cubicBezTo>
                            <a:cubicBezTo>
                              <a:pt x="4524" y="1874"/>
                              <a:pt x="4526" y="1876"/>
                              <a:pt x="4520" y="1877"/>
                            </a:cubicBezTo>
                            <a:cubicBezTo>
                              <a:pt x="4513" y="1879"/>
                              <a:pt x="4511" y="1880"/>
                              <a:pt x="4510" y="1875"/>
                            </a:cubicBezTo>
                            <a:cubicBezTo>
                              <a:pt x="4510" y="1869"/>
                              <a:pt x="4511" y="1864"/>
                              <a:pt x="4505" y="1863"/>
                            </a:cubicBezTo>
                            <a:cubicBezTo>
                              <a:pt x="4500" y="1861"/>
                              <a:pt x="4495" y="1860"/>
                              <a:pt x="4489" y="1862"/>
                            </a:cubicBezTo>
                            <a:cubicBezTo>
                              <a:pt x="4484" y="1864"/>
                              <a:pt x="4476" y="1864"/>
                              <a:pt x="4468" y="1863"/>
                            </a:cubicBezTo>
                            <a:cubicBezTo>
                              <a:pt x="4460" y="1861"/>
                              <a:pt x="4455" y="1860"/>
                              <a:pt x="4456" y="1857"/>
                            </a:cubicBezTo>
                            <a:cubicBezTo>
                              <a:pt x="4456" y="1854"/>
                              <a:pt x="4458" y="1852"/>
                              <a:pt x="4465" y="1853"/>
                            </a:cubicBezTo>
                            <a:cubicBezTo>
                              <a:pt x="4471" y="1853"/>
                              <a:pt x="4479" y="1854"/>
                              <a:pt x="4485" y="1854"/>
                            </a:cubicBezTo>
                            <a:cubicBezTo>
                              <a:pt x="4492" y="1853"/>
                              <a:pt x="4497" y="1856"/>
                              <a:pt x="4498" y="1851"/>
                            </a:cubicBezTo>
                            <a:cubicBezTo>
                              <a:pt x="4500" y="1847"/>
                              <a:pt x="4501" y="1844"/>
                              <a:pt x="4491" y="1845"/>
                            </a:cubicBezTo>
                            <a:cubicBezTo>
                              <a:pt x="4481" y="1845"/>
                              <a:pt x="4480" y="1849"/>
                              <a:pt x="4472" y="1845"/>
                            </a:cubicBezTo>
                            <a:cubicBezTo>
                              <a:pt x="4464" y="1841"/>
                              <a:pt x="4462" y="1842"/>
                              <a:pt x="4456" y="1840"/>
                            </a:cubicBezTo>
                            <a:cubicBezTo>
                              <a:pt x="4450" y="1839"/>
                              <a:pt x="4454" y="1837"/>
                              <a:pt x="4445" y="1836"/>
                            </a:cubicBezTo>
                            <a:cubicBezTo>
                              <a:pt x="4436" y="1835"/>
                              <a:pt x="4429" y="1834"/>
                              <a:pt x="4429" y="1832"/>
                            </a:cubicBezTo>
                            <a:cubicBezTo>
                              <a:pt x="4430" y="1829"/>
                              <a:pt x="4426" y="1825"/>
                              <a:pt x="4438" y="1828"/>
                            </a:cubicBezTo>
                            <a:cubicBezTo>
                              <a:pt x="4450" y="1830"/>
                              <a:pt x="4453" y="1832"/>
                              <a:pt x="4461" y="1832"/>
                            </a:cubicBezTo>
                            <a:cubicBezTo>
                              <a:pt x="4469" y="1832"/>
                              <a:pt x="4475" y="1833"/>
                              <a:pt x="4479" y="1831"/>
                            </a:cubicBezTo>
                            <a:cubicBezTo>
                              <a:pt x="4483" y="1828"/>
                              <a:pt x="4485" y="1828"/>
                              <a:pt x="4483" y="1825"/>
                            </a:cubicBezTo>
                            <a:cubicBezTo>
                              <a:pt x="4480" y="1821"/>
                              <a:pt x="4478" y="1818"/>
                              <a:pt x="4483" y="1816"/>
                            </a:cubicBezTo>
                            <a:cubicBezTo>
                              <a:pt x="4488" y="1815"/>
                              <a:pt x="4500" y="1814"/>
                              <a:pt x="4507" y="1814"/>
                            </a:cubicBezTo>
                            <a:cubicBezTo>
                              <a:pt x="4514" y="1814"/>
                              <a:pt x="4515" y="1813"/>
                              <a:pt x="4514" y="1810"/>
                            </a:cubicBezTo>
                            <a:cubicBezTo>
                              <a:pt x="4512" y="1808"/>
                              <a:pt x="4511" y="1808"/>
                              <a:pt x="4507" y="1806"/>
                            </a:cubicBezTo>
                            <a:cubicBezTo>
                              <a:pt x="4502" y="1804"/>
                              <a:pt x="4498" y="1803"/>
                              <a:pt x="4496" y="1799"/>
                            </a:cubicBezTo>
                            <a:cubicBezTo>
                              <a:pt x="4493" y="1795"/>
                              <a:pt x="4489" y="1791"/>
                              <a:pt x="4482" y="1794"/>
                            </a:cubicBezTo>
                            <a:cubicBezTo>
                              <a:pt x="4475" y="1798"/>
                              <a:pt x="4476" y="1801"/>
                              <a:pt x="4469" y="1802"/>
                            </a:cubicBezTo>
                            <a:cubicBezTo>
                              <a:pt x="4462" y="1803"/>
                              <a:pt x="4460" y="1806"/>
                              <a:pt x="4453" y="1805"/>
                            </a:cubicBezTo>
                            <a:cubicBezTo>
                              <a:pt x="4446" y="1804"/>
                              <a:pt x="4441" y="1802"/>
                              <a:pt x="4449" y="1800"/>
                            </a:cubicBezTo>
                            <a:cubicBezTo>
                              <a:pt x="4457" y="1798"/>
                              <a:pt x="4460" y="1798"/>
                              <a:pt x="4460" y="1795"/>
                            </a:cubicBezTo>
                            <a:cubicBezTo>
                              <a:pt x="4461" y="1791"/>
                              <a:pt x="4461" y="1788"/>
                              <a:pt x="4467" y="1788"/>
                            </a:cubicBezTo>
                            <a:cubicBezTo>
                              <a:pt x="4472" y="1789"/>
                              <a:pt x="4475" y="1789"/>
                              <a:pt x="4479" y="1789"/>
                            </a:cubicBezTo>
                            <a:cubicBezTo>
                              <a:pt x="4484" y="1789"/>
                              <a:pt x="4488" y="1787"/>
                              <a:pt x="4488" y="1785"/>
                            </a:cubicBezTo>
                            <a:cubicBezTo>
                              <a:pt x="4487" y="1784"/>
                              <a:pt x="4485" y="1781"/>
                              <a:pt x="4477" y="1781"/>
                            </a:cubicBezTo>
                            <a:cubicBezTo>
                              <a:pt x="4469" y="1781"/>
                              <a:pt x="4466" y="1779"/>
                              <a:pt x="4463" y="1779"/>
                            </a:cubicBezTo>
                            <a:cubicBezTo>
                              <a:pt x="4459" y="1779"/>
                              <a:pt x="4453" y="1780"/>
                              <a:pt x="4450" y="1782"/>
                            </a:cubicBezTo>
                            <a:cubicBezTo>
                              <a:pt x="4446" y="1784"/>
                              <a:pt x="4440" y="1786"/>
                              <a:pt x="4438" y="1784"/>
                            </a:cubicBezTo>
                            <a:cubicBezTo>
                              <a:pt x="4436" y="1782"/>
                              <a:pt x="4435" y="1780"/>
                              <a:pt x="4443" y="1777"/>
                            </a:cubicBezTo>
                            <a:cubicBezTo>
                              <a:pt x="4450" y="1774"/>
                              <a:pt x="4451" y="1771"/>
                              <a:pt x="4462" y="1771"/>
                            </a:cubicBezTo>
                            <a:cubicBezTo>
                              <a:pt x="4472" y="1772"/>
                              <a:pt x="4475" y="1772"/>
                              <a:pt x="4483" y="1775"/>
                            </a:cubicBezTo>
                            <a:cubicBezTo>
                              <a:pt x="4491" y="1778"/>
                              <a:pt x="4494" y="1777"/>
                              <a:pt x="4499" y="1778"/>
                            </a:cubicBezTo>
                            <a:cubicBezTo>
                              <a:pt x="4504" y="1779"/>
                              <a:pt x="4505" y="1778"/>
                              <a:pt x="4511" y="1783"/>
                            </a:cubicBezTo>
                            <a:cubicBezTo>
                              <a:pt x="4516" y="1788"/>
                              <a:pt x="4516" y="1790"/>
                              <a:pt x="4522" y="1793"/>
                            </a:cubicBezTo>
                            <a:cubicBezTo>
                              <a:pt x="4528" y="1795"/>
                              <a:pt x="4533" y="1797"/>
                              <a:pt x="4540" y="1796"/>
                            </a:cubicBezTo>
                            <a:cubicBezTo>
                              <a:pt x="4547" y="1795"/>
                              <a:pt x="4547" y="1794"/>
                              <a:pt x="4555" y="1796"/>
                            </a:cubicBezTo>
                            <a:cubicBezTo>
                              <a:pt x="4563" y="1798"/>
                              <a:pt x="4565" y="1799"/>
                              <a:pt x="4570" y="1799"/>
                            </a:cubicBezTo>
                            <a:cubicBezTo>
                              <a:pt x="4576" y="1799"/>
                              <a:pt x="4585" y="1798"/>
                              <a:pt x="4587" y="1794"/>
                            </a:cubicBezTo>
                            <a:cubicBezTo>
                              <a:pt x="4589" y="1791"/>
                              <a:pt x="4591" y="1785"/>
                              <a:pt x="4588" y="1782"/>
                            </a:cubicBezTo>
                            <a:cubicBezTo>
                              <a:pt x="4585" y="1779"/>
                              <a:pt x="4587" y="1780"/>
                              <a:pt x="4578" y="1776"/>
                            </a:cubicBezTo>
                            <a:cubicBezTo>
                              <a:pt x="4569" y="1772"/>
                              <a:pt x="4570" y="1771"/>
                              <a:pt x="4565" y="1769"/>
                            </a:cubicBezTo>
                            <a:cubicBezTo>
                              <a:pt x="4560" y="1767"/>
                              <a:pt x="4553" y="1765"/>
                              <a:pt x="4547" y="1765"/>
                            </a:cubicBezTo>
                            <a:cubicBezTo>
                              <a:pt x="4542" y="1765"/>
                              <a:pt x="4534" y="1765"/>
                              <a:pt x="4529" y="1767"/>
                            </a:cubicBezTo>
                            <a:cubicBezTo>
                              <a:pt x="4523" y="1768"/>
                              <a:pt x="4516" y="1769"/>
                              <a:pt x="4513" y="1768"/>
                            </a:cubicBezTo>
                            <a:cubicBezTo>
                              <a:pt x="4509" y="1767"/>
                              <a:pt x="4503" y="1763"/>
                              <a:pt x="4499" y="1761"/>
                            </a:cubicBezTo>
                            <a:cubicBezTo>
                              <a:pt x="4494" y="1759"/>
                              <a:pt x="4490" y="1761"/>
                              <a:pt x="4484" y="1757"/>
                            </a:cubicBezTo>
                            <a:cubicBezTo>
                              <a:pt x="4478" y="1752"/>
                              <a:pt x="4474" y="1750"/>
                              <a:pt x="4468" y="1750"/>
                            </a:cubicBezTo>
                            <a:cubicBezTo>
                              <a:pt x="4461" y="1751"/>
                              <a:pt x="4467" y="1751"/>
                              <a:pt x="4456" y="1755"/>
                            </a:cubicBezTo>
                            <a:cubicBezTo>
                              <a:pt x="4444" y="1758"/>
                              <a:pt x="4446" y="1759"/>
                              <a:pt x="4437" y="1761"/>
                            </a:cubicBezTo>
                            <a:cubicBezTo>
                              <a:pt x="4427" y="1764"/>
                              <a:pt x="4416" y="1762"/>
                              <a:pt x="4409" y="1761"/>
                            </a:cubicBezTo>
                            <a:cubicBezTo>
                              <a:pt x="4403" y="1759"/>
                              <a:pt x="4392" y="1760"/>
                              <a:pt x="4390" y="1757"/>
                            </a:cubicBezTo>
                            <a:cubicBezTo>
                              <a:pt x="4387" y="1753"/>
                              <a:pt x="4391" y="1753"/>
                              <a:pt x="4397" y="1754"/>
                            </a:cubicBezTo>
                            <a:cubicBezTo>
                              <a:pt x="4402" y="1754"/>
                              <a:pt x="4404" y="1754"/>
                              <a:pt x="4411" y="1755"/>
                            </a:cubicBezTo>
                            <a:cubicBezTo>
                              <a:pt x="4419" y="1755"/>
                              <a:pt x="4428" y="1757"/>
                              <a:pt x="4435" y="1754"/>
                            </a:cubicBezTo>
                            <a:cubicBezTo>
                              <a:pt x="4443" y="1750"/>
                              <a:pt x="4448" y="1748"/>
                              <a:pt x="4452" y="1746"/>
                            </a:cubicBezTo>
                            <a:cubicBezTo>
                              <a:pt x="4455" y="1744"/>
                              <a:pt x="4459" y="1742"/>
                              <a:pt x="4466" y="1740"/>
                            </a:cubicBezTo>
                            <a:cubicBezTo>
                              <a:pt x="4473" y="1739"/>
                              <a:pt x="4483" y="1741"/>
                              <a:pt x="4488" y="1740"/>
                            </a:cubicBezTo>
                            <a:cubicBezTo>
                              <a:pt x="4494" y="1739"/>
                              <a:pt x="4498" y="1739"/>
                              <a:pt x="4502" y="1736"/>
                            </a:cubicBezTo>
                            <a:cubicBezTo>
                              <a:pt x="4506" y="1733"/>
                              <a:pt x="4506" y="1730"/>
                              <a:pt x="4511" y="1729"/>
                            </a:cubicBezTo>
                            <a:cubicBezTo>
                              <a:pt x="4517" y="1728"/>
                              <a:pt x="4524" y="1726"/>
                              <a:pt x="4529" y="1728"/>
                            </a:cubicBezTo>
                            <a:cubicBezTo>
                              <a:pt x="4533" y="1731"/>
                              <a:pt x="4541" y="1727"/>
                              <a:pt x="4546" y="1729"/>
                            </a:cubicBezTo>
                            <a:cubicBezTo>
                              <a:pt x="4552" y="1731"/>
                              <a:pt x="4554" y="1733"/>
                              <a:pt x="4558" y="1732"/>
                            </a:cubicBezTo>
                            <a:cubicBezTo>
                              <a:pt x="4561" y="1730"/>
                              <a:pt x="4565" y="1729"/>
                              <a:pt x="4561" y="1720"/>
                            </a:cubicBezTo>
                            <a:cubicBezTo>
                              <a:pt x="4557" y="1711"/>
                              <a:pt x="4554" y="1705"/>
                              <a:pt x="4547" y="1701"/>
                            </a:cubicBezTo>
                            <a:cubicBezTo>
                              <a:pt x="4540" y="1697"/>
                              <a:pt x="4537" y="1694"/>
                              <a:pt x="4532" y="1688"/>
                            </a:cubicBezTo>
                            <a:cubicBezTo>
                              <a:pt x="4527" y="1683"/>
                              <a:pt x="4520" y="1679"/>
                              <a:pt x="4516" y="1676"/>
                            </a:cubicBezTo>
                            <a:cubicBezTo>
                              <a:pt x="4512" y="1672"/>
                              <a:pt x="4512" y="1670"/>
                              <a:pt x="4510" y="1671"/>
                            </a:cubicBezTo>
                            <a:cubicBezTo>
                              <a:pt x="4508" y="1672"/>
                              <a:pt x="4504" y="1678"/>
                              <a:pt x="4504" y="1681"/>
                            </a:cubicBezTo>
                            <a:cubicBezTo>
                              <a:pt x="4504" y="1685"/>
                              <a:pt x="4502" y="1688"/>
                              <a:pt x="4499" y="1690"/>
                            </a:cubicBezTo>
                            <a:cubicBezTo>
                              <a:pt x="4495" y="1693"/>
                              <a:pt x="4492" y="1694"/>
                              <a:pt x="4486" y="1696"/>
                            </a:cubicBezTo>
                            <a:cubicBezTo>
                              <a:pt x="4481" y="1699"/>
                              <a:pt x="4470" y="1702"/>
                              <a:pt x="4465" y="1706"/>
                            </a:cubicBezTo>
                            <a:cubicBezTo>
                              <a:pt x="4461" y="1709"/>
                              <a:pt x="4457" y="1710"/>
                              <a:pt x="4448" y="1715"/>
                            </a:cubicBezTo>
                            <a:cubicBezTo>
                              <a:pt x="4440" y="1721"/>
                              <a:pt x="4439" y="1722"/>
                              <a:pt x="4433" y="1725"/>
                            </a:cubicBezTo>
                            <a:cubicBezTo>
                              <a:pt x="4428" y="1728"/>
                              <a:pt x="4426" y="1730"/>
                              <a:pt x="4419" y="1731"/>
                            </a:cubicBezTo>
                            <a:cubicBezTo>
                              <a:pt x="4413" y="1731"/>
                              <a:pt x="4408" y="1733"/>
                              <a:pt x="4402" y="1731"/>
                            </a:cubicBezTo>
                            <a:cubicBezTo>
                              <a:pt x="4397" y="1730"/>
                              <a:pt x="4394" y="1730"/>
                              <a:pt x="4397" y="1727"/>
                            </a:cubicBezTo>
                            <a:cubicBezTo>
                              <a:pt x="4400" y="1724"/>
                              <a:pt x="4399" y="1722"/>
                              <a:pt x="4406" y="1722"/>
                            </a:cubicBezTo>
                            <a:cubicBezTo>
                              <a:pt x="4414" y="1722"/>
                              <a:pt x="4416" y="1725"/>
                              <a:pt x="4422" y="1721"/>
                            </a:cubicBezTo>
                            <a:cubicBezTo>
                              <a:pt x="4429" y="1717"/>
                              <a:pt x="4430" y="1715"/>
                              <a:pt x="4436" y="1711"/>
                            </a:cubicBezTo>
                            <a:cubicBezTo>
                              <a:pt x="4442" y="1707"/>
                              <a:pt x="4447" y="1708"/>
                              <a:pt x="4452" y="1703"/>
                            </a:cubicBezTo>
                            <a:cubicBezTo>
                              <a:pt x="4457" y="1697"/>
                              <a:pt x="4464" y="1692"/>
                              <a:pt x="4462" y="1690"/>
                            </a:cubicBezTo>
                            <a:cubicBezTo>
                              <a:pt x="4460" y="1687"/>
                              <a:pt x="4457" y="1685"/>
                              <a:pt x="4451" y="1686"/>
                            </a:cubicBezTo>
                            <a:cubicBezTo>
                              <a:pt x="4445" y="1686"/>
                              <a:pt x="4440" y="1686"/>
                              <a:pt x="4434" y="1688"/>
                            </a:cubicBezTo>
                            <a:cubicBezTo>
                              <a:pt x="4427" y="1691"/>
                              <a:pt x="4416" y="1689"/>
                              <a:pt x="4413" y="1692"/>
                            </a:cubicBezTo>
                            <a:cubicBezTo>
                              <a:pt x="4409" y="1695"/>
                              <a:pt x="4408" y="1695"/>
                              <a:pt x="4407" y="1701"/>
                            </a:cubicBezTo>
                            <a:cubicBezTo>
                              <a:pt x="4406" y="1706"/>
                              <a:pt x="4408" y="1706"/>
                              <a:pt x="4402" y="1710"/>
                            </a:cubicBezTo>
                            <a:cubicBezTo>
                              <a:pt x="4396" y="1713"/>
                              <a:pt x="4396" y="1713"/>
                              <a:pt x="4389" y="1715"/>
                            </a:cubicBezTo>
                            <a:cubicBezTo>
                              <a:pt x="4382" y="1718"/>
                              <a:pt x="4377" y="1721"/>
                              <a:pt x="4369" y="1722"/>
                            </a:cubicBezTo>
                            <a:cubicBezTo>
                              <a:pt x="4362" y="1724"/>
                              <a:pt x="4357" y="1728"/>
                              <a:pt x="4359" y="1723"/>
                            </a:cubicBezTo>
                            <a:cubicBezTo>
                              <a:pt x="4362" y="1718"/>
                              <a:pt x="4362" y="1717"/>
                              <a:pt x="4367" y="1713"/>
                            </a:cubicBezTo>
                            <a:cubicBezTo>
                              <a:pt x="4373" y="1708"/>
                              <a:pt x="4375" y="1705"/>
                              <a:pt x="4375" y="1701"/>
                            </a:cubicBezTo>
                            <a:cubicBezTo>
                              <a:pt x="4376" y="1697"/>
                              <a:pt x="4380" y="1694"/>
                              <a:pt x="4384" y="1692"/>
                            </a:cubicBezTo>
                            <a:cubicBezTo>
                              <a:pt x="4388" y="1689"/>
                              <a:pt x="4390" y="1690"/>
                              <a:pt x="4395" y="1686"/>
                            </a:cubicBezTo>
                            <a:cubicBezTo>
                              <a:pt x="4399" y="1682"/>
                              <a:pt x="4402" y="1680"/>
                              <a:pt x="4410" y="1678"/>
                            </a:cubicBezTo>
                            <a:cubicBezTo>
                              <a:pt x="4417" y="1676"/>
                              <a:pt x="4422" y="1673"/>
                              <a:pt x="4430" y="1672"/>
                            </a:cubicBezTo>
                            <a:cubicBezTo>
                              <a:pt x="4438" y="1671"/>
                              <a:pt x="4442" y="1671"/>
                              <a:pt x="4449" y="1670"/>
                            </a:cubicBezTo>
                            <a:cubicBezTo>
                              <a:pt x="4455" y="1668"/>
                              <a:pt x="4467" y="1666"/>
                              <a:pt x="4473" y="1663"/>
                            </a:cubicBezTo>
                            <a:cubicBezTo>
                              <a:pt x="4480" y="1661"/>
                              <a:pt x="4486" y="1655"/>
                              <a:pt x="4487" y="1651"/>
                            </a:cubicBezTo>
                            <a:cubicBezTo>
                              <a:pt x="4488" y="1647"/>
                              <a:pt x="4492" y="1643"/>
                              <a:pt x="4485" y="1642"/>
                            </a:cubicBezTo>
                            <a:cubicBezTo>
                              <a:pt x="4479" y="1641"/>
                              <a:pt x="4472" y="1638"/>
                              <a:pt x="4466" y="1635"/>
                            </a:cubicBezTo>
                            <a:cubicBezTo>
                              <a:pt x="4460" y="1633"/>
                              <a:pt x="4454" y="1630"/>
                              <a:pt x="4448" y="1626"/>
                            </a:cubicBezTo>
                            <a:cubicBezTo>
                              <a:pt x="4441" y="1623"/>
                              <a:pt x="4432" y="1618"/>
                              <a:pt x="4425" y="1619"/>
                            </a:cubicBezTo>
                            <a:cubicBezTo>
                              <a:pt x="4417" y="1621"/>
                              <a:pt x="4414" y="1621"/>
                              <a:pt x="4408" y="1626"/>
                            </a:cubicBezTo>
                            <a:cubicBezTo>
                              <a:pt x="4403" y="1630"/>
                              <a:pt x="4399" y="1630"/>
                              <a:pt x="4394" y="1633"/>
                            </a:cubicBezTo>
                            <a:cubicBezTo>
                              <a:pt x="4389" y="1636"/>
                              <a:pt x="4390" y="1638"/>
                              <a:pt x="4382" y="1639"/>
                            </a:cubicBezTo>
                            <a:cubicBezTo>
                              <a:pt x="4375" y="1639"/>
                              <a:pt x="4373" y="1638"/>
                              <a:pt x="4372" y="1642"/>
                            </a:cubicBezTo>
                            <a:cubicBezTo>
                              <a:pt x="4371" y="1645"/>
                              <a:pt x="4372" y="1652"/>
                              <a:pt x="4369" y="1651"/>
                            </a:cubicBezTo>
                            <a:cubicBezTo>
                              <a:pt x="4365" y="1651"/>
                              <a:pt x="4361" y="1646"/>
                              <a:pt x="4359" y="1641"/>
                            </a:cubicBezTo>
                            <a:cubicBezTo>
                              <a:pt x="4357" y="1637"/>
                              <a:pt x="4353" y="1635"/>
                              <a:pt x="4360" y="1633"/>
                            </a:cubicBezTo>
                            <a:cubicBezTo>
                              <a:pt x="4367" y="1631"/>
                              <a:pt x="4371" y="1633"/>
                              <a:pt x="4375" y="1629"/>
                            </a:cubicBezTo>
                            <a:cubicBezTo>
                              <a:pt x="4379" y="1624"/>
                              <a:pt x="4374" y="1625"/>
                              <a:pt x="4383" y="1621"/>
                            </a:cubicBezTo>
                            <a:cubicBezTo>
                              <a:pt x="4392" y="1617"/>
                              <a:pt x="4400" y="1616"/>
                              <a:pt x="4400" y="1613"/>
                            </a:cubicBezTo>
                            <a:cubicBezTo>
                              <a:pt x="4400" y="1610"/>
                              <a:pt x="4397" y="1605"/>
                              <a:pt x="4393" y="1608"/>
                            </a:cubicBezTo>
                            <a:cubicBezTo>
                              <a:pt x="4388" y="1611"/>
                              <a:pt x="4382" y="1614"/>
                              <a:pt x="4376" y="1617"/>
                            </a:cubicBezTo>
                            <a:cubicBezTo>
                              <a:pt x="4370" y="1620"/>
                              <a:pt x="4366" y="1619"/>
                              <a:pt x="4361" y="1622"/>
                            </a:cubicBezTo>
                            <a:cubicBezTo>
                              <a:pt x="4357" y="1624"/>
                              <a:pt x="4353" y="1628"/>
                              <a:pt x="4347" y="1629"/>
                            </a:cubicBezTo>
                            <a:cubicBezTo>
                              <a:pt x="4341" y="1631"/>
                              <a:pt x="4339" y="1630"/>
                              <a:pt x="4335" y="1634"/>
                            </a:cubicBezTo>
                            <a:cubicBezTo>
                              <a:pt x="4332" y="1638"/>
                              <a:pt x="4328" y="1639"/>
                              <a:pt x="4327" y="1645"/>
                            </a:cubicBezTo>
                            <a:cubicBezTo>
                              <a:pt x="4325" y="1651"/>
                              <a:pt x="4323" y="1653"/>
                              <a:pt x="4321" y="1661"/>
                            </a:cubicBezTo>
                            <a:cubicBezTo>
                              <a:pt x="4319" y="1668"/>
                              <a:pt x="4320" y="1673"/>
                              <a:pt x="4316" y="1677"/>
                            </a:cubicBezTo>
                            <a:cubicBezTo>
                              <a:pt x="4312" y="1681"/>
                              <a:pt x="4309" y="1693"/>
                              <a:pt x="4306" y="1690"/>
                            </a:cubicBezTo>
                            <a:cubicBezTo>
                              <a:pt x="4304" y="1687"/>
                              <a:pt x="4304" y="1686"/>
                              <a:pt x="4305" y="1681"/>
                            </a:cubicBezTo>
                            <a:cubicBezTo>
                              <a:pt x="4305" y="1675"/>
                              <a:pt x="4307" y="1669"/>
                              <a:pt x="4309" y="1662"/>
                            </a:cubicBezTo>
                            <a:cubicBezTo>
                              <a:pt x="4311" y="1656"/>
                              <a:pt x="4312" y="1652"/>
                              <a:pt x="4310" y="1650"/>
                            </a:cubicBezTo>
                            <a:cubicBezTo>
                              <a:pt x="4309" y="1648"/>
                              <a:pt x="4308" y="1641"/>
                              <a:pt x="4297" y="1645"/>
                            </a:cubicBezTo>
                            <a:cubicBezTo>
                              <a:pt x="4285" y="1649"/>
                              <a:pt x="4280" y="1660"/>
                              <a:pt x="4274" y="1662"/>
                            </a:cubicBezTo>
                            <a:cubicBezTo>
                              <a:pt x="4268" y="1664"/>
                              <a:pt x="4261" y="1662"/>
                              <a:pt x="4264" y="1659"/>
                            </a:cubicBezTo>
                            <a:cubicBezTo>
                              <a:pt x="4266" y="1656"/>
                              <a:pt x="4269" y="1652"/>
                              <a:pt x="4274" y="1648"/>
                            </a:cubicBezTo>
                            <a:cubicBezTo>
                              <a:pt x="4280" y="1644"/>
                              <a:pt x="4280" y="1642"/>
                              <a:pt x="4285" y="1638"/>
                            </a:cubicBezTo>
                            <a:cubicBezTo>
                              <a:pt x="4289" y="1634"/>
                              <a:pt x="4295" y="1632"/>
                              <a:pt x="4300" y="1633"/>
                            </a:cubicBezTo>
                            <a:cubicBezTo>
                              <a:pt x="4305" y="1634"/>
                              <a:pt x="4307" y="1638"/>
                              <a:pt x="4314" y="1634"/>
                            </a:cubicBezTo>
                            <a:cubicBezTo>
                              <a:pt x="4320" y="1631"/>
                              <a:pt x="4325" y="1628"/>
                              <a:pt x="4330" y="1622"/>
                            </a:cubicBezTo>
                            <a:cubicBezTo>
                              <a:pt x="4334" y="1617"/>
                              <a:pt x="4338" y="1617"/>
                              <a:pt x="4343" y="1612"/>
                            </a:cubicBezTo>
                            <a:cubicBezTo>
                              <a:pt x="4348" y="1608"/>
                              <a:pt x="4350" y="1604"/>
                              <a:pt x="4350" y="1601"/>
                            </a:cubicBezTo>
                            <a:cubicBezTo>
                              <a:pt x="4350" y="1599"/>
                              <a:pt x="4350" y="1590"/>
                              <a:pt x="4345" y="1587"/>
                            </a:cubicBezTo>
                            <a:cubicBezTo>
                              <a:pt x="4340" y="1585"/>
                              <a:pt x="4332" y="1584"/>
                              <a:pt x="4328" y="1587"/>
                            </a:cubicBezTo>
                            <a:cubicBezTo>
                              <a:pt x="4324" y="1590"/>
                              <a:pt x="4319" y="1590"/>
                              <a:pt x="4317" y="1596"/>
                            </a:cubicBezTo>
                            <a:cubicBezTo>
                              <a:pt x="4316" y="1601"/>
                              <a:pt x="4315" y="1606"/>
                              <a:pt x="4314" y="1608"/>
                            </a:cubicBezTo>
                            <a:cubicBezTo>
                              <a:pt x="4314" y="1610"/>
                              <a:pt x="4312" y="1612"/>
                              <a:pt x="4310" y="1611"/>
                            </a:cubicBezTo>
                            <a:cubicBezTo>
                              <a:pt x="4309" y="1611"/>
                              <a:pt x="4301" y="1609"/>
                              <a:pt x="4294" y="1610"/>
                            </a:cubicBezTo>
                            <a:cubicBezTo>
                              <a:pt x="4288" y="1611"/>
                              <a:pt x="4280" y="1613"/>
                              <a:pt x="4277" y="1614"/>
                            </a:cubicBezTo>
                            <a:cubicBezTo>
                              <a:pt x="4275" y="1616"/>
                              <a:pt x="4271" y="1615"/>
                              <a:pt x="4262" y="1620"/>
                            </a:cubicBezTo>
                            <a:cubicBezTo>
                              <a:pt x="4253" y="1624"/>
                              <a:pt x="4250" y="1625"/>
                              <a:pt x="4245" y="1630"/>
                            </a:cubicBezTo>
                            <a:cubicBezTo>
                              <a:pt x="4240" y="1635"/>
                              <a:pt x="4233" y="1640"/>
                              <a:pt x="4230" y="1639"/>
                            </a:cubicBezTo>
                            <a:cubicBezTo>
                              <a:pt x="4227" y="1638"/>
                              <a:pt x="4222" y="1636"/>
                              <a:pt x="4223" y="1634"/>
                            </a:cubicBezTo>
                            <a:cubicBezTo>
                              <a:pt x="4225" y="1631"/>
                              <a:pt x="4226" y="1629"/>
                              <a:pt x="4231" y="1627"/>
                            </a:cubicBezTo>
                            <a:cubicBezTo>
                              <a:pt x="4237" y="1626"/>
                              <a:pt x="4240" y="1625"/>
                              <a:pt x="4243" y="1620"/>
                            </a:cubicBezTo>
                            <a:cubicBezTo>
                              <a:pt x="4247" y="1615"/>
                              <a:pt x="4245" y="1611"/>
                              <a:pt x="4241" y="1613"/>
                            </a:cubicBezTo>
                            <a:cubicBezTo>
                              <a:pt x="4237" y="1615"/>
                              <a:pt x="4233" y="1617"/>
                              <a:pt x="4227" y="1617"/>
                            </a:cubicBezTo>
                            <a:cubicBezTo>
                              <a:pt x="4221" y="1617"/>
                              <a:pt x="4214" y="1620"/>
                              <a:pt x="4214" y="1616"/>
                            </a:cubicBezTo>
                            <a:cubicBezTo>
                              <a:pt x="4214" y="1612"/>
                              <a:pt x="4210" y="1608"/>
                              <a:pt x="4218" y="1608"/>
                            </a:cubicBezTo>
                            <a:cubicBezTo>
                              <a:pt x="4225" y="1608"/>
                              <a:pt x="4227" y="1608"/>
                              <a:pt x="4235" y="1605"/>
                            </a:cubicBezTo>
                            <a:cubicBezTo>
                              <a:pt x="4244" y="1601"/>
                              <a:pt x="4250" y="1600"/>
                              <a:pt x="4256" y="1592"/>
                            </a:cubicBezTo>
                            <a:cubicBezTo>
                              <a:pt x="4263" y="1584"/>
                              <a:pt x="4261" y="1581"/>
                              <a:pt x="4268" y="1580"/>
                            </a:cubicBezTo>
                            <a:cubicBezTo>
                              <a:pt x="4276" y="1578"/>
                              <a:pt x="4278" y="1576"/>
                              <a:pt x="4283" y="1579"/>
                            </a:cubicBezTo>
                            <a:cubicBezTo>
                              <a:pt x="4289" y="1582"/>
                              <a:pt x="4294" y="1586"/>
                              <a:pt x="4299" y="1581"/>
                            </a:cubicBezTo>
                            <a:cubicBezTo>
                              <a:pt x="4304" y="1577"/>
                              <a:pt x="4306" y="1570"/>
                              <a:pt x="4310" y="1567"/>
                            </a:cubicBezTo>
                            <a:cubicBezTo>
                              <a:pt x="4314" y="1564"/>
                              <a:pt x="4307" y="1551"/>
                              <a:pt x="4303" y="1548"/>
                            </a:cubicBezTo>
                            <a:cubicBezTo>
                              <a:pt x="4298" y="1545"/>
                              <a:pt x="4296" y="1545"/>
                              <a:pt x="4289" y="1541"/>
                            </a:cubicBezTo>
                            <a:cubicBezTo>
                              <a:pt x="4281" y="1536"/>
                              <a:pt x="4275" y="1535"/>
                              <a:pt x="4266" y="1533"/>
                            </a:cubicBezTo>
                            <a:cubicBezTo>
                              <a:pt x="4257" y="1530"/>
                              <a:pt x="4248" y="1528"/>
                              <a:pt x="4243" y="1525"/>
                            </a:cubicBezTo>
                            <a:cubicBezTo>
                              <a:pt x="4239" y="1522"/>
                              <a:pt x="4233" y="1520"/>
                              <a:pt x="4230" y="1522"/>
                            </a:cubicBezTo>
                            <a:cubicBezTo>
                              <a:pt x="4228" y="1525"/>
                              <a:pt x="4219" y="1529"/>
                              <a:pt x="4219" y="1536"/>
                            </a:cubicBezTo>
                            <a:cubicBezTo>
                              <a:pt x="4219" y="1544"/>
                              <a:pt x="4219" y="1550"/>
                              <a:pt x="4216" y="1550"/>
                            </a:cubicBezTo>
                            <a:cubicBezTo>
                              <a:pt x="4212" y="1550"/>
                              <a:pt x="4206" y="1549"/>
                              <a:pt x="4204" y="1553"/>
                            </a:cubicBezTo>
                            <a:cubicBezTo>
                              <a:pt x="4203" y="1557"/>
                              <a:pt x="4200" y="1566"/>
                              <a:pt x="4199" y="1570"/>
                            </a:cubicBezTo>
                            <a:cubicBezTo>
                              <a:pt x="4198" y="1574"/>
                              <a:pt x="4193" y="1577"/>
                              <a:pt x="4190" y="1579"/>
                            </a:cubicBezTo>
                            <a:cubicBezTo>
                              <a:pt x="4187" y="1582"/>
                              <a:pt x="4185" y="1589"/>
                              <a:pt x="4180" y="1591"/>
                            </a:cubicBezTo>
                            <a:cubicBezTo>
                              <a:pt x="4176" y="1593"/>
                              <a:pt x="4172" y="1595"/>
                              <a:pt x="4173" y="1590"/>
                            </a:cubicBezTo>
                            <a:cubicBezTo>
                              <a:pt x="4174" y="1584"/>
                              <a:pt x="4174" y="1582"/>
                              <a:pt x="4181" y="1578"/>
                            </a:cubicBezTo>
                            <a:cubicBezTo>
                              <a:pt x="4188" y="1573"/>
                              <a:pt x="4192" y="1569"/>
                              <a:pt x="4192" y="1566"/>
                            </a:cubicBezTo>
                            <a:cubicBezTo>
                              <a:pt x="4192" y="1564"/>
                              <a:pt x="4191" y="1559"/>
                              <a:pt x="4184" y="1559"/>
                            </a:cubicBezTo>
                            <a:cubicBezTo>
                              <a:pt x="4177" y="1559"/>
                              <a:pt x="4169" y="1562"/>
                              <a:pt x="4167" y="1569"/>
                            </a:cubicBezTo>
                            <a:cubicBezTo>
                              <a:pt x="4165" y="1575"/>
                              <a:pt x="4160" y="1582"/>
                              <a:pt x="4155" y="1586"/>
                            </a:cubicBezTo>
                            <a:cubicBezTo>
                              <a:pt x="4150" y="1589"/>
                              <a:pt x="4147" y="1592"/>
                              <a:pt x="4145" y="1586"/>
                            </a:cubicBezTo>
                            <a:cubicBezTo>
                              <a:pt x="4144" y="1581"/>
                              <a:pt x="4144" y="1581"/>
                              <a:pt x="4150" y="1575"/>
                            </a:cubicBezTo>
                            <a:cubicBezTo>
                              <a:pt x="4157" y="1569"/>
                              <a:pt x="4159" y="1568"/>
                              <a:pt x="4161" y="1562"/>
                            </a:cubicBezTo>
                            <a:cubicBezTo>
                              <a:pt x="4162" y="1556"/>
                              <a:pt x="4167" y="1554"/>
                              <a:pt x="4170" y="1550"/>
                            </a:cubicBezTo>
                            <a:cubicBezTo>
                              <a:pt x="4173" y="1545"/>
                              <a:pt x="4164" y="1546"/>
                              <a:pt x="4162" y="1545"/>
                            </a:cubicBezTo>
                            <a:cubicBezTo>
                              <a:pt x="4159" y="1543"/>
                              <a:pt x="4163" y="1535"/>
                              <a:pt x="4162" y="1533"/>
                            </a:cubicBezTo>
                            <a:cubicBezTo>
                              <a:pt x="4160" y="1532"/>
                              <a:pt x="4154" y="1530"/>
                              <a:pt x="4153" y="1537"/>
                            </a:cubicBezTo>
                            <a:cubicBezTo>
                              <a:pt x="4151" y="1543"/>
                              <a:pt x="4145" y="1545"/>
                              <a:pt x="4143" y="1550"/>
                            </a:cubicBezTo>
                            <a:cubicBezTo>
                              <a:pt x="4140" y="1556"/>
                              <a:pt x="4138" y="1557"/>
                              <a:pt x="4136" y="1562"/>
                            </a:cubicBezTo>
                            <a:cubicBezTo>
                              <a:pt x="4135" y="1567"/>
                              <a:pt x="4129" y="1574"/>
                              <a:pt x="4125" y="1572"/>
                            </a:cubicBezTo>
                            <a:cubicBezTo>
                              <a:pt x="4122" y="1570"/>
                              <a:pt x="4122" y="1564"/>
                              <a:pt x="4125" y="1560"/>
                            </a:cubicBezTo>
                            <a:cubicBezTo>
                              <a:pt x="4128" y="1556"/>
                              <a:pt x="4130" y="1552"/>
                              <a:pt x="4127" y="1549"/>
                            </a:cubicBezTo>
                            <a:cubicBezTo>
                              <a:pt x="4123" y="1546"/>
                              <a:pt x="4118" y="1547"/>
                              <a:pt x="4121" y="1543"/>
                            </a:cubicBezTo>
                            <a:cubicBezTo>
                              <a:pt x="4123" y="1539"/>
                              <a:pt x="4125" y="1542"/>
                              <a:pt x="4132" y="1538"/>
                            </a:cubicBezTo>
                            <a:cubicBezTo>
                              <a:pt x="4138" y="1535"/>
                              <a:pt x="4139" y="1536"/>
                              <a:pt x="4142" y="1528"/>
                            </a:cubicBezTo>
                            <a:cubicBezTo>
                              <a:pt x="4145" y="1521"/>
                              <a:pt x="4147" y="1518"/>
                              <a:pt x="4151" y="1515"/>
                            </a:cubicBezTo>
                            <a:cubicBezTo>
                              <a:pt x="4155" y="1513"/>
                              <a:pt x="4163" y="1510"/>
                              <a:pt x="4159" y="1508"/>
                            </a:cubicBezTo>
                            <a:cubicBezTo>
                              <a:pt x="4156" y="1506"/>
                              <a:pt x="4149" y="1505"/>
                              <a:pt x="4144" y="1509"/>
                            </a:cubicBezTo>
                            <a:cubicBezTo>
                              <a:pt x="4138" y="1513"/>
                              <a:pt x="4137" y="1514"/>
                              <a:pt x="4136" y="1518"/>
                            </a:cubicBezTo>
                            <a:cubicBezTo>
                              <a:pt x="4135" y="1523"/>
                              <a:pt x="4134" y="1525"/>
                              <a:pt x="4131" y="1527"/>
                            </a:cubicBezTo>
                            <a:cubicBezTo>
                              <a:pt x="4127" y="1528"/>
                              <a:pt x="4124" y="1530"/>
                              <a:pt x="4124" y="1527"/>
                            </a:cubicBezTo>
                            <a:cubicBezTo>
                              <a:pt x="4124" y="1523"/>
                              <a:pt x="4128" y="1522"/>
                              <a:pt x="4128" y="1520"/>
                            </a:cubicBezTo>
                            <a:cubicBezTo>
                              <a:pt x="4128" y="1517"/>
                              <a:pt x="4127" y="1513"/>
                              <a:pt x="4122" y="1516"/>
                            </a:cubicBezTo>
                            <a:cubicBezTo>
                              <a:pt x="4117" y="1520"/>
                              <a:pt x="4115" y="1522"/>
                              <a:pt x="4109" y="1522"/>
                            </a:cubicBezTo>
                            <a:cubicBezTo>
                              <a:pt x="4104" y="1522"/>
                              <a:pt x="4100" y="1522"/>
                              <a:pt x="4099" y="1528"/>
                            </a:cubicBezTo>
                            <a:cubicBezTo>
                              <a:pt x="4097" y="1533"/>
                              <a:pt x="4096" y="1536"/>
                              <a:pt x="4098" y="1538"/>
                            </a:cubicBezTo>
                            <a:cubicBezTo>
                              <a:pt x="4100" y="1540"/>
                              <a:pt x="4101" y="1540"/>
                              <a:pt x="4102" y="1543"/>
                            </a:cubicBezTo>
                            <a:cubicBezTo>
                              <a:pt x="4103" y="1546"/>
                              <a:pt x="4106" y="1545"/>
                              <a:pt x="4101" y="1550"/>
                            </a:cubicBezTo>
                            <a:cubicBezTo>
                              <a:pt x="4097" y="1555"/>
                              <a:pt x="4096" y="1556"/>
                              <a:pt x="4093" y="1557"/>
                            </a:cubicBezTo>
                            <a:cubicBezTo>
                              <a:pt x="4090" y="1559"/>
                              <a:pt x="4091" y="1560"/>
                              <a:pt x="4087" y="1564"/>
                            </a:cubicBezTo>
                            <a:cubicBezTo>
                              <a:pt x="4084" y="1568"/>
                              <a:pt x="4080" y="1573"/>
                              <a:pt x="4077" y="1573"/>
                            </a:cubicBezTo>
                            <a:cubicBezTo>
                              <a:pt x="4074" y="1573"/>
                              <a:pt x="4069" y="1572"/>
                              <a:pt x="4073" y="1568"/>
                            </a:cubicBezTo>
                            <a:cubicBezTo>
                              <a:pt x="4077" y="1564"/>
                              <a:pt x="4077" y="1565"/>
                              <a:pt x="4082" y="1560"/>
                            </a:cubicBezTo>
                            <a:cubicBezTo>
                              <a:pt x="4086" y="1555"/>
                              <a:pt x="4090" y="1554"/>
                              <a:pt x="4089" y="1550"/>
                            </a:cubicBezTo>
                            <a:cubicBezTo>
                              <a:pt x="4089" y="1547"/>
                              <a:pt x="4087" y="1544"/>
                              <a:pt x="4082" y="1542"/>
                            </a:cubicBezTo>
                            <a:cubicBezTo>
                              <a:pt x="4078" y="1540"/>
                              <a:pt x="4074" y="1539"/>
                              <a:pt x="4076" y="1537"/>
                            </a:cubicBezTo>
                            <a:cubicBezTo>
                              <a:pt x="4079" y="1534"/>
                              <a:pt x="4078" y="1535"/>
                              <a:pt x="4082" y="1532"/>
                            </a:cubicBezTo>
                            <a:cubicBezTo>
                              <a:pt x="4086" y="1530"/>
                              <a:pt x="4092" y="1527"/>
                              <a:pt x="4089" y="1525"/>
                            </a:cubicBezTo>
                            <a:cubicBezTo>
                              <a:pt x="4087" y="1524"/>
                              <a:pt x="4083" y="1523"/>
                              <a:pt x="4079" y="1526"/>
                            </a:cubicBezTo>
                            <a:cubicBezTo>
                              <a:pt x="4075" y="1529"/>
                              <a:pt x="4070" y="1529"/>
                              <a:pt x="4065" y="1532"/>
                            </a:cubicBezTo>
                            <a:cubicBezTo>
                              <a:pt x="4060" y="1535"/>
                              <a:pt x="4055" y="1537"/>
                              <a:pt x="4055" y="1535"/>
                            </a:cubicBezTo>
                            <a:cubicBezTo>
                              <a:pt x="4054" y="1532"/>
                              <a:pt x="4052" y="1530"/>
                              <a:pt x="4057" y="1529"/>
                            </a:cubicBezTo>
                            <a:cubicBezTo>
                              <a:pt x="4062" y="1527"/>
                              <a:pt x="4067" y="1527"/>
                              <a:pt x="4068" y="1523"/>
                            </a:cubicBezTo>
                            <a:cubicBezTo>
                              <a:pt x="4069" y="1520"/>
                              <a:pt x="4070" y="1519"/>
                              <a:pt x="4066" y="1518"/>
                            </a:cubicBezTo>
                            <a:cubicBezTo>
                              <a:pt x="4062" y="1516"/>
                              <a:pt x="4059" y="1516"/>
                              <a:pt x="4059" y="1513"/>
                            </a:cubicBezTo>
                            <a:cubicBezTo>
                              <a:pt x="4060" y="1510"/>
                              <a:pt x="4061" y="1508"/>
                              <a:pt x="4067" y="1508"/>
                            </a:cubicBezTo>
                            <a:cubicBezTo>
                              <a:pt x="4073" y="1508"/>
                              <a:pt x="4076" y="1509"/>
                              <a:pt x="4082" y="1506"/>
                            </a:cubicBezTo>
                            <a:cubicBezTo>
                              <a:pt x="4087" y="1503"/>
                              <a:pt x="4081" y="1502"/>
                              <a:pt x="4090" y="1502"/>
                            </a:cubicBezTo>
                            <a:cubicBezTo>
                              <a:pt x="4099" y="1501"/>
                              <a:pt x="4105" y="1504"/>
                              <a:pt x="4110" y="1501"/>
                            </a:cubicBezTo>
                            <a:cubicBezTo>
                              <a:pt x="4115" y="1498"/>
                              <a:pt x="4114" y="1499"/>
                              <a:pt x="4121" y="1496"/>
                            </a:cubicBezTo>
                            <a:cubicBezTo>
                              <a:pt x="4127" y="1493"/>
                              <a:pt x="4132" y="1494"/>
                              <a:pt x="4131" y="1486"/>
                            </a:cubicBezTo>
                            <a:cubicBezTo>
                              <a:pt x="4130" y="1478"/>
                              <a:pt x="4127" y="1472"/>
                              <a:pt x="4119" y="1470"/>
                            </a:cubicBezTo>
                            <a:cubicBezTo>
                              <a:pt x="4111" y="1469"/>
                              <a:pt x="4101" y="1467"/>
                              <a:pt x="4092" y="1467"/>
                            </a:cubicBezTo>
                            <a:cubicBezTo>
                              <a:pt x="4083" y="1467"/>
                              <a:pt x="4075" y="1465"/>
                              <a:pt x="4070" y="1470"/>
                            </a:cubicBezTo>
                            <a:cubicBezTo>
                              <a:pt x="4065" y="1474"/>
                              <a:pt x="4063" y="1480"/>
                              <a:pt x="4058" y="1480"/>
                            </a:cubicBezTo>
                            <a:cubicBezTo>
                              <a:pt x="4053" y="1480"/>
                              <a:pt x="4051" y="1476"/>
                              <a:pt x="4047" y="1482"/>
                            </a:cubicBezTo>
                            <a:cubicBezTo>
                              <a:pt x="4043" y="1489"/>
                              <a:pt x="4040" y="1497"/>
                              <a:pt x="4038" y="1501"/>
                            </a:cubicBezTo>
                            <a:cubicBezTo>
                              <a:pt x="4037" y="1505"/>
                              <a:pt x="4037" y="1509"/>
                              <a:pt x="4031" y="1511"/>
                            </a:cubicBezTo>
                            <a:cubicBezTo>
                              <a:pt x="4025" y="1514"/>
                              <a:pt x="4023" y="1515"/>
                              <a:pt x="4016" y="1515"/>
                            </a:cubicBezTo>
                            <a:cubicBezTo>
                              <a:pt x="4009" y="1514"/>
                              <a:pt x="4005" y="1513"/>
                              <a:pt x="4010" y="1510"/>
                            </a:cubicBezTo>
                            <a:cubicBezTo>
                              <a:pt x="4015" y="1508"/>
                              <a:pt x="4020" y="1511"/>
                              <a:pt x="4023" y="1507"/>
                            </a:cubicBezTo>
                            <a:cubicBezTo>
                              <a:pt x="4027" y="1503"/>
                              <a:pt x="4029" y="1498"/>
                              <a:pt x="4030" y="1492"/>
                            </a:cubicBezTo>
                            <a:cubicBezTo>
                              <a:pt x="4032" y="1486"/>
                              <a:pt x="4030" y="1483"/>
                              <a:pt x="4036" y="1479"/>
                            </a:cubicBezTo>
                            <a:cubicBezTo>
                              <a:pt x="4042" y="1474"/>
                              <a:pt x="4044" y="1473"/>
                              <a:pt x="4048" y="1472"/>
                            </a:cubicBezTo>
                            <a:cubicBezTo>
                              <a:pt x="4052" y="1471"/>
                              <a:pt x="4057" y="1470"/>
                              <a:pt x="4054" y="1468"/>
                            </a:cubicBezTo>
                            <a:cubicBezTo>
                              <a:pt x="4050" y="1466"/>
                              <a:pt x="4046" y="1465"/>
                              <a:pt x="4038" y="1468"/>
                            </a:cubicBezTo>
                            <a:cubicBezTo>
                              <a:pt x="4029" y="1472"/>
                              <a:pt x="4028" y="1469"/>
                              <a:pt x="4022" y="1474"/>
                            </a:cubicBezTo>
                            <a:cubicBezTo>
                              <a:pt x="4016" y="1479"/>
                              <a:pt x="4012" y="1484"/>
                              <a:pt x="4008" y="1489"/>
                            </a:cubicBezTo>
                            <a:cubicBezTo>
                              <a:pt x="4003" y="1494"/>
                              <a:pt x="4002" y="1498"/>
                              <a:pt x="3996" y="1498"/>
                            </a:cubicBezTo>
                            <a:cubicBezTo>
                              <a:pt x="3990" y="1498"/>
                              <a:pt x="3987" y="1497"/>
                              <a:pt x="3993" y="1491"/>
                            </a:cubicBezTo>
                            <a:cubicBezTo>
                              <a:pt x="3999" y="1485"/>
                              <a:pt x="4002" y="1476"/>
                              <a:pt x="4007" y="1472"/>
                            </a:cubicBezTo>
                            <a:cubicBezTo>
                              <a:pt x="4012" y="1467"/>
                              <a:pt x="4011" y="1466"/>
                              <a:pt x="4023" y="1462"/>
                            </a:cubicBezTo>
                            <a:cubicBezTo>
                              <a:pt x="4034" y="1458"/>
                              <a:pt x="4049" y="1462"/>
                              <a:pt x="4057" y="1460"/>
                            </a:cubicBezTo>
                            <a:cubicBezTo>
                              <a:pt x="4064" y="1457"/>
                              <a:pt x="4069" y="1458"/>
                              <a:pt x="4071" y="1450"/>
                            </a:cubicBezTo>
                            <a:cubicBezTo>
                              <a:pt x="4073" y="1443"/>
                              <a:pt x="4074" y="1440"/>
                              <a:pt x="4071" y="1434"/>
                            </a:cubicBezTo>
                            <a:cubicBezTo>
                              <a:pt x="4068" y="1428"/>
                              <a:pt x="4056" y="1423"/>
                              <a:pt x="4048" y="1420"/>
                            </a:cubicBezTo>
                            <a:cubicBezTo>
                              <a:pt x="4040" y="1416"/>
                              <a:pt x="4032" y="1412"/>
                              <a:pt x="4028" y="1413"/>
                            </a:cubicBezTo>
                            <a:cubicBezTo>
                              <a:pt x="4023" y="1413"/>
                              <a:pt x="4012" y="1418"/>
                              <a:pt x="4009" y="1419"/>
                            </a:cubicBezTo>
                            <a:cubicBezTo>
                              <a:pt x="4006" y="1419"/>
                              <a:pt x="4002" y="1411"/>
                              <a:pt x="3996" y="1410"/>
                            </a:cubicBezTo>
                            <a:cubicBezTo>
                              <a:pt x="3991" y="1408"/>
                              <a:pt x="3981" y="1408"/>
                              <a:pt x="3979" y="1408"/>
                            </a:cubicBezTo>
                            <a:cubicBezTo>
                              <a:pt x="3977" y="1408"/>
                              <a:pt x="3973" y="1400"/>
                              <a:pt x="3966" y="1397"/>
                            </a:cubicBezTo>
                            <a:cubicBezTo>
                              <a:pt x="3959" y="1394"/>
                              <a:pt x="3954" y="1393"/>
                              <a:pt x="3945" y="1393"/>
                            </a:cubicBezTo>
                            <a:cubicBezTo>
                              <a:pt x="3936" y="1393"/>
                              <a:pt x="3931" y="1393"/>
                              <a:pt x="3920" y="1394"/>
                            </a:cubicBezTo>
                            <a:cubicBezTo>
                              <a:pt x="3910" y="1396"/>
                              <a:pt x="3909" y="1394"/>
                              <a:pt x="3898" y="1398"/>
                            </a:cubicBezTo>
                            <a:cubicBezTo>
                              <a:pt x="3887" y="1402"/>
                              <a:pt x="3888" y="1400"/>
                              <a:pt x="3878" y="1406"/>
                            </a:cubicBezTo>
                            <a:cubicBezTo>
                              <a:pt x="3867" y="1412"/>
                              <a:pt x="3863" y="1416"/>
                              <a:pt x="3863" y="1419"/>
                            </a:cubicBezTo>
                            <a:cubicBezTo>
                              <a:pt x="3863" y="1423"/>
                              <a:pt x="3860" y="1426"/>
                              <a:pt x="3866" y="1431"/>
                            </a:cubicBezTo>
                            <a:cubicBezTo>
                              <a:pt x="3872" y="1436"/>
                              <a:pt x="3884" y="1439"/>
                              <a:pt x="3890" y="1441"/>
                            </a:cubicBezTo>
                            <a:cubicBezTo>
                              <a:pt x="3896" y="1442"/>
                              <a:pt x="3897" y="1441"/>
                              <a:pt x="3904" y="1445"/>
                            </a:cubicBezTo>
                            <a:cubicBezTo>
                              <a:pt x="3912" y="1449"/>
                              <a:pt x="3923" y="1451"/>
                              <a:pt x="3929" y="1452"/>
                            </a:cubicBezTo>
                            <a:cubicBezTo>
                              <a:pt x="3935" y="1453"/>
                              <a:pt x="3939" y="1454"/>
                              <a:pt x="3944" y="1458"/>
                            </a:cubicBezTo>
                            <a:cubicBezTo>
                              <a:pt x="3950" y="1462"/>
                              <a:pt x="3955" y="1463"/>
                              <a:pt x="3950" y="1464"/>
                            </a:cubicBezTo>
                            <a:cubicBezTo>
                              <a:pt x="3944" y="1465"/>
                              <a:pt x="3934" y="1458"/>
                              <a:pt x="3929" y="1459"/>
                            </a:cubicBezTo>
                            <a:cubicBezTo>
                              <a:pt x="3923" y="1459"/>
                              <a:pt x="3921" y="1462"/>
                              <a:pt x="3921" y="1466"/>
                            </a:cubicBezTo>
                            <a:cubicBezTo>
                              <a:pt x="3921" y="1471"/>
                              <a:pt x="3918" y="1472"/>
                              <a:pt x="3915" y="1471"/>
                            </a:cubicBezTo>
                            <a:cubicBezTo>
                              <a:pt x="3913" y="1469"/>
                              <a:pt x="3913" y="1467"/>
                              <a:pt x="3910" y="1461"/>
                            </a:cubicBezTo>
                            <a:cubicBezTo>
                              <a:pt x="3908" y="1456"/>
                              <a:pt x="3906" y="1452"/>
                              <a:pt x="3896" y="1451"/>
                            </a:cubicBezTo>
                            <a:cubicBezTo>
                              <a:pt x="3885" y="1450"/>
                              <a:pt x="3880" y="1448"/>
                              <a:pt x="3876" y="1447"/>
                            </a:cubicBezTo>
                            <a:cubicBezTo>
                              <a:pt x="3872" y="1446"/>
                              <a:pt x="3868" y="1443"/>
                              <a:pt x="3866" y="1449"/>
                            </a:cubicBezTo>
                            <a:cubicBezTo>
                              <a:pt x="3864" y="1454"/>
                              <a:pt x="3860" y="1454"/>
                              <a:pt x="3860" y="1452"/>
                            </a:cubicBezTo>
                            <a:cubicBezTo>
                              <a:pt x="3859" y="1451"/>
                              <a:pt x="3859" y="1447"/>
                              <a:pt x="3858" y="1445"/>
                            </a:cubicBezTo>
                            <a:cubicBezTo>
                              <a:pt x="3856" y="1442"/>
                              <a:pt x="3852" y="1440"/>
                              <a:pt x="3849" y="1441"/>
                            </a:cubicBezTo>
                            <a:cubicBezTo>
                              <a:pt x="3846" y="1442"/>
                              <a:pt x="3844" y="1443"/>
                              <a:pt x="3845" y="1447"/>
                            </a:cubicBezTo>
                            <a:cubicBezTo>
                              <a:pt x="3846" y="1451"/>
                              <a:pt x="3849" y="1455"/>
                              <a:pt x="3852" y="1456"/>
                            </a:cubicBezTo>
                            <a:cubicBezTo>
                              <a:pt x="3854" y="1457"/>
                              <a:pt x="3856" y="1457"/>
                              <a:pt x="3860" y="1460"/>
                            </a:cubicBezTo>
                            <a:cubicBezTo>
                              <a:pt x="3865" y="1463"/>
                              <a:pt x="3870" y="1467"/>
                              <a:pt x="3871" y="1469"/>
                            </a:cubicBezTo>
                            <a:cubicBezTo>
                              <a:pt x="3872" y="1471"/>
                              <a:pt x="3877" y="1477"/>
                              <a:pt x="3880" y="1478"/>
                            </a:cubicBezTo>
                            <a:cubicBezTo>
                              <a:pt x="3882" y="1478"/>
                              <a:pt x="3888" y="1478"/>
                              <a:pt x="3891" y="1480"/>
                            </a:cubicBezTo>
                            <a:cubicBezTo>
                              <a:pt x="3893" y="1481"/>
                              <a:pt x="3898" y="1485"/>
                              <a:pt x="3900" y="1488"/>
                            </a:cubicBezTo>
                            <a:cubicBezTo>
                              <a:pt x="3902" y="1491"/>
                              <a:pt x="3905" y="1492"/>
                              <a:pt x="3905" y="1496"/>
                            </a:cubicBezTo>
                            <a:cubicBezTo>
                              <a:pt x="3905" y="1499"/>
                              <a:pt x="3905" y="1502"/>
                              <a:pt x="3900" y="1503"/>
                            </a:cubicBezTo>
                            <a:cubicBezTo>
                              <a:pt x="3895" y="1504"/>
                              <a:pt x="3889" y="1504"/>
                              <a:pt x="3883" y="1501"/>
                            </a:cubicBezTo>
                            <a:cubicBezTo>
                              <a:pt x="3877" y="1498"/>
                              <a:pt x="3873" y="1496"/>
                              <a:pt x="3872" y="1492"/>
                            </a:cubicBezTo>
                            <a:cubicBezTo>
                              <a:pt x="3871" y="1488"/>
                              <a:pt x="3866" y="1478"/>
                              <a:pt x="3861" y="1474"/>
                            </a:cubicBezTo>
                            <a:cubicBezTo>
                              <a:pt x="3857" y="1470"/>
                              <a:pt x="3850" y="1464"/>
                              <a:pt x="3846" y="1465"/>
                            </a:cubicBezTo>
                            <a:cubicBezTo>
                              <a:pt x="3842" y="1466"/>
                              <a:pt x="3838" y="1464"/>
                              <a:pt x="3840" y="1469"/>
                            </a:cubicBezTo>
                            <a:cubicBezTo>
                              <a:pt x="3841" y="1475"/>
                              <a:pt x="3841" y="1477"/>
                              <a:pt x="3846" y="1480"/>
                            </a:cubicBezTo>
                            <a:cubicBezTo>
                              <a:pt x="3850" y="1482"/>
                              <a:pt x="3854" y="1484"/>
                              <a:pt x="3856" y="1487"/>
                            </a:cubicBezTo>
                            <a:cubicBezTo>
                              <a:pt x="3859" y="1490"/>
                              <a:pt x="3862" y="1491"/>
                              <a:pt x="3861" y="1493"/>
                            </a:cubicBezTo>
                            <a:cubicBezTo>
                              <a:pt x="3859" y="1495"/>
                              <a:pt x="3857" y="1497"/>
                              <a:pt x="3852" y="1494"/>
                            </a:cubicBezTo>
                            <a:cubicBezTo>
                              <a:pt x="3846" y="1492"/>
                              <a:pt x="3841" y="1489"/>
                              <a:pt x="3835" y="1489"/>
                            </a:cubicBezTo>
                            <a:cubicBezTo>
                              <a:pt x="3829" y="1489"/>
                              <a:pt x="3826" y="1489"/>
                              <a:pt x="3822" y="1486"/>
                            </a:cubicBezTo>
                            <a:cubicBezTo>
                              <a:pt x="3819" y="1483"/>
                              <a:pt x="3816" y="1483"/>
                              <a:pt x="3818" y="1479"/>
                            </a:cubicBezTo>
                            <a:cubicBezTo>
                              <a:pt x="3821" y="1475"/>
                              <a:pt x="3824" y="1476"/>
                              <a:pt x="3826" y="1470"/>
                            </a:cubicBezTo>
                            <a:cubicBezTo>
                              <a:pt x="3828" y="1463"/>
                              <a:pt x="3824" y="1462"/>
                              <a:pt x="3826" y="1457"/>
                            </a:cubicBezTo>
                            <a:cubicBezTo>
                              <a:pt x="3827" y="1451"/>
                              <a:pt x="3827" y="1448"/>
                              <a:pt x="3824" y="1445"/>
                            </a:cubicBezTo>
                            <a:cubicBezTo>
                              <a:pt x="3821" y="1442"/>
                              <a:pt x="3815" y="1438"/>
                              <a:pt x="3812" y="1437"/>
                            </a:cubicBezTo>
                            <a:cubicBezTo>
                              <a:pt x="3809" y="1437"/>
                              <a:pt x="3804" y="1435"/>
                              <a:pt x="3802" y="1441"/>
                            </a:cubicBezTo>
                            <a:cubicBezTo>
                              <a:pt x="3800" y="1447"/>
                              <a:pt x="3800" y="1449"/>
                              <a:pt x="3797" y="1451"/>
                            </a:cubicBezTo>
                            <a:cubicBezTo>
                              <a:pt x="3793" y="1453"/>
                              <a:pt x="3788" y="1452"/>
                              <a:pt x="3789" y="1457"/>
                            </a:cubicBezTo>
                            <a:cubicBezTo>
                              <a:pt x="3790" y="1463"/>
                              <a:pt x="3792" y="1466"/>
                              <a:pt x="3788" y="1466"/>
                            </a:cubicBezTo>
                            <a:cubicBezTo>
                              <a:pt x="3783" y="1466"/>
                              <a:pt x="3785" y="1470"/>
                              <a:pt x="3777" y="1464"/>
                            </a:cubicBezTo>
                            <a:cubicBezTo>
                              <a:pt x="3769" y="1457"/>
                              <a:pt x="3767" y="1462"/>
                              <a:pt x="3762" y="1456"/>
                            </a:cubicBezTo>
                            <a:cubicBezTo>
                              <a:pt x="3758" y="1451"/>
                              <a:pt x="3755" y="1448"/>
                              <a:pt x="3751" y="1451"/>
                            </a:cubicBezTo>
                            <a:cubicBezTo>
                              <a:pt x="3746" y="1454"/>
                              <a:pt x="3744" y="1457"/>
                              <a:pt x="3744" y="1461"/>
                            </a:cubicBezTo>
                            <a:cubicBezTo>
                              <a:pt x="3745" y="1464"/>
                              <a:pt x="3748" y="1465"/>
                              <a:pt x="3744" y="1470"/>
                            </a:cubicBezTo>
                            <a:cubicBezTo>
                              <a:pt x="3740" y="1476"/>
                              <a:pt x="3737" y="1478"/>
                              <a:pt x="3735" y="1480"/>
                            </a:cubicBezTo>
                            <a:cubicBezTo>
                              <a:pt x="3733" y="1483"/>
                              <a:pt x="3727" y="1486"/>
                              <a:pt x="3721" y="1490"/>
                            </a:cubicBezTo>
                            <a:cubicBezTo>
                              <a:pt x="3716" y="1494"/>
                              <a:pt x="3712" y="1497"/>
                              <a:pt x="3710" y="1494"/>
                            </a:cubicBezTo>
                            <a:cubicBezTo>
                              <a:pt x="3709" y="1490"/>
                              <a:pt x="3711" y="1487"/>
                              <a:pt x="3712" y="1484"/>
                            </a:cubicBezTo>
                            <a:cubicBezTo>
                              <a:pt x="3712" y="1480"/>
                              <a:pt x="3706" y="1477"/>
                              <a:pt x="3704" y="1477"/>
                            </a:cubicBezTo>
                            <a:cubicBezTo>
                              <a:pt x="3701" y="1476"/>
                              <a:pt x="3699" y="1476"/>
                              <a:pt x="3700" y="1473"/>
                            </a:cubicBezTo>
                            <a:cubicBezTo>
                              <a:pt x="3701" y="1470"/>
                              <a:pt x="3708" y="1469"/>
                              <a:pt x="3710" y="1467"/>
                            </a:cubicBezTo>
                            <a:cubicBezTo>
                              <a:pt x="3713" y="1464"/>
                              <a:pt x="3711" y="1461"/>
                              <a:pt x="3711" y="1458"/>
                            </a:cubicBezTo>
                            <a:cubicBezTo>
                              <a:pt x="3711" y="1455"/>
                              <a:pt x="3713" y="1451"/>
                              <a:pt x="3717" y="1449"/>
                            </a:cubicBezTo>
                            <a:cubicBezTo>
                              <a:pt x="3721" y="1448"/>
                              <a:pt x="3723" y="1446"/>
                              <a:pt x="3726" y="1442"/>
                            </a:cubicBezTo>
                            <a:cubicBezTo>
                              <a:pt x="3729" y="1439"/>
                              <a:pt x="3731" y="1436"/>
                              <a:pt x="3733" y="1432"/>
                            </a:cubicBezTo>
                            <a:cubicBezTo>
                              <a:pt x="3735" y="1428"/>
                              <a:pt x="3736" y="1425"/>
                              <a:pt x="3733" y="1425"/>
                            </a:cubicBezTo>
                            <a:cubicBezTo>
                              <a:pt x="3729" y="1426"/>
                              <a:pt x="3722" y="1424"/>
                              <a:pt x="3718" y="1429"/>
                            </a:cubicBezTo>
                            <a:cubicBezTo>
                              <a:pt x="3713" y="1435"/>
                              <a:pt x="3707" y="1437"/>
                              <a:pt x="3702" y="1443"/>
                            </a:cubicBezTo>
                            <a:cubicBezTo>
                              <a:pt x="3697" y="1449"/>
                              <a:pt x="3695" y="1453"/>
                              <a:pt x="3691" y="1453"/>
                            </a:cubicBezTo>
                            <a:cubicBezTo>
                              <a:pt x="3686" y="1454"/>
                              <a:pt x="3683" y="1456"/>
                              <a:pt x="3684" y="1451"/>
                            </a:cubicBezTo>
                            <a:cubicBezTo>
                              <a:pt x="3686" y="1447"/>
                              <a:pt x="3688" y="1442"/>
                              <a:pt x="3694" y="1438"/>
                            </a:cubicBezTo>
                            <a:cubicBezTo>
                              <a:pt x="3701" y="1435"/>
                              <a:pt x="3703" y="1432"/>
                              <a:pt x="3708" y="1427"/>
                            </a:cubicBezTo>
                            <a:cubicBezTo>
                              <a:pt x="3714" y="1423"/>
                              <a:pt x="3718" y="1419"/>
                              <a:pt x="3723" y="1414"/>
                            </a:cubicBezTo>
                            <a:cubicBezTo>
                              <a:pt x="3728" y="1410"/>
                              <a:pt x="3737" y="1407"/>
                              <a:pt x="3743" y="1401"/>
                            </a:cubicBezTo>
                            <a:cubicBezTo>
                              <a:pt x="3749" y="1394"/>
                              <a:pt x="3750" y="1395"/>
                              <a:pt x="3748" y="1391"/>
                            </a:cubicBezTo>
                            <a:cubicBezTo>
                              <a:pt x="3746" y="1386"/>
                              <a:pt x="3745" y="1385"/>
                              <a:pt x="3740" y="1381"/>
                            </a:cubicBezTo>
                            <a:cubicBezTo>
                              <a:pt x="3736" y="1378"/>
                              <a:pt x="3729" y="1375"/>
                              <a:pt x="3729" y="1369"/>
                            </a:cubicBezTo>
                            <a:cubicBezTo>
                              <a:pt x="3729" y="1363"/>
                              <a:pt x="3731" y="1360"/>
                              <a:pt x="3729" y="1352"/>
                            </a:cubicBezTo>
                            <a:cubicBezTo>
                              <a:pt x="3727" y="1345"/>
                              <a:pt x="3727" y="1344"/>
                              <a:pt x="3721" y="1341"/>
                            </a:cubicBezTo>
                            <a:cubicBezTo>
                              <a:pt x="3716" y="1338"/>
                              <a:pt x="3715" y="1339"/>
                              <a:pt x="3705" y="1335"/>
                            </a:cubicBezTo>
                            <a:cubicBezTo>
                              <a:pt x="3694" y="1331"/>
                              <a:pt x="3691" y="1333"/>
                              <a:pt x="3691" y="1327"/>
                            </a:cubicBezTo>
                            <a:cubicBezTo>
                              <a:pt x="3690" y="1322"/>
                              <a:pt x="3693" y="1311"/>
                              <a:pt x="3693" y="1305"/>
                            </a:cubicBezTo>
                            <a:cubicBezTo>
                              <a:pt x="3692" y="1299"/>
                              <a:pt x="3694" y="1301"/>
                              <a:pt x="3688" y="1295"/>
                            </a:cubicBezTo>
                            <a:cubicBezTo>
                              <a:pt x="3683" y="1289"/>
                              <a:pt x="3682" y="1293"/>
                              <a:pt x="3678" y="1286"/>
                            </a:cubicBezTo>
                            <a:cubicBezTo>
                              <a:pt x="3674" y="1279"/>
                              <a:pt x="3675" y="1279"/>
                              <a:pt x="3668" y="1276"/>
                            </a:cubicBezTo>
                            <a:cubicBezTo>
                              <a:pt x="3661" y="1274"/>
                              <a:pt x="3642" y="1276"/>
                              <a:pt x="3634" y="1277"/>
                            </a:cubicBezTo>
                            <a:cubicBezTo>
                              <a:pt x="3625" y="1278"/>
                              <a:pt x="3621" y="1278"/>
                              <a:pt x="3610" y="1277"/>
                            </a:cubicBezTo>
                            <a:cubicBezTo>
                              <a:pt x="3600" y="1275"/>
                              <a:pt x="3593" y="1275"/>
                              <a:pt x="3588" y="1278"/>
                            </a:cubicBezTo>
                            <a:cubicBezTo>
                              <a:pt x="3583" y="1281"/>
                              <a:pt x="3580" y="1286"/>
                              <a:pt x="3575" y="1288"/>
                            </a:cubicBezTo>
                            <a:cubicBezTo>
                              <a:pt x="3571" y="1289"/>
                              <a:pt x="3569" y="1289"/>
                              <a:pt x="3560" y="1290"/>
                            </a:cubicBezTo>
                            <a:cubicBezTo>
                              <a:pt x="3551" y="1291"/>
                              <a:pt x="3548" y="1294"/>
                              <a:pt x="3541" y="1295"/>
                            </a:cubicBezTo>
                            <a:cubicBezTo>
                              <a:pt x="3535" y="1297"/>
                              <a:pt x="3532" y="1298"/>
                              <a:pt x="3533" y="1301"/>
                            </a:cubicBezTo>
                            <a:cubicBezTo>
                              <a:pt x="3534" y="1305"/>
                              <a:pt x="3541" y="1307"/>
                              <a:pt x="3542" y="1311"/>
                            </a:cubicBezTo>
                            <a:cubicBezTo>
                              <a:pt x="3544" y="1314"/>
                              <a:pt x="3544" y="1318"/>
                              <a:pt x="3543" y="1320"/>
                            </a:cubicBezTo>
                            <a:cubicBezTo>
                              <a:pt x="3541" y="1321"/>
                              <a:pt x="3537" y="1323"/>
                              <a:pt x="3533" y="1319"/>
                            </a:cubicBezTo>
                            <a:cubicBezTo>
                              <a:pt x="3530" y="1315"/>
                              <a:pt x="3528" y="1310"/>
                              <a:pt x="3522" y="1308"/>
                            </a:cubicBezTo>
                            <a:cubicBezTo>
                              <a:pt x="3517" y="1306"/>
                              <a:pt x="3511" y="1306"/>
                              <a:pt x="3506" y="1308"/>
                            </a:cubicBezTo>
                            <a:cubicBezTo>
                              <a:pt x="3500" y="1311"/>
                              <a:pt x="3498" y="1308"/>
                              <a:pt x="3494" y="1312"/>
                            </a:cubicBezTo>
                            <a:cubicBezTo>
                              <a:pt x="3490" y="1315"/>
                              <a:pt x="3487" y="1319"/>
                              <a:pt x="3491" y="1322"/>
                            </a:cubicBezTo>
                            <a:cubicBezTo>
                              <a:pt x="3495" y="1324"/>
                              <a:pt x="3497" y="1323"/>
                              <a:pt x="3498" y="1327"/>
                            </a:cubicBezTo>
                            <a:cubicBezTo>
                              <a:pt x="3499" y="1332"/>
                              <a:pt x="3498" y="1335"/>
                              <a:pt x="3495" y="1334"/>
                            </a:cubicBezTo>
                            <a:cubicBezTo>
                              <a:pt x="3492" y="1333"/>
                              <a:pt x="3489" y="1332"/>
                              <a:pt x="3486" y="1328"/>
                            </a:cubicBezTo>
                            <a:cubicBezTo>
                              <a:pt x="3482" y="1324"/>
                              <a:pt x="3483" y="1316"/>
                              <a:pt x="3474" y="1317"/>
                            </a:cubicBezTo>
                            <a:cubicBezTo>
                              <a:pt x="3465" y="1317"/>
                              <a:pt x="3451" y="1319"/>
                              <a:pt x="3453" y="1325"/>
                            </a:cubicBezTo>
                            <a:cubicBezTo>
                              <a:pt x="3454" y="1330"/>
                              <a:pt x="3453" y="1332"/>
                              <a:pt x="3458" y="1334"/>
                            </a:cubicBezTo>
                            <a:cubicBezTo>
                              <a:pt x="3462" y="1337"/>
                              <a:pt x="3470" y="1339"/>
                              <a:pt x="3474" y="1340"/>
                            </a:cubicBezTo>
                            <a:cubicBezTo>
                              <a:pt x="3478" y="1342"/>
                              <a:pt x="3488" y="1343"/>
                              <a:pt x="3490" y="1345"/>
                            </a:cubicBezTo>
                            <a:cubicBezTo>
                              <a:pt x="3492" y="1348"/>
                              <a:pt x="3503" y="1348"/>
                              <a:pt x="3507" y="1350"/>
                            </a:cubicBezTo>
                            <a:cubicBezTo>
                              <a:pt x="3512" y="1352"/>
                              <a:pt x="3528" y="1356"/>
                              <a:pt x="3530" y="1358"/>
                            </a:cubicBezTo>
                            <a:cubicBezTo>
                              <a:pt x="3531" y="1359"/>
                              <a:pt x="3533" y="1360"/>
                              <a:pt x="3531" y="1362"/>
                            </a:cubicBezTo>
                            <a:cubicBezTo>
                              <a:pt x="3529" y="1364"/>
                              <a:pt x="3521" y="1362"/>
                              <a:pt x="3516" y="1360"/>
                            </a:cubicBezTo>
                            <a:cubicBezTo>
                              <a:pt x="3511" y="1358"/>
                              <a:pt x="3488" y="1354"/>
                              <a:pt x="3483" y="1352"/>
                            </a:cubicBezTo>
                            <a:cubicBezTo>
                              <a:pt x="3477" y="1351"/>
                              <a:pt x="3460" y="1349"/>
                              <a:pt x="3454" y="1349"/>
                            </a:cubicBezTo>
                            <a:cubicBezTo>
                              <a:pt x="3449" y="1349"/>
                              <a:pt x="3442" y="1351"/>
                              <a:pt x="3450" y="1355"/>
                            </a:cubicBezTo>
                            <a:cubicBezTo>
                              <a:pt x="3458" y="1360"/>
                              <a:pt x="3462" y="1361"/>
                              <a:pt x="3472" y="1364"/>
                            </a:cubicBezTo>
                            <a:cubicBezTo>
                              <a:pt x="3483" y="1367"/>
                              <a:pt x="3490" y="1365"/>
                              <a:pt x="3497" y="1371"/>
                            </a:cubicBezTo>
                            <a:cubicBezTo>
                              <a:pt x="3503" y="1377"/>
                              <a:pt x="3509" y="1376"/>
                              <a:pt x="3515" y="1382"/>
                            </a:cubicBezTo>
                            <a:cubicBezTo>
                              <a:pt x="3522" y="1387"/>
                              <a:pt x="3525" y="1388"/>
                              <a:pt x="3523" y="1391"/>
                            </a:cubicBezTo>
                            <a:cubicBezTo>
                              <a:pt x="3522" y="1393"/>
                              <a:pt x="3508" y="1390"/>
                              <a:pt x="3507" y="1388"/>
                            </a:cubicBezTo>
                            <a:cubicBezTo>
                              <a:pt x="3506" y="1386"/>
                              <a:pt x="3501" y="1383"/>
                              <a:pt x="3491" y="1381"/>
                            </a:cubicBezTo>
                            <a:cubicBezTo>
                              <a:pt x="3480" y="1380"/>
                              <a:pt x="3470" y="1378"/>
                              <a:pt x="3464" y="1374"/>
                            </a:cubicBezTo>
                            <a:cubicBezTo>
                              <a:pt x="3458" y="1371"/>
                              <a:pt x="3456" y="1368"/>
                              <a:pt x="3447" y="1366"/>
                            </a:cubicBezTo>
                            <a:cubicBezTo>
                              <a:pt x="3439" y="1364"/>
                              <a:pt x="3426" y="1360"/>
                              <a:pt x="3423" y="1365"/>
                            </a:cubicBezTo>
                            <a:cubicBezTo>
                              <a:pt x="3420" y="1369"/>
                              <a:pt x="3416" y="1376"/>
                              <a:pt x="3418" y="1382"/>
                            </a:cubicBezTo>
                            <a:cubicBezTo>
                              <a:pt x="3421" y="1387"/>
                              <a:pt x="3415" y="1390"/>
                              <a:pt x="3418" y="1397"/>
                            </a:cubicBezTo>
                            <a:cubicBezTo>
                              <a:pt x="3422" y="1405"/>
                              <a:pt x="3426" y="1403"/>
                              <a:pt x="3428" y="1410"/>
                            </a:cubicBezTo>
                            <a:cubicBezTo>
                              <a:pt x="3429" y="1417"/>
                              <a:pt x="3425" y="1418"/>
                              <a:pt x="3431" y="1421"/>
                            </a:cubicBezTo>
                            <a:cubicBezTo>
                              <a:pt x="3437" y="1424"/>
                              <a:pt x="3445" y="1427"/>
                              <a:pt x="3450" y="1429"/>
                            </a:cubicBezTo>
                            <a:cubicBezTo>
                              <a:pt x="3454" y="1431"/>
                              <a:pt x="3456" y="1433"/>
                              <a:pt x="3461" y="1431"/>
                            </a:cubicBezTo>
                            <a:cubicBezTo>
                              <a:pt x="3465" y="1428"/>
                              <a:pt x="3465" y="1424"/>
                              <a:pt x="3470" y="1427"/>
                            </a:cubicBezTo>
                            <a:cubicBezTo>
                              <a:pt x="3474" y="1429"/>
                              <a:pt x="3467" y="1431"/>
                              <a:pt x="3475" y="1432"/>
                            </a:cubicBezTo>
                            <a:cubicBezTo>
                              <a:pt x="3483" y="1434"/>
                              <a:pt x="3488" y="1433"/>
                              <a:pt x="3491" y="1435"/>
                            </a:cubicBezTo>
                            <a:cubicBezTo>
                              <a:pt x="3493" y="1437"/>
                              <a:pt x="3486" y="1440"/>
                              <a:pt x="3484" y="1441"/>
                            </a:cubicBezTo>
                            <a:cubicBezTo>
                              <a:pt x="3481" y="1442"/>
                              <a:pt x="3474" y="1444"/>
                              <a:pt x="3480" y="1449"/>
                            </a:cubicBezTo>
                            <a:cubicBezTo>
                              <a:pt x="3486" y="1454"/>
                              <a:pt x="3485" y="1453"/>
                              <a:pt x="3492" y="1458"/>
                            </a:cubicBezTo>
                            <a:cubicBezTo>
                              <a:pt x="3499" y="1463"/>
                              <a:pt x="3501" y="1462"/>
                              <a:pt x="3506" y="1465"/>
                            </a:cubicBezTo>
                            <a:cubicBezTo>
                              <a:pt x="3510" y="1468"/>
                              <a:pt x="3515" y="1472"/>
                              <a:pt x="3513" y="1473"/>
                            </a:cubicBezTo>
                            <a:cubicBezTo>
                              <a:pt x="3511" y="1474"/>
                              <a:pt x="3505" y="1474"/>
                              <a:pt x="3499" y="1471"/>
                            </a:cubicBezTo>
                            <a:cubicBezTo>
                              <a:pt x="3494" y="1468"/>
                              <a:pt x="3492" y="1468"/>
                              <a:pt x="3483" y="1463"/>
                            </a:cubicBezTo>
                            <a:cubicBezTo>
                              <a:pt x="3475" y="1459"/>
                              <a:pt x="3470" y="1459"/>
                              <a:pt x="3466" y="1455"/>
                            </a:cubicBezTo>
                            <a:cubicBezTo>
                              <a:pt x="3462" y="1450"/>
                              <a:pt x="3463" y="1449"/>
                              <a:pt x="3454" y="1448"/>
                            </a:cubicBezTo>
                            <a:cubicBezTo>
                              <a:pt x="3444" y="1448"/>
                              <a:pt x="3433" y="1446"/>
                              <a:pt x="3431" y="1449"/>
                            </a:cubicBezTo>
                            <a:cubicBezTo>
                              <a:pt x="3429" y="1452"/>
                              <a:pt x="3426" y="1459"/>
                              <a:pt x="3427" y="1463"/>
                            </a:cubicBezTo>
                            <a:cubicBezTo>
                              <a:pt x="3428" y="1468"/>
                              <a:pt x="3428" y="1470"/>
                              <a:pt x="3425" y="1471"/>
                            </a:cubicBezTo>
                            <a:cubicBezTo>
                              <a:pt x="3421" y="1472"/>
                              <a:pt x="3418" y="1471"/>
                              <a:pt x="3413" y="1473"/>
                            </a:cubicBezTo>
                            <a:cubicBezTo>
                              <a:pt x="3407" y="1474"/>
                              <a:pt x="3401" y="1473"/>
                              <a:pt x="3404" y="1478"/>
                            </a:cubicBezTo>
                            <a:cubicBezTo>
                              <a:pt x="3407" y="1483"/>
                              <a:pt x="3412" y="1485"/>
                              <a:pt x="3418" y="1487"/>
                            </a:cubicBezTo>
                            <a:cubicBezTo>
                              <a:pt x="3424" y="1489"/>
                              <a:pt x="3432" y="1493"/>
                              <a:pt x="3432" y="1500"/>
                            </a:cubicBezTo>
                            <a:cubicBezTo>
                              <a:pt x="3432" y="1507"/>
                              <a:pt x="3430" y="1509"/>
                              <a:pt x="3436" y="1512"/>
                            </a:cubicBezTo>
                            <a:cubicBezTo>
                              <a:pt x="3441" y="1516"/>
                              <a:pt x="3446" y="1519"/>
                              <a:pt x="3456" y="1517"/>
                            </a:cubicBezTo>
                            <a:cubicBezTo>
                              <a:pt x="3467" y="1516"/>
                              <a:pt x="3469" y="1513"/>
                              <a:pt x="3476" y="1515"/>
                            </a:cubicBezTo>
                            <a:cubicBezTo>
                              <a:pt x="3483" y="1518"/>
                              <a:pt x="3485" y="1517"/>
                              <a:pt x="3486" y="1522"/>
                            </a:cubicBezTo>
                            <a:cubicBezTo>
                              <a:pt x="3487" y="1527"/>
                              <a:pt x="3489" y="1534"/>
                              <a:pt x="3486" y="1537"/>
                            </a:cubicBezTo>
                            <a:cubicBezTo>
                              <a:pt x="3483" y="1539"/>
                              <a:pt x="3477" y="1537"/>
                              <a:pt x="3476" y="1543"/>
                            </a:cubicBezTo>
                            <a:cubicBezTo>
                              <a:pt x="3475" y="1550"/>
                              <a:pt x="3472" y="1550"/>
                              <a:pt x="3474" y="1558"/>
                            </a:cubicBezTo>
                            <a:cubicBezTo>
                              <a:pt x="3476" y="1566"/>
                              <a:pt x="3477" y="1566"/>
                              <a:pt x="3476" y="1574"/>
                            </a:cubicBezTo>
                            <a:cubicBezTo>
                              <a:pt x="3474" y="1582"/>
                              <a:pt x="3475" y="1584"/>
                              <a:pt x="3475" y="1590"/>
                            </a:cubicBezTo>
                            <a:cubicBezTo>
                              <a:pt x="3475" y="1597"/>
                              <a:pt x="3468" y="1602"/>
                              <a:pt x="3467" y="1600"/>
                            </a:cubicBezTo>
                            <a:cubicBezTo>
                              <a:pt x="3465" y="1599"/>
                              <a:pt x="3461" y="1598"/>
                              <a:pt x="3461" y="1593"/>
                            </a:cubicBezTo>
                            <a:cubicBezTo>
                              <a:pt x="3461" y="1589"/>
                              <a:pt x="3466" y="1588"/>
                              <a:pt x="3462" y="1582"/>
                            </a:cubicBezTo>
                            <a:cubicBezTo>
                              <a:pt x="3459" y="1575"/>
                              <a:pt x="3444" y="1573"/>
                              <a:pt x="3441" y="1575"/>
                            </a:cubicBezTo>
                            <a:cubicBezTo>
                              <a:pt x="3438" y="1577"/>
                              <a:pt x="3427" y="1577"/>
                              <a:pt x="3423" y="1578"/>
                            </a:cubicBezTo>
                            <a:cubicBezTo>
                              <a:pt x="3419" y="1580"/>
                              <a:pt x="3415" y="1577"/>
                              <a:pt x="3410" y="1580"/>
                            </a:cubicBezTo>
                            <a:cubicBezTo>
                              <a:pt x="3405" y="1583"/>
                              <a:pt x="3397" y="1585"/>
                              <a:pt x="3394" y="1589"/>
                            </a:cubicBezTo>
                            <a:cubicBezTo>
                              <a:pt x="3390" y="1593"/>
                              <a:pt x="3389" y="1595"/>
                              <a:pt x="3382" y="1596"/>
                            </a:cubicBezTo>
                            <a:cubicBezTo>
                              <a:pt x="3374" y="1596"/>
                              <a:pt x="3360" y="1598"/>
                              <a:pt x="3355" y="1596"/>
                            </a:cubicBezTo>
                            <a:cubicBezTo>
                              <a:pt x="3350" y="1594"/>
                              <a:pt x="3352" y="1591"/>
                              <a:pt x="3357" y="1590"/>
                            </a:cubicBezTo>
                            <a:cubicBezTo>
                              <a:pt x="3362" y="1589"/>
                              <a:pt x="3374" y="1586"/>
                              <a:pt x="3382" y="1582"/>
                            </a:cubicBezTo>
                            <a:cubicBezTo>
                              <a:pt x="3390" y="1577"/>
                              <a:pt x="3391" y="1573"/>
                              <a:pt x="3398" y="1571"/>
                            </a:cubicBezTo>
                            <a:cubicBezTo>
                              <a:pt x="3406" y="1569"/>
                              <a:pt x="3409" y="1571"/>
                              <a:pt x="3417" y="1568"/>
                            </a:cubicBezTo>
                            <a:cubicBezTo>
                              <a:pt x="3426" y="1566"/>
                              <a:pt x="3434" y="1565"/>
                              <a:pt x="3438" y="1561"/>
                            </a:cubicBezTo>
                            <a:cubicBezTo>
                              <a:pt x="3442" y="1557"/>
                              <a:pt x="3450" y="1557"/>
                              <a:pt x="3453" y="1555"/>
                            </a:cubicBezTo>
                            <a:cubicBezTo>
                              <a:pt x="3457" y="1553"/>
                              <a:pt x="3462" y="1547"/>
                              <a:pt x="3456" y="1545"/>
                            </a:cubicBezTo>
                            <a:cubicBezTo>
                              <a:pt x="3450" y="1542"/>
                              <a:pt x="3429" y="1543"/>
                              <a:pt x="3426" y="1539"/>
                            </a:cubicBezTo>
                            <a:cubicBezTo>
                              <a:pt x="3423" y="1536"/>
                              <a:pt x="3424" y="1534"/>
                              <a:pt x="3414" y="1525"/>
                            </a:cubicBezTo>
                            <a:cubicBezTo>
                              <a:pt x="3403" y="1516"/>
                              <a:pt x="3398" y="1512"/>
                              <a:pt x="3392" y="1507"/>
                            </a:cubicBezTo>
                            <a:cubicBezTo>
                              <a:pt x="3387" y="1502"/>
                              <a:pt x="3380" y="1498"/>
                              <a:pt x="3376" y="1489"/>
                            </a:cubicBezTo>
                            <a:cubicBezTo>
                              <a:pt x="3373" y="1481"/>
                              <a:pt x="3371" y="1480"/>
                              <a:pt x="3371" y="1473"/>
                            </a:cubicBezTo>
                            <a:cubicBezTo>
                              <a:pt x="3371" y="1466"/>
                              <a:pt x="3371" y="1462"/>
                              <a:pt x="3372" y="1454"/>
                            </a:cubicBezTo>
                            <a:cubicBezTo>
                              <a:pt x="3372" y="1445"/>
                              <a:pt x="3375" y="1442"/>
                              <a:pt x="3378" y="1437"/>
                            </a:cubicBezTo>
                            <a:cubicBezTo>
                              <a:pt x="3381" y="1432"/>
                              <a:pt x="3384" y="1432"/>
                              <a:pt x="3380" y="1426"/>
                            </a:cubicBezTo>
                            <a:cubicBezTo>
                              <a:pt x="3375" y="1420"/>
                              <a:pt x="3369" y="1423"/>
                              <a:pt x="3364" y="1412"/>
                            </a:cubicBezTo>
                            <a:cubicBezTo>
                              <a:pt x="3359" y="1402"/>
                              <a:pt x="3354" y="1399"/>
                              <a:pt x="3354" y="1392"/>
                            </a:cubicBezTo>
                            <a:cubicBezTo>
                              <a:pt x="3354" y="1385"/>
                              <a:pt x="3351" y="1386"/>
                              <a:pt x="3355" y="1381"/>
                            </a:cubicBezTo>
                            <a:cubicBezTo>
                              <a:pt x="3358" y="1376"/>
                              <a:pt x="3367" y="1366"/>
                              <a:pt x="3372" y="1359"/>
                            </a:cubicBezTo>
                            <a:cubicBezTo>
                              <a:pt x="3378" y="1352"/>
                              <a:pt x="3380" y="1348"/>
                              <a:pt x="3383" y="1342"/>
                            </a:cubicBezTo>
                            <a:cubicBezTo>
                              <a:pt x="3386" y="1336"/>
                              <a:pt x="3386" y="1333"/>
                              <a:pt x="3394" y="1327"/>
                            </a:cubicBezTo>
                            <a:cubicBezTo>
                              <a:pt x="3401" y="1321"/>
                              <a:pt x="3408" y="1316"/>
                              <a:pt x="3416" y="1309"/>
                            </a:cubicBezTo>
                            <a:cubicBezTo>
                              <a:pt x="3424" y="1302"/>
                              <a:pt x="3430" y="1297"/>
                              <a:pt x="3439" y="1293"/>
                            </a:cubicBezTo>
                            <a:cubicBezTo>
                              <a:pt x="3448" y="1288"/>
                              <a:pt x="3454" y="1287"/>
                              <a:pt x="3461" y="1280"/>
                            </a:cubicBezTo>
                            <a:cubicBezTo>
                              <a:pt x="3468" y="1273"/>
                              <a:pt x="3459" y="1270"/>
                              <a:pt x="3451" y="1267"/>
                            </a:cubicBezTo>
                            <a:cubicBezTo>
                              <a:pt x="3443" y="1265"/>
                              <a:pt x="3406" y="1263"/>
                              <a:pt x="3387" y="1264"/>
                            </a:cubicBezTo>
                            <a:cubicBezTo>
                              <a:pt x="3368" y="1264"/>
                              <a:pt x="3343" y="1261"/>
                              <a:pt x="3319" y="1270"/>
                            </a:cubicBezTo>
                            <a:cubicBezTo>
                              <a:pt x="3294" y="1278"/>
                              <a:pt x="3278" y="1280"/>
                              <a:pt x="3264" y="1288"/>
                            </a:cubicBezTo>
                            <a:cubicBezTo>
                              <a:pt x="3249" y="1296"/>
                              <a:pt x="3227" y="1312"/>
                              <a:pt x="3226" y="1318"/>
                            </a:cubicBezTo>
                            <a:cubicBezTo>
                              <a:pt x="3225" y="1324"/>
                              <a:pt x="3228" y="1323"/>
                              <a:pt x="3229" y="1326"/>
                            </a:cubicBezTo>
                            <a:cubicBezTo>
                              <a:pt x="3231" y="1330"/>
                              <a:pt x="3224" y="1331"/>
                              <a:pt x="3221" y="1331"/>
                            </a:cubicBezTo>
                            <a:cubicBezTo>
                              <a:pt x="3218" y="1331"/>
                              <a:pt x="3210" y="1334"/>
                              <a:pt x="3204" y="1341"/>
                            </a:cubicBezTo>
                            <a:cubicBezTo>
                              <a:pt x="3197" y="1348"/>
                              <a:pt x="3189" y="1353"/>
                              <a:pt x="3188" y="1360"/>
                            </a:cubicBezTo>
                            <a:cubicBezTo>
                              <a:pt x="3188" y="1366"/>
                              <a:pt x="3188" y="1374"/>
                              <a:pt x="3187" y="1381"/>
                            </a:cubicBezTo>
                            <a:cubicBezTo>
                              <a:pt x="3187" y="1387"/>
                              <a:pt x="3179" y="1388"/>
                              <a:pt x="3178" y="1391"/>
                            </a:cubicBezTo>
                            <a:cubicBezTo>
                              <a:pt x="3178" y="1394"/>
                              <a:pt x="3176" y="1399"/>
                              <a:pt x="3176" y="1401"/>
                            </a:cubicBezTo>
                            <a:cubicBezTo>
                              <a:pt x="3176" y="1404"/>
                              <a:pt x="3173" y="1404"/>
                              <a:pt x="3169" y="1407"/>
                            </a:cubicBezTo>
                            <a:cubicBezTo>
                              <a:pt x="3166" y="1410"/>
                              <a:pt x="3161" y="1413"/>
                              <a:pt x="3160" y="1420"/>
                            </a:cubicBezTo>
                            <a:cubicBezTo>
                              <a:pt x="3159" y="1426"/>
                              <a:pt x="3156" y="1430"/>
                              <a:pt x="3155" y="1435"/>
                            </a:cubicBezTo>
                            <a:cubicBezTo>
                              <a:pt x="3155" y="1439"/>
                              <a:pt x="3151" y="1442"/>
                              <a:pt x="3155" y="1448"/>
                            </a:cubicBezTo>
                            <a:cubicBezTo>
                              <a:pt x="3159" y="1454"/>
                              <a:pt x="3156" y="1452"/>
                              <a:pt x="3161" y="1455"/>
                            </a:cubicBezTo>
                            <a:cubicBezTo>
                              <a:pt x="3166" y="1457"/>
                              <a:pt x="3168" y="1454"/>
                              <a:pt x="3170" y="1458"/>
                            </a:cubicBezTo>
                            <a:cubicBezTo>
                              <a:pt x="3171" y="1463"/>
                              <a:pt x="3172" y="1465"/>
                              <a:pt x="3166" y="1467"/>
                            </a:cubicBezTo>
                            <a:cubicBezTo>
                              <a:pt x="3161" y="1469"/>
                              <a:pt x="3150" y="1469"/>
                              <a:pt x="3148" y="1475"/>
                            </a:cubicBezTo>
                            <a:cubicBezTo>
                              <a:pt x="3146" y="1480"/>
                              <a:pt x="3142" y="1483"/>
                              <a:pt x="3145" y="1489"/>
                            </a:cubicBezTo>
                            <a:cubicBezTo>
                              <a:pt x="3147" y="1494"/>
                              <a:pt x="3147" y="1495"/>
                              <a:pt x="3151" y="1499"/>
                            </a:cubicBezTo>
                            <a:cubicBezTo>
                              <a:pt x="3154" y="1503"/>
                              <a:pt x="3158" y="1506"/>
                              <a:pt x="3158" y="1510"/>
                            </a:cubicBezTo>
                            <a:cubicBezTo>
                              <a:pt x="3158" y="1515"/>
                              <a:pt x="3151" y="1517"/>
                              <a:pt x="3151" y="1521"/>
                            </a:cubicBezTo>
                            <a:cubicBezTo>
                              <a:pt x="3150" y="1525"/>
                              <a:pt x="3147" y="1526"/>
                              <a:pt x="3149" y="1532"/>
                            </a:cubicBezTo>
                            <a:cubicBezTo>
                              <a:pt x="3151" y="1538"/>
                              <a:pt x="3149" y="1540"/>
                              <a:pt x="3155" y="1546"/>
                            </a:cubicBezTo>
                            <a:cubicBezTo>
                              <a:pt x="3162" y="1553"/>
                              <a:pt x="3181" y="1556"/>
                              <a:pt x="3194" y="1557"/>
                            </a:cubicBezTo>
                            <a:cubicBezTo>
                              <a:pt x="3208" y="1558"/>
                              <a:pt x="3207" y="1556"/>
                              <a:pt x="3221" y="1559"/>
                            </a:cubicBezTo>
                            <a:cubicBezTo>
                              <a:pt x="3236" y="1563"/>
                              <a:pt x="3239" y="1564"/>
                              <a:pt x="3250" y="1564"/>
                            </a:cubicBezTo>
                            <a:cubicBezTo>
                              <a:pt x="3260" y="1565"/>
                              <a:pt x="3264" y="1568"/>
                              <a:pt x="3271" y="1565"/>
                            </a:cubicBezTo>
                            <a:cubicBezTo>
                              <a:pt x="3278" y="1562"/>
                              <a:pt x="3279" y="1558"/>
                              <a:pt x="3286" y="1563"/>
                            </a:cubicBezTo>
                            <a:cubicBezTo>
                              <a:pt x="3292" y="1569"/>
                              <a:pt x="3288" y="1568"/>
                              <a:pt x="3298" y="1575"/>
                            </a:cubicBezTo>
                            <a:cubicBezTo>
                              <a:pt x="3307" y="1582"/>
                              <a:pt x="3307" y="1581"/>
                              <a:pt x="3316" y="1583"/>
                            </a:cubicBezTo>
                            <a:cubicBezTo>
                              <a:pt x="3325" y="1586"/>
                              <a:pt x="3329" y="1586"/>
                              <a:pt x="3329" y="1589"/>
                            </a:cubicBezTo>
                            <a:cubicBezTo>
                              <a:pt x="3329" y="1592"/>
                              <a:pt x="3325" y="1596"/>
                              <a:pt x="3312" y="1596"/>
                            </a:cubicBezTo>
                            <a:cubicBezTo>
                              <a:pt x="3300" y="1596"/>
                              <a:pt x="3289" y="1594"/>
                              <a:pt x="3282" y="1598"/>
                            </a:cubicBezTo>
                            <a:cubicBezTo>
                              <a:pt x="3275" y="1601"/>
                              <a:pt x="3263" y="1600"/>
                              <a:pt x="3257" y="1597"/>
                            </a:cubicBezTo>
                            <a:cubicBezTo>
                              <a:pt x="3250" y="1593"/>
                              <a:pt x="3255" y="1586"/>
                              <a:pt x="3239" y="1587"/>
                            </a:cubicBezTo>
                            <a:cubicBezTo>
                              <a:pt x="3223" y="1588"/>
                              <a:pt x="3214" y="1590"/>
                              <a:pt x="3205" y="1588"/>
                            </a:cubicBezTo>
                            <a:cubicBezTo>
                              <a:pt x="3196" y="1586"/>
                              <a:pt x="3186" y="1579"/>
                              <a:pt x="3183" y="1582"/>
                            </a:cubicBezTo>
                            <a:cubicBezTo>
                              <a:pt x="3180" y="1586"/>
                              <a:pt x="3182" y="1592"/>
                              <a:pt x="3187" y="1596"/>
                            </a:cubicBezTo>
                            <a:cubicBezTo>
                              <a:pt x="3191" y="1600"/>
                              <a:pt x="3190" y="1604"/>
                              <a:pt x="3192" y="1612"/>
                            </a:cubicBezTo>
                            <a:cubicBezTo>
                              <a:pt x="3195" y="1620"/>
                              <a:pt x="3193" y="1624"/>
                              <a:pt x="3206" y="1629"/>
                            </a:cubicBezTo>
                            <a:cubicBezTo>
                              <a:pt x="3219" y="1633"/>
                              <a:pt x="3222" y="1631"/>
                              <a:pt x="3228" y="1639"/>
                            </a:cubicBezTo>
                            <a:cubicBezTo>
                              <a:pt x="3234" y="1646"/>
                              <a:pt x="3244" y="1654"/>
                              <a:pt x="3250" y="1656"/>
                            </a:cubicBezTo>
                            <a:cubicBezTo>
                              <a:pt x="3256" y="1658"/>
                              <a:pt x="3261" y="1660"/>
                              <a:pt x="3263" y="1663"/>
                            </a:cubicBezTo>
                            <a:cubicBezTo>
                              <a:pt x="3264" y="1667"/>
                              <a:pt x="3269" y="1667"/>
                              <a:pt x="3275" y="1673"/>
                            </a:cubicBezTo>
                            <a:cubicBezTo>
                              <a:pt x="3281" y="1678"/>
                              <a:pt x="3283" y="1677"/>
                              <a:pt x="3288" y="1673"/>
                            </a:cubicBezTo>
                            <a:cubicBezTo>
                              <a:pt x="3293" y="1669"/>
                              <a:pt x="3293" y="1668"/>
                              <a:pt x="3303" y="1669"/>
                            </a:cubicBezTo>
                            <a:cubicBezTo>
                              <a:pt x="3312" y="1670"/>
                              <a:pt x="3318" y="1671"/>
                              <a:pt x="3324" y="1670"/>
                            </a:cubicBezTo>
                            <a:cubicBezTo>
                              <a:pt x="3331" y="1669"/>
                              <a:pt x="3333" y="1669"/>
                              <a:pt x="3330" y="1664"/>
                            </a:cubicBezTo>
                            <a:cubicBezTo>
                              <a:pt x="3327" y="1659"/>
                              <a:pt x="3324" y="1653"/>
                              <a:pt x="3329" y="1652"/>
                            </a:cubicBezTo>
                            <a:cubicBezTo>
                              <a:pt x="3333" y="1652"/>
                              <a:pt x="3333" y="1645"/>
                              <a:pt x="3340" y="1653"/>
                            </a:cubicBezTo>
                            <a:cubicBezTo>
                              <a:pt x="3346" y="1660"/>
                              <a:pt x="3350" y="1663"/>
                              <a:pt x="3353" y="1662"/>
                            </a:cubicBezTo>
                            <a:cubicBezTo>
                              <a:pt x="3356" y="1662"/>
                              <a:pt x="3358" y="1658"/>
                              <a:pt x="3362" y="1656"/>
                            </a:cubicBezTo>
                            <a:cubicBezTo>
                              <a:pt x="3366" y="1655"/>
                              <a:pt x="3367" y="1658"/>
                              <a:pt x="3366" y="1661"/>
                            </a:cubicBezTo>
                            <a:cubicBezTo>
                              <a:pt x="3366" y="1664"/>
                              <a:pt x="3360" y="1665"/>
                              <a:pt x="3363" y="1670"/>
                            </a:cubicBezTo>
                            <a:cubicBezTo>
                              <a:pt x="3365" y="1675"/>
                              <a:pt x="3362" y="1675"/>
                              <a:pt x="3371" y="1681"/>
                            </a:cubicBezTo>
                            <a:cubicBezTo>
                              <a:pt x="3380" y="1687"/>
                              <a:pt x="3385" y="1684"/>
                              <a:pt x="3390" y="1690"/>
                            </a:cubicBezTo>
                            <a:cubicBezTo>
                              <a:pt x="3395" y="1696"/>
                              <a:pt x="3394" y="1697"/>
                              <a:pt x="3400" y="1699"/>
                            </a:cubicBezTo>
                            <a:cubicBezTo>
                              <a:pt x="3406" y="1701"/>
                              <a:pt x="3409" y="1700"/>
                              <a:pt x="3412" y="1696"/>
                            </a:cubicBezTo>
                            <a:cubicBezTo>
                              <a:pt x="3415" y="1692"/>
                              <a:pt x="3420" y="1688"/>
                              <a:pt x="3428" y="1692"/>
                            </a:cubicBezTo>
                            <a:cubicBezTo>
                              <a:pt x="3436" y="1696"/>
                              <a:pt x="3437" y="1700"/>
                              <a:pt x="3446" y="1698"/>
                            </a:cubicBezTo>
                            <a:cubicBezTo>
                              <a:pt x="3456" y="1695"/>
                              <a:pt x="3462" y="1694"/>
                              <a:pt x="3466" y="1695"/>
                            </a:cubicBezTo>
                            <a:cubicBezTo>
                              <a:pt x="3470" y="1696"/>
                              <a:pt x="3469" y="1692"/>
                              <a:pt x="3478" y="1699"/>
                            </a:cubicBezTo>
                            <a:cubicBezTo>
                              <a:pt x="3487" y="1707"/>
                              <a:pt x="3491" y="1707"/>
                              <a:pt x="3499" y="1708"/>
                            </a:cubicBezTo>
                            <a:cubicBezTo>
                              <a:pt x="3506" y="1708"/>
                              <a:pt x="3517" y="1714"/>
                              <a:pt x="3533" y="1711"/>
                            </a:cubicBezTo>
                            <a:cubicBezTo>
                              <a:pt x="3549" y="1708"/>
                              <a:pt x="3555" y="1708"/>
                              <a:pt x="3560" y="1708"/>
                            </a:cubicBezTo>
                            <a:cubicBezTo>
                              <a:pt x="3566" y="1707"/>
                              <a:pt x="3567" y="1706"/>
                              <a:pt x="3576" y="1705"/>
                            </a:cubicBezTo>
                            <a:cubicBezTo>
                              <a:pt x="3585" y="1704"/>
                              <a:pt x="3591" y="1704"/>
                              <a:pt x="3598" y="1708"/>
                            </a:cubicBezTo>
                            <a:cubicBezTo>
                              <a:pt x="3604" y="1713"/>
                              <a:pt x="3611" y="1714"/>
                              <a:pt x="3617" y="1719"/>
                            </a:cubicBezTo>
                            <a:cubicBezTo>
                              <a:pt x="3623" y="1726"/>
                              <a:pt x="3632" y="1727"/>
                              <a:pt x="3635" y="1727"/>
                            </a:cubicBezTo>
                            <a:cubicBezTo>
                              <a:pt x="3639" y="1726"/>
                              <a:pt x="3639" y="1721"/>
                              <a:pt x="3642" y="1719"/>
                            </a:cubicBezTo>
                            <a:cubicBezTo>
                              <a:pt x="3644" y="1717"/>
                              <a:pt x="3650" y="1719"/>
                              <a:pt x="3656" y="1718"/>
                            </a:cubicBezTo>
                            <a:cubicBezTo>
                              <a:pt x="3662" y="1716"/>
                              <a:pt x="3663" y="1710"/>
                              <a:pt x="3655" y="1709"/>
                            </a:cubicBezTo>
                            <a:cubicBezTo>
                              <a:pt x="3648" y="1707"/>
                              <a:pt x="3640" y="1705"/>
                              <a:pt x="3633" y="1699"/>
                            </a:cubicBezTo>
                            <a:cubicBezTo>
                              <a:pt x="3627" y="1694"/>
                              <a:pt x="3626" y="1692"/>
                              <a:pt x="3614" y="1690"/>
                            </a:cubicBezTo>
                            <a:cubicBezTo>
                              <a:pt x="3602" y="1687"/>
                              <a:pt x="3598" y="1684"/>
                              <a:pt x="3593" y="1681"/>
                            </a:cubicBezTo>
                            <a:cubicBezTo>
                              <a:pt x="3588" y="1678"/>
                              <a:pt x="3579" y="1674"/>
                              <a:pt x="3582" y="1671"/>
                            </a:cubicBezTo>
                            <a:cubicBezTo>
                              <a:pt x="3584" y="1668"/>
                              <a:pt x="3592" y="1668"/>
                              <a:pt x="3599" y="1674"/>
                            </a:cubicBezTo>
                            <a:cubicBezTo>
                              <a:pt x="3605" y="1679"/>
                              <a:pt x="3607" y="1680"/>
                              <a:pt x="3617" y="1683"/>
                            </a:cubicBezTo>
                            <a:cubicBezTo>
                              <a:pt x="3626" y="1685"/>
                              <a:pt x="3630" y="1683"/>
                              <a:pt x="3636" y="1689"/>
                            </a:cubicBezTo>
                            <a:cubicBezTo>
                              <a:pt x="3642" y="1695"/>
                              <a:pt x="3638" y="1695"/>
                              <a:pt x="3649" y="1699"/>
                            </a:cubicBezTo>
                            <a:cubicBezTo>
                              <a:pt x="3660" y="1703"/>
                              <a:pt x="3671" y="1706"/>
                              <a:pt x="3675" y="1709"/>
                            </a:cubicBezTo>
                            <a:cubicBezTo>
                              <a:pt x="3679" y="1713"/>
                              <a:pt x="3678" y="1712"/>
                              <a:pt x="3685" y="1718"/>
                            </a:cubicBezTo>
                            <a:cubicBezTo>
                              <a:pt x="3692" y="1724"/>
                              <a:pt x="3701" y="1730"/>
                              <a:pt x="3706" y="1733"/>
                            </a:cubicBezTo>
                            <a:cubicBezTo>
                              <a:pt x="3711" y="1735"/>
                              <a:pt x="3716" y="1738"/>
                              <a:pt x="3718" y="1732"/>
                            </a:cubicBezTo>
                            <a:cubicBezTo>
                              <a:pt x="3719" y="1726"/>
                              <a:pt x="3712" y="1723"/>
                              <a:pt x="3705" y="1717"/>
                            </a:cubicBezTo>
                            <a:cubicBezTo>
                              <a:pt x="3698" y="1710"/>
                              <a:pt x="3702" y="1707"/>
                              <a:pt x="3691" y="1706"/>
                            </a:cubicBezTo>
                            <a:cubicBezTo>
                              <a:pt x="3681" y="1704"/>
                              <a:pt x="3680" y="1706"/>
                              <a:pt x="3675" y="1701"/>
                            </a:cubicBezTo>
                            <a:cubicBezTo>
                              <a:pt x="3671" y="1697"/>
                              <a:pt x="3657" y="1689"/>
                              <a:pt x="3669" y="1690"/>
                            </a:cubicBezTo>
                            <a:cubicBezTo>
                              <a:pt x="3680" y="1690"/>
                              <a:pt x="3683" y="1693"/>
                              <a:pt x="3692" y="1696"/>
                            </a:cubicBezTo>
                            <a:cubicBezTo>
                              <a:pt x="3702" y="1699"/>
                              <a:pt x="3719" y="1700"/>
                              <a:pt x="3737" y="1701"/>
                            </a:cubicBezTo>
                            <a:cubicBezTo>
                              <a:pt x="3754" y="1703"/>
                              <a:pt x="3753" y="1699"/>
                              <a:pt x="3762" y="1704"/>
                            </a:cubicBezTo>
                            <a:cubicBezTo>
                              <a:pt x="3772" y="1708"/>
                              <a:pt x="3774" y="1709"/>
                              <a:pt x="3781" y="1714"/>
                            </a:cubicBezTo>
                            <a:cubicBezTo>
                              <a:pt x="3788" y="1719"/>
                              <a:pt x="3794" y="1722"/>
                              <a:pt x="3801" y="1720"/>
                            </a:cubicBezTo>
                            <a:cubicBezTo>
                              <a:pt x="3808" y="1718"/>
                              <a:pt x="3814" y="1717"/>
                              <a:pt x="3823" y="1718"/>
                            </a:cubicBezTo>
                            <a:cubicBezTo>
                              <a:pt x="3831" y="1719"/>
                              <a:pt x="3839" y="1719"/>
                              <a:pt x="3843" y="1715"/>
                            </a:cubicBezTo>
                            <a:cubicBezTo>
                              <a:pt x="3847" y="1711"/>
                              <a:pt x="3848" y="1710"/>
                              <a:pt x="3848" y="1704"/>
                            </a:cubicBezTo>
                            <a:cubicBezTo>
                              <a:pt x="3848" y="1698"/>
                              <a:pt x="3845" y="1696"/>
                              <a:pt x="3842" y="1691"/>
                            </a:cubicBezTo>
                            <a:cubicBezTo>
                              <a:pt x="3840" y="1685"/>
                              <a:pt x="3840" y="1680"/>
                              <a:pt x="3837" y="1676"/>
                            </a:cubicBezTo>
                            <a:cubicBezTo>
                              <a:pt x="3834" y="1672"/>
                              <a:pt x="3827" y="1668"/>
                              <a:pt x="3819" y="1668"/>
                            </a:cubicBezTo>
                            <a:cubicBezTo>
                              <a:pt x="3811" y="1669"/>
                              <a:pt x="3804" y="1669"/>
                              <a:pt x="3801" y="1664"/>
                            </a:cubicBezTo>
                            <a:cubicBezTo>
                              <a:pt x="3798" y="1660"/>
                              <a:pt x="3793" y="1657"/>
                              <a:pt x="3799" y="1655"/>
                            </a:cubicBezTo>
                            <a:cubicBezTo>
                              <a:pt x="3804" y="1654"/>
                              <a:pt x="3808" y="1652"/>
                              <a:pt x="3814" y="1656"/>
                            </a:cubicBezTo>
                            <a:cubicBezTo>
                              <a:pt x="3820" y="1660"/>
                              <a:pt x="3825" y="1656"/>
                              <a:pt x="3825" y="1653"/>
                            </a:cubicBezTo>
                            <a:cubicBezTo>
                              <a:pt x="3826" y="1650"/>
                              <a:pt x="3826" y="1647"/>
                              <a:pt x="3825" y="1644"/>
                            </a:cubicBezTo>
                            <a:cubicBezTo>
                              <a:pt x="3823" y="1640"/>
                              <a:pt x="3818" y="1639"/>
                              <a:pt x="3819" y="1636"/>
                            </a:cubicBezTo>
                            <a:cubicBezTo>
                              <a:pt x="3819" y="1633"/>
                              <a:pt x="3823" y="1630"/>
                              <a:pt x="3827" y="1630"/>
                            </a:cubicBezTo>
                            <a:cubicBezTo>
                              <a:pt x="3831" y="1630"/>
                              <a:pt x="3835" y="1632"/>
                              <a:pt x="3840" y="1636"/>
                            </a:cubicBezTo>
                            <a:cubicBezTo>
                              <a:pt x="3844" y="1640"/>
                              <a:pt x="3842" y="1641"/>
                              <a:pt x="3839" y="1644"/>
                            </a:cubicBezTo>
                            <a:cubicBezTo>
                              <a:pt x="3836" y="1646"/>
                              <a:pt x="3833" y="1647"/>
                              <a:pt x="3835" y="1651"/>
                            </a:cubicBezTo>
                            <a:cubicBezTo>
                              <a:pt x="3838" y="1655"/>
                              <a:pt x="3837" y="1657"/>
                              <a:pt x="3844" y="1658"/>
                            </a:cubicBezTo>
                            <a:cubicBezTo>
                              <a:pt x="3851" y="1658"/>
                              <a:pt x="3855" y="1658"/>
                              <a:pt x="3857" y="1663"/>
                            </a:cubicBezTo>
                            <a:cubicBezTo>
                              <a:pt x="3860" y="1668"/>
                              <a:pt x="3867" y="1665"/>
                              <a:pt x="3868" y="1669"/>
                            </a:cubicBezTo>
                            <a:cubicBezTo>
                              <a:pt x="3868" y="1673"/>
                              <a:pt x="3866" y="1675"/>
                              <a:pt x="3869" y="1676"/>
                            </a:cubicBezTo>
                            <a:cubicBezTo>
                              <a:pt x="3873" y="1678"/>
                              <a:pt x="3876" y="1678"/>
                              <a:pt x="3882" y="1677"/>
                            </a:cubicBezTo>
                            <a:cubicBezTo>
                              <a:pt x="3888" y="1676"/>
                              <a:pt x="3893" y="1671"/>
                              <a:pt x="3898" y="1674"/>
                            </a:cubicBezTo>
                            <a:cubicBezTo>
                              <a:pt x="3904" y="1678"/>
                              <a:pt x="3908" y="1677"/>
                              <a:pt x="3911" y="1684"/>
                            </a:cubicBezTo>
                            <a:cubicBezTo>
                              <a:pt x="3914" y="1691"/>
                              <a:pt x="3914" y="1697"/>
                              <a:pt x="3914" y="1703"/>
                            </a:cubicBezTo>
                            <a:cubicBezTo>
                              <a:pt x="3914" y="1710"/>
                              <a:pt x="3912" y="1724"/>
                              <a:pt x="3917" y="1725"/>
                            </a:cubicBezTo>
                            <a:cubicBezTo>
                              <a:pt x="3921" y="1727"/>
                              <a:pt x="3929" y="1723"/>
                              <a:pt x="3930" y="1720"/>
                            </a:cubicBezTo>
                            <a:cubicBezTo>
                              <a:pt x="3932" y="1716"/>
                              <a:pt x="3937" y="1713"/>
                              <a:pt x="3942" y="1711"/>
                            </a:cubicBezTo>
                            <a:cubicBezTo>
                              <a:pt x="3946" y="1709"/>
                              <a:pt x="3953" y="1708"/>
                              <a:pt x="3953" y="1710"/>
                            </a:cubicBezTo>
                            <a:cubicBezTo>
                              <a:pt x="3953" y="1713"/>
                              <a:pt x="3947" y="1714"/>
                              <a:pt x="3950" y="1717"/>
                            </a:cubicBezTo>
                            <a:cubicBezTo>
                              <a:pt x="3952" y="1720"/>
                              <a:pt x="3962" y="1720"/>
                              <a:pt x="3965" y="1721"/>
                            </a:cubicBezTo>
                            <a:cubicBezTo>
                              <a:pt x="3969" y="1722"/>
                              <a:pt x="3970" y="1725"/>
                              <a:pt x="3967" y="1729"/>
                            </a:cubicBezTo>
                            <a:cubicBezTo>
                              <a:pt x="3965" y="1733"/>
                              <a:pt x="3958" y="1731"/>
                              <a:pt x="3954" y="1735"/>
                            </a:cubicBezTo>
                            <a:cubicBezTo>
                              <a:pt x="3949" y="1740"/>
                              <a:pt x="3942" y="1740"/>
                              <a:pt x="3950" y="1743"/>
                            </a:cubicBezTo>
                            <a:cubicBezTo>
                              <a:pt x="3957" y="1746"/>
                              <a:pt x="3959" y="1742"/>
                              <a:pt x="3963" y="1745"/>
                            </a:cubicBezTo>
                            <a:cubicBezTo>
                              <a:pt x="3967" y="1748"/>
                              <a:pt x="3967" y="1754"/>
                              <a:pt x="3972" y="1749"/>
                            </a:cubicBezTo>
                            <a:cubicBezTo>
                              <a:pt x="3978" y="1744"/>
                              <a:pt x="3974" y="1738"/>
                              <a:pt x="3981" y="1738"/>
                            </a:cubicBezTo>
                            <a:cubicBezTo>
                              <a:pt x="3988" y="1738"/>
                              <a:pt x="3995" y="1735"/>
                              <a:pt x="3996" y="1739"/>
                            </a:cubicBezTo>
                            <a:cubicBezTo>
                              <a:pt x="3997" y="1743"/>
                              <a:pt x="3995" y="1744"/>
                              <a:pt x="3989" y="1745"/>
                            </a:cubicBezTo>
                            <a:cubicBezTo>
                              <a:pt x="3984" y="1747"/>
                              <a:pt x="3976" y="1748"/>
                              <a:pt x="3981" y="1755"/>
                            </a:cubicBezTo>
                            <a:cubicBezTo>
                              <a:pt x="3987" y="1762"/>
                              <a:pt x="3989" y="1760"/>
                              <a:pt x="3992" y="1765"/>
                            </a:cubicBezTo>
                            <a:cubicBezTo>
                              <a:pt x="3994" y="1769"/>
                              <a:pt x="3991" y="1768"/>
                              <a:pt x="4000" y="1769"/>
                            </a:cubicBezTo>
                            <a:cubicBezTo>
                              <a:pt x="4009" y="1770"/>
                              <a:pt x="4015" y="1766"/>
                              <a:pt x="4018" y="1771"/>
                            </a:cubicBezTo>
                            <a:cubicBezTo>
                              <a:pt x="4020" y="1775"/>
                              <a:pt x="4024" y="1781"/>
                              <a:pt x="4029" y="1783"/>
                            </a:cubicBezTo>
                            <a:cubicBezTo>
                              <a:pt x="4034" y="1785"/>
                              <a:pt x="4038" y="1784"/>
                              <a:pt x="4038" y="1788"/>
                            </a:cubicBezTo>
                            <a:cubicBezTo>
                              <a:pt x="4038" y="1792"/>
                              <a:pt x="4035" y="1797"/>
                              <a:pt x="4029" y="1800"/>
                            </a:cubicBezTo>
                            <a:cubicBezTo>
                              <a:pt x="4022" y="1803"/>
                              <a:pt x="4023" y="1811"/>
                              <a:pt x="4017" y="1812"/>
                            </a:cubicBezTo>
                            <a:cubicBezTo>
                              <a:pt x="4011" y="1813"/>
                              <a:pt x="4006" y="1807"/>
                              <a:pt x="3999" y="1806"/>
                            </a:cubicBezTo>
                            <a:cubicBezTo>
                              <a:pt x="3993" y="1806"/>
                              <a:pt x="3987" y="1806"/>
                              <a:pt x="3983" y="1808"/>
                            </a:cubicBezTo>
                            <a:cubicBezTo>
                              <a:pt x="3979" y="1811"/>
                              <a:pt x="3978" y="1814"/>
                              <a:pt x="3980" y="1820"/>
                            </a:cubicBezTo>
                            <a:cubicBezTo>
                              <a:pt x="3982" y="1826"/>
                              <a:pt x="3984" y="1829"/>
                              <a:pt x="3981" y="1833"/>
                            </a:cubicBezTo>
                            <a:cubicBezTo>
                              <a:pt x="3978" y="1836"/>
                              <a:pt x="3973" y="1840"/>
                              <a:pt x="3977" y="1843"/>
                            </a:cubicBezTo>
                            <a:cubicBezTo>
                              <a:pt x="3982" y="1847"/>
                              <a:pt x="3985" y="1850"/>
                              <a:pt x="3993" y="1845"/>
                            </a:cubicBezTo>
                            <a:cubicBezTo>
                              <a:pt x="4001" y="1841"/>
                              <a:pt x="4009" y="1835"/>
                              <a:pt x="4014" y="1833"/>
                            </a:cubicBezTo>
                            <a:cubicBezTo>
                              <a:pt x="4019" y="1831"/>
                              <a:pt x="4030" y="1832"/>
                              <a:pt x="4036" y="1828"/>
                            </a:cubicBezTo>
                            <a:cubicBezTo>
                              <a:pt x="4041" y="1825"/>
                              <a:pt x="4043" y="1819"/>
                              <a:pt x="4045" y="1815"/>
                            </a:cubicBezTo>
                            <a:cubicBezTo>
                              <a:pt x="4047" y="1811"/>
                              <a:pt x="4052" y="1809"/>
                              <a:pt x="4058" y="1815"/>
                            </a:cubicBezTo>
                            <a:cubicBezTo>
                              <a:pt x="4063" y="1821"/>
                              <a:pt x="4068" y="1825"/>
                              <a:pt x="4072" y="1819"/>
                            </a:cubicBezTo>
                            <a:cubicBezTo>
                              <a:pt x="4075" y="1813"/>
                              <a:pt x="4078" y="1806"/>
                              <a:pt x="4084" y="1806"/>
                            </a:cubicBezTo>
                            <a:cubicBezTo>
                              <a:pt x="4090" y="1806"/>
                              <a:pt x="4095" y="1807"/>
                              <a:pt x="4093" y="1810"/>
                            </a:cubicBezTo>
                            <a:cubicBezTo>
                              <a:pt x="4091" y="1813"/>
                              <a:pt x="4084" y="1814"/>
                              <a:pt x="4087" y="1819"/>
                            </a:cubicBezTo>
                            <a:cubicBezTo>
                              <a:pt x="4090" y="1823"/>
                              <a:pt x="4095" y="1820"/>
                              <a:pt x="4095" y="1825"/>
                            </a:cubicBezTo>
                            <a:cubicBezTo>
                              <a:pt x="4096" y="1829"/>
                              <a:pt x="4087" y="1828"/>
                              <a:pt x="4088" y="1832"/>
                            </a:cubicBezTo>
                            <a:cubicBezTo>
                              <a:pt x="4089" y="1836"/>
                              <a:pt x="4088" y="1837"/>
                              <a:pt x="4094" y="1838"/>
                            </a:cubicBezTo>
                            <a:cubicBezTo>
                              <a:pt x="4101" y="1839"/>
                              <a:pt x="4106" y="1836"/>
                              <a:pt x="4107" y="1843"/>
                            </a:cubicBezTo>
                            <a:cubicBezTo>
                              <a:pt x="4108" y="1850"/>
                              <a:pt x="4107" y="1854"/>
                              <a:pt x="4114" y="1858"/>
                            </a:cubicBezTo>
                            <a:cubicBezTo>
                              <a:pt x="4121" y="1861"/>
                              <a:pt x="4125" y="1862"/>
                              <a:pt x="4130" y="1862"/>
                            </a:cubicBezTo>
                            <a:cubicBezTo>
                              <a:pt x="4136" y="1863"/>
                              <a:pt x="4144" y="1867"/>
                              <a:pt x="4144" y="1863"/>
                            </a:cubicBezTo>
                            <a:cubicBezTo>
                              <a:pt x="4145" y="1859"/>
                              <a:pt x="4146" y="1858"/>
                              <a:pt x="4140" y="1855"/>
                            </a:cubicBezTo>
                            <a:cubicBezTo>
                              <a:pt x="4133" y="1851"/>
                              <a:pt x="4128" y="1845"/>
                              <a:pt x="4133" y="1845"/>
                            </a:cubicBezTo>
                            <a:cubicBezTo>
                              <a:pt x="4137" y="1845"/>
                              <a:pt x="4141" y="1844"/>
                              <a:pt x="4146" y="1849"/>
                            </a:cubicBezTo>
                            <a:cubicBezTo>
                              <a:pt x="4151" y="1854"/>
                              <a:pt x="4152" y="1852"/>
                              <a:pt x="4151" y="1860"/>
                            </a:cubicBezTo>
                            <a:cubicBezTo>
                              <a:pt x="4150" y="1868"/>
                              <a:pt x="4144" y="1863"/>
                              <a:pt x="4148" y="1873"/>
                            </a:cubicBezTo>
                            <a:cubicBezTo>
                              <a:pt x="4151" y="1882"/>
                              <a:pt x="4154" y="1882"/>
                              <a:pt x="4157" y="1887"/>
                            </a:cubicBezTo>
                            <a:cubicBezTo>
                              <a:pt x="4161" y="1891"/>
                              <a:pt x="4162" y="1893"/>
                              <a:pt x="4170" y="1889"/>
                            </a:cubicBezTo>
                            <a:cubicBezTo>
                              <a:pt x="4177" y="1884"/>
                              <a:pt x="4176" y="1878"/>
                              <a:pt x="4180" y="1879"/>
                            </a:cubicBezTo>
                            <a:cubicBezTo>
                              <a:pt x="4185" y="1880"/>
                              <a:pt x="4187" y="1879"/>
                              <a:pt x="4187" y="1886"/>
                            </a:cubicBezTo>
                            <a:cubicBezTo>
                              <a:pt x="4187" y="1893"/>
                              <a:pt x="4188" y="1894"/>
                              <a:pt x="4192" y="1894"/>
                            </a:cubicBezTo>
                            <a:cubicBezTo>
                              <a:pt x="4197" y="1895"/>
                              <a:pt x="4200" y="1893"/>
                              <a:pt x="4201" y="1898"/>
                            </a:cubicBezTo>
                            <a:cubicBezTo>
                              <a:pt x="4203" y="1903"/>
                              <a:pt x="4199" y="1906"/>
                              <a:pt x="4200" y="1910"/>
                            </a:cubicBezTo>
                            <a:cubicBezTo>
                              <a:pt x="4201" y="1914"/>
                              <a:pt x="4204" y="1917"/>
                              <a:pt x="4206" y="1923"/>
                            </a:cubicBezTo>
                            <a:cubicBezTo>
                              <a:pt x="4209" y="1929"/>
                              <a:pt x="4212" y="1931"/>
                              <a:pt x="4215" y="1934"/>
                            </a:cubicBezTo>
                            <a:cubicBezTo>
                              <a:pt x="4218" y="1936"/>
                              <a:pt x="4223" y="1937"/>
                              <a:pt x="4224" y="1940"/>
                            </a:cubicBezTo>
                            <a:cubicBezTo>
                              <a:pt x="4225" y="1944"/>
                              <a:pt x="4223" y="1950"/>
                              <a:pt x="4226" y="1954"/>
                            </a:cubicBezTo>
                            <a:cubicBezTo>
                              <a:pt x="4229" y="1958"/>
                              <a:pt x="4230" y="1955"/>
                              <a:pt x="4233" y="1963"/>
                            </a:cubicBezTo>
                            <a:cubicBezTo>
                              <a:pt x="4236" y="1972"/>
                              <a:pt x="4234" y="1976"/>
                              <a:pt x="4235" y="1980"/>
                            </a:cubicBezTo>
                            <a:cubicBezTo>
                              <a:pt x="4237" y="1984"/>
                              <a:pt x="4240" y="1986"/>
                              <a:pt x="4243" y="1991"/>
                            </a:cubicBezTo>
                            <a:cubicBezTo>
                              <a:pt x="4246" y="1996"/>
                              <a:pt x="4249" y="1994"/>
                              <a:pt x="4250" y="1998"/>
                            </a:cubicBezTo>
                            <a:cubicBezTo>
                              <a:pt x="4251" y="2003"/>
                              <a:pt x="4254" y="2005"/>
                              <a:pt x="4246" y="2009"/>
                            </a:cubicBezTo>
                            <a:cubicBezTo>
                              <a:pt x="4238" y="2014"/>
                              <a:pt x="4233" y="2012"/>
                              <a:pt x="4232" y="2019"/>
                            </a:cubicBezTo>
                            <a:cubicBezTo>
                              <a:pt x="4230" y="2025"/>
                              <a:pt x="4222" y="2025"/>
                              <a:pt x="4221" y="2032"/>
                            </a:cubicBezTo>
                            <a:close/>
                            <a:moveTo>
                              <a:pt x="4735" y="3588"/>
                            </a:moveTo>
                            <a:cubicBezTo>
                              <a:pt x="4737" y="3594"/>
                              <a:pt x="4744" y="3596"/>
                              <a:pt x="4752" y="3599"/>
                            </a:cubicBezTo>
                            <a:cubicBezTo>
                              <a:pt x="4761" y="3602"/>
                              <a:pt x="4769" y="3601"/>
                              <a:pt x="4775" y="3610"/>
                            </a:cubicBezTo>
                            <a:cubicBezTo>
                              <a:pt x="4780" y="3618"/>
                              <a:pt x="4778" y="3624"/>
                              <a:pt x="4792" y="3629"/>
                            </a:cubicBezTo>
                            <a:cubicBezTo>
                              <a:pt x="4806" y="3633"/>
                              <a:pt x="4807" y="3631"/>
                              <a:pt x="4817" y="3634"/>
                            </a:cubicBezTo>
                            <a:cubicBezTo>
                              <a:pt x="4826" y="3637"/>
                              <a:pt x="4833" y="3636"/>
                              <a:pt x="4840" y="3642"/>
                            </a:cubicBezTo>
                            <a:cubicBezTo>
                              <a:pt x="4848" y="3648"/>
                              <a:pt x="4852" y="3650"/>
                              <a:pt x="4865" y="3650"/>
                            </a:cubicBezTo>
                            <a:cubicBezTo>
                              <a:pt x="4879" y="3649"/>
                              <a:pt x="4889" y="3652"/>
                              <a:pt x="4895" y="3648"/>
                            </a:cubicBezTo>
                            <a:cubicBezTo>
                              <a:pt x="4902" y="3643"/>
                              <a:pt x="4908" y="3643"/>
                              <a:pt x="4900" y="3637"/>
                            </a:cubicBezTo>
                            <a:cubicBezTo>
                              <a:pt x="4893" y="3630"/>
                              <a:pt x="4891" y="3626"/>
                              <a:pt x="4881" y="3625"/>
                            </a:cubicBezTo>
                            <a:cubicBezTo>
                              <a:pt x="4872" y="3623"/>
                              <a:pt x="4870" y="3629"/>
                              <a:pt x="4863" y="3619"/>
                            </a:cubicBezTo>
                            <a:cubicBezTo>
                              <a:pt x="4857" y="3610"/>
                              <a:pt x="4859" y="3606"/>
                              <a:pt x="4843" y="3603"/>
                            </a:cubicBezTo>
                            <a:cubicBezTo>
                              <a:pt x="4828" y="3599"/>
                              <a:pt x="4825" y="3600"/>
                              <a:pt x="4816" y="3595"/>
                            </a:cubicBezTo>
                            <a:cubicBezTo>
                              <a:pt x="4808" y="3590"/>
                              <a:pt x="4807" y="3586"/>
                              <a:pt x="4791" y="3586"/>
                            </a:cubicBezTo>
                            <a:cubicBezTo>
                              <a:pt x="4775" y="3586"/>
                              <a:pt x="4776" y="3590"/>
                              <a:pt x="4758" y="3587"/>
                            </a:cubicBezTo>
                            <a:cubicBezTo>
                              <a:pt x="4741" y="3584"/>
                              <a:pt x="4735" y="3582"/>
                              <a:pt x="4735" y="3588"/>
                            </a:cubicBezTo>
                            <a:close/>
                            <a:moveTo>
                              <a:pt x="5278" y="3511"/>
                            </a:moveTo>
                            <a:cubicBezTo>
                              <a:pt x="5276" y="3512"/>
                              <a:pt x="5271" y="3514"/>
                              <a:pt x="5273" y="3516"/>
                            </a:cubicBezTo>
                            <a:cubicBezTo>
                              <a:pt x="5276" y="3518"/>
                              <a:pt x="5278" y="3519"/>
                              <a:pt x="5282" y="3517"/>
                            </a:cubicBezTo>
                            <a:cubicBezTo>
                              <a:pt x="5285" y="3515"/>
                              <a:pt x="5291" y="3517"/>
                              <a:pt x="5290" y="3514"/>
                            </a:cubicBezTo>
                            <a:cubicBezTo>
                              <a:pt x="5290" y="3511"/>
                              <a:pt x="5287" y="3505"/>
                              <a:pt x="5278" y="3511"/>
                            </a:cubicBezTo>
                            <a:close/>
                            <a:moveTo>
                              <a:pt x="5333" y="3602"/>
                            </a:moveTo>
                            <a:cubicBezTo>
                              <a:pt x="5329" y="3606"/>
                              <a:pt x="5323" y="3602"/>
                              <a:pt x="5324" y="3606"/>
                            </a:cubicBezTo>
                            <a:cubicBezTo>
                              <a:pt x="5324" y="3610"/>
                              <a:pt x="5325" y="3612"/>
                              <a:pt x="5330" y="3610"/>
                            </a:cubicBezTo>
                            <a:cubicBezTo>
                              <a:pt x="5336" y="3608"/>
                              <a:pt x="5343" y="3610"/>
                              <a:pt x="5344" y="3605"/>
                            </a:cubicBezTo>
                            <a:cubicBezTo>
                              <a:pt x="5344" y="3600"/>
                              <a:pt x="5337" y="3597"/>
                              <a:pt x="5333" y="3602"/>
                            </a:cubicBezTo>
                            <a:close/>
                            <a:moveTo>
                              <a:pt x="5365" y="3592"/>
                            </a:moveTo>
                            <a:cubicBezTo>
                              <a:pt x="5360" y="3596"/>
                              <a:pt x="5357" y="3601"/>
                              <a:pt x="5359" y="3604"/>
                            </a:cubicBezTo>
                            <a:cubicBezTo>
                              <a:pt x="5361" y="3607"/>
                              <a:pt x="5363" y="3608"/>
                              <a:pt x="5368" y="3607"/>
                            </a:cubicBezTo>
                            <a:cubicBezTo>
                              <a:pt x="5373" y="3605"/>
                              <a:pt x="5381" y="3609"/>
                              <a:pt x="5381" y="3604"/>
                            </a:cubicBezTo>
                            <a:cubicBezTo>
                              <a:pt x="5381" y="3598"/>
                              <a:pt x="5374" y="3589"/>
                              <a:pt x="5365" y="3592"/>
                            </a:cubicBezTo>
                            <a:close/>
                            <a:moveTo>
                              <a:pt x="5298" y="3611"/>
                            </a:moveTo>
                            <a:cubicBezTo>
                              <a:pt x="5295" y="3614"/>
                              <a:pt x="5293" y="3615"/>
                              <a:pt x="5297" y="3618"/>
                            </a:cubicBezTo>
                            <a:cubicBezTo>
                              <a:pt x="5301" y="3621"/>
                              <a:pt x="5305" y="3627"/>
                              <a:pt x="5307" y="3622"/>
                            </a:cubicBezTo>
                            <a:cubicBezTo>
                              <a:pt x="5309" y="3618"/>
                              <a:pt x="5306" y="3605"/>
                              <a:pt x="5298" y="3611"/>
                            </a:cubicBezTo>
                            <a:close/>
                            <a:moveTo>
                              <a:pt x="5255" y="3765"/>
                            </a:moveTo>
                            <a:cubicBezTo>
                              <a:pt x="5250" y="3767"/>
                              <a:pt x="5246" y="3770"/>
                              <a:pt x="5248" y="3773"/>
                            </a:cubicBezTo>
                            <a:cubicBezTo>
                              <a:pt x="5250" y="3776"/>
                              <a:pt x="5255" y="3776"/>
                              <a:pt x="5258" y="3776"/>
                            </a:cubicBezTo>
                            <a:cubicBezTo>
                              <a:pt x="5261" y="3776"/>
                              <a:pt x="5259" y="3773"/>
                              <a:pt x="5261" y="3767"/>
                            </a:cubicBezTo>
                            <a:cubicBezTo>
                              <a:pt x="5263" y="3762"/>
                              <a:pt x="5261" y="3763"/>
                              <a:pt x="5255" y="3765"/>
                            </a:cubicBezTo>
                            <a:close/>
                            <a:moveTo>
                              <a:pt x="4895" y="3772"/>
                            </a:moveTo>
                            <a:cubicBezTo>
                              <a:pt x="4890" y="3775"/>
                              <a:pt x="4887" y="3773"/>
                              <a:pt x="4886" y="3779"/>
                            </a:cubicBezTo>
                            <a:cubicBezTo>
                              <a:pt x="4885" y="3785"/>
                              <a:pt x="4876" y="3791"/>
                              <a:pt x="4885" y="3794"/>
                            </a:cubicBezTo>
                            <a:cubicBezTo>
                              <a:pt x="4894" y="3796"/>
                              <a:pt x="4898" y="3799"/>
                              <a:pt x="4898" y="3793"/>
                            </a:cubicBezTo>
                            <a:cubicBezTo>
                              <a:pt x="4898" y="3786"/>
                              <a:pt x="4896" y="3784"/>
                              <a:pt x="4899" y="3779"/>
                            </a:cubicBezTo>
                            <a:cubicBezTo>
                              <a:pt x="4902" y="3773"/>
                              <a:pt x="4909" y="3772"/>
                              <a:pt x="4916" y="3769"/>
                            </a:cubicBezTo>
                            <a:cubicBezTo>
                              <a:pt x="4923" y="3766"/>
                              <a:pt x="4927" y="3764"/>
                              <a:pt x="4922" y="3762"/>
                            </a:cubicBezTo>
                            <a:cubicBezTo>
                              <a:pt x="4918" y="3760"/>
                              <a:pt x="4905" y="3764"/>
                              <a:pt x="4895" y="3772"/>
                            </a:cubicBezTo>
                            <a:close/>
                            <a:moveTo>
                              <a:pt x="4128" y="1904"/>
                            </a:moveTo>
                            <a:cubicBezTo>
                              <a:pt x="4138" y="1913"/>
                              <a:pt x="4136" y="1916"/>
                              <a:pt x="4146" y="1917"/>
                            </a:cubicBezTo>
                            <a:cubicBezTo>
                              <a:pt x="4155" y="1918"/>
                              <a:pt x="4156" y="1914"/>
                              <a:pt x="4165" y="1920"/>
                            </a:cubicBezTo>
                            <a:cubicBezTo>
                              <a:pt x="4174" y="1925"/>
                              <a:pt x="4178" y="1927"/>
                              <a:pt x="4178" y="1933"/>
                            </a:cubicBezTo>
                            <a:cubicBezTo>
                              <a:pt x="4179" y="1939"/>
                              <a:pt x="4184" y="1944"/>
                              <a:pt x="4174" y="1944"/>
                            </a:cubicBezTo>
                            <a:cubicBezTo>
                              <a:pt x="4164" y="1944"/>
                              <a:pt x="4154" y="1941"/>
                              <a:pt x="4144" y="1944"/>
                            </a:cubicBezTo>
                            <a:cubicBezTo>
                              <a:pt x="4134" y="1947"/>
                              <a:pt x="4123" y="1948"/>
                              <a:pt x="4119" y="1946"/>
                            </a:cubicBezTo>
                            <a:cubicBezTo>
                              <a:pt x="4116" y="1943"/>
                              <a:pt x="4112" y="1946"/>
                              <a:pt x="4106" y="1939"/>
                            </a:cubicBezTo>
                            <a:cubicBezTo>
                              <a:pt x="4100" y="1931"/>
                              <a:pt x="4089" y="1933"/>
                              <a:pt x="4091" y="1927"/>
                            </a:cubicBezTo>
                            <a:cubicBezTo>
                              <a:pt x="4094" y="1921"/>
                              <a:pt x="4097" y="1919"/>
                              <a:pt x="4104" y="1917"/>
                            </a:cubicBezTo>
                            <a:cubicBezTo>
                              <a:pt x="4112" y="1915"/>
                              <a:pt x="4110" y="1911"/>
                              <a:pt x="4116" y="1908"/>
                            </a:cubicBezTo>
                            <a:cubicBezTo>
                              <a:pt x="4122" y="1905"/>
                              <a:pt x="4124" y="1901"/>
                              <a:pt x="4128" y="1904"/>
                            </a:cubicBezTo>
                            <a:close/>
                            <a:moveTo>
                              <a:pt x="3802" y="3404"/>
                            </a:moveTo>
                            <a:cubicBezTo>
                              <a:pt x="3795" y="3407"/>
                              <a:pt x="3788" y="3404"/>
                              <a:pt x="3788" y="3408"/>
                            </a:cubicBezTo>
                            <a:cubicBezTo>
                              <a:pt x="3789" y="3413"/>
                              <a:pt x="3793" y="3417"/>
                              <a:pt x="3798" y="3415"/>
                            </a:cubicBezTo>
                            <a:cubicBezTo>
                              <a:pt x="3803" y="3413"/>
                              <a:pt x="3812" y="3419"/>
                              <a:pt x="3812" y="3412"/>
                            </a:cubicBezTo>
                            <a:cubicBezTo>
                              <a:pt x="3812" y="3405"/>
                              <a:pt x="3816" y="3400"/>
                              <a:pt x="3811" y="3399"/>
                            </a:cubicBezTo>
                            <a:cubicBezTo>
                              <a:pt x="3807" y="3398"/>
                              <a:pt x="3808" y="3400"/>
                              <a:pt x="3802" y="3404"/>
                            </a:cubicBezTo>
                            <a:close/>
                            <a:moveTo>
                              <a:pt x="4004" y="1892"/>
                            </a:moveTo>
                            <a:cubicBezTo>
                              <a:pt x="4011" y="1892"/>
                              <a:pt x="4014" y="1890"/>
                              <a:pt x="4021" y="1889"/>
                            </a:cubicBezTo>
                            <a:cubicBezTo>
                              <a:pt x="4028" y="1887"/>
                              <a:pt x="4029" y="1884"/>
                              <a:pt x="4038" y="1889"/>
                            </a:cubicBezTo>
                            <a:cubicBezTo>
                              <a:pt x="4047" y="1893"/>
                              <a:pt x="4047" y="1893"/>
                              <a:pt x="4056" y="1895"/>
                            </a:cubicBezTo>
                            <a:cubicBezTo>
                              <a:pt x="4065" y="1896"/>
                              <a:pt x="4068" y="1893"/>
                              <a:pt x="4070" y="1901"/>
                            </a:cubicBezTo>
                            <a:cubicBezTo>
                              <a:pt x="4072" y="1909"/>
                              <a:pt x="4073" y="1910"/>
                              <a:pt x="4069" y="1918"/>
                            </a:cubicBezTo>
                            <a:cubicBezTo>
                              <a:pt x="4065" y="1925"/>
                              <a:pt x="4061" y="1925"/>
                              <a:pt x="4066" y="1934"/>
                            </a:cubicBezTo>
                            <a:cubicBezTo>
                              <a:pt x="4071" y="1943"/>
                              <a:pt x="4074" y="1947"/>
                              <a:pt x="4076" y="1953"/>
                            </a:cubicBezTo>
                            <a:cubicBezTo>
                              <a:pt x="4077" y="1960"/>
                              <a:pt x="4080" y="1962"/>
                              <a:pt x="4074" y="1969"/>
                            </a:cubicBezTo>
                            <a:cubicBezTo>
                              <a:pt x="4067" y="1976"/>
                              <a:pt x="4061" y="1977"/>
                              <a:pt x="4055" y="1985"/>
                            </a:cubicBezTo>
                            <a:cubicBezTo>
                              <a:pt x="4048" y="1992"/>
                              <a:pt x="4041" y="1997"/>
                              <a:pt x="4029" y="1999"/>
                            </a:cubicBezTo>
                            <a:cubicBezTo>
                              <a:pt x="4018" y="2000"/>
                              <a:pt x="4009" y="1997"/>
                              <a:pt x="3999" y="2001"/>
                            </a:cubicBezTo>
                            <a:cubicBezTo>
                              <a:pt x="3989" y="2005"/>
                              <a:pt x="3983" y="2006"/>
                              <a:pt x="3977" y="2003"/>
                            </a:cubicBezTo>
                            <a:cubicBezTo>
                              <a:pt x="3970" y="1999"/>
                              <a:pt x="3960" y="1994"/>
                              <a:pt x="3955" y="1989"/>
                            </a:cubicBezTo>
                            <a:cubicBezTo>
                              <a:pt x="3950" y="1985"/>
                              <a:pt x="3943" y="1979"/>
                              <a:pt x="3939" y="1968"/>
                            </a:cubicBezTo>
                            <a:cubicBezTo>
                              <a:pt x="3935" y="1957"/>
                              <a:pt x="3931" y="1953"/>
                              <a:pt x="3935" y="1946"/>
                            </a:cubicBezTo>
                            <a:cubicBezTo>
                              <a:pt x="3940" y="1940"/>
                              <a:pt x="3947" y="1934"/>
                              <a:pt x="3953" y="1925"/>
                            </a:cubicBezTo>
                            <a:cubicBezTo>
                              <a:pt x="3959" y="1916"/>
                              <a:pt x="3964" y="1910"/>
                              <a:pt x="3967" y="1904"/>
                            </a:cubicBezTo>
                            <a:cubicBezTo>
                              <a:pt x="3971" y="1899"/>
                              <a:pt x="3968" y="1894"/>
                              <a:pt x="3977" y="1893"/>
                            </a:cubicBezTo>
                            <a:cubicBezTo>
                              <a:pt x="3986" y="1893"/>
                              <a:pt x="3995" y="1896"/>
                              <a:pt x="4004" y="1892"/>
                            </a:cubicBezTo>
                            <a:close/>
                            <a:moveTo>
                              <a:pt x="4058" y="1851"/>
                            </a:moveTo>
                            <a:cubicBezTo>
                              <a:pt x="4061" y="1842"/>
                              <a:pt x="4076" y="1849"/>
                              <a:pt x="4080" y="1858"/>
                            </a:cubicBezTo>
                            <a:cubicBezTo>
                              <a:pt x="4084" y="1867"/>
                              <a:pt x="4087" y="1866"/>
                              <a:pt x="4090" y="1873"/>
                            </a:cubicBezTo>
                            <a:cubicBezTo>
                              <a:pt x="4093" y="1879"/>
                              <a:pt x="4089" y="1881"/>
                              <a:pt x="4085" y="1885"/>
                            </a:cubicBezTo>
                            <a:cubicBezTo>
                              <a:pt x="4080" y="1889"/>
                              <a:pt x="4077" y="1882"/>
                              <a:pt x="4073" y="1876"/>
                            </a:cubicBezTo>
                            <a:cubicBezTo>
                              <a:pt x="4069" y="1870"/>
                              <a:pt x="4067" y="1869"/>
                              <a:pt x="4060" y="1864"/>
                            </a:cubicBezTo>
                            <a:cubicBezTo>
                              <a:pt x="4054" y="1859"/>
                              <a:pt x="4056" y="1857"/>
                              <a:pt x="4058" y="1851"/>
                            </a:cubicBezTo>
                            <a:close/>
                            <a:moveTo>
                              <a:pt x="3933" y="1773"/>
                            </a:moveTo>
                            <a:cubicBezTo>
                              <a:pt x="3940" y="1762"/>
                              <a:pt x="3963" y="1772"/>
                              <a:pt x="3969" y="1775"/>
                            </a:cubicBezTo>
                            <a:cubicBezTo>
                              <a:pt x="3975" y="1779"/>
                              <a:pt x="3974" y="1780"/>
                              <a:pt x="3972" y="1783"/>
                            </a:cubicBezTo>
                            <a:cubicBezTo>
                              <a:pt x="3970" y="1787"/>
                              <a:pt x="3964" y="1787"/>
                              <a:pt x="3963" y="1790"/>
                            </a:cubicBezTo>
                            <a:cubicBezTo>
                              <a:pt x="3961" y="1793"/>
                              <a:pt x="3959" y="1799"/>
                              <a:pt x="3956" y="1803"/>
                            </a:cubicBezTo>
                            <a:cubicBezTo>
                              <a:pt x="3953" y="1807"/>
                              <a:pt x="3950" y="1803"/>
                              <a:pt x="3942" y="1799"/>
                            </a:cubicBezTo>
                            <a:cubicBezTo>
                              <a:pt x="3935" y="1795"/>
                              <a:pt x="3937" y="1795"/>
                              <a:pt x="3934" y="1789"/>
                            </a:cubicBezTo>
                            <a:cubicBezTo>
                              <a:pt x="3931" y="1783"/>
                              <a:pt x="3932" y="1779"/>
                              <a:pt x="3933" y="1773"/>
                            </a:cubicBezTo>
                            <a:close/>
                            <a:moveTo>
                              <a:pt x="3871" y="1741"/>
                            </a:moveTo>
                            <a:cubicBezTo>
                              <a:pt x="3881" y="1734"/>
                              <a:pt x="3884" y="1734"/>
                              <a:pt x="3888" y="1734"/>
                            </a:cubicBezTo>
                            <a:cubicBezTo>
                              <a:pt x="3891" y="1735"/>
                              <a:pt x="3898" y="1740"/>
                              <a:pt x="3896" y="1744"/>
                            </a:cubicBezTo>
                            <a:cubicBezTo>
                              <a:pt x="3894" y="1749"/>
                              <a:pt x="3886" y="1751"/>
                              <a:pt x="3877" y="1752"/>
                            </a:cubicBezTo>
                            <a:cubicBezTo>
                              <a:pt x="3868" y="1753"/>
                              <a:pt x="3869" y="1755"/>
                              <a:pt x="3860" y="1759"/>
                            </a:cubicBezTo>
                            <a:cubicBezTo>
                              <a:pt x="3850" y="1764"/>
                              <a:pt x="3852" y="1758"/>
                              <a:pt x="3851" y="1755"/>
                            </a:cubicBezTo>
                            <a:cubicBezTo>
                              <a:pt x="3850" y="1753"/>
                              <a:pt x="3857" y="1753"/>
                              <a:pt x="3863" y="1747"/>
                            </a:cubicBezTo>
                            <a:cubicBezTo>
                              <a:pt x="3869" y="1741"/>
                              <a:pt x="3867" y="1745"/>
                              <a:pt x="3871" y="1741"/>
                            </a:cubicBezTo>
                            <a:close/>
                            <a:moveTo>
                              <a:pt x="3852" y="1783"/>
                            </a:moveTo>
                            <a:cubicBezTo>
                              <a:pt x="3856" y="1771"/>
                              <a:pt x="3859" y="1773"/>
                              <a:pt x="3862" y="1770"/>
                            </a:cubicBezTo>
                            <a:cubicBezTo>
                              <a:pt x="3865" y="1767"/>
                              <a:pt x="3872" y="1770"/>
                              <a:pt x="3878" y="1778"/>
                            </a:cubicBezTo>
                            <a:cubicBezTo>
                              <a:pt x="3884" y="1786"/>
                              <a:pt x="3875" y="1789"/>
                              <a:pt x="3870" y="1792"/>
                            </a:cubicBezTo>
                            <a:cubicBezTo>
                              <a:pt x="3865" y="1795"/>
                              <a:pt x="3864" y="1794"/>
                              <a:pt x="3858" y="1798"/>
                            </a:cubicBezTo>
                            <a:cubicBezTo>
                              <a:pt x="3853" y="1802"/>
                              <a:pt x="3853" y="1807"/>
                              <a:pt x="3851" y="1813"/>
                            </a:cubicBezTo>
                            <a:cubicBezTo>
                              <a:pt x="3848" y="1819"/>
                              <a:pt x="3840" y="1823"/>
                              <a:pt x="3833" y="1824"/>
                            </a:cubicBezTo>
                            <a:cubicBezTo>
                              <a:pt x="3826" y="1824"/>
                              <a:pt x="3824" y="1828"/>
                              <a:pt x="3819" y="1831"/>
                            </a:cubicBezTo>
                            <a:cubicBezTo>
                              <a:pt x="3815" y="1834"/>
                              <a:pt x="3813" y="1832"/>
                              <a:pt x="3811" y="1827"/>
                            </a:cubicBezTo>
                            <a:cubicBezTo>
                              <a:pt x="3809" y="1822"/>
                              <a:pt x="3816" y="1817"/>
                              <a:pt x="3820" y="1814"/>
                            </a:cubicBezTo>
                            <a:cubicBezTo>
                              <a:pt x="3824" y="1810"/>
                              <a:pt x="3835" y="1802"/>
                              <a:pt x="3841" y="1798"/>
                            </a:cubicBezTo>
                            <a:cubicBezTo>
                              <a:pt x="3846" y="1794"/>
                              <a:pt x="3851" y="1789"/>
                              <a:pt x="3852" y="1783"/>
                            </a:cubicBezTo>
                            <a:close/>
                            <a:moveTo>
                              <a:pt x="3769" y="1734"/>
                            </a:moveTo>
                            <a:cubicBezTo>
                              <a:pt x="3778" y="1735"/>
                              <a:pt x="3776" y="1735"/>
                              <a:pt x="3783" y="1733"/>
                            </a:cubicBezTo>
                            <a:cubicBezTo>
                              <a:pt x="3790" y="1731"/>
                              <a:pt x="3795" y="1727"/>
                              <a:pt x="3797" y="1727"/>
                            </a:cubicBezTo>
                            <a:cubicBezTo>
                              <a:pt x="3800" y="1728"/>
                              <a:pt x="3805" y="1729"/>
                              <a:pt x="3807" y="1733"/>
                            </a:cubicBezTo>
                            <a:cubicBezTo>
                              <a:pt x="3810" y="1738"/>
                              <a:pt x="3813" y="1742"/>
                              <a:pt x="3806" y="1741"/>
                            </a:cubicBezTo>
                            <a:cubicBezTo>
                              <a:pt x="3799" y="1740"/>
                              <a:pt x="3796" y="1737"/>
                              <a:pt x="3791" y="1740"/>
                            </a:cubicBezTo>
                            <a:cubicBezTo>
                              <a:pt x="3786" y="1743"/>
                              <a:pt x="3784" y="1746"/>
                              <a:pt x="3779" y="1745"/>
                            </a:cubicBezTo>
                            <a:cubicBezTo>
                              <a:pt x="3773" y="1744"/>
                              <a:pt x="3772" y="1760"/>
                              <a:pt x="3767" y="1760"/>
                            </a:cubicBezTo>
                            <a:cubicBezTo>
                              <a:pt x="3763" y="1759"/>
                              <a:pt x="3762" y="1760"/>
                              <a:pt x="3760" y="1757"/>
                            </a:cubicBezTo>
                            <a:cubicBezTo>
                              <a:pt x="3758" y="1755"/>
                              <a:pt x="3762" y="1749"/>
                              <a:pt x="3757" y="1748"/>
                            </a:cubicBezTo>
                            <a:cubicBezTo>
                              <a:pt x="3753" y="1747"/>
                              <a:pt x="3753" y="1755"/>
                              <a:pt x="3748" y="1749"/>
                            </a:cubicBezTo>
                            <a:cubicBezTo>
                              <a:pt x="3742" y="1744"/>
                              <a:pt x="3746" y="1743"/>
                              <a:pt x="3742" y="1741"/>
                            </a:cubicBezTo>
                            <a:cubicBezTo>
                              <a:pt x="3737" y="1740"/>
                              <a:pt x="3732" y="1744"/>
                              <a:pt x="3732" y="1740"/>
                            </a:cubicBezTo>
                            <a:cubicBezTo>
                              <a:pt x="3732" y="1736"/>
                              <a:pt x="3738" y="1738"/>
                              <a:pt x="3741" y="1735"/>
                            </a:cubicBezTo>
                            <a:cubicBezTo>
                              <a:pt x="3744" y="1731"/>
                              <a:pt x="3740" y="1729"/>
                              <a:pt x="3746" y="1727"/>
                            </a:cubicBezTo>
                            <a:cubicBezTo>
                              <a:pt x="3752" y="1726"/>
                              <a:pt x="3754" y="1726"/>
                              <a:pt x="3757" y="1730"/>
                            </a:cubicBezTo>
                            <a:cubicBezTo>
                              <a:pt x="3760" y="1734"/>
                              <a:pt x="3763" y="1732"/>
                              <a:pt x="3769" y="1734"/>
                            </a:cubicBezTo>
                            <a:close/>
                            <a:moveTo>
                              <a:pt x="3770" y="1424"/>
                            </a:moveTo>
                            <a:cubicBezTo>
                              <a:pt x="3773" y="1417"/>
                              <a:pt x="3781" y="1422"/>
                              <a:pt x="3783" y="1426"/>
                            </a:cubicBezTo>
                            <a:cubicBezTo>
                              <a:pt x="3785" y="1429"/>
                              <a:pt x="3788" y="1432"/>
                              <a:pt x="3791" y="1440"/>
                            </a:cubicBezTo>
                            <a:cubicBezTo>
                              <a:pt x="3793" y="1448"/>
                              <a:pt x="3787" y="1443"/>
                              <a:pt x="3781" y="1448"/>
                            </a:cubicBezTo>
                            <a:cubicBezTo>
                              <a:pt x="3775" y="1454"/>
                              <a:pt x="3776" y="1451"/>
                              <a:pt x="3772" y="1452"/>
                            </a:cubicBezTo>
                            <a:cubicBezTo>
                              <a:pt x="3767" y="1452"/>
                              <a:pt x="3764" y="1447"/>
                              <a:pt x="3759" y="1438"/>
                            </a:cubicBezTo>
                            <a:cubicBezTo>
                              <a:pt x="3755" y="1429"/>
                              <a:pt x="3762" y="1435"/>
                              <a:pt x="3770" y="1424"/>
                            </a:cubicBezTo>
                            <a:close/>
                            <a:moveTo>
                              <a:pt x="3759" y="1354"/>
                            </a:moveTo>
                            <a:cubicBezTo>
                              <a:pt x="3755" y="1341"/>
                              <a:pt x="3760" y="1337"/>
                              <a:pt x="3757" y="1333"/>
                            </a:cubicBezTo>
                            <a:cubicBezTo>
                              <a:pt x="3755" y="1329"/>
                              <a:pt x="3751" y="1331"/>
                              <a:pt x="3743" y="1329"/>
                            </a:cubicBezTo>
                            <a:cubicBezTo>
                              <a:pt x="3736" y="1327"/>
                              <a:pt x="3734" y="1328"/>
                              <a:pt x="3728" y="1328"/>
                            </a:cubicBezTo>
                            <a:cubicBezTo>
                              <a:pt x="3722" y="1327"/>
                              <a:pt x="3721" y="1325"/>
                              <a:pt x="3718" y="1319"/>
                            </a:cubicBezTo>
                            <a:cubicBezTo>
                              <a:pt x="3714" y="1313"/>
                              <a:pt x="3717" y="1314"/>
                              <a:pt x="3719" y="1310"/>
                            </a:cubicBezTo>
                            <a:cubicBezTo>
                              <a:pt x="3722" y="1305"/>
                              <a:pt x="3722" y="1305"/>
                              <a:pt x="3721" y="1301"/>
                            </a:cubicBezTo>
                            <a:cubicBezTo>
                              <a:pt x="3720" y="1296"/>
                              <a:pt x="3718" y="1298"/>
                              <a:pt x="3715" y="1293"/>
                            </a:cubicBezTo>
                            <a:cubicBezTo>
                              <a:pt x="3713" y="1288"/>
                              <a:pt x="3715" y="1285"/>
                              <a:pt x="3716" y="1278"/>
                            </a:cubicBezTo>
                            <a:cubicBezTo>
                              <a:pt x="3717" y="1272"/>
                              <a:pt x="3723" y="1274"/>
                              <a:pt x="3733" y="1273"/>
                            </a:cubicBezTo>
                            <a:cubicBezTo>
                              <a:pt x="3743" y="1272"/>
                              <a:pt x="3743" y="1275"/>
                              <a:pt x="3752" y="1275"/>
                            </a:cubicBezTo>
                            <a:cubicBezTo>
                              <a:pt x="3762" y="1276"/>
                              <a:pt x="3771" y="1277"/>
                              <a:pt x="3776" y="1280"/>
                            </a:cubicBezTo>
                            <a:cubicBezTo>
                              <a:pt x="3782" y="1283"/>
                              <a:pt x="3790" y="1286"/>
                              <a:pt x="3800" y="1291"/>
                            </a:cubicBezTo>
                            <a:cubicBezTo>
                              <a:pt x="3809" y="1296"/>
                              <a:pt x="3821" y="1292"/>
                              <a:pt x="3830" y="1288"/>
                            </a:cubicBezTo>
                            <a:cubicBezTo>
                              <a:pt x="3839" y="1285"/>
                              <a:pt x="3843" y="1286"/>
                              <a:pt x="3852" y="1286"/>
                            </a:cubicBezTo>
                            <a:cubicBezTo>
                              <a:pt x="3862" y="1285"/>
                              <a:pt x="3871" y="1286"/>
                              <a:pt x="3883" y="1286"/>
                            </a:cubicBezTo>
                            <a:cubicBezTo>
                              <a:pt x="3895" y="1287"/>
                              <a:pt x="3894" y="1292"/>
                              <a:pt x="3905" y="1295"/>
                            </a:cubicBezTo>
                            <a:cubicBezTo>
                              <a:pt x="3917" y="1298"/>
                              <a:pt x="3925" y="1297"/>
                              <a:pt x="3932" y="1298"/>
                            </a:cubicBezTo>
                            <a:cubicBezTo>
                              <a:pt x="3939" y="1299"/>
                              <a:pt x="3944" y="1306"/>
                              <a:pt x="3947" y="1315"/>
                            </a:cubicBezTo>
                            <a:cubicBezTo>
                              <a:pt x="3950" y="1324"/>
                              <a:pt x="3953" y="1323"/>
                              <a:pt x="3961" y="1323"/>
                            </a:cubicBezTo>
                            <a:cubicBezTo>
                              <a:pt x="3968" y="1323"/>
                              <a:pt x="3973" y="1326"/>
                              <a:pt x="3976" y="1331"/>
                            </a:cubicBezTo>
                            <a:cubicBezTo>
                              <a:pt x="3978" y="1335"/>
                              <a:pt x="3978" y="1341"/>
                              <a:pt x="3982" y="1346"/>
                            </a:cubicBezTo>
                            <a:cubicBezTo>
                              <a:pt x="3986" y="1351"/>
                              <a:pt x="3993" y="1348"/>
                              <a:pt x="3996" y="1352"/>
                            </a:cubicBezTo>
                            <a:cubicBezTo>
                              <a:pt x="3999" y="1357"/>
                              <a:pt x="3995" y="1361"/>
                              <a:pt x="3998" y="1365"/>
                            </a:cubicBezTo>
                            <a:cubicBezTo>
                              <a:pt x="4002" y="1369"/>
                              <a:pt x="4015" y="1373"/>
                              <a:pt x="4005" y="1374"/>
                            </a:cubicBezTo>
                            <a:cubicBezTo>
                              <a:pt x="3995" y="1375"/>
                              <a:pt x="3975" y="1371"/>
                              <a:pt x="3959" y="1370"/>
                            </a:cubicBezTo>
                            <a:cubicBezTo>
                              <a:pt x="3942" y="1370"/>
                              <a:pt x="3929" y="1369"/>
                              <a:pt x="3921" y="1371"/>
                            </a:cubicBezTo>
                            <a:cubicBezTo>
                              <a:pt x="3913" y="1373"/>
                              <a:pt x="3902" y="1373"/>
                              <a:pt x="3883" y="1374"/>
                            </a:cubicBezTo>
                            <a:cubicBezTo>
                              <a:pt x="3863" y="1374"/>
                              <a:pt x="3866" y="1374"/>
                              <a:pt x="3855" y="1376"/>
                            </a:cubicBezTo>
                            <a:cubicBezTo>
                              <a:pt x="3844" y="1378"/>
                              <a:pt x="3842" y="1381"/>
                              <a:pt x="3827" y="1387"/>
                            </a:cubicBezTo>
                            <a:cubicBezTo>
                              <a:pt x="3812" y="1394"/>
                              <a:pt x="3813" y="1389"/>
                              <a:pt x="3801" y="1388"/>
                            </a:cubicBezTo>
                            <a:cubicBezTo>
                              <a:pt x="3788" y="1388"/>
                              <a:pt x="3788" y="1387"/>
                              <a:pt x="3780" y="1380"/>
                            </a:cubicBezTo>
                            <a:cubicBezTo>
                              <a:pt x="3772" y="1373"/>
                              <a:pt x="3772" y="1375"/>
                              <a:pt x="3764" y="1369"/>
                            </a:cubicBezTo>
                            <a:cubicBezTo>
                              <a:pt x="3757" y="1364"/>
                              <a:pt x="3761" y="1364"/>
                              <a:pt x="3759" y="1354"/>
                            </a:cubicBezTo>
                            <a:close/>
                            <a:moveTo>
                              <a:pt x="3602" y="1019"/>
                            </a:moveTo>
                            <a:cubicBezTo>
                              <a:pt x="3615" y="1016"/>
                              <a:pt x="3619" y="1016"/>
                              <a:pt x="3632" y="1017"/>
                            </a:cubicBezTo>
                            <a:cubicBezTo>
                              <a:pt x="3644" y="1018"/>
                              <a:pt x="3647" y="1018"/>
                              <a:pt x="3662" y="1021"/>
                            </a:cubicBezTo>
                            <a:cubicBezTo>
                              <a:pt x="3677" y="1024"/>
                              <a:pt x="3676" y="1020"/>
                              <a:pt x="3687" y="1024"/>
                            </a:cubicBezTo>
                            <a:cubicBezTo>
                              <a:pt x="3698" y="1028"/>
                              <a:pt x="3700" y="1032"/>
                              <a:pt x="3704" y="1037"/>
                            </a:cubicBezTo>
                            <a:cubicBezTo>
                              <a:pt x="3709" y="1042"/>
                              <a:pt x="3707" y="1043"/>
                              <a:pt x="3722" y="1042"/>
                            </a:cubicBezTo>
                            <a:cubicBezTo>
                              <a:pt x="3736" y="1041"/>
                              <a:pt x="3737" y="1037"/>
                              <a:pt x="3747" y="1042"/>
                            </a:cubicBezTo>
                            <a:cubicBezTo>
                              <a:pt x="3757" y="1047"/>
                              <a:pt x="3760" y="1043"/>
                              <a:pt x="3763" y="1050"/>
                            </a:cubicBezTo>
                            <a:cubicBezTo>
                              <a:pt x="3765" y="1057"/>
                              <a:pt x="3751" y="1056"/>
                              <a:pt x="3754" y="1062"/>
                            </a:cubicBezTo>
                            <a:cubicBezTo>
                              <a:pt x="3758" y="1067"/>
                              <a:pt x="3761" y="1066"/>
                              <a:pt x="3770" y="1065"/>
                            </a:cubicBezTo>
                            <a:cubicBezTo>
                              <a:pt x="3780" y="1065"/>
                              <a:pt x="3784" y="1058"/>
                              <a:pt x="3790" y="1065"/>
                            </a:cubicBezTo>
                            <a:cubicBezTo>
                              <a:pt x="3795" y="1072"/>
                              <a:pt x="3797" y="1076"/>
                              <a:pt x="3798" y="1083"/>
                            </a:cubicBezTo>
                            <a:cubicBezTo>
                              <a:pt x="3799" y="1090"/>
                              <a:pt x="3798" y="1091"/>
                              <a:pt x="3789" y="1093"/>
                            </a:cubicBezTo>
                            <a:cubicBezTo>
                              <a:pt x="3780" y="1095"/>
                              <a:pt x="3764" y="1102"/>
                              <a:pt x="3756" y="1107"/>
                            </a:cubicBezTo>
                            <a:cubicBezTo>
                              <a:pt x="3748" y="1112"/>
                              <a:pt x="3741" y="1109"/>
                              <a:pt x="3744" y="1113"/>
                            </a:cubicBezTo>
                            <a:cubicBezTo>
                              <a:pt x="3748" y="1118"/>
                              <a:pt x="3753" y="1118"/>
                              <a:pt x="3752" y="1124"/>
                            </a:cubicBezTo>
                            <a:cubicBezTo>
                              <a:pt x="3752" y="1131"/>
                              <a:pt x="3748" y="1132"/>
                              <a:pt x="3751" y="1137"/>
                            </a:cubicBezTo>
                            <a:cubicBezTo>
                              <a:pt x="3754" y="1142"/>
                              <a:pt x="3755" y="1142"/>
                              <a:pt x="3757" y="1152"/>
                            </a:cubicBezTo>
                            <a:cubicBezTo>
                              <a:pt x="3758" y="1163"/>
                              <a:pt x="3753" y="1168"/>
                              <a:pt x="3750" y="1171"/>
                            </a:cubicBezTo>
                            <a:cubicBezTo>
                              <a:pt x="3746" y="1175"/>
                              <a:pt x="3751" y="1171"/>
                              <a:pt x="3728" y="1175"/>
                            </a:cubicBezTo>
                            <a:cubicBezTo>
                              <a:pt x="3705" y="1178"/>
                              <a:pt x="3694" y="1178"/>
                              <a:pt x="3688" y="1182"/>
                            </a:cubicBezTo>
                            <a:cubicBezTo>
                              <a:pt x="3682" y="1186"/>
                              <a:pt x="3674" y="1186"/>
                              <a:pt x="3660" y="1187"/>
                            </a:cubicBezTo>
                            <a:cubicBezTo>
                              <a:pt x="3646" y="1187"/>
                              <a:pt x="3636" y="1187"/>
                              <a:pt x="3629" y="1182"/>
                            </a:cubicBezTo>
                            <a:cubicBezTo>
                              <a:pt x="3623" y="1177"/>
                              <a:pt x="3619" y="1173"/>
                              <a:pt x="3611" y="1177"/>
                            </a:cubicBezTo>
                            <a:cubicBezTo>
                              <a:pt x="3603" y="1181"/>
                              <a:pt x="3600" y="1181"/>
                              <a:pt x="3594" y="1178"/>
                            </a:cubicBezTo>
                            <a:cubicBezTo>
                              <a:pt x="3587" y="1175"/>
                              <a:pt x="3580" y="1174"/>
                              <a:pt x="3580" y="1164"/>
                            </a:cubicBezTo>
                            <a:cubicBezTo>
                              <a:pt x="3580" y="1153"/>
                              <a:pt x="3585" y="1145"/>
                              <a:pt x="3578" y="1143"/>
                            </a:cubicBezTo>
                            <a:cubicBezTo>
                              <a:pt x="3571" y="1141"/>
                              <a:pt x="3562" y="1140"/>
                              <a:pt x="3558" y="1136"/>
                            </a:cubicBezTo>
                            <a:cubicBezTo>
                              <a:pt x="3554" y="1133"/>
                              <a:pt x="3549" y="1135"/>
                              <a:pt x="3552" y="1143"/>
                            </a:cubicBezTo>
                            <a:cubicBezTo>
                              <a:pt x="3555" y="1150"/>
                              <a:pt x="3557" y="1148"/>
                              <a:pt x="3557" y="1158"/>
                            </a:cubicBezTo>
                            <a:cubicBezTo>
                              <a:pt x="3557" y="1169"/>
                              <a:pt x="3561" y="1171"/>
                              <a:pt x="3545" y="1172"/>
                            </a:cubicBezTo>
                            <a:cubicBezTo>
                              <a:pt x="3529" y="1174"/>
                              <a:pt x="3524" y="1176"/>
                              <a:pt x="3511" y="1180"/>
                            </a:cubicBezTo>
                            <a:cubicBezTo>
                              <a:pt x="3498" y="1184"/>
                              <a:pt x="3484" y="1185"/>
                              <a:pt x="3476" y="1182"/>
                            </a:cubicBezTo>
                            <a:cubicBezTo>
                              <a:pt x="3469" y="1180"/>
                              <a:pt x="3472" y="1169"/>
                              <a:pt x="3461" y="1174"/>
                            </a:cubicBezTo>
                            <a:cubicBezTo>
                              <a:pt x="3451" y="1178"/>
                              <a:pt x="3454" y="1186"/>
                              <a:pt x="3447" y="1185"/>
                            </a:cubicBezTo>
                            <a:cubicBezTo>
                              <a:pt x="3440" y="1184"/>
                              <a:pt x="3432" y="1172"/>
                              <a:pt x="3431" y="1168"/>
                            </a:cubicBezTo>
                            <a:cubicBezTo>
                              <a:pt x="3430" y="1163"/>
                              <a:pt x="3424" y="1157"/>
                              <a:pt x="3423" y="1164"/>
                            </a:cubicBezTo>
                            <a:cubicBezTo>
                              <a:pt x="3422" y="1170"/>
                              <a:pt x="3429" y="1178"/>
                              <a:pt x="3422" y="1179"/>
                            </a:cubicBezTo>
                            <a:cubicBezTo>
                              <a:pt x="3414" y="1180"/>
                              <a:pt x="3405" y="1184"/>
                              <a:pt x="3398" y="1180"/>
                            </a:cubicBezTo>
                            <a:cubicBezTo>
                              <a:pt x="3392" y="1176"/>
                              <a:pt x="3393" y="1166"/>
                              <a:pt x="3388" y="1167"/>
                            </a:cubicBezTo>
                            <a:cubicBezTo>
                              <a:pt x="3383" y="1168"/>
                              <a:pt x="3383" y="1173"/>
                              <a:pt x="3380" y="1176"/>
                            </a:cubicBezTo>
                            <a:cubicBezTo>
                              <a:pt x="3377" y="1179"/>
                              <a:pt x="3373" y="1183"/>
                              <a:pt x="3368" y="1178"/>
                            </a:cubicBezTo>
                            <a:cubicBezTo>
                              <a:pt x="3364" y="1173"/>
                              <a:pt x="3353" y="1161"/>
                              <a:pt x="3351" y="1167"/>
                            </a:cubicBezTo>
                            <a:cubicBezTo>
                              <a:pt x="3349" y="1173"/>
                              <a:pt x="3350" y="1175"/>
                              <a:pt x="3352" y="1181"/>
                            </a:cubicBezTo>
                            <a:cubicBezTo>
                              <a:pt x="3354" y="1186"/>
                              <a:pt x="3351" y="1187"/>
                              <a:pt x="3346" y="1186"/>
                            </a:cubicBezTo>
                            <a:cubicBezTo>
                              <a:pt x="3341" y="1185"/>
                              <a:pt x="3340" y="1180"/>
                              <a:pt x="3335" y="1180"/>
                            </a:cubicBezTo>
                            <a:cubicBezTo>
                              <a:pt x="3330" y="1180"/>
                              <a:pt x="3331" y="1182"/>
                              <a:pt x="3323" y="1182"/>
                            </a:cubicBezTo>
                            <a:cubicBezTo>
                              <a:pt x="3315" y="1183"/>
                              <a:pt x="3311" y="1178"/>
                              <a:pt x="3306" y="1179"/>
                            </a:cubicBezTo>
                            <a:cubicBezTo>
                              <a:pt x="3301" y="1180"/>
                              <a:pt x="3310" y="1184"/>
                              <a:pt x="3290" y="1181"/>
                            </a:cubicBezTo>
                            <a:cubicBezTo>
                              <a:pt x="3271" y="1179"/>
                              <a:pt x="3275" y="1181"/>
                              <a:pt x="3265" y="1180"/>
                            </a:cubicBezTo>
                            <a:cubicBezTo>
                              <a:pt x="3255" y="1179"/>
                              <a:pt x="3250" y="1181"/>
                              <a:pt x="3249" y="1176"/>
                            </a:cubicBezTo>
                            <a:cubicBezTo>
                              <a:pt x="3248" y="1171"/>
                              <a:pt x="3246" y="1168"/>
                              <a:pt x="3249" y="1163"/>
                            </a:cubicBezTo>
                            <a:cubicBezTo>
                              <a:pt x="3251" y="1158"/>
                              <a:pt x="3255" y="1157"/>
                              <a:pt x="3255" y="1153"/>
                            </a:cubicBezTo>
                            <a:cubicBezTo>
                              <a:pt x="3256" y="1150"/>
                              <a:pt x="3257" y="1148"/>
                              <a:pt x="3252" y="1146"/>
                            </a:cubicBezTo>
                            <a:cubicBezTo>
                              <a:pt x="3247" y="1144"/>
                              <a:pt x="3248" y="1140"/>
                              <a:pt x="3245" y="1136"/>
                            </a:cubicBezTo>
                            <a:cubicBezTo>
                              <a:pt x="3242" y="1133"/>
                              <a:pt x="3239" y="1132"/>
                              <a:pt x="3234" y="1138"/>
                            </a:cubicBezTo>
                            <a:cubicBezTo>
                              <a:pt x="3230" y="1144"/>
                              <a:pt x="3231" y="1150"/>
                              <a:pt x="3226" y="1153"/>
                            </a:cubicBezTo>
                            <a:cubicBezTo>
                              <a:pt x="3221" y="1157"/>
                              <a:pt x="3216" y="1153"/>
                              <a:pt x="3215" y="1148"/>
                            </a:cubicBezTo>
                            <a:cubicBezTo>
                              <a:pt x="3215" y="1144"/>
                              <a:pt x="3215" y="1138"/>
                              <a:pt x="3209" y="1140"/>
                            </a:cubicBezTo>
                            <a:cubicBezTo>
                              <a:pt x="3203" y="1143"/>
                              <a:pt x="3206" y="1148"/>
                              <a:pt x="3201" y="1150"/>
                            </a:cubicBezTo>
                            <a:cubicBezTo>
                              <a:pt x="3196" y="1152"/>
                              <a:pt x="3195" y="1149"/>
                              <a:pt x="3194" y="1155"/>
                            </a:cubicBezTo>
                            <a:cubicBezTo>
                              <a:pt x="3193" y="1160"/>
                              <a:pt x="3201" y="1166"/>
                              <a:pt x="3194" y="1171"/>
                            </a:cubicBezTo>
                            <a:cubicBezTo>
                              <a:pt x="3186" y="1176"/>
                              <a:pt x="3185" y="1175"/>
                              <a:pt x="3165" y="1175"/>
                            </a:cubicBezTo>
                            <a:cubicBezTo>
                              <a:pt x="3146" y="1174"/>
                              <a:pt x="3129" y="1169"/>
                              <a:pt x="3124" y="1166"/>
                            </a:cubicBezTo>
                            <a:cubicBezTo>
                              <a:pt x="3118" y="1163"/>
                              <a:pt x="3114" y="1158"/>
                              <a:pt x="3108" y="1156"/>
                            </a:cubicBezTo>
                            <a:cubicBezTo>
                              <a:pt x="3103" y="1154"/>
                              <a:pt x="3099" y="1157"/>
                              <a:pt x="3098" y="1152"/>
                            </a:cubicBezTo>
                            <a:cubicBezTo>
                              <a:pt x="3097" y="1147"/>
                              <a:pt x="3099" y="1146"/>
                              <a:pt x="3102" y="1141"/>
                            </a:cubicBezTo>
                            <a:cubicBezTo>
                              <a:pt x="3105" y="1137"/>
                              <a:pt x="3104" y="1131"/>
                              <a:pt x="3097" y="1134"/>
                            </a:cubicBezTo>
                            <a:cubicBezTo>
                              <a:pt x="3090" y="1137"/>
                              <a:pt x="3080" y="1140"/>
                              <a:pt x="3077" y="1146"/>
                            </a:cubicBezTo>
                            <a:cubicBezTo>
                              <a:pt x="3075" y="1152"/>
                              <a:pt x="3073" y="1158"/>
                              <a:pt x="3064" y="1158"/>
                            </a:cubicBezTo>
                            <a:cubicBezTo>
                              <a:pt x="3054" y="1158"/>
                              <a:pt x="3042" y="1158"/>
                              <a:pt x="3037" y="1153"/>
                            </a:cubicBezTo>
                            <a:cubicBezTo>
                              <a:pt x="3033" y="1147"/>
                              <a:pt x="3029" y="1147"/>
                              <a:pt x="3027" y="1136"/>
                            </a:cubicBezTo>
                            <a:cubicBezTo>
                              <a:pt x="3026" y="1124"/>
                              <a:pt x="3023" y="1121"/>
                              <a:pt x="3016" y="1113"/>
                            </a:cubicBezTo>
                            <a:cubicBezTo>
                              <a:pt x="3009" y="1105"/>
                              <a:pt x="3004" y="1103"/>
                              <a:pt x="3004" y="1096"/>
                            </a:cubicBezTo>
                            <a:cubicBezTo>
                              <a:pt x="3004" y="1089"/>
                              <a:pt x="3006" y="1085"/>
                              <a:pt x="3008" y="1082"/>
                            </a:cubicBezTo>
                            <a:cubicBezTo>
                              <a:pt x="3011" y="1079"/>
                              <a:pt x="3010" y="1075"/>
                              <a:pt x="3009" y="1069"/>
                            </a:cubicBezTo>
                            <a:cubicBezTo>
                              <a:pt x="3009" y="1063"/>
                              <a:pt x="3011" y="1062"/>
                              <a:pt x="3017" y="1057"/>
                            </a:cubicBezTo>
                            <a:cubicBezTo>
                              <a:pt x="3024" y="1053"/>
                              <a:pt x="3028" y="1055"/>
                              <a:pt x="3027" y="1047"/>
                            </a:cubicBezTo>
                            <a:cubicBezTo>
                              <a:pt x="3027" y="1040"/>
                              <a:pt x="3021" y="1036"/>
                              <a:pt x="3021" y="1030"/>
                            </a:cubicBezTo>
                            <a:cubicBezTo>
                              <a:pt x="3020" y="1025"/>
                              <a:pt x="3021" y="1024"/>
                              <a:pt x="3022" y="1017"/>
                            </a:cubicBezTo>
                            <a:cubicBezTo>
                              <a:pt x="3022" y="1010"/>
                              <a:pt x="3021" y="1010"/>
                              <a:pt x="3012" y="1004"/>
                            </a:cubicBezTo>
                            <a:cubicBezTo>
                              <a:pt x="3004" y="999"/>
                              <a:pt x="2991" y="997"/>
                              <a:pt x="2991" y="991"/>
                            </a:cubicBezTo>
                            <a:cubicBezTo>
                              <a:pt x="2991" y="985"/>
                              <a:pt x="2987" y="977"/>
                              <a:pt x="2985" y="971"/>
                            </a:cubicBezTo>
                            <a:cubicBezTo>
                              <a:pt x="2983" y="965"/>
                              <a:pt x="2973" y="961"/>
                              <a:pt x="2970" y="956"/>
                            </a:cubicBezTo>
                            <a:cubicBezTo>
                              <a:pt x="2966" y="951"/>
                              <a:pt x="2966" y="947"/>
                              <a:pt x="2956" y="946"/>
                            </a:cubicBezTo>
                            <a:cubicBezTo>
                              <a:pt x="2947" y="946"/>
                              <a:pt x="2939" y="948"/>
                              <a:pt x="2934" y="951"/>
                            </a:cubicBezTo>
                            <a:cubicBezTo>
                              <a:pt x="2929" y="954"/>
                              <a:pt x="2918" y="951"/>
                              <a:pt x="2914" y="955"/>
                            </a:cubicBezTo>
                            <a:cubicBezTo>
                              <a:pt x="2909" y="959"/>
                              <a:pt x="2904" y="960"/>
                              <a:pt x="2897" y="957"/>
                            </a:cubicBezTo>
                            <a:cubicBezTo>
                              <a:pt x="2890" y="955"/>
                              <a:pt x="2860" y="950"/>
                              <a:pt x="2856" y="953"/>
                            </a:cubicBezTo>
                            <a:cubicBezTo>
                              <a:pt x="2852" y="955"/>
                              <a:pt x="2846" y="961"/>
                              <a:pt x="2844" y="962"/>
                            </a:cubicBezTo>
                            <a:cubicBezTo>
                              <a:pt x="2841" y="962"/>
                              <a:pt x="2834" y="968"/>
                              <a:pt x="2827" y="964"/>
                            </a:cubicBezTo>
                            <a:cubicBezTo>
                              <a:pt x="2820" y="959"/>
                              <a:pt x="2825" y="959"/>
                              <a:pt x="2830" y="956"/>
                            </a:cubicBezTo>
                            <a:cubicBezTo>
                              <a:pt x="2836" y="954"/>
                              <a:pt x="2840" y="953"/>
                              <a:pt x="2839" y="949"/>
                            </a:cubicBezTo>
                            <a:cubicBezTo>
                              <a:pt x="2837" y="945"/>
                              <a:pt x="2828" y="944"/>
                              <a:pt x="2816" y="943"/>
                            </a:cubicBezTo>
                            <a:cubicBezTo>
                              <a:pt x="2804" y="942"/>
                              <a:pt x="2795" y="940"/>
                              <a:pt x="2793" y="938"/>
                            </a:cubicBezTo>
                            <a:cubicBezTo>
                              <a:pt x="2792" y="936"/>
                              <a:pt x="2788" y="933"/>
                              <a:pt x="2793" y="929"/>
                            </a:cubicBezTo>
                            <a:cubicBezTo>
                              <a:pt x="2798" y="926"/>
                              <a:pt x="2801" y="926"/>
                              <a:pt x="2805" y="923"/>
                            </a:cubicBezTo>
                            <a:cubicBezTo>
                              <a:pt x="2808" y="920"/>
                              <a:pt x="2812" y="915"/>
                              <a:pt x="2806" y="916"/>
                            </a:cubicBezTo>
                            <a:cubicBezTo>
                              <a:pt x="2800" y="916"/>
                              <a:pt x="2801" y="910"/>
                              <a:pt x="2793" y="915"/>
                            </a:cubicBezTo>
                            <a:cubicBezTo>
                              <a:pt x="2785" y="919"/>
                              <a:pt x="2792" y="922"/>
                              <a:pt x="2784" y="920"/>
                            </a:cubicBezTo>
                            <a:cubicBezTo>
                              <a:pt x="2777" y="918"/>
                              <a:pt x="2778" y="918"/>
                              <a:pt x="2769" y="914"/>
                            </a:cubicBezTo>
                            <a:cubicBezTo>
                              <a:pt x="2761" y="910"/>
                              <a:pt x="2753" y="912"/>
                              <a:pt x="2753" y="908"/>
                            </a:cubicBezTo>
                            <a:cubicBezTo>
                              <a:pt x="2753" y="903"/>
                              <a:pt x="2761" y="906"/>
                              <a:pt x="2763" y="901"/>
                            </a:cubicBezTo>
                            <a:cubicBezTo>
                              <a:pt x="2765" y="897"/>
                              <a:pt x="2767" y="893"/>
                              <a:pt x="2759" y="889"/>
                            </a:cubicBezTo>
                            <a:cubicBezTo>
                              <a:pt x="2751" y="886"/>
                              <a:pt x="2739" y="884"/>
                              <a:pt x="2738" y="880"/>
                            </a:cubicBezTo>
                            <a:cubicBezTo>
                              <a:pt x="2737" y="876"/>
                              <a:pt x="2741" y="871"/>
                              <a:pt x="2746" y="871"/>
                            </a:cubicBezTo>
                            <a:cubicBezTo>
                              <a:pt x="2752" y="872"/>
                              <a:pt x="2753" y="874"/>
                              <a:pt x="2758" y="872"/>
                            </a:cubicBezTo>
                            <a:cubicBezTo>
                              <a:pt x="2764" y="869"/>
                              <a:pt x="2766" y="865"/>
                              <a:pt x="2771" y="863"/>
                            </a:cubicBezTo>
                            <a:cubicBezTo>
                              <a:pt x="2777" y="861"/>
                              <a:pt x="2779" y="862"/>
                              <a:pt x="2783" y="860"/>
                            </a:cubicBezTo>
                            <a:cubicBezTo>
                              <a:pt x="2786" y="859"/>
                              <a:pt x="2788" y="857"/>
                              <a:pt x="2796" y="858"/>
                            </a:cubicBezTo>
                            <a:cubicBezTo>
                              <a:pt x="2803" y="859"/>
                              <a:pt x="2807" y="863"/>
                              <a:pt x="2811" y="865"/>
                            </a:cubicBezTo>
                            <a:cubicBezTo>
                              <a:pt x="2816" y="867"/>
                              <a:pt x="2823" y="868"/>
                              <a:pt x="2829" y="868"/>
                            </a:cubicBezTo>
                            <a:cubicBezTo>
                              <a:pt x="2835" y="868"/>
                              <a:pt x="2832" y="868"/>
                              <a:pt x="2843" y="871"/>
                            </a:cubicBezTo>
                            <a:cubicBezTo>
                              <a:pt x="2854" y="874"/>
                              <a:pt x="2859" y="874"/>
                              <a:pt x="2868" y="875"/>
                            </a:cubicBezTo>
                            <a:cubicBezTo>
                              <a:pt x="2877" y="875"/>
                              <a:pt x="2881" y="876"/>
                              <a:pt x="2886" y="877"/>
                            </a:cubicBezTo>
                            <a:cubicBezTo>
                              <a:pt x="2891" y="879"/>
                              <a:pt x="2900" y="879"/>
                              <a:pt x="2908" y="880"/>
                            </a:cubicBezTo>
                            <a:cubicBezTo>
                              <a:pt x="2916" y="881"/>
                              <a:pt x="2913" y="876"/>
                              <a:pt x="2922" y="883"/>
                            </a:cubicBezTo>
                            <a:cubicBezTo>
                              <a:pt x="2930" y="890"/>
                              <a:pt x="2929" y="891"/>
                              <a:pt x="2937" y="896"/>
                            </a:cubicBezTo>
                            <a:cubicBezTo>
                              <a:pt x="2944" y="901"/>
                              <a:pt x="2945" y="898"/>
                              <a:pt x="2947" y="905"/>
                            </a:cubicBezTo>
                            <a:cubicBezTo>
                              <a:pt x="2948" y="913"/>
                              <a:pt x="2950" y="915"/>
                              <a:pt x="2944" y="920"/>
                            </a:cubicBezTo>
                            <a:cubicBezTo>
                              <a:pt x="2937" y="926"/>
                              <a:pt x="2938" y="925"/>
                              <a:pt x="2931" y="932"/>
                            </a:cubicBezTo>
                            <a:cubicBezTo>
                              <a:pt x="2924" y="938"/>
                              <a:pt x="2924" y="940"/>
                              <a:pt x="2927" y="941"/>
                            </a:cubicBezTo>
                            <a:cubicBezTo>
                              <a:pt x="2929" y="943"/>
                              <a:pt x="2934" y="946"/>
                              <a:pt x="2938" y="942"/>
                            </a:cubicBezTo>
                            <a:cubicBezTo>
                              <a:pt x="2942" y="938"/>
                              <a:pt x="2951" y="929"/>
                              <a:pt x="2958" y="924"/>
                            </a:cubicBezTo>
                            <a:cubicBezTo>
                              <a:pt x="2965" y="919"/>
                              <a:pt x="2973" y="920"/>
                              <a:pt x="2979" y="920"/>
                            </a:cubicBezTo>
                            <a:cubicBezTo>
                              <a:pt x="2984" y="920"/>
                              <a:pt x="2985" y="920"/>
                              <a:pt x="2994" y="921"/>
                            </a:cubicBezTo>
                            <a:cubicBezTo>
                              <a:pt x="3002" y="921"/>
                              <a:pt x="3011" y="918"/>
                              <a:pt x="3017" y="917"/>
                            </a:cubicBezTo>
                            <a:cubicBezTo>
                              <a:pt x="3022" y="916"/>
                              <a:pt x="3026" y="914"/>
                              <a:pt x="3032" y="913"/>
                            </a:cubicBezTo>
                            <a:cubicBezTo>
                              <a:pt x="3038" y="912"/>
                              <a:pt x="3041" y="910"/>
                              <a:pt x="3047" y="910"/>
                            </a:cubicBezTo>
                            <a:cubicBezTo>
                              <a:pt x="3053" y="910"/>
                              <a:pt x="3065" y="909"/>
                              <a:pt x="3073" y="912"/>
                            </a:cubicBezTo>
                            <a:cubicBezTo>
                              <a:pt x="3080" y="915"/>
                              <a:pt x="3085" y="915"/>
                              <a:pt x="3089" y="918"/>
                            </a:cubicBezTo>
                            <a:cubicBezTo>
                              <a:pt x="3093" y="920"/>
                              <a:pt x="3098" y="923"/>
                              <a:pt x="3100" y="927"/>
                            </a:cubicBezTo>
                            <a:cubicBezTo>
                              <a:pt x="3102" y="932"/>
                              <a:pt x="3102" y="933"/>
                              <a:pt x="3100" y="933"/>
                            </a:cubicBezTo>
                            <a:cubicBezTo>
                              <a:pt x="3098" y="933"/>
                              <a:pt x="3088" y="934"/>
                              <a:pt x="3084" y="932"/>
                            </a:cubicBezTo>
                            <a:cubicBezTo>
                              <a:pt x="3080" y="930"/>
                              <a:pt x="3077" y="929"/>
                              <a:pt x="3072" y="929"/>
                            </a:cubicBezTo>
                            <a:cubicBezTo>
                              <a:pt x="3067" y="929"/>
                              <a:pt x="3059" y="927"/>
                              <a:pt x="3058" y="929"/>
                            </a:cubicBezTo>
                            <a:cubicBezTo>
                              <a:pt x="3056" y="932"/>
                              <a:pt x="3053" y="933"/>
                              <a:pt x="3058" y="934"/>
                            </a:cubicBezTo>
                            <a:cubicBezTo>
                              <a:pt x="3064" y="936"/>
                              <a:pt x="3064" y="935"/>
                              <a:pt x="3073" y="937"/>
                            </a:cubicBezTo>
                            <a:cubicBezTo>
                              <a:pt x="3083" y="939"/>
                              <a:pt x="3092" y="943"/>
                              <a:pt x="3099" y="944"/>
                            </a:cubicBezTo>
                            <a:cubicBezTo>
                              <a:pt x="3106" y="944"/>
                              <a:pt x="3111" y="942"/>
                              <a:pt x="3121" y="945"/>
                            </a:cubicBezTo>
                            <a:cubicBezTo>
                              <a:pt x="3132" y="948"/>
                              <a:pt x="3125" y="943"/>
                              <a:pt x="3142" y="948"/>
                            </a:cubicBezTo>
                            <a:cubicBezTo>
                              <a:pt x="3158" y="953"/>
                              <a:pt x="3155" y="952"/>
                              <a:pt x="3166" y="953"/>
                            </a:cubicBezTo>
                            <a:cubicBezTo>
                              <a:pt x="3176" y="953"/>
                              <a:pt x="3182" y="954"/>
                              <a:pt x="3187" y="958"/>
                            </a:cubicBezTo>
                            <a:cubicBezTo>
                              <a:pt x="3193" y="962"/>
                              <a:pt x="3196" y="967"/>
                              <a:pt x="3191" y="969"/>
                            </a:cubicBezTo>
                            <a:cubicBezTo>
                              <a:pt x="3187" y="971"/>
                              <a:pt x="3183" y="972"/>
                              <a:pt x="3172" y="971"/>
                            </a:cubicBezTo>
                            <a:cubicBezTo>
                              <a:pt x="3161" y="969"/>
                              <a:pt x="3150" y="968"/>
                              <a:pt x="3142" y="969"/>
                            </a:cubicBezTo>
                            <a:cubicBezTo>
                              <a:pt x="3135" y="969"/>
                              <a:pt x="3128" y="971"/>
                              <a:pt x="3121" y="971"/>
                            </a:cubicBezTo>
                            <a:cubicBezTo>
                              <a:pt x="3114" y="972"/>
                              <a:pt x="3102" y="968"/>
                              <a:pt x="3097" y="967"/>
                            </a:cubicBezTo>
                            <a:cubicBezTo>
                              <a:pt x="3093" y="966"/>
                              <a:pt x="3082" y="966"/>
                              <a:pt x="3077" y="965"/>
                            </a:cubicBezTo>
                            <a:cubicBezTo>
                              <a:pt x="3071" y="965"/>
                              <a:pt x="3059" y="959"/>
                              <a:pt x="3055" y="960"/>
                            </a:cubicBezTo>
                            <a:cubicBezTo>
                              <a:pt x="3052" y="961"/>
                              <a:pt x="3050" y="964"/>
                              <a:pt x="3057" y="968"/>
                            </a:cubicBezTo>
                            <a:cubicBezTo>
                              <a:pt x="3064" y="972"/>
                              <a:pt x="3063" y="975"/>
                              <a:pt x="3066" y="978"/>
                            </a:cubicBezTo>
                            <a:cubicBezTo>
                              <a:pt x="3068" y="981"/>
                              <a:pt x="3073" y="981"/>
                              <a:pt x="3081" y="982"/>
                            </a:cubicBezTo>
                            <a:cubicBezTo>
                              <a:pt x="3089" y="982"/>
                              <a:pt x="3098" y="982"/>
                              <a:pt x="3104" y="984"/>
                            </a:cubicBezTo>
                            <a:cubicBezTo>
                              <a:pt x="3109" y="986"/>
                              <a:pt x="3112" y="989"/>
                              <a:pt x="3109" y="990"/>
                            </a:cubicBezTo>
                            <a:cubicBezTo>
                              <a:pt x="3105" y="990"/>
                              <a:pt x="3103" y="991"/>
                              <a:pt x="3096" y="990"/>
                            </a:cubicBezTo>
                            <a:cubicBezTo>
                              <a:pt x="3089" y="989"/>
                              <a:pt x="3082" y="988"/>
                              <a:pt x="3082" y="991"/>
                            </a:cubicBezTo>
                            <a:cubicBezTo>
                              <a:pt x="3082" y="994"/>
                              <a:pt x="3086" y="997"/>
                              <a:pt x="3087" y="1000"/>
                            </a:cubicBezTo>
                            <a:cubicBezTo>
                              <a:pt x="3088" y="1003"/>
                              <a:pt x="3082" y="1004"/>
                              <a:pt x="3082" y="1008"/>
                            </a:cubicBezTo>
                            <a:cubicBezTo>
                              <a:pt x="3081" y="1011"/>
                              <a:pt x="3077" y="1016"/>
                              <a:pt x="3082" y="1016"/>
                            </a:cubicBezTo>
                            <a:cubicBezTo>
                              <a:pt x="3088" y="1015"/>
                              <a:pt x="3086" y="1011"/>
                              <a:pt x="3093" y="1006"/>
                            </a:cubicBezTo>
                            <a:cubicBezTo>
                              <a:pt x="3101" y="1002"/>
                              <a:pt x="3104" y="1000"/>
                              <a:pt x="3112" y="1001"/>
                            </a:cubicBezTo>
                            <a:cubicBezTo>
                              <a:pt x="3120" y="1001"/>
                              <a:pt x="3116" y="1005"/>
                              <a:pt x="3129" y="1003"/>
                            </a:cubicBezTo>
                            <a:cubicBezTo>
                              <a:pt x="3141" y="1001"/>
                              <a:pt x="3141" y="998"/>
                              <a:pt x="3149" y="999"/>
                            </a:cubicBezTo>
                            <a:cubicBezTo>
                              <a:pt x="3157" y="1000"/>
                              <a:pt x="3161" y="1002"/>
                              <a:pt x="3163" y="1009"/>
                            </a:cubicBezTo>
                            <a:cubicBezTo>
                              <a:pt x="3164" y="1016"/>
                              <a:pt x="3165" y="1019"/>
                              <a:pt x="3169" y="1019"/>
                            </a:cubicBezTo>
                            <a:cubicBezTo>
                              <a:pt x="3174" y="1019"/>
                              <a:pt x="3176" y="1014"/>
                              <a:pt x="3181" y="1018"/>
                            </a:cubicBezTo>
                            <a:cubicBezTo>
                              <a:pt x="3186" y="1022"/>
                              <a:pt x="3183" y="1025"/>
                              <a:pt x="3190" y="1029"/>
                            </a:cubicBezTo>
                            <a:cubicBezTo>
                              <a:pt x="3196" y="1032"/>
                              <a:pt x="3197" y="1033"/>
                              <a:pt x="3197" y="1036"/>
                            </a:cubicBezTo>
                            <a:cubicBezTo>
                              <a:pt x="3198" y="1040"/>
                              <a:pt x="3193" y="1040"/>
                              <a:pt x="3189" y="1041"/>
                            </a:cubicBezTo>
                            <a:cubicBezTo>
                              <a:pt x="3184" y="1041"/>
                              <a:pt x="3177" y="1041"/>
                              <a:pt x="3174" y="1044"/>
                            </a:cubicBezTo>
                            <a:cubicBezTo>
                              <a:pt x="3171" y="1046"/>
                              <a:pt x="3168" y="1048"/>
                              <a:pt x="3172" y="1051"/>
                            </a:cubicBezTo>
                            <a:cubicBezTo>
                              <a:pt x="3175" y="1053"/>
                              <a:pt x="3179" y="1056"/>
                              <a:pt x="3186" y="1054"/>
                            </a:cubicBezTo>
                            <a:cubicBezTo>
                              <a:pt x="3194" y="1052"/>
                              <a:pt x="3201" y="1052"/>
                              <a:pt x="3207" y="1053"/>
                            </a:cubicBezTo>
                            <a:cubicBezTo>
                              <a:pt x="3212" y="1053"/>
                              <a:pt x="3219" y="1055"/>
                              <a:pt x="3221" y="1051"/>
                            </a:cubicBezTo>
                            <a:cubicBezTo>
                              <a:pt x="3223" y="1048"/>
                              <a:pt x="3222" y="1046"/>
                              <a:pt x="3223" y="1043"/>
                            </a:cubicBezTo>
                            <a:cubicBezTo>
                              <a:pt x="3225" y="1039"/>
                              <a:pt x="3227" y="1036"/>
                              <a:pt x="3232" y="1040"/>
                            </a:cubicBezTo>
                            <a:cubicBezTo>
                              <a:pt x="3237" y="1043"/>
                              <a:pt x="3248" y="1053"/>
                              <a:pt x="3250" y="1056"/>
                            </a:cubicBezTo>
                            <a:cubicBezTo>
                              <a:pt x="3252" y="1059"/>
                              <a:pt x="3252" y="1064"/>
                              <a:pt x="3260" y="1061"/>
                            </a:cubicBezTo>
                            <a:cubicBezTo>
                              <a:pt x="3269" y="1057"/>
                              <a:pt x="3272" y="1055"/>
                              <a:pt x="3276" y="1052"/>
                            </a:cubicBezTo>
                            <a:cubicBezTo>
                              <a:pt x="3280" y="1050"/>
                              <a:pt x="3284" y="1047"/>
                              <a:pt x="3288" y="1050"/>
                            </a:cubicBezTo>
                            <a:cubicBezTo>
                              <a:pt x="3293" y="1052"/>
                              <a:pt x="3294" y="1052"/>
                              <a:pt x="3296" y="1056"/>
                            </a:cubicBezTo>
                            <a:cubicBezTo>
                              <a:pt x="3299" y="1060"/>
                              <a:pt x="3302" y="1059"/>
                              <a:pt x="3306" y="1055"/>
                            </a:cubicBezTo>
                            <a:cubicBezTo>
                              <a:pt x="3309" y="1050"/>
                              <a:pt x="3312" y="1048"/>
                              <a:pt x="3317" y="1047"/>
                            </a:cubicBezTo>
                            <a:cubicBezTo>
                              <a:pt x="3321" y="1046"/>
                              <a:pt x="3330" y="1050"/>
                              <a:pt x="3334" y="1053"/>
                            </a:cubicBezTo>
                            <a:cubicBezTo>
                              <a:pt x="3338" y="1057"/>
                              <a:pt x="3341" y="1060"/>
                              <a:pt x="3350" y="1066"/>
                            </a:cubicBezTo>
                            <a:cubicBezTo>
                              <a:pt x="3358" y="1072"/>
                              <a:pt x="3359" y="1072"/>
                              <a:pt x="3367" y="1072"/>
                            </a:cubicBezTo>
                            <a:cubicBezTo>
                              <a:pt x="3374" y="1072"/>
                              <a:pt x="3375" y="1071"/>
                              <a:pt x="3384" y="1069"/>
                            </a:cubicBezTo>
                            <a:cubicBezTo>
                              <a:pt x="3393" y="1068"/>
                              <a:pt x="3392" y="1067"/>
                              <a:pt x="3402" y="1068"/>
                            </a:cubicBezTo>
                            <a:cubicBezTo>
                              <a:pt x="3411" y="1069"/>
                              <a:pt x="3418" y="1072"/>
                              <a:pt x="3420" y="1069"/>
                            </a:cubicBezTo>
                            <a:cubicBezTo>
                              <a:pt x="3421" y="1066"/>
                              <a:pt x="3417" y="1063"/>
                              <a:pt x="3413" y="1063"/>
                            </a:cubicBezTo>
                            <a:cubicBezTo>
                              <a:pt x="3409" y="1063"/>
                              <a:pt x="3404" y="1064"/>
                              <a:pt x="3401" y="1060"/>
                            </a:cubicBezTo>
                            <a:cubicBezTo>
                              <a:pt x="3397" y="1055"/>
                              <a:pt x="3396" y="1054"/>
                              <a:pt x="3403" y="1054"/>
                            </a:cubicBezTo>
                            <a:cubicBezTo>
                              <a:pt x="3409" y="1053"/>
                              <a:pt x="3410" y="1053"/>
                              <a:pt x="3417" y="1050"/>
                            </a:cubicBezTo>
                            <a:cubicBezTo>
                              <a:pt x="3423" y="1047"/>
                              <a:pt x="3423" y="1044"/>
                              <a:pt x="3429" y="1046"/>
                            </a:cubicBezTo>
                            <a:cubicBezTo>
                              <a:pt x="3435" y="1048"/>
                              <a:pt x="3438" y="1052"/>
                              <a:pt x="3442" y="1050"/>
                            </a:cubicBezTo>
                            <a:cubicBezTo>
                              <a:pt x="3445" y="1049"/>
                              <a:pt x="3445" y="1044"/>
                              <a:pt x="3451" y="1042"/>
                            </a:cubicBezTo>
                            <a:cubicBezTo>
                              <a:pt x="3456" y="1039"/>
                              <a:pt x="3456" y="1038"/>
                              <a:pt x="3465" y="1039"/>
                            </a:cubicBezTo>
                            <a:cubicBezTo>
                              <a:pt x="3474" y="1039"/>
                              <a:pt x="3476" y="1041"/>
                              <a:pt x="3481" y="1041"/>
                            </a:cubicBezTo>
                            <a:cubicBezTo>
                              <a:pt x="3487" y="1040"/>
                              <a:pt x="3485" y="1040"/>
                              <a:pt x="3490" y="1037"/>
                            </a:cubicBezTo>
                            <a:cubicBezTo>
                              <a:pt x="3494" y="1033"/>
                              <a:pt x="3497" y="1033"/>
                              <a:pt x="3503" y="1032"/>
                            </a:cubicBezTo>
                            <a:cubicBezTo>
                              <a:pt x="3509" y="1031"/>
                              <a:pt x="3510" y="1029"/>
                              <a:pt x="3515" y="1025"/>
                            </a:cubicBezTo>
                            <a:cubicBezTo>
                              <a:pt x="3520" y="1020"/>
                              <a:pt x="3525" y="1018"/>
                              <a:pt x="3531" y="1018"/>
                            </a:cubicBezTo>
                            <a:cubicBezTo>
                              <a:pt x="3538" y="1018"/>
                              <a:pt x="3539" y="1020"/>
                              <a:pt x="3548" y="1024"/>
                            </a:cubicBezTo>
                            <a:cubicBezTo>
                              <a:pt x="3557" y="1029"/>
                              <a:pt x="3550" y="1034"/>
                              <a:pt x="3567" y="1031"/>
                            </a:cubicBezTo>
                            <a:cubicBezTo>
                              <a:pt x="3585" y="1027"/>
                              <a:pt x="3587" y="1022"/>
                              <a:pt x="3602" y="1019"/>
                            </a:cubicBezTo>
                            <a:close/>
                            <a:moveTo>
                              <a:pt x="3771" y="1124"/>
                            </a:moveTo>
                            <a:cubicBezTo>
                              <a:pt x="3775" y="1124"/>
                              <a:pt x="3779" y="1126"/>
                              <a:pt x="3784" y="1123"/>
                            </a:cubicBezTo>
                            <a:cubicBezTo>
                              <a:pt x="3789" y="1119"/>
                              <a:pt x="3790" y="1115"/>
                              <a:pt x="3795" y="1117"/>
                            </a:cubicBezTo>
                            <a:cubicBezTo>
                              <a:pt x="3801" y="1119"/>
                              <a:pt x="3800" y="1123"/>
                              <a:pt x="3803" y="1127"/>
                            </a:cubicBezTo>
                            <a:cubicBezTo>
                              <a:pt x="3807" y="1131"/>
                              <a:pt x="3806" y="1134"/>
                              <a:pt x="3800" y="1134"/>
                            </a:cubicBezTo>
                            <a:cubicBezTo>
                              <a:pt x="3795" y="1134"/>
                              <a:pt x="3780" y="1132"/>
                              <a:pt x="3776" y="1133"/>
                            </a:cubicBezTo>
                            <a:cubicBezTo>
                              <a:pt x="3771" y="1135"/>
                              <a:pt x="3771" y="1138"/>
                              <a:pt x="3766" y="1137"/>
                            </a:cubicBezTo>
                            <a:cubicBezTo>
                              <a:pt x="3760" y="1135"/>
                              <a:pt x="3761" y="1131"/>
                              <a:pt x="3762" y="1130"/>
                            </a:cubicBezTo>
                            <a:cubicBezTo>
                              <a:pt x="3763" y="1128"/>
                              <a:pt x="3763" y="1123"/>
                              <a:pt x="3771" y="1124"/>
                            </a:cubicBezTo>
                            <a:close/>
                            <a:moveTo>
                              <a:pt x="3808" y="991"/>
                            </a:moveTo>
                            <a:cubicBezTo>
                              <a:pt x="3821" y="975"/>
                              <a:pt x="3831" y="979"/>
                              <a:pt x="3836" y="980"/>
                            </a:cubicBezTo>
                            <a:cubicBezTo>
                              <a:pt x="3841" y="982"/>
                              <a:pt x="3836" y="985"/>
                              <a:pt x="3834" y="990"/>
                            </a:cubicBezTo>
                            <a:cubicBezTo>
                              <a:pt x="3831" y="995"/>
                              <a:pt x="3829" y="996"/>
                              <a:pt x="3826" y="1000"/>
                            </a:cubicBezTo>
                            <a:cubicBezTo>
                              <a:pt x="3823" y="1003"/>
                              <a:pt x="3827" y="1006"/>
                              <a:pt x="3831" y="1009"/>
                            </a:cubicBezTo>
                            <a:cubicBezTo>
                              <a:pt x="3834" y="1011"/>
                              <a:pt x="3840" y="1013"/>
                              <a:pt x="3839" y="1016"/>
                            </a:cubicBezTo>
                            <a:cubicBezTo>
                              <a:pt x="3838" y="1020"/>
                              <a:pt x="3826" y="1015"/>
                              <a:pt x="3822" y="1015"/>
                            </a:cubicBezTo>
                            <a:cubicBezTo>
                              <a:pt x="3817" y="1015"/>
                              <a:pt x="3804" y="1020"/>
                              <a:pt x="3797" y="1020"/>
                            </a:cubicBezTo>
                            <a:cubicBezTo>
                              <a:pt x="3789" y="1015"/>
                              <a:pt x="3789" y="1012"/>
                              <a:pt x="3788" y="1009"/>
                            </a:cubicBezTo>
                            <a:cubicBezTo>
                              <a:pt x="3788" y="1006"/>
                              <a:pt x="3792" y="1004"/>
                              <a:pt x="3798" y="1000"/>
                            </a:cubicBezTo>
                            <a:cubicBezTo>
                              <a:pt x="3804" y="996"/>
                              <a:pt x="3805" y="994"/>
                              <a:pt x="3808" y="991"/>
                            </a:cubicBezTo>
                            <a:close/>
                            <a:moveTo>
                              <a:pt x="3818" y="944"/>
                            </a:moveTo>
                            <a:cubicBezTo>
                              <a:pt x="3821" y="936"/>
                              <a:pt x="3827" y="932"/>
                              <a:pt x="3829" y="929"/>
                            </a:cubicBezTo>
                            <a:cubicBezTo>
                              <a:pt x="3831" y="926"/>
                              <a:pt x="3837" y="922"/>
                              <a:pt x="3842" y="921"/>
                            </a:cubicBezTo>
                            <a:cubicBezTo>
                              <a:pt x="3846" y="920"/>
                              <a:pt x="3853" y="925"/>
                              <a:pt x="3858" y="928"/>
                            </a:cubicBezTo>
                            <a:cubicBezTo>
                              <a:pt x="3862" y="931"/>
                              <a:pt x="3868" y="929"/>
                              <a:pt x="3870" y="926"/>
                            </a:cubicBezTo>
                            <a:cubicBezTo>
                              <a:pt x="3873" y="924"/>
                              <a:pt x="3895" y="914"/>
                              <a:pt x="3900" y="908"/>
                            </a:cubicBezTo>
                            <a:cubicBezTo>
                              <a:pt x="3906" y="903"/>
                              <a:pt x="3906" y="896"/>
                              <a:pt x="3901" y="890"/>
                            </a:cubicBezTo>
                            <a:cubicBezTo>
                              <a:pt x="3896" y="883"/>
                              <a:pt x="3896" y="880"/>
                              <a:pt x="3890" y="872"/>
                            </a:cubicBezTo>
                            <a:cubicBezTo>
                              <a:pt x="3885" y="864"/>
                              <a:pt x="3881" y="868"/>
                              <a:pt x="3870" y="870"/>
                            </a:cubicBezTo>
                            <a:cubicBezTo>
                              <a:pt x="3860" y="872"/>
                              <a:pt x="3861" y="875"/>
                              <a:pt x="3853" y="881"/>
                            </a:cubicBezTo>
                            <a:cubicBezTo>
                              <a:pt x="3844" y="887"/>
                              <a:pt x="3845" y="885"/>
                              <a:pt x="3836" y="884"/>
                            </a:cubicBezTo>
                            <a:cubicBezTo>
                              <a:pt x="3827" y="883"/>
                              <a:pt x="3830" y="878"/>
                              <a:pt x="3822" y="875"/>
                            </a:cubicBezTo>
                            <a:cubicBezTo>
                              <a:pt x="3814" y="872"/>
                              <a:pt x="3814" y="876"/>
                              <a:pt x="3808" y="876"/>
                            </a:cubicBezTo>
                            <a:cubicBezTo>
                              <a:pt x="3802" y="876"/>
                              <a:pt x="3805" y="869"/>
                              <a:pt x="3810" y="862"/>
                            </a:cubicBezTo>
                            <a:cubicBezTo>
                              <a:pt x="3816" y="855"/>
                              <a:pt x="3823" y="853"/>
                              <a:pt x="3819" y="843"/>
                            </a:cubicBezTo>
                            <a:cubicBezTo>
                              <a:pt x="3815" y="833"/>
                              <a:pt x="3811" y="842"/>
                              <a:pt x="3803" y="841"/>
                            </a:cubicBezTo>
                            <a:cubicBezTo>
                              <a:pt x="3795" y="841"/>
                              <a:pt x="3796" y="841"/>
                              <a:pt x="3790" y="841"/>
                            </a:cubicBezTo>
                            <a:cubicBezTo>
                              <a:pt x="3784" y="840"/>
                              <a:pt x="3776" y="841"/>
                              <a:pt x="3768" y="845"/>
                            </a:cubicBezTo>
                            <a:cubicBezTo>
                              <a:pt x="3760" y="848"/>
                              <a:pt x="3757" y="852"/>
                              <a:pt x="3749" y="857"/>
                            </a:cubicBezTo>
                            <a:cubicBezTo>
                              <a:pt x="3741" y="862"/>
                              <a:pt x="3742" y="856"/>
                              <a:pt x="3742" y="851"/>
                            </a:cubicBezTo>
                            <a:cubicBezTo>
                              <a:pt x="3743" y="846"/>
                              <a:pt x="3746" y="844"/>
                              <a:pt x="3743" y="839"/>
                            </a:cubicBezTo>
                            <a:cubicBezTo>
                              <a:pt x="3740" y="835"/>
                              <a:pt x="3737" y="839"/>
                              <a:pt x="3727" y="836"/>
                            </a:cubicBezTo>
                            <a:cubicBezTo>
                              <a:pt x="3718" y="834"/>
                              <a:pt x="3719" y="832"/>
                              <a:pt x="3710" y="832"/>
                            </a:cubicBezTo>
                            <a:cubicBezTo>
                              <a:pt x="3700" y="831"/>
                              <a:pt x="3696" y="832"/>
                              <a:pt x="3687" y="838"/>
                            </a:cubicBezTo>
                            <a:cubicBezTo>
                              <a:pt x="3678" y="843"/>
                              <a:pt x="3676" y="841"/>
                              <a:pt x="3664" y="845"/>
                            </a:cubicBezTo>
                            <a:cubicBezTo>
                              <a:pt x="3653" y="848"/>
                              <a:pt x="3656" y="847"/>
                              <a:pt x="3652" y="840"/>
                            </a:cubicBezTo>
                            <a:cubicBezTo>
                              <a:pt x="3648" y="833"/>
                              <a:pt x="3646" y="835"/>
                              <a:pt x="3638" y="834"/>
                            </a:cubicBezTo>
                            <a:cubicBezTo>
                              <a:pt x="3630" y="833"/>
                              <a:pt x="3634" y="829"/>
                              <a:pt x="3635" y="827"/>
                            </a:cubicBezTo>
                            <a:cubicBezTo>
                              <a:pt x="3636" y="824"/>
                              <a:pt x="3655" y="826"/>
                              <a:pt x="3666" y="827"/>
                            </a:cubicBezTo>
                            <a:cubicBezTo>
                              <a:pt x="3676" y="827"/>
                              <a:pt x="3680" y="826"/>
                              <a:pt x="3683" y="822"/>
                            </a:cubicBezTo>
                            <a:cubicBezTo>
                              <a:pt x="3687" y="818"/>
                              <a:pt x="3673" y="818"/>
                              <a:pt x="3666" y="813"/>
                            </a:cubicBezTo>
                            <a:cubicBezTo>
                              <a:pt x="3658" y="809"/>
                              <a:pt x="3660" y="808"/>
                              <a:pt x="3659" y="800"/>
                            </a:cubicBezTo>
                            <a:cubicBezTo>
                              <a:pt x="3659" y="793"/>
                              <a:pt x="3656" y="796"/>
                              <a:pt x="3648" y="785"/>
                            </a:cubicBezTo>
                            <a:cubicBezTo>
                              <a:pt x="3640" y="774"/>
                              <a:pt x="3647" y="776"/>
                              <a:pt x="3650" y="776"/>
                            </a:cubicBezTo>
                            <a:cubicBezTo>
                              <a:pt x="3653" y="775"/>
                              <a:pt x="3664" y="783"/>
                              <a:pt x="3669" y="789"/>
                            </a:cubicBezTo>
                            <a:cubicBezTo>
                              <a:pt x="3674" y="796"/>
                              <a:pt x="3683" y="799"/>
                              <a:pt x="3692" y="806"/>
                            </a:cubicBezTo>
                            <a:cubicBezTo>
                              <a:pt x="3700" y="812"/>
                              <a:pt x="3710" y="816"/>
                              <a:pt x="3718" y="818"/>
                            </a:cubicBezTo>
                            <a:cubicBezTo>
                              <a:pt x="3726" y="820"/>
                              <a:pt x="3741" y="823"/>
                              <a:pt x="3751" y="825"/>
                            </a:cubicBezTo>
                            <a:cubicBezTo>
                              <a:pt x="3762" y="828"/>
                              <a:pt x="3774" y="826"/>
                              <a:pt x="3787" y="827"/>
                            </a:cubicBezTo>
                            <a:cubicBezTo>
                              <a:pt x="3800" y="827"/>
                              <a:pt x="3823" y="824"/>
                              <a:pt x="3832" y="822"/>
                            </a:cubicBezTo>
                            <a:cubicBezTo>
                              <a:pt x="3842" y="821"/>
                              <a:pt x="3849" y="821"/>
                              <a:pt x="3857" y="817"/>
                            </a:cubicBezTo>
                            <a:cubicBezTo>
                              <a:pt x="3865" y="813"/>
                              <a:pt x="3869" y="800"/>
                              <a:pt x="3874" y="795"/>
                            </a:cubicBezTo>
                            <a:cubicBezTo>
                              <a:pt x="3880" y="790"/>
                              <a:pt x="3889" y="786"/>
                              <a:pt x="3890" y="781"/>
                            </a:cubicBezTo>
                            <a:cubicBezTo>
                              <a:pt x="3891" y="776"/>
                              <a:pt x="3889" y="778"/>
                              <a:pt x="3890" y="770"/>
                            </a:cubicBezTo>
                            <a:cubicBezTo>
                              <a:pt x="3891" y="762"/>
                              <a:pt x="3893" y="762"/>
                              <a:pt x="3890" y="761"/>
                            </a:cubicBezTo>
                            <a:cubicBezTo>
                              <a:pt x="3887" y="759"/>
                              <a:pt x="3885" y="758"/>
                              <a:pt x="3881" y="754"/>
                            </a:cubicBezTo>
                            <a:cubicBezTo>
                              <a:pt x="3877" y="750"/>
                              <a:pt x="3874" y="754"/>
                              <a:pt x="3868" y="750"/>
                            </a:cubicBezTo>
                            <a:cubicBezTo>
                              <a:pt x="3863" y="747"/>
                              <a:pt x="3868" y="744"/>
                              <a:pt x="3869" y="739"/>
                            </a:cubicBezTo>
                            <a:cubicBezTo>
                              <a:pt x="3869" y="734"/>
                              <a:pt x="3879" y="736"/>
                              <a:pt x="3887" y="736"/>
                            </a:cubicBezTo>
                            <a:cubicBezTo>
                              <a:pt x="3895" y="736"/>
                              <a:pt x="3911" y="737"/>
                              <a:pt x="3920" y="740"/>
                            </a:cubicBezTo>
                            <a:cubicBezTo>
                              <a:pt x="3928" y="744"/>
                              <a:pt x="3950" y="747"/>
                              <a:pt x="3959" y="746"/>
                            </a:cubicBezTo>
                            <a:cubicBezTo>
                              <a:pt x="3969" y="744"/>
                              <a:pt x="3977" y="745"/>
                              <a:pt x="3984" y="742"/>
                            </a:cubicBezTo>
                            <a:cubicBezTo>
                              <a:pt x="3990" y="739"/>
                              <a:pt x="3997" y="734"/>
                              <a:pt x="4003" y="734"/>
                            </a:cubicBezTo>
                            <a:cubicBezTo>
                              <a:pt x="4009" y="733"/>
                              <a:pt x="4013" y="737"/>
                              <a:pt x="4016" y="736"/>
                            </a:cubicBezTo>
                            <a:cubicBezTo>
                              <a:pt x="4019" y="735"/>
                              <a:pt x="4018" y="730"/>
                              <a:pt x="4019" y="727"/>
                            </a:cubicBezTo>
                            <a:cubicBezTo>
                              <a:pt x="4021" y="724"/>
                              <a:pt x="4020" y="721"/>
                              <a:pt x="4013" y="717"/>
                            </a:cubicBezTo>
                            <a:cubicBezTo>
                              <a:pt x="4006" y="713"/>
                              <a:pt x="4004" y="716"/>
                              <a:pt x="3998" y="716"/>
                            </a:cubicBezTo>
                            <a:cubicBezTo>
                              <a:pt x="3992" y="716"/>
                              <a:pt x="3987" y="713"/>
                              <a:pt x="3979" y="713"/>
                            </a:cubicBezTo>
                            <a:cubicBezTo>
                              <a:pt x="3972" y="713"/>
                              <a:pt x="3961" y="713"/>
                              <a:pt x="3962" y="707"/>
                            </a:cubicBezTo>
                            <a:cubicBezTo>
                              <a:pt x="3963" y="701"/>
                              <a:pt x="3984" y="706"/>
                              <a:pt x="3990" y="703"/>
                            </a:cubicBezTo>
                            <a:cubicBezTo>
                              <a:pt x="3995" y="700"/>
                              <a:pt x="4007" y="701"/>
                              <a:pt x="4012" y="701"/>
                            </a:cubicBezTo>
                            <a:cubicBezTo>
                              <a:pt x="4018" y="702"/>
                              <a:pt x="4028" y="706"/>
                              <a:pt x="4034" y="706"/>
                            </a:cubicBezTo>
                            <a:cubicBezTo>
                              <a:pt x="4040" y="705"/>
                              <a:pt x="4037" y="700"/>
                              <a:pt x="4040" y="695"/>
                            </a:cubicBezTo>
                            <a:cubicBezTo>
                              <a:pt x="4042" y="691"/>
                              <a:pt x="4051" y="682"/>
                              <a:pt x="4050" y="680"/>
                            </a:cubicBezTo>
                            <a:cubicBezTo>
                              <a:pt x="4048" y="677"/>
                              <a:pt x="4043" y="677"/>
                              <a:pt x="4039" y="677"/>
                            </a:cubicBezTo>
                            <a:cubicBezTo>
                              <a:pt x="4035" y="677"/>
                              <a:pt x="4018" y="674"/>
                              <a:pt x="4008" y="670"/>
                            </a:cubicBezTo>
                            <a:cubicBezTo>
                              <a:pt x="3999" y="666"/>
                              <a:pt x="3999" y="670"/>
                              <a:pt x="3991" y="670"/>
                            </a:cubicBezTo>
                            <a:cubicBezTo>
                              <a:pt x="3984" y="670"/>
                              <a:pt x="3976" y="667"/>
                              <a:pt x="3982" y="663"/>
                            </a:cubicBezTo>
                            <a:cubicBezTo>
                              <a:pt x="3988" y="659"/>
                              <a:pt x="4000" y="661"/>
                              <a:pt x="4009" y="659"/>
                            </a:cubicBezTo>
                            <a:cubicBezTo>
                              <a:pt x="4018" y="658"/>
                              <a:pt x="4022" y="659"/>
                              <a:pt x="4029" y="660"/>
                            </a:cubicBezTo>
                            <a:cubicBezTo>
                              <a:pt x="4036" y="660"/>
                              <a:pt x="4049" y="659"/>
                              <a:pt x="4060" y="658"/>
                            </a:cubicBezTo>
                            <a:cubicBezTo>
                              <a:pt x="4070" y="657"/>
                              <a:pt x="4085" y="658"/>
                              <a:pt x="4087" y="658"/>
                            </a:cubicBezTo>
                            <a:cubicBezTo>
                              <a:pt x="4089" y="658"/>
                              <a:pt x="4092" y="653"/>
                              <a:pt x="4091" y="650"/>
                            </a:cubicBezTo>
                            <a:cubicBezTo>
                              <a:pt x="4090" y="647"/>
                              <a:pt x="4088" y="647"/>
                              <a:pt x="4088" y="642"/>
                            </a:cubicBezTo>
                            <a:cubicBezTo>
                              <a:pt x="4089" y="636"/>
                              <a:pt x="4093" y="628"/>
                              <a:pt x="4089" y="625"/>
                            </a:cubicBezTo>
                            <a:cubicBezTo>
                              <a:pt x="4086" y="622"/>
                              <a:pt x="4078" y="622"/>
                              <a:pt x="4066" y="620"/>
                            </a:cubicBezTo>
                            <a:cubicBezTo>
                              <a:pt x="4053" y="618"/>
                              <a:pt x="4055" y="617"/>
                              <a:pt x="4049" y="615"/>
                            </a:cubicBezTo>
                            <a:cubicBezTo>
                              <a:pt x="4043" y="614"/>
                              <a:pt x="4031" y="615"/>
                              <a:pt x="4024" y="616"/>
                            </a:cubicBezTo>
                            <a:cubicBezTo>
                              <a:pt x="4018" y="616"/>
                              <a:pt x="4008" y="618"/>
                              <a:pt x="4004" y="620"/>
                            </a:cubicBezTo>
                            <a:cubicBezTo>
                              <a:pt x="4000" y="622"/>
                              <a:pt x="3996" y="620"/>
                              <a:pt x="3993" y="619"/>
                            </a:cubicBezTo>
                            <a:cubicBezTo>
                              <a:pt x="3989" y="618"/>
                              <a:pt x="3995" y="614"/>
                              <a:pt x="4000" y="610"/>
                            </a:cubicBezTo>
                            <a:cubicBezTo>
                              <a:pt x="4004" y="607"/>
                              <a:pt x="4007" y="603"/>
                              <a:pt x="4006" y="600"/>
                            </a:cubicBezTo>
                            <a:cubicBezTo>
                              <a:pt x="4005" y="596"/>
                              <a:pt x="4002" y="598"/>
                              <a:pt x="3993" y="599"/>
                            </a:cubicBezTo>
                            <a:cubicBezTo>
                              <a:pt x="3984" y="600"/>
                              <a:pt x="3981" y="599"/>
                              <a:pt x="3971" y="598"/>
                            </a:cubicBezTo>
                            <a:cubicBezTo>
                              <a:pt x="3960" y="597"/>
                              <a:pt x="3960" y="599"/>
                              <a:pt x="3954" y="601"/>
                            </a:cubicBezTo>
                            <a:cubicBezTo>
                              <a:pt x="3948" y="603"/>
                              <a:pt x="3940" y="602"/>
                              <a:pt x="3930" y="602"/>
                            </a:cubicBezTo>
                            <a:cubicBezTo>
                              <a:pt x="3921" y="602"/>
                              <a:pt x="3914" y="605"/>
                              <a:pt x="3909" y="607"/>
                            </a:cubicBezTo>
                            <a:cubicBezTo>
                              <a:pt x="3905" y="610"/>
                              <a:pt x="3896" y="618"/>
                              <a:pt x="3888" y="624"/>
                            </a:cubicBezTo>
                            <a:cubicBezTo>
                              <a:pt x="3880" y="630"/>
                              <a:pt x="3878" y="627"/>
                              <a:pt x="3875" y="624"/>
                            </a:cubicBezTo>
                            <a:cubicBezTo>
                              <a:pt x="3872" y="621"/>
                              <a:pt x="3881" y="614"/>
                              <a:pt x="3885" y="611"/>
                            </a:cubicBezTo>
                            <a:cubicBezTo>
                              <a:pt x="3889" y="608"/>
                              <a:pt x="3894" y="604"/>
                              <a:pt x="3896" y="602"/>
                            </a:cubicBezTo>
                            <a:cubicBezTo>
                              <a:pt x="3897" y="599"/>
                              <a:pt x="3895" y="597"/>
                              <a:pt x="3887" y="597"/>
                            </a:cubicBezTo>
                            <a:cubicBezTo>
                              <a:pt x="3879" y="597"/>
                              <a:pt x="3870" y="597"/>
                              <a:pt x="3862" y="599"/>
                            </a:cubicBezTo>
                            <a:cubicBezTo>
                              <a:pt x="3853" y="600"/>
                              <a:pt x="3848" y="596"/>
                              <a:pt x="3847" y="591"/>
                            </a:cubicBezTo>
                            <a:cubicBezTo>
                              <a:pt x="3846" y="587"/>
                              <a:pt x="3862" y="590"/>
                              <a:pt x="3870" y="589"/>
                            </a:cubicBezTo>
                            <a:cubicBezTo>
                              <a:pt x="3878" y="588"/>
                              <a:pt x="3890" y="588"/>
                              <a:pt x="3898" y="588"/>
                            </a:cubicBezTo>
                            <a:cubicBezTo>
                              <a:pt x="3905" y="589"/>
                              <a:pt x="3913" y="591"/>
                              <a:pt x="3919" y="591"/>
                            </a:cubicBezTo>
                            <a:cubicBezTo>
                              <a:pt x="3926" y="591"/>
                              <a:pt x="3939" y="591"/>
                              <a:pt x="3948" y="593"/>
                            </a:cubicBezTo>
                            <a:cubicBezTo>
                              <a:pt x="3956" y="596"/>
                              <a:pt x="3972" y="590"/>
                              <a:pt x="3977" y="587"/>
                            </a:cubicBezTo>
                            <a:cubicBezTo>
                              <a:pt x="3982" y="584"/>
                              <a:pt x="3981" y="583"/>
                              <a:pt x="3978" y="580"/>
                            </a:cubicBezTo>
                            <a:cubicBezTo>
                              <a:pt x="3975" y="577"/>
                              <a:pt x="3965" y="580"/>
                              <a:pt x="3955" y="581"/>
                            </a:cubicBezTo>
                            <a:cubicBezTo>
                              <a:pt x="3945" y="581"/>
                              <a:pt x="3936" y="581"/>
                              <a:pt x="3928" y="579"/>
                            </a:cubicBezTo>
                            <a:cubicBezTo>
                              <a:pt x="3920" y="577"/>
                              <a:pt x="3913" y="579"/>
                              <a:pt x="3903" y="579"/>
                            </a:cubicBezTo>
                            <a:cubicBezTo>
                              <a:pt x="3892" y="580"/>
                              <a:pt x="3889" y="580"/>
                              <a:pt x="3883" y="576"/>
                            </a:cubicBezTo>
                            <a:cubicBezTo>
                              <a:pt x="3878" y="572"/>
                              <a:pt x="3885" y="571"/>
                              <a:pt x="3890" y="570"/>
                            </a:cubicBezTo>
                            <a:cubicBezTo>
                              <a:pt x="3895" y="569"/>
                              <a:pt x="3911" y="570"/>
                              <a:pt x="3918" y="573"/>
                            </a:cubicBezTo>
                            <a:cubicBezTo>
                              <a:pt x="3925" y="575"/>
                              <a:pt x="3930" y="574"/>
                              <a:pt x="3936" y="573"/>
                            </a:cubicBezTo>
                            <a:cubicBezTo>
                              <a:pt x="3942" y="572"/>
                              <a:pt x="3949" y="570"/>
                              <a:pt x="3959" y="570"/>
                            </a:cubicBezTo>
                            <a:cubicBezTo>
                              <a:pt x="3968" y="570"/>
                              <a:pt x="3971" y="571"/>
                              <a:pt x="3980" y="573"/>
                            </a:cubicBezTo>
                            <a:cubicBezTo>
                              <a:pt x="3989" y="574"/>
                              <a:pt x="3996" y="571"/>
                              <a:pt x="3998" y="569"/>
                            </a:cubicBezTo>
                            <a:cubicBezTo>
                              <a:pt x="4000" y="567"/>
                              <a:pt x="3995" y="563"/>
                              <a:pt x="3990" y="561"/>
                            </a:cubicBezTo>
                            <a:cubicBezTo>
                              <a:pt x="3985" y="559"/>
                              <a:pt x="3977" y="560"/>
                              <a:pt x="3970" y="560"/>
                            </a:cubicBezTo>
                            <a:cubicBezTo>
                              <a:pt x="3963" y="560"/>
                              <a:pt x="3955" y="560"/>
                              <a:pt x="3949" y="562"/>
                            </a:cubicBezTo>
                            <a:cubicBezTo>
                              <a:pt x="3943" y="563"/>
                              <a:pt x="3937" y="563"/>
                              <a:pt x="3928" y="563"/>
                            </a:cubicBezTo>
                            <a:cubicBezTo>
                              <a:pt x="3918" y="564"/>
                              <a:pt x="3919" y="562"/>
                              <a:pt x="3914" y="557"/>
                            </a:cubicBezTo>
                            <a:cubicBezTo>
                              <a:pt x="3908" y="553"/>
                              <a:pt x="3907" y="557"/>
                              <a:pt x="3897" y="556"/>
                            </a:cubicBezTo>
                            <a:cubicBezTo>
                              <a:pt x="3887" y="556"/>
                              <a:pt x="3889" y="551"/>
                              <a:pt x="3891" y="550"/>
                            </a:cubicBezTo>
                            <a:cubicBezTo>
                              <a:pt x="3893" y="548"/>
                              <a:pt x="3907" y="550"/>
                              <a:pt x="3912" y="551"/>
                            </a:cubicBezTo>
                            <a:cubicBezTo>
                              <a:pt x="3918" y="553"/>
                              <a:pt x="3926" y="552"/>
                              <a:pt x="3930" y="553"/>
                            </a:cubicBezTo>
                            <a:cubicBezTo>
                              <a:pt x="3934" y="554"/>
                              <a:pt x="3937" y="553"/>
                              <a:pt x="3939" y="552"/>
                            </a:cubicBezTo>
                            <a:cubicBezTo>
                              <a:pt x="3940" y="550"/>
                              <a:pt x="3936" y="547"/>
                              <a:pt x="3934" y="544"/>
                            </a:cubicBezTo>
                            <a:cubicBezTo>
                              <a:pt x="3932" y="541"/>
                              <a:pt x="3933" y="538"/>
                              <a:pt x="3937" y="538"/>
                            </a:cubicBezTo>
                            <a:cubicBezTo>
                              <a:pt x="3941" y="538"/>
                              <a:pt x="3950" y="542"/>
                              <a:pt x="3955" y="545"/>
                            </a:cubicBezTo>
                            <a:cubicBezTo>
                              <a:pt x="3959" y="547"/>
                              <a:pt x="3964" y="549"/>
                              <a:pt x="3966" y="550"/>
                            </a:cubicBezTo>
                            <a:cubicBezTo>
                              <a:pt x="3969" y="550"/>
                              <a:pt x="3981" y="552"/>
                              <a:pt x="3987" y="551"/>
                            </a:cubicBezTo>
                            <a:cubicBezTo>
                              <a:pt x="3992" y="550"/>
                              <a:pt x="4001" y="550"/>
                              <a:pt x="4005" y="550"/>
                            </a:cubicBezTo>
                            <a:cubicBezTo>
                              <a:pt x="4010" y="551"/>
                              <a:pt x="4010" y="549"/>
                              <a:pt x="4008" y="546"/>
                            </a:cubicBezTo>
                            <a:cubicBezTo>
                              <a:pt x="4007" y="544"/>
                              <a:pt x="4003" y="542"/>
                              <a:pt x="3999" y="539"/>
                            </a:cubicBezTo>
                            <a:cubicBezTo>
                              <a:pt x="3994" y="537"/>
                              <a:pt x="3986" y="537"/>
                              <a:pt x="3980" y="534"/>
                            </a:cubicBezTo>
                            <a:cubicBezTo>
                              <a:pt x="3975" y="532"/>
                              <a:pt x="3962" y="531"/>
                              <a:pt x="3957" y="531"/>
                            </a:cubicBezTo>
                            <a:cubicBezTo>
                              <a:pt x="3953" y="530"/>
                              <a:pt x="3950" y="525"/>
                              <a:pt x="3949" y="522"/>
                            </a:cubicBezTo>
                            <a:cubicBezTo>
                              <a:pt x="3948" y="520"/>
                              <a:pt x="3958" y="521"/>
                              <a:pt x="3964" y="522"/>
                            </a:cubicBezTo>
                            <a:cubicBezTo>
                              <a:pt x="3969" y="523"/>
                              <a:pt x="3981" y="526"/>
                              <a:pt x="3986" y="526"/>
                            </a:cubicBezTo>
                            <a:cubicBezTo>
                              <a:pt x="3991" y="527"/>
                              <a:pt x="4002" y="530"/>
                              <a:pt x="4009" y="533"/>
                            </a:cubicBezTo>
                            <a:cubicBezTo>
                              <a:pt x="4016" y="537"/>
                              <a:pt x="4024" y="533"/>
                              <a:pt x="4033" y="535"/>
                            </a:cubicBezTo>
                            <a:cubicBezTo>
                              <a:pt x="4042" y="537"/>
                              <a:pt x="4047" y="540"/>
                              <a:pt x="4057" y="543"/>
                            </a:cubicBezTo>
                            <a:cubicBezTo>
                              <a:pt x="4067" y="546"/>
                              <a:pt x="4070" y="547"/>
                              <a:pt x="4075" y="545"/>
                            </a:cubicBezTo>
                            <a:cubicBezTo>
                              <a:pt x="4080" y="543"/>
                              <a:pt x="4077" y="534"/>
                              <a:pt x="4079" y="532"/>
                            </a:cubicBezTo>
                            <a:cubicBezTo>
                              <a:pt x="4082" y="531"/>
                              <a:pt x="4092" y="535"/>
                              <a:pt x="4099" y="538"/>
                            </a:cubicBezTo>
                            <a:cubicBezTo>
                              <a:pt x="4106" y="541"/>
                              <a:pt x="4118" y="540"/>
                              <a:pt x="4133" y="539"/>
                            </a:cubicBezTo>
                            <a:cubicBezTo>
                              <a:pt x="4148" y="539"/>
                              <a:pt x="4151" y="537"/>
                              <a:pt x="4159" y="534"/>
                            </a:cubicBezTo>
                            <a:cubicBezTo>
                              <a:pt x="4166" y="530"/>
                              <a:pt x="4179" y="528"/>
                              <a:pt x="4184" y="523"/>
                            </a:cubicBezTo>
                            <a:cubicBezTo>
                              <a:pt x="4190" y="519"/>
                              <a:pt x="4190" y="514"/>
                              <a:pt x="4188" y="507"/>
                            </a:cubicBezTo>
                            <a:cubicBezTo>
                              <a:pt x="4186" y="500"/>
                              <a:pt x="4184" y="497"/>
                              <a:pt x="4179" y="494"/>
                            </a:cubicBezTo>
                            <a:cubicBezTo>
                              <a:pt x="4175" y="491"/>
                              <a:pt x="4170" y="493"/>
                              <a:pt x="4163" y="493"/>
                            </a:cubicBezTo>
                            <a:cubicBezTo>
                              <a:pt x="4157" y="494"/>
                              <a:pt x="4149" y="493"/>
                              <a:pt x="4139" y="491"/>
                            </a:cubicBezTo>
                            <a:cubicBezTo>
                              <a:pt x="4130" y="489"/>
                              <a:pt x="4130" y="492"/>
                              <a:pt x="4122" y="493"/>
                            </a:cubicBezTo>
                            <a:cubicBezTo>
                              <a:pt x="4114" y="494"/>
                              <a:pt x="4110" y="493"/>
                              <a:pt x="4103" y="493"/>
                            </a:cubicBezTo>
                            <a:cubicBezTo>
                              <a:pt x="4097" y="493"/>
                              <a:pt x="4091" y="485"/>
                              <a:pt x="4091" y="480"/>
                            </a:cubicBezTo>
                            <a:cubicBezTo>
                              <a:pt x="4091" y="475"/>
                              <a:pt x="4106" y="478"/>
                              <a:pt x="4115" y="477"/>
                            </a:cubicBezTo>
                            <a:cubicBezTo>
                              <a:pt x="4124" y="476"/>
                              <a:pt x="4140" y="475"/>
                              <a:pt x="4148" y="475"/>
                            </a:cubicBezTo>
                            <a:cubicBezTo>
                              <a:pt x="4155" y="475"/>
                              <a:pt x="4154" y="479"/>
                              <a:pt x="4161" y="481"/>
                            </a:cubicBezTo>
                            <a:cubicBezTo>
                              <a:pt x="4168" y="482"/>
                              <a:pt x="4186" y="479"/>
                              <a:pt x="4190" y="479"/>
                            </a:cubicBezTo>
                            <a:cubicBezTo>
                              <a:pt x="4194" y="479"/>
                              <a:pt x="4206" y="484"/>
                              <a:pt x="4205" y="487"/>
                            </a:cubicBezTo>
                            <a:cubicBezTo>
                              <a:pt x="4204" y="491"/>
                              <a:pt x="4201" y="492"/>
                              <a:pt x="4201" y="496"/>
                            </a:cubicBezTo>
                            <a:cubicBezTo>
                              <a:pt x="4202" y="499"/>
                              <a:pt x="4210" y="501"/>
                              <a:pt x="4219" y="502"/>
                            </a:cubicBezTo>
                            <a:cubicBezTo>
                              <a:pt x="4229" y="503"/>
                              <a:pt x="4233" y="507"/>
                              <a:pt x="4238" y="509"/>
                            </a:cubicBezTo>
                            <a:cubicBezTo>
                              <a:pt x="4244" y="510"/>
                              <a:pt x="4256" y="510"/>
                              <a:pt x="4263" y="507"/>
                            </a:cubicBezTo>
                            <a:cubicBezTo>
                              <a:pt x="4269" y="505"/>
                              <a:pt x="4277" y="502"/>
                              <a:pt x="4286" y="500"/>
                            </a:cubicBezTo>
                            <a:cubicBezTo>
                              <a:pt x="4295" y="498"/>
                              <a:pt x="4300" y="497"/>
                              <a:pt x="4309" y="494"/>
                            </a:cubicBezTo>
                            <a:cubicBezTo>
                              <a:pt x="4317" y="491"/>
                              <a:pt x="4315" y="488"/>
                              <a:pt x="4315" y="484"/>
                            </a:cubicBezTo>
                            <a:cubicBezTo>
                              <a:pt x="4315" y="480"/>
                              <a:pt x="4314" y="480"/>
                              <a:pt x="4308" y="480"/>
                            </a:cubicBezTo>
                            <a:cubicBezTo>
                              <a:pt x="4303" y="480"/>
                              <a:pt x="4301" y="478"/>
                              <a:pt x="4302" y="473"/>
                            </a:cubicBezTo>
                            <a:cubicBezTo>
                              <a:pt x="4302" y="467"/>
                              <a:pt x="4308" y="471"/>
                              <a:pt x="4312" y="469"/>
                            </a:cubicBezTo>
                            <a:cubicBezTo>
                              <a:pt x="4315" y="467"/>
                              <a:pt x="4324" y="464"/>
                              <a:pt x="4333" y="463"/>
                            </a:cubicBezTo>
                            <a:cubicBezTo>
                              <a:pt x="4341" y="462"/>
                              <a:pt x="4340" y="461"/>
                              <a:pt x="4344" y="456"/>
                            </a:cubicBezTo>
                            <a:cubicBezTo>
                              <a:pt x="4348" y="450"/>
                              <a:pt x="4346" y="448"/>
                              <a:pt x="4339" y="445"/>
                            </a:cubicBezTo>
                            <a:cubicBezTo>
                              <a:pt x="4332" y="441"/>
                              <a:pt x="4325" y="445"/>
                              <a:pt x="4315" y="445"/>
                            </a:cubicBezTo>
                            <a:cubicBezTo>
                              <a:pt x="4306" y="445"/>
                              <a:pt x="4300" y="446"/>
                              <a:pt x="4289" y="449"/>
                            </a:cubicBezTo>
                            <a:cubicBezTo>
                              <a:pt x="4279" y="453"/>
                              <a:pt x="4277" y="449"/>
                              <a:pt x="4265" y="450"/>
                            </a:cubicBezTo>
                            <a:cubicBezTo>
                              <a:pt x="4254" y="450"/>
                              <a:pt x="4252" y="455"/>
                              <a:pt x="4245" y="456"/>
                            </a:cubicBezTo>
                            <a:cubicBezTo>
                              <a:pt x="4238" y="457"/>
                              <a:pt x="4238" y="451"/>
                              <a:pt x="4238" y="446"/>
                            </a:cubicBezTo>
                            <a:cubicBezTo>
                              <a:pt x="4238" y="440"/>
                              <a:pt x="4243" y="441"/>
                              <a:pt x="4242" y="437"/>
                            </a:cubicBezTo>
                            <a:cubicBezTo>
                              <a:pt x="4240" y="434"/>
                              <a:pt x="4233" y="433"/>
                              <a:pt x="4233" y="428"/>
                            </a:cubicBezTo>
                            <a:cubicBezTo>
                              <a:pt x="4233" y="422"/>
                              <a:pt x="4252" y="430"/>
                              <a:pt x="4262" y="435"/>
                            </a:cubicBezTo>
                            <a:cubicBezTo>
                              <a:pt x="4272" y="440"/>
                              <a:pt x="4272" y="438"/>
                              <a:pt x="4285" y="439"/>
                            </a:cubicBezTo>
                            <a:cubicBezTo>
                              <a:pt x="4298" y="439"/>
                              <a:pt x="4306" y="437"/>
                              <a:pt x="4312" y="436"/>
                            </a:cubicBezTo>
                            <a:cubicBezTo>
                              <a:pt x="4318" y="435"/>
                              <a:pt x="4326" y="432"/>
                              <a:pt x="4332" y="431"/>
                            </a:cubicBezTo>
                            <a:cubicBezTo>
                              <a:pt x="4339" y="430"/>
                              <a:pt x="4352" y="429"/>
                              <a:pt x="4362" y="428"/>
                            </a:cubicBezTo>
                            <a:cubicBezTo>
                              <a:pt x="4371" y="428"/>
                              <a:pt x="4372" y="426"/>
                              <a:pt x="4371" y="422"/>
                            </a:cubicBezTo>
                            <a:cubicBezTo>
                              <a:pt x="4370" y="418"/>
                              <a:pt x="4359" y="417"/>
                              <a:pt x="4356" y="414"/>
                            </a:cubicBezTo>
                            <a:cubicBezTo>
                              <a:pt x="4353" y="411"/>
                              <a:pt x="4356" y="405"/>
                              <a:pt x="4353" y="400"/>
                            </a:cubicBezTo>
                            <a:cubicBezTo>
                              <a:pt x="4351" y="395"/>
                              <a:pt x="4337" y="390"/>
                              <a:pt x="4331" y="383"/>
                            </a:cubicBezTo>
                            <a:cubicBezTo>
                              <a:pt x="4324" y="376"/>
                              <a:pt x="4340" y="381"/>
                              <a:pt x="4347" y="383"/>
                            </a:cubicBezTo>
                            <a:cubicBezTo>
                              <a:pt x="4355" y="384"/>
                              <a:pt x="4367" y="391"/>
                              <a:pt x="4367" y="395"/>
                            </a:cubicBezTo>
                            <a:cubicBezTo>
                              <a:pt x="4368" y="400"/>
                              <a:pt x="4378" y="405"/>
                              <a:pt x="4391" y="405"/>
                            </a:cubicBezTo>
                            <a:cubicBezTo>
                              <a:pt x="4404" y="405"/>
                              <a:pt x="4415" y="402"/>
                              <a:pt x="4423" y="398"/>
                            </a:cubicBezTo>
                            <a:cubicBezTo>
                              <a:pt x="4431" y="393"/>
                              <a:pt x="4455" y="380"/>
                              <a:pt x="4467" y="370"/>
                            </a:cubicBezTo>
                            <a:cubicBezTo>
                              <a:pt x="4479" y="361"/>
                              <a:pt x="4532" y="324"/>
                              <a:pt x="4548" y="317"/>
                            </a:cubicBezTo>
                            <a:cubicBezTo>
                              <a:pt x="4564" y="310"/>
                              <a:pt x="4686" y="273"/>
                              <a:pt x="4695" y="268"/>
                            </a:cubicBezTo>
                            <a:cubicBezTo>
                              <a:pt x="4704" y="263"/>
                              <a:pt x="4713" y="256"/>
                              <a:pt x="4716" y="250"/>
                            </a:cubicBezTo>
                            <a:cubicBezTo>
                              <a:pt x="4719" y="244"/>
                              <a:pt x="4715" y="243"/>
                              <a:pt x="4696" y="244"/>
                            </a:cubicBezTo>
                            <a:cubicBezTo>
                              <a:pt x="4678" y="246"/>
                              <a:pt x="4660" y="250"/>
                              <a:pt x="4634" y="255"/>
                            </a:cubicBezTo>
                            <a:cubicBezTo>
                              <a:pt x="4608" y="260"/>
                              <a:pt x="4580" y="257"/>
                              <a:pt x="4552" y="264"/>
                            </a:cubicBezTo>
                            <a:cubicBezTo>
                              <a:pt x="4524" y="270"/>
                              <a:pt x="4517" y="276"/>
                              <a:pt x="4489" y="279"/>
                            </a:cubicBezTo>
                            <a:cubicBezTo>
                              <a:pt x="4462" y="281"/>
                              <a:pt x="4456" y="283"/>
                              <a:pt x="4440" y="291"/>
                            </a:cubicBezTo>
                            <a:cubicBezTo>
                              <a:pt x="4424" y="300"/>
                              <a:pt x="4394" y="304"/>
                              <a:pt x="4389" y="300"/>
                            </a:cubicBezTo>
                            <a:cubicBezTo>
                              <a:pt x="4384" y="295"/>
                              <a:pt x="4376" y="297"/>
                              <a:pt x="4370" y="291"/>
                            </a:cubicBezTo>
                            <a:cubicBezTo>
                              <a:pt x="4363" y="285"/>
                              <a:pt x="4374" y="286"/>
                              <a:pt x="4387" y="282"/>
                            </a:cubicBezTo>
                            <a:cubicBezTo>
                              <a:pt x="4400" y="279"/>
                              <a:pt x="4419" y="276"/>
                              <a:pt x="4434" y="274"/>
                            </a:cubicBezTo>
                            <a:cubicBezTo>
                              <a:pt x="4448" y="272"/>
                              <a:pt x="4463" y="267"/>
                              <a:pt x="4479" y="259"/>
                            </a:cubicBezTo>
                            <a:cubicBezTo>
                              <a:pt x="4494" y="251"/>
                              <a:pt x="4526" y="255"/>
                              <a:pt x="4548" y="254"/>
                            </a:cubicBezTo>
                            <a:cubicBezTo>
                              <a:pt x="4571" y="253"/>
                              <a:pt x="4583" y="250"/>
                              <a:pt x="4585" y="246"/>
                            </a:cubicBezTo>
                            <a:cubicBezTo>
                              <a:pt x="4586" y="241"/>
                              <a:pt x="4575" y="239"/>
                              <a:pt x="4568" y="235"/>
                            </a:cubicBezTo>
                            <a:cubicBezTo>
                              <a:pt x="4560" y="230"/>
                              <a:pt x="4550" y="236"/>
                              <a:pt x="4538" y="236"/>
                            </a:cubicBezTo>
                            <a:cubicBezTo>
                              <a:pt x="4525" y="237"/>
                              <a:pt x="4511" y="238"/>
                              <a:pt x="4500" y="240"/>
                            </a:cubicBezTo>
                            <a:cubicBezTo>
                              <a:pt x="4489" y="243"/>
                              <a:pt x="4475" y="244"/>
                              <a:pt x="4466" y="244"/>
                            </a:cubicBezTo>
                            <a:cubicBezTo>
                              <a:pt x="4457" y="243"/>
                              <a:pt x="4463" y="241"/>
                              <a:pt x="4462" y="231"/>
                            </a:cubicBezTo>
                            <a:cubicBezTo>
                              <a:pt x="4461" y="220"/>
                              <a:pt x="4451" y="225"/>
                              <a:pt x="4444" y="221"/>
                            </a:cubicBezTo>
                            <a:cubicBezTo>
                              <a:pt x="4437" y="218"/>
                              <a:pt x="4431" y="215"/>
                              <a:pt x="4428" y="207"/>
                            </a:cubicBezTo>
                            <a:cubicBezTo>
                              <a:pt x="4424" y="199"/>
                              <a:pt x="4464" y="215"/>
                              <a:pt x="4470" y="220"/>
                            </a:cubicBezTo>
                            <a:cubicBezTo>
                              <a:pt x="4476" y="225"/>
                              <a:pt x="4489" y="227"/>
                              <a:pt x="4498" y="227"/>
                            </a:cubicBezTo>
                            <a:cubicBezTo>
                              <a:pt x="4506" y="227"/>
                              <a:pt x="4533" y="226"/>
                              <a:pt x="4546" y="226"/>
                            </a:cubicBezTo>
                            <a:cubicBezTo>
                              <a:pt x="4560" y="226"/>
                              <a:pt x="4593" y="227"/>
                              <a:pt x="4603" y="227"/>
                            </a:cubicBezTo>
                            <a:cubicBezTo>
                              <a:pt x="4613" y="227"/>
                              <a:pt x="4652" y="226"/>
                              <a:pt x="4674" y="220"/>
                            </a:cubicBezTo>
                            <a:cubicBezTo>
                              <a:pt x="4695" y="215"/>
                              <a:pt x="4721" y="215"/>
                              <a:pt x="4739" y="214"/>
                            </a:cubicBezTo>
                            <a:cubicBezTo>
                              <a:pt x="4756" y="212"/>
                              <a:pt x="4761" y="206"/>
                              <a:pt x="4782" y="190"/>
                            </a:cubicBezTo>
                            <a:cubicBezTo>
                              <a:pt x="4803" y="175"/>
                              <a:pt x="4827" y="172"/>
                              <a:pt x="4838" y="169"/>
                            </a:cubicBezTo>
                            <a:cubicBezTo>
                              <a:pt x="4849" y="166"/>
                              <a:pt x="4866" y="156"/>
                              <a:pt x="4883" y="143"/>
                            </a:cubicBezTo>
                            <a:cubicBezTo>
                              <a:pt x="4901" y="131"/>
                              <a:pt x="4932" y="125"/>
                              <a:pt x="4937" y="121"/>
                            </a:cubicBezTo>
                            <a:cubicBezTo>
                              <a:pt x="4941" y="118"/>
                              <a:pt x="4932" y="116"/>
                              <a:pt x="4927" y="108"/>
                            </a:cubicBezTo>
                            <a:cubicBezTo>
                              <a:pt x="4921" y="100"/>
                              <a:pt x="4915" y="100"/>
                              <a:pt x="4900" y="98"/>
                            </a:cubicBezTo>
                            <a:cubicBezTo>
                              <a:pt x="4886" y="97"/>
                              <a:pt x="4875" y="99"/>
                              <a:pt x="4861" y="98"/>
                            </a:cubicBezTo>
                            <a:cubicBezTo>
                              <a:pt x="4846" y="97"/>
                              <a:pt x="4836" y="98"/>
                              <a:pt x="4826" y="98"/>
                            </a:cubicBezTo>
                            <a:cubicBezTo>
                              <a:pt x="4816" y="99"/>
                              <a:pt x="4814" y="102"/>
                              <a:pt x="4806" y="101"/>
                            </a:cubicBezTo>
                            <a:cubicBezTo>
                              <a:pt x="4798" y="100"/>
                              <a:pt x="4807" y="95"/>
                              <a:pt x="4809" y="94"/>
                            </a:cubicBezTo>
                            <a:cubicBezTo>
                              <a:pt x="4811" y="92"/>
                              <a:pt x="4823" y="83"/>
                              <a:pt x="4821" y="80"/>
                            </a:cubicBezTo>
                            <a:cubicBezTo>
                              <a:pt x="4819" y="76"/>
                              <a:pt x="4807" y="74"/>
                              <a:pt x="4793" y="68"/>
                            </a:cubicBezTo>
                            <a:cubicBezTo>
                              <a:pt x="4779" y="62"/>
                              <a:pt x="4786" y="62"/>
                              <a:pt x="4785" y="58"/>
                            </a:cubicBezTo>
                            <a:cubicBezTo>
                              <a:pt x="4784" y="53"/>
                              <a:pt x="4794" y="52"/>
                              <a:pt x="4792" y="47"/>
                            </a:cubicBezTo>
                            <a:cubicBezTo>
                              <a:pt x="4789" y="41"/>
                              <a:pt x="4779" y="46"/>
                              <a:pt x="4765" y="46"/>
                            </a:cubicBezTo>
                            <a:cubicBezTo>
                              <a:pt x="4751" y="46"/>
                              <a:pt x="4740" y="47"/>
                              <a:pt x="4728" y="50"/>
                            </a:cubicBezTo>
                            <a:cubicBezTo>
                              <a:pt x="4716" y="53"/>
                              <a:pt x="4713" y="53"/>
                              <a:pt x="4686" y="56"/>
                            </a:cubicBezTo>
                            <a:cubicBezTo>
                              <a:pt x="4659" y="60"/>
                              <a:pt x="4661" y="53"/>
                              <a:pt x="4651" y="53"/>
                            </a:cubicBezTo>
                            <a:cubicBezTo>
                              <a:pt x="4640" y="52"/>
                              <a:pt x="4628" y="51"/>
                              <a:pt x="4609" y="53"/>
                            </a:cubicBezTo>
                            <a:cubicBezTo>
                              <a:pt x="4591" y="55"/>
                              <a:pt x="4594" y="61"/>
                              <a:pt x="4586" y="65"/>
                            </a:cubicBezTo>
                            <a:cubicBezTo>
                              <a:pt x="4578" y="68"/>
                              <a:pt x="4568" y="68"/>
                              <a:pt x="4553" y="68"/>
                            </a:cubicBezTo>
                            <a:cubicBezTo>
                              <a:pt x="4538" y="68"/>
                              <a:pt x="4527" y="72"/>
                              <a:pt x="4512" y="73"/>
                            </a:cubicBezTo>
                            <a:cubicBezTo>
                              <a:pt x="4496" y="73"/>
                              <a:pt x="4489" y="74"/>
                              <a:pt x="4476" y="74"/>
                            </a:cubicBezTo>
                            <a:cubicBezTo>
                              <a:pt x="4463" y="73"/>
                              <a:pt x="4480" y="68"/>
                              <a:pt x="4489" y="64"/>
                            </a:cubicBezTo>
                            <a:cubicBezTo>
                              <a:pt x="4497" y="60"/>
                              <a:pt x="4514" y="59"/>
                              <a:pt x="4523" y="55"/>
                            </a:cubicBezTo>
                            <a:cubicBezTo>
                              <a:pt x="4532" y="50"/>
                              <a:pt x="4544" y="50"/>
                              <a:pt x="4562" y="43"/>
                            </a:cubicBezTo>
                            <a:cubicBezTo>
                              <a:pt x="4581" y="37"/>
                              <a:pt x="4594" y="39"/>
                              <a:pt x="4598" y="37"/>
                            </a:cubicBezTo>
                            <a:cubicBezTo>
                              <a:pt x="4603" y="34"/>
                              <a:pt x="4601" y="30"/>
                              <a:pt x="4586" y="29"/>
                            </a:cubicBezTo>
                            <a:cubicBezTo>
                              <a:pt x="4570" y="27"/>
                              <a:pt x="4526" y="23"/>
                              <a:pt x="4519" y="22"/>
                            </a:cubicBezTo>
                            <a:cubicBezTo>
                              <a:pt x="4512" y="21"/>
                              <a:pt x="4491" y="22"/>
                              <a:pt x="4470" y="22"/>
                            </a:cubicBezTo>
                            <a:cubicBezTo>
                              <a:pt x="4449" y="22"/>
                              <a:pt x="4444" y="22"/>
                              <a:pt x="4432" y="23"/>
                            </a:cubicBezTo>
                            <a:cubicBezTo>
                              <a:pt x="4420" y="23"/>
                              <a:pt x="4416" y="22"/>
                              <a:pt x="4413" y="18"/>
                            </a:cubicBezTo>
                            <a:cubicBezTo>
                              <a:pt x="4410" y="13"/>
                              <a:pt x="4416" y="12"/>
                              <a:pt x="4417" y="7"/>
                            </a:cubicBezTo>
                            <a:cubicBezTo>
                              <a:pt x="4417" y="3"/>
                              <a:pt x="4412" y="0"/>
                              <a:pt x="4399" y="3"/>
                            </a:cubicBezTo>
                            <a:cubicBezTo>
                              <a:pt x="4386" y="6"/>
                              <a:pt x="4381" y="7"/>
                              <a:pt x="4364" y="9"/>
                            </a:cubicBezTo>
                            <a:cubicBezTo>
                              <a:pt x="4347" y="11"/>
                              <a:pt x="4338" y="12"/>
                              <a:pt x="4324" y="12"/>
                            </a:cubicBezTo>
                            <a:cubicBezTo>
                              <a:pt x="4310" y="11"/>
                              <a:pt x="4310" y="13"/>
                              <a:pt x="4313" y="19"/>
                            </a:cubicBezTo>
                            <a:cubicBezTo>
                              <a:pt x="4316" y="25"/>
                              <a:pt x="4320" y="25"/>
                              <a:pt x="4326" y="27"/>
                            </a:cubicBezTo>
                            <a:cubicBezTo>
                              <a:pt x="4333" y="29"/>
                              <a:pt x="4333" y="35"/>
                              <a:pt x="4319" y="34"/>
                            </a:cubicBezTo>
                            <a:cubicBezTo>
                              <a:pt x="4305" y="33"/>
                              <a:pt x="4300" y="28"/>
                              <a:pt x="4289" y="26"/>
                            </a:cubicBezTo>
                            <a:cubicBezTo>
                              <a:pt x="4277" y="24"/>
                              <a:pt x="4275" y="21"/>
                              <a:pt x="4275" y="15"/>
                            </a:cubicBezTo>
                            <a:cubicBezTo>
                              <a:pt x="4275" y="8"/>
                              <a:pt x="4283" y="3"/>
                              <a:pt x="4277" y="2"/>
                            </a:cubicBezTo>
                            <a:cubicBezTo>
                              <a:pt x="4271" y="1"/>
                              <a:pt x="4260" y="9"/>
                              <a:pt x="4248" y="13"/>
                            </a:cubicBezTo>
                            <a:cubicBezTo>
                              <a:pt x="4237" y="18"/>
                              <a:pt x="4218" y="23"/>
                              <a:pt x="4204" y="24"/>
                            </a:cubicBezTo>
                            <a:cubicBezTo>
                              <a:pt x="4190" y="26"/>
                              <a:pt x="4183" y="27"/>
                              <a:pt x="4179" y="30"/>
                            </a:cubicBezTo>
                            <a:cubicBezTo>
                              <a:pt x="4176" y="34"/>
                              <a:pt x="4182" y="41"/>
                              <a:pt x="4186" y="44"/>
                            </a:cubicBezTo>
                            <a:cubicBezTo>
                              <a:pt x="4189" y="46"/>
                              <a:pt x="4206" y="50"/>
                              <a:pt x="4217" y="53"/>
                            </a:cubicBezTo>
                            <a:cubicBezTo>
                              <a:pt x="4228" y="57"/>
                              <a:pt x="4229" y="60"/>
                              <a:pt x="4226" y="64"/>
                            </a:cubicBezTo>
                            <a:cubicBezTo>
                              <a:pt x="4222" y="69"/>
                              <a:pt x="4211" y="63"/>
                              <a:pt x="4197" y="58"/>
                            </a:cubicBezTo>
                            <a:cubicBezTo>
                              <a:pt x="4183" y="53"/>
                              <a:pt x="4171" y="52"/>
                              <a:pt x="4160" y="49"/>
                            </a:cubicBezTo>
                            <a:cubicBezTo>
                              <a:pt x="4149" y="45"/>
                              <a:pt x="4150" y="44"/>
                              <a:pt x="4144" y="38"/>
                            </a:cubicBezTo>
                            <a:cubicBezTo>
                              <a:pt x="4138" y="32"/>
                              <a:pt x="4133" y="26"/>
                              <a:pt x="4129" y="22"/>
                            </a:cubicBezTo>
                            <a:cubicBezTo>
                              <a:pt x="4125" y="18"/>
                              <a:pt x="4118" y="21"/>
                              <a:pt x="4105" y="16"/>
                            </a:cubicBezTo>
                            <a:cubicBezTo>
                              <a:pt x="4092" y="11"/>
                              <a:pt x="4089" y="14"/>
                              <a:pt x="4076" y="14"/>
                            </a:cubicBezTo>
                            <a:cubicBezTo>
                              <a:pt x="4062" y="14"/>
                              <a:pt x="4049" y="14"/>
                              <a:pt x="4038" y="15"/>
                            </a:cubicBezTo>
                            <a:cubicBezTo>
                              <a:pt x="4028" y="17"/>
                              <a:pt x="4015" y="16"/>
                              <a:pt x="4002" y="17"/>
                            </a:cubicBezTo>
                            <a:cubicBezTo>
                              <a:pt x="3989" y="17"/>
                              <a:pt x="3976" y="18"/>
                              <a:pt x="3965" y="16"/>
                            </a:cubicBezTo>
                            <a:cubicBezTo>
                              <a:pt x="3953" y="14"/>
                              <a:pt x="3939" y="13"/>
                              <a:pt x="3935" y="14"/>
                            </a:cubicBezTo>
                            <a:cubicBezTo>
                              <a:pt x="3931" y="16"/>
                              <a:pt x="3934" y="20"/>
                              <a:pt x="3937" y="24"/>
                            </a:cubicBezTo>
                            <a:cubicBezTo>
                              <a:pt x="3939" y="28"/>
                              <a:pt x="3945" y="31"/>
                              <a:pt x="3951" y="32"/>
                            </a:cubicBezTo>
                            <a:cubicBezTo>
                              <a:pt x="3957" y="34"/>
                              <a:pt x="3962" y="38"/>
                              <a:pt x="3963" y="38"/>
                            </a:cubicBezTo>
                            <a:cubicBezTo>
                              <a:pt x="3964" y="39"/>
                              <a:pt x="3973" y="45"/>
                              <a:pt x="3980" y="47"/>
                            </a:cubicBezTo>
                            <a:cubicBezTo>
                              <a:pt x="3988" y="49"/>
                              <a:pt x="3992" y="48"/>
                              <a:pt x="3998" y="48"/>
                            </a:cubicBezTo>
                            <a:cubicBezTo>
                              <a:pt x="4003" y="48"/>
                              <a:pt x="4007" y="50"/>
                              <a:pt x="4007" y="54"/>
                            </a:cubicBezTo>
                            <a:cubicBezTo>
                              <a:pt x="4006" y="58"/>
                              <a:pt x="3999" y="58"/>
                              <a:pt x="3999" y="61"/>
                            </a:cubicBezTo>
                            <a:cubicBezTo>
                              <a:pt x="3998" y="64"/>
                              <a:pt x="4002" y="64"/>
                              <a:pt x="4006" y="66"/>
                            </a:cubicBezTo>
                            <a:cubicBezTo>
                              <a:pt x="4009" y="67"/>
                              <a:pt x="4013" y="69"/>
                              <a:pt x="4020" y="72"/>
                            </a:cubicBezTo>
                            <a:cubicBezTo>
                              <a:pt x="4026" y="74"/>
                              <a:pt x="4033" y="73"/>
                              <a:pt x="4042" y="74"/>
                            </a:cubicBezTo>
                            <a:cubicBezTo>
                              <a:pt x="4050" y="76"/>
                              <a:pt x="4044" y="76"/>
                              <a:pt x="4039" y="81"/>
                            </a:cubicBezTo>
                            <a:cubicBezTo>
                              <a:pt x="4034" y="85"/>
                              <a:pt x="4027" y="86"/>
                              <a:pt x="4020" y="89"/>
                            </a:cubicBezTo>
                            <a:cubicBezTo>
                              <a:pt x="4013" y="92"/>
                              <a:pt x="4012" y="93"/>
                              <a:pt x="4009" y="97"/>
                            </a:cubicBezTo>
                            <a:cubicBezTo>
                              <a:pt x="4005" y="101"/>
                              <a:pt x="3999" y="102"/>
                              <a:pt x="3992" y="104"/>
                            </a:cubicBezTo>
                            <a:cubicBezTo>
                              <a:pt x="3985" y="105"/>
                              <a:pt x="3991" y="101"/>
                              <a:pt x="3992" y="96"/>
                            </a:cubicBezTo>
                            <a:cubicBezTo>
                              <a:pt x="3993" y="91"/>
                              <a:pt x="3998" y="89"/>
                              <a:pt x="4002" y="87"/>
                            </a:cubicBezTo>
                            <a:cubicBezTo>
                              <a:pt x="4006" y="85"/>
                              <a:pt x="4004" y="82"/>
                              <a:pt x="4000" y="79"/>
                            </a:cubicBezTo>
                            <a:cubicBezTo>
                              <a:pt x="3996" y="75"/>
                              <a:pt x="3992" y="78"/>
                              <a:pt x="3979" y="74"/>
                            </a:cubicBezTo>
                            <a:cubicBezTo>
                              <a:pt x="3966" y="70"/>
                              <a:pt x="3971" y="68"/>
                              <a:pt x="3961" y="65"/>
                            </a:cubicBezTo>
                            <a:cubicBezTo>
                              <a:pt x="3951" y="62"/>
                              <a:pt x="3953" y="61"/>
                              <a:pt x="3946" y="53"/>
                            </a:cubicBezTo>
                            <a:cubicBezTo>
                              <a:pt x="3940" y="46"/>
                              <a:pt x="3937" y="45"/>
                              <a:pt x="3930" y="41"/>
                            </a:cubicBezTo>
                            <a:cubicBezTo>
                              <a:pt x="3923" y="38"/>
                              <a:pt x="3919" y="41"/>
                              <a:pt x="3909" y="41"/>
                            </a:cubicBezTo>
                            <a:cubicBezTo>
                              <a:pt x="3899" y="41"/>
                              <a:pt x="3891" y="36"/>
                              <a:pt x="3879" y="35"/>
                            </a:cubicBezTo>
                            <a:cubicBezTo>
                              <a:pt x="3868" y="33"/>
                              <a:pt x="3866" y="34"/>
                              <a:pt x="3854" y="33"/>
                            </a:cubicBezTo>
                            <a:cubicBezTo>
                              <a:pt x="3842" y="31"/>
                              <a:pt x="3836" y="28"/>
                              <a:pt x="3824" y="26"/>
                            </a:cubicBezTo>
                            <a:cubicBezTo>
                              <a:pt x="3812" y="24"/>
                              <a:pt x="3811" y="28"/>
                              <a:pt x="3808" y="30"/>
                            </a:cubicBezTo>
                            <a:cubicBezTo>
                              <a:pt x="3804" y="31"/>
                              <a:pt x="3803" y="33"/>
                              <a:pt x="3797" y="39"/>
                            </a:cubicBezTo>
                            <a:cubicBezTo>
                              <a:pt x="3791" y="45"/>
                              <a:pt x="3788" y="46"/>
                              <a:pt x="3787" y="50"/>
                            </a:cubicBezTo>
                            <a:cubicBezTo>
                              <a:pt x="3785" y="54"/>
                              <a:pt x="3788" y="52"/>
                              <a:pt x="3793" y="55"/>
                            </a:cubicBezTo>
                            <a:cubicBezTo>
                              <a:pt x="3797" y="58"/>
                              <a:pt x="3802" y="58"/>
                              <a:pt x="3810" y="60"/>
                            </a:cubicBezTo>
                            <a:cubicBezTo>
                              <a:pt x="3819" y="61"/>
                              <a:pt x="3819" y="60"/>
                              <a:pt x="3829" y="61"/>
                            </a:cubicBezTo>
                            <a:cubicBezTo>
                              <a:pt x="3839" y="63"/>
                              <a:pt x="3846" y="63"/>
                              <a:pt x="3854" y="64"/>
                            </a:cubicBezTo>
                            <a:cubicBezTo>
                              <a:pt x="3863" y="65"/>
                              <a:pt x="3868" y="67"/>
                              <a:pt x="3863" y="70"/>
                            </a:cubicBezTo>
                            <a:cubicBezTo>
                              <a:pt x="3858" y="73"/>
                              <a:pt x="3838" y="71"/>
                              <a:pt x="3833" y="69"/>
                            </a:cubicBezTo>
                            <a:cubicBezTo>
                              <a:pt x="3827" y="66"/>
                              <a:pt x="3808" y="69"/>
                              <a:pt x="3803" y="68"/>
                            </a:cubicBezTo>
                            <a:cubicBezTo>
                              <a:pt x="3797" y="67"/>
                              <a:pt x="3789" y="66"/>
                              <a:pt x="3781" y="67"/>
                            </a:cubicBezTo>
                            <a:cubicBezTo>
                              <a:pt x="3773" y="68"/>
                              <a:pt x="3768" y="68"/>
                              <a:pt x="3762" y="67"/>
                            </a:cubicBezTo>
                            <a:cubicBezTo>
                              <a:pt x="3756" y="67"/>
                              <a:pt x="3756" y="65"/>
                              <a:pt x="3753" y="60"/>
                            </a:cubicBezTo>
                            <a:cubicBezTo>
                              <a:pt x="3750" y="56"/>
                              <a:pt x="3750" y="55"/>
                              <a:pt x="3743" y="51"/>
                            </a:cubicBezTo>
                            <a:cubicBezTo>
                              <a:pt x="3737" y="48"/>
                              <a:pt x="3734" y="50"/>
                              <a:pt x="3730" y="50"/>
                            </a:cubicBezTo>
                            <a:cubicBezTo>
                              <a:pt x="3725" y="50"/>
                              <a:pt x="3722" y="49"/>
                              <a:pt x="3716" y="48"/>
                            </a:cubicBezTo>
                            <a:cubicBezTo>
                              <a:pt x="3709" y="46"/>
                              <a:pt x="3708" y="45"/>
                              <a:pt x="3701" y="47"/>
                            </a:cubicBezTo>
                            <a:cubicBezTo>
                              <a:pt x="3694" y="48"/>
                              <a:pt x="3690" y="47"/>
                              <a:pt x="3690" y="52"/>
                            </a:cubicBezTo>
                            <a:cubicBezTo>
                              <a:pt x="3689" y="56"/>
                              <a:pt x="3692" y="55"/>
                              <a:pt x="3697" y="59"/>
                            </a:cubicBezTo>
                            <a:cubicBezTo>
                              <a:pt x="3701" y="64"/>
                              <a:pt x="3704" y="65"/>
                              <a:pt x="3707" y="67"/>
                            </a:cubicBezTo>
                            <a:cubicBezTo>
                              <a:pt x="3710" y="69"/>
                              <a:pt x="3721" y="76"/>
                              <a:pt x="3725" y="78"/>
                            </a:cubicBezTo>
                            <a:cubicBezTo>
                              <a:pt x="3728" y="80"/>
                              <a:pt x="3733" y="85"/>
                              <a:pt x="3727" y="86"/>
                            </a:cubicBezTo>
                            <a:cubicBezTo>
                              <a:pt x="3722" y="87"/>
                              <a:pt x="3709" y="85"/>
                              <a:pt x="3701" y="82"/>
                            </a:cubicBezTo>
                            <a:cubicBezTo>
                              <a:pt x="3693" y="79"/>
                              <a:pt x="3693" y="80"/>
                              <a:pt x="3685" y="75"/>
                            </a:cubicBezTo>
                            <a:cubicBezTo>
                              <a:pt x="3678" y="70"/>
                              <a:pt x="3671" y="74"/>
                              <a:pt x="3658" y="72"/>
                            </a:cubicBezTo>
                            <a:cubicBezTo>
                              <a:pt x="3646" y="71"/>
                              <a:pt x="3648" y="67"/>
                              <a:pt x="3643" y="69"/>
                            </a:cubicBezTo>
                            <a:cubicBezTo>
                              <a:pt x="3639" y="71"/>
                              <a:pt x="3640" y="75"/>
                              <a:pt x="3640" y="79"/>
                            </a:cubicBezTo>
                            <a:cubicBezTo>
                              <a:pt x="3640" y="82"/>
                              <a:pt x="3645" y="83"/>
                              <a:pt x="3651" y="86"/>
                            </a:cubicBezTo>
                            <a:cubicBezTo>
                              <a:pt x="3656" y="89"/>
                              <a:pt x="3659" y="88"/>
                              <a:pt x="3667" y="89"/>
                            </a:cubicBezTo>
                            <a:cubicBezTo>
                              <a:pt x="3674" y="90"/>
                              <a:pt x="3678" y="92"/>
                              <a:pt x="3674" y="95"/>
                            </a:cubicBezTo>
                            <a:cubicBezTo>
                              <a:pt x="3670" y="98"/>
                              <a:pt x="3664" y="95"/>
                              <a:pt x="3659" y="95"/>
                            </a:cubicBezTo>
                            <a:cubicBezTo>
                              <a:pt x="3655" y="96"/>
                              <a:pt x="3643" y="95"/>
                              <a:pt x="3637" y="94"/>
                            </a:cubicBezTo>
                            <a:cubicBezTo>
                              <a:pt x="3631" y="93"/>
                              <a:pt x="3624" y="93"/>
                              <a:pt x="3619" y="96"/>
                            </a:cubicBezTo>
                            <a:cubicBezTo>
                              <a:pt x="3615" y="98"/>
                              <a:pt x="3613" y="97"/>
                              <a:pt x="3609" y="101"/>
                            </a:cubicBezTo>
                            <a:cubicBezTo>
                              <a:pt x="3604" y="105"/>
                              <a:pt x="3605" y="108"/>
                              <a:pt x="3606" y="113"/>
                            </a:cubicBezTo>
                            <a:cubicBezTo>
                              <a:pt x="3607" y="117"/>
                              <a:pt x="3614" y="119"/>
                              <a:pt x="3622" y="122"/>
                            </a:cubicBezTo>
                            <a:cubicBezTo>
                              <a:pt x="3630" y="125"/>
                              <a:pt x="3637" y="126"/>
                              <a:pt x="3646" y="131"/>
                            </a:cubicBezTo>
                            <a:cubicBezTo>
                              <a:pt x="3654" y="135"/>
                              <a:pt x="3656" y="133"/>
                              <a:pt x="3664" y="135"/>
                            </a:cubicBezTo>
                            <a:cubicBezTo>
                              <a:pt x="3672" y="138"/>
                              <a:pt x="3680" y="142"/>
                              <a:pt x="3686" y="142"/>
                            </a:cubicBezTo>
                            <a:cubicBezTo>
                              <a:pt x="3691" y="142"/>
                              <a:pt x="3695" y="141"/>
                              <a:pt x="3704" y="144"/>
                            </a:cubicBezTo>
                            <a:cubicBezTo>
                              <a:pt x="3713" y="147"/>
                              <a:pt x="3713" y="150"/>
                              <a:pt x="3717" y="155"/>
                            </a:cubicBezTo>
                            <a:cubicBezTo>
                              <a:pt x="3722" y="159"/>
                              <a:pt x="3725" y="158"/>
                              <a:pt x="3733" y="159"/>
                            </a:cubicBezTo>
                            <a:cubicBezTo>
                              <a:pt x="3740" y="160"/>
                              <a:pt x="3742" y="162"/>
                              <a:pt x="3754" y="162"/>
                            </a:cubicBezTo>
                            <a:cubicBezTo>
                              <a:pt x="3765" y="163"/>
                              <a:pt x="3759" y="160"/>
                              <a:pt x="3771" y="161"/>
                            </a:cubicBezTo>
                            <a:cubicBezTo>
                              <a:pt x="3782" y="161"/>
                              <a:pt x="3774" y="164"/>
                              <a:pt x="3776" y="172"/>
                            </a:cubicBezTo>
                            <a:cubicBezTo>
                              <a:pt x="3778" y="179"/>
                              <a:pt x="3794" y="184"/>
                              <a:pt x="3804" y="190"/>
                            </a:cubicBezTo>
                            <a:cubicBezTo>
                              <a:pt x="3814" y="197"/>
                              <a:pt x="3814" y="194"/>
                              <a:pt x="3813" y="197"/>
                            </a:cubicBezTo>
                            <a:cubicBezTo>
                              <a:pt x="3813" y="200"/>
                              <a:pt x="3791" y="196"/>
                              <a:pt x="3783" y="193"/>
                            </a:cubicBezTo>
                            <a:cubicBezTo>
                              <a:pt x="3774" y="191"/>
                              <a:pt x="3763" y="188"/>
                              <a:pt x="3752" y="185"/>
                            </a:cubicBezTo>
                            <a:cubicBezTo>
                              <a:pt x="3740" y="183"/>
                              <a:pt x="3737" y="184"/>
                              <a:pt x="3727" y="180"/>
                            </a:cubicBezTo>
                            <a:cubicBezTo>
                              <a:pt x="3718" y="176"/>
                              <a:pt x="3708" y="175"/>
                              <a:pt x="3694" y="174"/>
                            </a:cubicBezTo>
                            <a:cubicBezTo>
                              <a:pt x="3681" y="174"/>
                              <a:pt x="3674" y="173"/>
                              <a:pt x="3654" y="165"/>
                            </a:cubicBezTo>
                            <a:cubicBezTo>
                              <a:pt x="3633" y="157"/>
                              <a:pt x="3621" y="157"/>
                              <a:pt x="3610" y="157"/>
                            </a:cubicBezTo>
                            <a:cubicBezTo>
                              <a:pt x="3599" y="158"/>
                              <a:pt x="3602" y="162"/>
                              <a:pt x="3594" y="162"/>
                            </a:cubicBezTo>
                            <a:cubicBezTo>
                              <a:pt x="3586" y="163"/>
                              <a:pt x="3584" y="161"/>
                              <a:pt x="3581" y="156"/>
                            </a:cubicBezTo>
                            <a:cubicBezTo>
                              <a:pt x="3578" y="151"/>
                              <a:pt x="3580" y="149"/>
                              <a:pt x="3576" y="144"/>
                            </a:cubicBezTo>
                            <a:cubicBezTo>
                              <a:pt x="3572" y="140"/>
                              <a:pt x="3569" y="137"/>
                              <a:pt x="3561" y="132"/>
                            </a:cubicBezTo>
                            <a:cubicBezTo>
                              <a:pt x="3554" y="126"/>
                              <a:pt x="3555" y="123"/>
                              <a:pt x="3540" y="121"/>
                            </a:cubicBezTo>
                            <a:cubicBezTo>
                              <a:pt x="3526" y="118"/>
                              <a:pt x="3526" y="118"/>
                              <a:pt x="3522" y="116"/>
                            </a:cubicBezTo>
                            <a:cubicBezTo>
                              <a:pt x="3519" y="114"/>
                              <a:pt x="3508" y="111"/>
                              <a:pt x="3495" y="105"/>
                            </a:cubicBezTo>
                            <a:cubicBezTo>
                              <a:pt x="3483" y="99"/>
                              <a:pt x="3469" y="97"/>
                              <a:pt x="3459" y="96"/>
                            </a:cubicBezTo>
                            <a:cubicBezTo>
                              <a:pt x="3449" y="95"/>
                              <a:pt x="3439" y="97"/>
                              <a:pt x="3429" y="99"/>
                            </a:cubicBezTo>
                            <a:cubicBezTo>
                              <a:pt x="3420" y="101"/>
                              <a:pt x="3421" y="104"/>
                              <a:pt x="3423" y="106"/>
                            </a:cubicBezTo>
                            <a:cubicBezTo>
                              <a:pt x="3424" y="109"/>
                              <a:pt x="3428" y="110"/>
                              <a:pt x="3432" y="115"/>
                            </a:cubicBezTo>
                            <a:cubicBezTo>
                              <a:pt x="3436" y="120"/>
                              <a:pt x="3436" y="124"/>
                              <a:pt x="3433" y="128"/>
                            </a:cubicBezTo>
                            <a:cubicBezTo>
                              <a:pt x="3431" y="132"/>
                              <a:pt x="3419" y="132"/>
                              <a:pt x="3410" y="136"/>
                            </a:cubicBezTo>
                            <a:cubicBezTo>
                              <a:pt x="3401" y="140"/>
                              <a:pt x="3391" y="138"/>
                              <a:pt x="3380" y="137"/>
                            </a:cubicBezTo>
                            <a:cubicBezTo>
                              <a:pt x="3369" y="137"/>
                              <a:pt x="3359" y="138"/>
                              <a:pt x="3355" y="139"/>
                            </a:cubicBezTo>
                            <a:cubicBezTo>
                              <a:pt x="3350" y="140"/>
                              <a:pt x="3354" y="144"/>
                              <a:pt x="3356" y="146"/>
                            </a:cubicBezTo>
                            <a:cubicBezTo>
                              <a:pt x="3358" y="149"/>
                              <a:pt x="3365" y="150"/>
                              <a:pt x="3371" y="152"/>
                            </a:cubicBezTo>
                            <a:cubicBezTo>
                              <a:pt x="3377" y="153"/>
                              <a:pt x="3380" y="154"/>
                              <a:pt x="3388" y="155"/>
                            </a:cubicBezTo>
                            <a:cubicBezTo>
                              <a:pt x="3397" y="156"/>
                              <a:pt x="3402" y="155"/>
                              <a:pt x="3411" y="156"/>
                            </a:cubicBezTo>
                            <a:cubicBezTo>
                              <a:pt x="3420" y="157"/>
                              <a:pt x="3418" y="159"/>
                              <a:pt x="3428" y="161"/>
                            </a:cubicBezTo>
                            <a:cubicBezTo>
                              <a:pt x="3437" y="163"/>
                              <a:pt x="3448" y="160"/>
                              <a:pt x="3460" y="162"/>
                            </a:cubicBezTo>
                            <a:cubicBezTo>
                              <a:pt x="3473" y="164"/>
                              <a:pt x="3465" y="170"/>
                              <a:pt x="3472" y="174"/>
                            </a:cubicBezTo>
                            <a:cubicBezTo>
                              <a:pt x="3479" y="179"/>
                              <a:pt x="3475" y="181"/>
                              <a:pt x="3471" y="185"/>
                            </a:cubicBezTo>
                            <a:cubicBezTo>
                              <a:pt x="3467" y="189"/>
                              <a:pt x="3461" y="185"/>
                              <a:pt x="3458" y="183"/>
                            </a:cubicBezTo>
                            <a:cubicBezTo>
                              <a:pt x="3455" y="180"/>
                              <a:pt x="3452" y="178"/>
                              <a:pt x="3446" y="174"/>
                            </a:cubicBezTo>
                            <a:cubicBezTo>
                              <a:pt x="3439" y="171"/>
                              <a:pt x="3437" y="173"/>
                              <a:pt x="3434" y="176"/>
                            </a:cubicBezTo>
                            <a:cubicBezTo>
                              <a:pt x="3431" y="178"/>
                              <a:pt x="3433" y="182"/>
                              <a:pt x="3435" y="184"/>
                            </a:cubicBezTo>
                            <a:cubicBezTo>
                              <a:pt x="3436" y="187"/>
                              <a:pt x="3434" y="189"/>
                              <a:pt x="3432" y="191"/>
                            </a:cubicBezTo>
                            <a:cubicBezTo>
                              <a:pt x="3431" y="193"/>
                              <a:pt x="3426" y="191"/>
                              <a:pt x="3420" y="187"/>
                            </a:cubicBezTo>
                            <a:cubicBezTo>
                              <a:pt x="3414" y="183"/>
                              <a:pt x="3413" y="182"/>
                              <a:pt x="3408" y="178"/>
                            </a:cubicBezTo>
                            <a:cubicBezTo>
                              <a:pt x="3403" y="174"/>
                              <a:pt x="3402" y="173"/>
                              <a:pt x="3390" y="168"/>
                            </a:cubicBezTo>
                            <a:cubicBezTo>
                              <a:pt x="3377" y="162"/>
                              <a:pt x="3378" y="166"/>
                              <a:pt x="3372" y="164"/>
                            </a:cubicBezTo>
                            <a:cubicBezTo>
                              <a:pt x="3367" y="162"/>
                              <a:pt x="3361" y="162"/>
                              <a:pt x="3354" y="163"/>
                            </a:cubicBezTo>
                            <a:cubicBezTo>
                              <a:pt x="3348" y="164"/>
                              <a:pt x="3346" y="167"/>
                              <a:pt x="3345" y="173"/>
                            </a:cubicBezTo>
                            <a:cubicBezTo>
                              <a:pt x="3344" y="178"/>
                              <a:pt x="3346" y="179"/>
                              <a:pt x="3347" y="182"/>
                            </a:cubicBezTo>
                            <a:cubicBezTo>
                              <a:pt x="3348" y="185"/>
                              <a:pt x="3344" y="184"/>
                              <a:pt x="3340" y="184"/>
                            </a:cubicBezTo>
                            <a:cubicBezTo>
                              <a:pt x="3335" y="185"/>
                              <a:pt x="3332" y="181"/>
                              <a:pt x="3327" y="180"/>
                            </a:cubicBezTo>
                            <a:cubicBezTo>
                              <a:pt x="3321" y="179"/>
                              <a:pt x="3321" y="178"/>
                              <a:pt x="3319" y="176"/>
                            </a:cubicBezTo>
                            <a:cubicBezTo>
                              <a:pt x="3316" y="173"/>
                              <a:pt x="3319" y="169"/>
                              <a:pt x="3317" y="164"/>
                            </a:cubicBezTo>
                            <a:cubicBezTo>
                              <a:pt x="3315" y="158"/>
                              <a:pt x="3314" y="161"/>
                              <a:pt x="3311" y="158"/>
                            </a:cubicBezTo>
                            <a:cubicBezTo>
                              <a:pt x="3308" y="155"/>
                              <a:pt x="3302" y="157"/>
                              <a:pt x="3292" y="154"/>
                            </a:cubicBezTo>
                            <a:cubicBezTo>
                              <a:pt x="3283" y="151"/>
                              <a:pt x="3274" y="153"/>
                              <a:pt x="3261" y="156"/>
                            </a:cubicBezTo>
                            <a:cubicBezTo>
                              <a:pt x="3247" y="159"/>
                              <a:pt x="3246" y="160"/>
                              <a:pt x="3237" y="162"/>
                            </a:cubicBezTo>
                            <a:cubicBezTo>
                              <a:pt x="3228" y="165"/>
                              <a:pt x="3224" y="167"/>
                              <a:pt x="3215" y="171"/>
                            </a:cubicBezTo>
                            <a:cubicBezTo>
                              <a:pt x="3207" y="176"/>
                              <a:pt x="3211" y="176"/>
                              <a:pt x="3206" y="179"/>
                            </a:cubicBezTo>
                            <a:cubicBezTo>
                              <a:pt x="3200" y="181"/>
                              <a:pt x="3200" y="179"/>
                              <a:pt x="3193" y="182"/>
                            </a:cubicBezTo>
                            <a:cubicBezTo>
                              <a:pt x="3186" y="186"/>
                              <a:pt x="3195" y="187"/>
                              <a:pt x="3196" y="190"/>
                            </a:cubicBezTo>
                            <a:cubicBezTo>
                              <a:pt x="3198" y="194"/>
                              <a:pt x="3191" y="195"/>
                              <a:pt x="3184" y="193"/>
                            </a:cubicBezTo>
                            <a:cubicBezTo>
                              <a:pt x="3178" y="192"/>
                              <a:pt x="3175" y="189"/>
                              <a:pt x="3163" y="184"/>
                            </a:cubicBezTo>
                            <a:cubicBezTo>
                              <a:pt x="3151" y="180"/>
                              <a:pt x="3149" y="184"/>
                              <a:pt x="3136" y="184"/>
                            </a:cubicBezTo>
                            <a:cubicBezTo>
                              <a:pt x="3123" y="184"/>
                              <a:pt x="3121" y="185"/>
                              <a:pt x="3109" y="187"/>
                            </a:cubicBezTo>
                            <a:cubicBezTo>
                              <a:pt x="3097" y="190"/>
                              <a:pt x="3096" y="190"/>
                              <a:pt x="3087" y="196"/>
                            </a:cubicBezTo>
                            <a:cubicBezTo>
                              <a:pt x="3077" y="202"/>
                              <a:pt x="3075" y="203"/>
                              <a:pt x="3068" y="203"/>
                            </a:cubicBezTo>
                            <a:cubicBezTo>
                              <a:pt x="3061" y="202"/>
                              <a:pt x="3058" y="204"/>
                              <a:pt x="3047" y="208"/>
                            </a:cubicBezTo>
                            <a:cubicBezTo>
                              <a:pt x="3037" y="211"/>
                              <a:pt x="3032" y="221"/>
                              <a:pt x="3036" y="224"/>
                            </a:cubicBezTo>
                            <a:cubicBezTo>
                              <a:pt x="3040" y="226"/>
                              <a:pt x="3046" y="226"/>
                              <a:pt x="3057" y="230"/>
                            </a:cubicBezTo>
                            <a:cubicBezTo>
                              <a:pt x="3067" y="234"/>
                              <a:pt x="3073" y="236"/>
                              <a:pt x="3081" y="235"/>
                            </a:cubicBezTo>
                            <a:cubicBezTo>
                              <a:pt x="3089" y="235"/>
                              <a:pt x="3087" y="227"/>
                              <a:pt x="3095" y="221"/>
                            </a:cubicBezTo>
                            <a:cubicBezTo>
                              <a:pt x="3104" y="215"/>
                              <a:pt x="3105" y="221"/>
                              <a:pt x="3114" y="223"/>
                            </a:cubicBezTo>
                            <a:cubicBezTo>
                              <a:pt x="3124" y="226"/>
                              <a:pt x="3125" y="221"/>
                              <a:pt x="3132" y="216"/>
                            </a:cubicBezTo>
                            <a:cubicBezTo>
                              <a:pt x="3138" y="210"/>
                              <a:pt x="3141" y="216"/>
                              <a:pt x="3145" y="218"/>
                            </a:cubicBezTo>
                            <a:cubicBezTo>
                              <a:pt x="3150" y="220"/>
                              <a:pt x="3159" y="219"/>
                              <a:pt x="3170" y="221"/>
                            </a:cubicBezTo>
                            <a:cubicBezTo>
                              <a:pt x="3181" y="224"/>
                              <a:pt x="3170" y="229"/>
                              <a:pt x="3163" y="232"/>
                            </a:cubicBezTo>
                            <a:cubicBezTo>
                              <a:pt x="3156" y="236"/>
                              <a:pt x="3145" y="236"/>
                              <a:pt x="3134" y="237"/>
                            </a:cubicBezTo>
                            <a:cubicBezTo>
                              <a:pt x="3122" y="238"/>
                              <a:pt x="3119" y="243"/>
                              <a:pt x="3111" y="245"/>
                            </a:cubicBezTo>
                            <a:cubicBezTo>
                              <a:pt x="3102" y="248"/>
                              <a:pt x="3101" y="249"/>
                              <a:pt x="3102" y="253"/>
                            </a:cubicBezTo>
                            <a:cubicBezTo>
                              <a:pt x="3102" y="257"/>
                              <a:pt x="3109" y="256"/>
                              <a:pt x="3115" y="260"/>
                            </a:cubicBezTo>
                            <a:cubicBezTo>
                              <a:pt x="3122" y="263"/>
                              <a:pt x="3136" y="260"/>
                              <a:pt x="3150" y="254"/>
                            </a:cubicBezTo>
                            <a:cubicBezTo>
                              <a:pt x="3164" y="249"/>
                              <a:pt x="3182" y="249"/>
                              <a:pt x="3196" y="244"/>
                            </a:cubicBezTo>
                            <a:cubicBezTo>
                              <a:pt x="3211" y="240"/>
                              <a:pt x="3214" y="238"/>
                              <a:pt x="3239" y="231"/>
                            </a:cubicBezTo>
                            <a:cubicBezTo>
                              <a:pt x="3264" y="225"/>
                              <a:pt x="3265" y="230"/>
                              <a:pt x="3272" y="233"/>
                            </a:cubicBezTo>
                            <a:cubicBezTo>
                              <a:pt x="3279" y="237"/>
                              <a:pt x="3300" y="242"/>
                              <a:pt x="3316" y="242"/>
                            </a:cubicBezTo>
                            <a:cubicBezTo>
                              <a:pt x="3333" y="242"/>
                              <a:pt x="3324" y="245"/>
                              <a:pt x="3320" y="248"/>
                            </a:cubicBezTo>
                            <a:cubicBezTo>
                              <a:pt x="3316" y="251"/>
                              <a:pt x="3288" y="248"/>
                              <a:pt x="3277" y="246"/>
                            </a:cubicBezTo>
                            <a:cubicBezTo>
                              <a:pt x="3267" y="244"/>
                              <a:pt x="3255" y="243"/>
                              <a:pt x="3244" y="242"/>
                            </a:cubicBezTo>
                            <a:cubicBezTo>
                              <a:pt x="3233" y="242"/>
                              <a:pt x="3230" y="244"/>
                              <a:pt x="3220" y="247"/>
                            </a:cubicBezTo>
                            <a:cubicBezTo>
                              <a:pt x="3211" y="251"/>
                              <a:pt x="3198" y="254"/>
                              <a:pt x="3187" y="256"/>
                            </a:cubicBezTo>
                            <a:cubicBezTo>
                              <a:pt x="3175" y="259"/>
                              <a:pt x="3167" y="263"/>
                              <a:pt x="3159" y="267"/>
                            </a:cubicBezTo>
                            <a:cubicBezTo>
                              <a:pt x="3151" y="270"/>
                              <a:pt x="3168" y="275"/>
                              <a:pt x="3181" y="279"/>
                            </a:cubicBezTo>
                            <a:cubicBezTo>
                              <a:pt x="3193" y="283"/>
                              <a:pt x="3202" y="278"/>
                              <a:pt x="3213" y="281"/>
                            </a:cubicBezTo>
                            <a:cubicBezTo>
                              <a:pt x="3224" y="283"/>
                              <a:pt x="3204" y="284"/>
                              <a:pt x="3195" y="288"/>
                            </a:cubicBezTo>
                            <a:cubicBezTo>
                              <a:pt x="3187" y="291"/>
                              <a:pt x="3174" y="291"/>
                              <a:pt x="3166" y="287"/>
                            </a:cubicBezTo>
                            <a:cubicBezTo>
                              <a:pt x="3157" y="283"/>
                              <a:pt x="3148" y="282"/>
                              <a:pt x="3139" y="283"/>
                            </a:cubicBezTo>
                            <a:cubicBezTo>
                              <a:pt x="3130" y="285"/>
                              <a:pt x="3134" y="290"/>
                              <a:pt x="3135" y="296"/>
                            </a:cubicBezTo>
                            <a:cubicBezTo>
                              <a:pt x="3135" y="302"/>
                              <a:pt x="3148" y="308"/>
                              <a:pt x="3158" y="313"/>
                            </a:cubicBezTo>
                            <a:cubicBezTo>
                              <a:pt x="3169" y="318"/>
                              <a:pt x="3181" y="314"/>
                              <a:pt x="3201" y="313"/>
                            </a:cubicBezTo>
                            <a:cubicBezTo>
                              <a:pt x="3221" y="311"/>
                              <a:pt x="3237" y="312"/>
                              <a:pt x="3258" y="309"/>
                            </a:cubicBezTo>
                            <a:cubicBezTo>
                              <a:pt x="3279" y="305"/>
                              <a:pt x="3294" y="307"/>
                              <a:pt x="3316" y="307"/>
                            </a:cubicBezTo>
                            <a:cubicBezTo>
                              <a:pt x="3338" y="306"/>
                              <a:pt x="3342" y="307"/>
                              <a:pt x="3360" y="304"/>
                            </a:cubicBezTo>
                            <a:cubicBezTo>
                              <a:pt x="3378" y="300"/>
                              <a:pt x="3385" y="294"/>
                              <a:pt x="3401" y="286"/>
                            </a:cubicBezTo>
                            <a:cubicBezTo>
                              <a:pt x="3416" y="278"/>
                              <a:pt x="3428" y="281"/>
                              <a:pt x="3444" y="276"/>
                            </a:cubicBezTo>
                            <a:cubicBezTo>
                              <a:pt x="3461" y="272"/>
                              <a:pt x="3468" y="274"/>
                              <a:pt x="3474" y="275"/>
                            </a:cubicBezTo>
                            <a:cubicBezTo>
                              <a:pt x="3479" y="276"/>
                              <a:pt x="3470" y="278"/>
                              <a:pt x="3461" y="281"/>
                            </a:cubicBezTo>
                            <a:cubicBezTo>
                              <a:pt x="3451" y="283"/>
                              <a:pt x="3442" y="285"/>
                              <a:pt x="3433" y="287"/>
                            </a:cubicBezTo>
                            <a:cubicBezTo>
                              <a:pt x="3423" y="289"/>
                              <a:pt x="3406" y="294"/>
                              <a:pt x="3395" y="298"/>
                            </a:cubicBezTo>
                            <a:cubicBezTo>
                              <a:pt x="3383" y="301"/>
                              <a:pt x="3376" y="308"/>
                              <a:pt x="3366" y="312"/>
                            </a:cubicBezTo>
                            <a:cubicBezTo>
                              <a:pt x="3357" y="317"/>
                              <a:pt x="3350" y="317"/>
                              <a:pt x="3338" y="317"/>
                            </a:cubicBezTo>
                            <a:cubicBezTo>
                              <a:pt x="3326" y="318"/>
                              <a:pt x="3310" y="317"/>
                              <a:pt x="3295" y="318"/>
                            </a:cubicBezTo>
                            <a:cubicBezTo>
                              <a:pt x="3280" y="318"/>
                              <a:pt x="3255" y="321"/>
                              <a:pt x="3243" y="321"/>
                            </a:cubicBezTo>
                            <a:cubicBezTo>
                              <a:pt x="3231" y="321"/>
                              <a:pt x="3216" y="323"/>
                              <a:pt x="3207" y="325"/>
                            </a:cubicBezTo>
                            <a:cubicBezTo>
                              <a:pt x="3198" y="328"/>
                              <a:pt x="3191" y="329"/>
                              <a:pt x="3192" y="332"/>
                            </a:cubicBezTo>
                            <a:cubicBezTo>
                              <a:pt x="3193" y="335"/>
                              <a:pt x="3202" y="338"/>
                              <a:pt x="3213" y="344"/>
                            </a:cubicBezTo>
                            <a:cubicBezTo>
                              <a:pt x="3224" y="350"/>
                              <a:pt x="3228" y="349"/>
                              <a:pt x="3248" y="357"/>
                            </a:cubicBezTo>
                            <a:cubicBezTo>
                              <a:pt x="3268" y="365"/>
                              <a:pt x="3306" y="370"/>
                              <a:pt x="3312" y="369"/>
                            </a:cubicBezTo>
                            <a:cubicBezTo>
                              <a:pt x="3319" y="368"/>
                              <a:pt x="3330" y="360"/>
                              <a:pt x="3338" y="352"/>
                            </a:cubicBezTo>
                            <a:cubicBezTo>
                              <a:pt x="3346" y="343"/>
                              <a:pt x="3365" y="330"/>
                              <a:pt x="3383" y="323"/>
                            </a:cubicBezTo>
                            <a:cubicBezTo>
                              <a:pt x="3401" y="316"/>
                              <a:pt x="3402" y="315"/>
                              <a:pt x="3411" y="311"/>
                            </a:cubicBezTo>
                            <a:cubicBezTo>
                              <a:pt x="3420" y="306"/>
                              <a:pt x="3434" y="307"/>
                              <a:pt x="3448" y="305"/>
                            </a:cubicBezTo>
                            <a:cubicBezTo>
                              <a:pt x="3462" y="303"/>
                              <a:pt x="3500" y="301"/>
                              <a:pt x="3516" y="300"/>
                            </a:cubicBezTo>
                            <a:cubicBezTo>
                              <a:pt x="3532" y="299"/>
                              <a:pt x="3547" y="298"/>
                              <a:pt x="3559" y="297"/>
                            </a:cubicBezTo>
                            <a:cubicBezTo>
                              <a:pt x="3571" y="296"/>
                              <a:pt x="3582" y="297"/>
                              <a:pt x="3589" y="296"/>
                            </a:cubicBezTo>
                            <a:cubicBezTo>
                              <a:pt x="3596" y="295"/>
                              <a:pt x="3604" y="293"/>
                              <a:pt x="3608" y="290"/>
                            </a:cubicBezTo>
                            <a:cubicBezTo>
                              <a:pt x="3613" y="287"/>
                              <a:pt x="3613" y="287"/>
                              <a:pt x="3615" y="289"/>
                            </a:cubicBezTo>
                            <a:cubicBezTo>
                              <a:pt x="3618" y="291"/>
                              <a:pt x="3612" y="294"/>
                              <a:pt x="3604" y="297"/>
                            </a:cubicBezTo>
                            <a:cubicBezTo>
                              <a:pt x="3595" y="300"/>
                              <a:pt x="3584" y="300"/>
                              <a:pt x="3571" y="302"/>
                            </a:cubicBezTo>
                            <a:cubicBezTo>
                              <a:pt x="3557" y="304"/>
                              <a:pt x="3550" y="305"/>
                              <a:pt x="3536" y="307"/>
                            </a:cubicBezTo>
                            <a:cubicBezTo>
                              <a:pt x="3521" y="309"/>
                              <a:pt x="3505" y="310"/>
                              <a:pt x="3490" y="311"/>
                            </a:cubicBezTo>
                            <a:cubicBezTo>
                              <a:pt x="3476" y="311"/>
                              <a:pt x="3469" y="311"/>
                              <a:pt x="3460" y="311"/>
                            </a:cubicBezTo>
                            <a:cubicBezTo>
                              <a:pt x="3450" y="311"/>
                              <a:pt x="3445" y="314"/>
                              <a:pt x="3436" y="316"/>
                            </a:cubicBezTo>
                            <a:cubicBezTo>
                              <a:pt x="3427" y="317"/>
                              <a:pt x="3420" y="322"/>
                              <a:pt x="3411" y="326"/>
                            </a:cubicBezTo>
                            <a:cubicBezTo>
                              <a:pt x="3402" y="331"/>
                              <a:pt x="3392" y="337"/>
                              <a:pt x="3381" y="345"/>
                            </a:cubicBezTo>
                            <a:cubicBezTo>
                              <a:pt x="3371" y="353"/>
                              <a:pt x="3363" y="362"/>
                              <a:pt x="3358" y="367"/>
                            </a:cubicBezTo>
                            <a:cubicBezTo>
                              <a:pt x="3353" y="372"/>
                              <a:pt x="3357" y="371"/>
                              <a:pt x="3361" y="374"/>
                            </a:cubicBezTo>
                            <a:cubicBezTo>
                              <a:pt x="3364" y="377"/>
                              <a:pt x="3373" y="379"/>
                              <a:pt x="3379" y="379"/>
                            </a:cubicBezTo>
                            <a:cubicBezTo>
                              <a:pt x="3385" y="380"/>
                              <a:pt x="3392" y="379"/>
                              <a:pt x="3400" y="377"/>
                            </a:cubicBezTo>
                            <a:cubicBezTo>
                              <a:pt x="3408" y="374"/>
                              <a:pt x="3407" y="373"/>
                              <a:pt x="3412" y="373"/>
                            </a:cubicBezTo>
                            <a:cubicBezTo>
                              <a:pt x="3417" y="373"/>
                              <a:pt x="3418" y="376"/>
                              <a:pt x="3416" y="379"/>
                            </a:cubicBezTo>
                            <a:cubicBezTo>
                              <a:pt x="3415" y="383"/>
                              <a:pt x="3418" y="382"/>
                              <a:pt x="3422" y="384"/>
                            </a:cubicBezTo>
                            <a:cubicBezTo>
                              <a:pt x="3426" y="386"/>
                              <a:pt x="3441" y="387"/>
                              <a:pt x="3456" y="387"/>
                            </a:cubicBezTo>
                            <a:cubicBezTo>
                              <a:pt x="3471" y="386"/>
                              <a:pt x="3494" y="383"/>
                              <a:pt x="3506" y="382"/>
                            </a:cubicBezTo>
                            <a:cubicBezTo>
                              <a:pt x="3517" y="382"/>
                              <a:pt x="3527" y="381"/>
                              <a:pt x="3531" y="379"/>
                            </a:cubicBezTo>
                            <a:cubicBezTo>
                              <a:pt x="3535" y="376"/>
                              <a:pt x="3538" y="372"/>
                              <a:pt x="3539" y="365"/>
                            </a:cubicBezTo>
                            <a:cubicBezTo>
                              <a:pt x="3540" y="359"/>
                              <a:pt x="3539" y="358"/>
                              <a:pt x="3541" y="351"/>
                            </a:cubicBezTo>
                            <a:cubicBezTo>
                              <a:pt x="3543" y="344"/>
                              <a:pt x="3549" y="347"/>
                              <a:pt x="3556" y="344"/>
                            </a:cubicBezTo>
                            <a:cubicBezTo>
                              <a:pt x="3563" y="341"/>
                              <a:pt x="3568" y="339"/>
                              <a:pt x="3571" y="341"/>
                            </a:cubicBezTo>
                            <a:cubicBezTo>
                              <a:pt x="3575" y="342"/>
                              <a:pt x="3573" y="347"/>
                              <a:pt x="3566" y="349"/>
                            </a:cubicBezTo>
                            <a:cubicBezTo>
                              <a:pt x="3558" y="350"/>
                              <a:pt x="3559" y="355"/>
                              <a:pt x="3559" y="357"/>
                            </a:cubicBezTo>
                            <a:cubicBezTo>
                              <a:pt x="3559" y="359"/>
                              <a:pt x="3567" y="359"/>
                              <a:pt x="3578" y="359"/>
                            </a:cubicBezTo>
                            <a:cubicBezTo>
                              <a:pt x="3588" y="358"/>
                              <a:pt x="3588" y="358"/>
                              <a:pt x="3599" y="355"/>
                            </a:cubicBezTo>
                            <a:cubicBezTo>
                              <a:pt x="3610" y="353"/>
                              <a:pt x="3632" y="350"/>
                              <a:pt x="3642" y="345"/>
                            </a:cubicBezTo>
                            <a:cubicBezTo>
                              <a:pt x="3651" y="340"/>
                              <a:pt x="3654" y="343"/>
                              <a:pt x="3653" y="345"/>
                            </a:cubicBezTo>
                            <a:cubicBezTo>
                              <a:pt x="3652" y="348"/>
                              <a:pt x="3647" y="352"/>
                              <a:pt x="3638" y="356"/>
                            </a:cubicBezTo>
                            <a:cubicBezTo>
                              <a:pt x="3630" y="359"/>
                              <a:pt x="3625" y="361"/>
                              <a:pt x="3608" y="364"/>
                            </a:cubicBezTo>
                            <a:cubicBezTo>
                              <a:pt x="3592" y="368"/>
                              <a:pt x="3596" y="368"/>
                              <a:pt x="3589" y="369"/>
                            </a:cubicBezTo>
                            <a:cubicBezTo>
                              <a:pt x="3583" y="370"/>
                              <a:pt x="3577" y="372"/>
                              <a:pt x="3577" y="374"/>
                            </a:cubicBezTo>
                            <a:cubicBezTo>
                              <a:pt x="3577" y="376"/>
                              <a:pt x="3580" y="379"/>
                              <a:pt x="3583" y="382"/>
                            </a:cubicBezTo>
                            <a:cubicBezTo>
                              <a:pt x="3586" y="386"/>
                              <a:pt x="3595" y="383"/>
                              <a:pt x="3608" y="382"/>
                            </a:cubicBezTo>
                            <a:cubicBezTo>
                              <a:pt x="3620" y="380"/>
                              <a:pt x="3623" y="379"/>
                              <a:pt x="3637" y="375"/>
                            </a:cubicBezTo>
                            <a:cubicBezTo>
                              <a:pt x="3650" y="371"/>
                              <a:pt x="3656" y="374"/>
                              <a:pt x="3672" y="371"/>
                            </a:cubicBezTo>
                            <a:cubicBezTo>
                              <a:pt x="3689" y="368"/>
                              <a:pt x="3716" y="365"/>
                              <a:pt x="3727" y="360"/>
                            </a:cubicBezTo>
                            <a:cubicBezTo>
                              <a:pt x="3738" y="356"/>
                              <a:pt x="3750" y="354"/>
                              <a:pt x="3764" y="351"/>
                            </a:cubicBezTo>
                            <a:cubicBezTo>
                              <a:pt x="3777" y="347"/>
                              <a:pt x="3782" y="348"/>
                              <a:pt x="3790" y="343"/>
                            </a:cubicBezTo>
                            <a:cubicBezTo>
                              <a:pt x="3798" y="337"/>
                              <a:pt x="3797" y="336"/>
                              <a:pt x="3807" y="331"/>
                            </a:cubicBezTo>
                            <a:cubicBezTo>
                              <a:pt x="3817" y="325"/>
                              <a:pt x="3817" y="327"/>
                              <a:pt x="3814" y="322"/>
                            </a:cubicBezTo>
                            <a:cubicBezTo>
                              <a:pt x="3812" y="318"/>
                              <a:pt x="3811" y="320"/>
                              <a:pt x="3810" y="314"/>
                            </a:cubicBezTo>
                            <a:cubicBezTo>
                              <a:pt x="3809" y="308"/>
                              <a:pt x="3814" y="311"/>
                              <a:pt x="3817" y="308"/>
                            </a:cubicBezTo>
                            <a:cubicBezTo>
                              <a:pt x="3819" y="304"/>
                              <a:pt x="3817" y="304"/>
                              <a:pt x="3810" y="300"/>
                            </a:cubicBezTo>
                            <a:cubicBezTo>
                              <a:pt x="3803" y="295"/>
                              <a:pt x="3803" y="293"/>
                              <a:pt x="3801" y="289"/>
                            </a:cubicBezTo>
                            <a:cubicBezTo>
                              <a:pt x="3800" y="284"/>
                              <a:pt x="3811" y="289"/>
                              <a:pt x="3817" y="292"/>
                            </a:cubicBezTo>
                            <a:cubicBezTo>
                              <a:pt x="3823" y="295"/>
                              <a:pt x="3827" y="299"/>
                              <a:pt x="3837" y="301"/>
                            </a:cubicBezTo>
                            <a:cubicBezTo>
                              <a:pt x="3848" y="303"/>
                              <a:pt x="3844" y="299"/>
                              <a:pt x="3847" y="292"/>
                            </a:cubicBezTo>
                            <a:cubicBezTo>
                              <a:pt x="3850" y="285"/>
                              <a:pt x="3856" y="284"/>
                              <a:pt x="3863" y="279"/>
                            </a:cubicBezTo>
                            <a:cubicBezTo>
                              <a:pt x="3870" y="274"/>
                              <a:pt x="3882" y="273"/>
                              <a:pt x="3894" y="268"/>
                            </a:cubicBezTo>
                            <a:cubicBezTo>
                              <a:pt x="3905" y="262"/>
                              <a:pt x="3919" y="263"/>
                              <a:pt x="3930" y="259"/>
                            </a:cubicBezTo>
                            <a:cubicBezTo>
                              <a:pt x="3940" y="254"/>
                              <a:pt x="3949" y="252"/>
                              <a:pt x="3953" y="253"/>
                            </a:cubicBezTo>
                            <a:cubicBezTo>
                              <a:pt x="3958" y="253"/>
                              <a:pt x="3950" y="256"/>
                              <a:pt x="3942" y="260"/>
                            </a:cubicBezTo>
                            <a:cubicBezTo>
                              <a:pt x="3934" y="264"/>
                              <a:pt x="3922" y="268"/>
                              <a:pt x="3915" y="271"/>
                            </a:cubicBezTo>
                            <a:cubicBezTo>
                              <a:pt x="3908" y="273"/>
                              <a:pt x="3897" y="276"/>
                              <a:pt x="3892" y="280"/>
                            </a:cubicBezTo>
                            <a:cubicBezTo>
                              <a:pt x="3888" y="284"/>
                              <a:pt x="3886" y="286"/>
                              <a:pt x="3874" y="291"/>
                            </a:cubicBezTo>
                            <a:cubicBezTo>
                              <a:pt x="3861" y="295"/>
                              <a:pt x="3863" y="299"/>
                              <a:pt x="3851" y="307"/>
                            </a:cubicBezTo>
                            <a:cubicBezTo>
                              <a:pt x="3839" y="314"/>
                              <a:pt x="3842" y="315"/>
                              <a:pt x="3839" y="321"/>
                            </a:cubicBezTo>
                            <a:cubicBezTo>
                              <a:pt x="3835" y="328"/>
                              <a:pt x="3838" y="330"/>
                              <a:pt x="3840" y="336"/>
                            </a:cubicBezTo>
                            <a:cubicBezTo>
                              <a:pt x="3843" y="342"/>
                              <a:pt x="3853" y="340"/>
                              <a:pt x="3872" y="337"/>
                            </a:cubicBezTo>
                            <a:cubicBezTo>
                              <a:pt x="3890" y="334"/>
                              <a:pt x="3886" y="335"/>
                              <a:pt x="3899" y="333"/>
                            </a:cubicBezTo>
                            <a:cubicBezTo>
                              <a:pt x="3913" y="332"/>
                              <a:pt x="3930" y="331"/>
                              <a:pt x="3948" y="333"/>
                            </a:cubicBezTo>
                            <a:cubicBezTo>
                              <a:pt x="3967" y="335"/>
                              <a:pt x="3978" y="331"/>
                              <a:pt x="3979" y="335"/>
                            </a:cubicBezTo>
                            <a:cubicBezTo>
                              <a:pt x="3980" y="338"/>
                              <a:pt x="3958" y="339"/>
                              <a:pt x="3941" y="341"/>
                            </a:cubicBezTo>
                            <a:cubicBezTo>
                              <a:pt x="3923" y="343"/>
                              <a:pt x="3925" y="341"/>
                              <a:pt x="3907" y="342"/>
                            </a:cubicBezTo>
                            <a:cubicBezTo>
                              <a:pt x="3889" y="344"/>
                              <a:pt x="3884" y="345"/>
                              <a:pt x="3864" y="349"/>
                            </a:cubicBezTo>
                            <a:cubicBezTo>
                              <a:pt x="3844" y="353"/>
                              <a:pt x="3851" y="351"/>
                              <a:pt x="3842" y="356"/>
                            </a:cubicBezTo>
                            <a:cubicBezTo>
                              <a:pt x="3832" y="360"/>
                              <a:pt x="3819" y="362"/>
                              <a:pt x="3803" y="365"/>
                            </a:cubicBezTo>
                            <a:cubicBezTo>
                              <a:pt x="3787" y="367"/>
                              <a:pt x="3785" y="367"/>
                              <a:pt x="3781" y="371"/>
                            </a:cubicBezTo>
                            <a:cubicBezTo>
                              <a:pt x="3777" y="376"/>
                              <a:pt x="3788" y="374"/>
                              <a:pt x="3802" y="374"/>
                            </a:cubicBezTo>
                            <a:cubicBezTo>
                              <a:pt x="3816" y="374"/>
                              <a:pt x="3819" y="374"/>
                              <a:pt x="3831" y="375"/>
                            </a:cubicBezTo>
                            <a:cubicBezTo>
                              <a:pt x="3843" y="375"/>
                              <a:pt x="3857" y="374"/>
                              <a:pt x="3869" y="374"/>
                            </a:cubicBezTo>
                            <a:cubicBezTo>
                              <a:pt x="3881" y="374"/>
                              <a:pt x="3882" y="375"/>
                              <a:pt x="3881" y="378"/>
                            </a:cubicBezTo>
                            <a:cubicBezTo>
                              <a:pt x="3880" y="381"/>
                              <a:pt x="3872" y="380"/>
                              <a:pt x="3860" y="381"/>
                            </a:cubicBezTo>
                            <a:cubicBezTo>
                              <a:pt x="3848" y="381"/>
                              <a:pt x="3843" y="383"/>
                              <a:pt x="3823" y="384"/>
                            </a:cubicBezTo>
                            <a:cubicBezTo>
                              <a:pt x="3804" y="386"/>
                              <a:pt x="3813" y="385"/>
                              <a:pt x="3798" y="384"/>
                            </a:cubicBezTo>
                            <a:cubicBezTo>
                              <a:pt x="3783" y="383"/>
                              <a:pt x="3781" y="385"/>
                              <a:pt x="3771" y="385"/>
                            </a:cubicBezTo>
                            <a:cubicBezTo>
                              <a:pt x="3761" y="385"/>
                              <a:pt x="3759" y="385"/>
                              <a:pt x="3748" y="391"/>
                            </a:cubicBezTo>
                            <a:cubicBezTo>
                              <a:pt x="3738" y="397"/>
                              <a:pt x="3720" y="396"/>
                              <a:pt x="3705" y="397"/>
                            </a:cubicBezTo>
                            <a:cubicBezTo>
                              <a:pt x="3690" y="399"/>
                              <a:pt x="3679" y="401"/>
                              <a:pt x="3661" y="405"/>
                            </a:cubicBezTo>
                            <a:cubicBezTo>
                              <a:pt x="3643" y="409"/>
                              <a:pt x="3640" y="407"/>
                              <a:pt x="3629" y="409"/>
                            </a:cubicBezTo>
                            <a:cubicBezTo>
                              <a:pt x="3618" y="411"/>
                              <a:pt x="3602" y="412"/>
                              <a:pt x="3590" y="413"/>
                            </a:cubicBezTo>
                            <a:cubicBezTo>
                              <a:pt x="3577" y="413"/>
                              <a:pt x="3576" y="412"/>
                              <a:pt x="3579" y="418"/>
                            </a:cubicBezTo>
                            <a:cubicBezTo>
                              <a:pt x="3581" y="424"/>
                              <a:pt x="3591" y="428"/>
                              <a:pt x="3599" y="431"/>
                            </a:cubicBezTo>
                            <a:cubicBezTo>
                              <a:pt x="3607" y="435"/>
                              <a:pt x="3616" y="443"/>
                              <a:pt x="3624" y="451"/>
                            </a:cubicBezTo>
                            <a:cubicBezTo>
                              <a:pt x="3633" y="458"/>
                              <a:pt x="3636" y="454"/>
                              <a:pt x="3642" y="459"/>
                            </a:cubicBezTo>
                            <a:cubicBezTo>
                              <a:pt x="3648" y="463"/>
                              <a:pt x="3653" y="464"/>
                              <a:pt x="3663" y="464"/>
                            </a:cubicBezTo>
                            <a:cubicBezTo>
                              <a:pt x="3672" y="464"/>
                              <a:pt x="3676" y="465"/>
                              <a:pt x="3679" y="468"/>
                            </a:cubicBezTo>
                            <a:cubicBezTo>
                              <a:pt x="3682" y="470"/>
                              <a:pt x="3675" y="472"/>
                              <a:pt x="3672" y="472"/>
                            </a:cubicBezTo>
                            <a:cubicBezTo>
                              <a:pt x="3668" y="473"/>
                              <a:pt x="3667" y="476"/>
                              <a:pt x="3669" y="480"/>
                            </a:cubicBezTo>
                            <a:cubicBezTo>
                              <a:pt x="3672" y="484"/>
                              <a:pt x="3672" y="490"/>
                              <a:pt x="3674" y="497"/>
                            </a:cubicBezTo>
                            <a:cubicBezTo>
                              <a:pt x="3676" y="504"/>
                              <a:pt x="3685" y="503"/>
                              <a:pt x="3694" y="503"/>
                            </a:cubicBezTo>
                            <a:cubicBezTo>
                              <a:pt x="3704" y="504"/>
                              <a:pt x="3704" y="504"/>
                              <a:pt x="3713" y="507"/>
                            </a:cubicBezTo>
                            <a:cubicBezTo>
                              <a:pt x="3723" y="510"/>
                              <a:pt x="3726" y="509"/>
                              <a:pt x="3732" y="507"/>
                            </a:cubicBezTo>
                            <a:cubicBezTo>
                              <a:pt x="3739" y="506"/>
                              <a:pt x="3751" y="507"/>
                              <a:pt x="3766" y="504"/>
                            </a:cubicBezTo>
                            <a:cubicBezTo>
                              <a:pt x="3781" y="502"/>
                              <a:pt x="3772" y="502"/>
                              <a:pt x="3777" y="500"/>
                            </a:cubicBezTo>
                            <a:cubicBezTo>
                              <a:pt x="3781" y="499"/>
                              <a:pt x="3779" y="503"/>
                              <a:pt x="3770" y="506"/>
                            </a:cubicBezTo>
                            <a:cubicBezTo>
                              <a:pt x="3762" y="510"/>
                              <a:pt x="3758" y="510"/>
                              <a:pt x="3750" y="512"/>
                            </a:cubicBezTo>
                            <a:cubicBezTo>
                              <a:pt x="3742" y="514"/>
                              <a:pt x="3740" y="515"/>
                              <a:pt x="3734" y="518"/>
                            </a:cubicBezTo>
                            <a:cubicBezTo>
                              <a:pt x="3728" y="521"/>
                              <a:pt x="3724" y="521"/>
                              <a:pt x="3717" y="521"/>
                            </a:cubicBezTo>
                            <a:cubicBezTo>
                              <a:pt x="3711" y="520"/>
                              <a:pt x="3703" y="517"/>
                              <a:pt x="3696" y="514"/>
                            </a:cubicBezTo>
                            <a:cubicBezTo>
                              <a:pt x="3690" y="510"/>
                              <a:pt x="3685" y="513"/>
                              <a:pt x="3677" y="513"/>
                            </a:cubicBezTo>
                            <a:cubicBezTo>
                              <a:pt x="3670" y="513"/>
                              <a:pt x="3674" y="516"/>
                              <a:pt x="3666" y="519"/>
                            </a:cubicBezTo>
                            <a:cubicBezTo>
                              <a:pt x="3658" y="522"/>
                              <a:pt x="3660" y="518"/>
                              <a:pt x="3662" y="515"/>
                            </a:cubicBezTo>
                            <a:cubicBezTo>
                              <a:pt x="3663" y="511"/>
                              <a:pt x="3666" y="508"/>
                              <a:pt x="3657" y="504"/>
                            </a:cubicBezTo>
                            <a:cubicBezTo>
                              <a:pt x="3647" y="499"/>
                              <a:pt x="3648" y="501"/>
                              <a:pt x="3645" y="496"/>
                            </a:cubicBezTo>
                            <a:cubicBezTo>
                              <a:pt x="3642" y="491"/>
                              <a:pt x="3636" y="482"/>
                              <a:pt x="3631" y="478"/>
                            </a:cubicBezTo>
                            <a:cubicBezTo>
                              <a:pt x="3627" y="473"/>
                              <a:pt x="3622" y="471"/>
                              <a:pt x="3607" y="464"/>
                            </a:cubicBezTo>
                            <a:cubicBezTo>
                              <a:pt x="3592" y="457"/>
                              <a:pt x="3591" y="456"/>
                              <a:pt x="3581" y="450"/>
                            </a:cubicBezTo>
                            <a:cubicBezTo>
                              <a:pt x="3572" y="445"/>
                              <a:pt x="3548" y="433"/>
                              <a:pt x="3542" y="429"/>
                            </a:cubicBezTo>
                            <a:cubicBezTo>
                              <a:pt x="3536" y="426"/>
                              <a:pt x="3528" y="425"/>
                              <a:pt x="3520" y="424"/>
                            </a:cubicBezTo>
                            <a:cubicBezTo>
                              <a:pt x="3513" y="424"/>
                              <a:pt x="3509" y="424"/>
                              <a:pt x="3498" y="424"/>
                            </a:cubicBezTo>
                            <a:cubicBezTo>
                              <a:pt x="3487" y="425"/>
                              <a:pt x="3481" y="424"/>
                              <a:pt x="3472" y="424"/>
                            </a:cubicBezTo>
                            <a:cubicBezTo>
                              <a:pt x="3463" y="423"/>
                              <a:pt x="3451" y="424"/>
                              <a:pt x="3446" y="423"/>
                            </a:cubicBezTo>
                            <a:cubicBezTo>
                              <a:pt x="3442" y="423"/>
                              <a:pt x="3436" y="422"/>
                              <a:pt x="3426" y="420"/>
                            </a:cubicBezTo>
                            <a:cubicBezTo>
                              <a:pt x="3416" y="418"/>
                              <a:pt x="3414" y="417"/>
                              <a:pt x="3408" y="415"/>
                            </a:cubicBezTo>
                            <a:cubicBezTo>
                              <a:pt x="3402" y="412"/>
                              <a:pt x="3397" y="412"/>
                              <a:pt x="3391" y="414"/>
                            </a:cubicBezTo>
                            <a:cubicBezTo>
                              <a:pt x="3385" y="416"/>
                              <a:pt x="3383" y="417"/>
                              <a:pt x="3378" y="417"/>
                            </a:cubicBezTo>
                            <a:cubicBezTo>
                              <a:pt x="3373" y="417"/>
                              <a:pt x="3367" y="418"/>
                              <a:pt x="3366" y="423"/>
                            </a:cubicBezTo>
                            <a:cubicBezTo>
                              <a:pt x="3364" y="428"/>
                              <a:pt x="3364" y="431"/>
                              <a:pt x="3362" y="434"/>
                            </a:cubicBezTo>
                            <a:cubicBezTo>
                              <a:pt x="3360" y="437"/>
                              <a:pt x="3359" y="439"/>
                              <a:pt x="3360" y="442"/>
                            </a:cubicBezTo>
                            <a:cubicBezTo>
                              <a:pt x="3360" y="445"/>
                              <a:pt x="3363" y="446"/>
                              <a:pt x="3366" y="449"/>
                            </a:cubicBezTo>
                            <a:cubicBezTo>
                              <a:pt x="3370" y="453"/>
                              <a:pt x="3375" y="453"/>
                              <a:pt x="3381" y="456"/>
                            </a:cubicBezTo>
                            <a:cubicBezTo>
                              <a:pt x="3387" y="459"/>
                              <a:pt x="3396" y="459"/>
                              <a:pt x="3401" y="461"/>
                            </a:cubicBezTo>
                            <a:cubicBezTo>
                              <a:pt x="3406" y="462"/>
                              <a:pt x="3418" y="465"/>
                              <a:pt x="3422" y="466"/>
                            </a:cubicBezTo>
                            <a:cubicBezTo>
                              <a:pt x="3426" y="467"/>
                              <a:pt x="3424" y="469"/>
                              <a:pt x="3422" y="470"/>
                            </a:cubicBezTo>
                            <a:cubicBezTo>
                              <a:pt x="3419" y="470"/>
                              <a:pt x="3409" y="469"/>
                              <a:pt x="3402" y="467"/>
                            </a:cubicBezTo>
                            <a:cubicBezTo>
                              <a:pt x="3395" y="465"/>
                              <a:pt x="3388" y="465"/>
                              <a:pt x="3383" y="466"/>
                            </a:cubicBezTo>
                            <a:cubicBezTo>
                              <a:pt x="3379" y="467"/>
                              <a:pt x="3377" y="466"/>
                              <a:pt x="3377" y="469"/>
                            </a:cubicBezTo>
                            <a:cubicBezTo>
                              <a:pt x="3377" y="472"/>
                              <a:pt x="3375" y="476"/>
                              <a:pt x="3374" y="479"/>
                            </a:cubicBezTo>
                            <a:cubicBezTo>
                              <a:pt x="3372" y="481"/>
                              <a:pt x="3371" y="484"/>
                              <a:pt x="3371" y="487"/>
                            </a:cubicBezTo>
                            <a:cubicBezTo>
                              <a:pt x="3371" y="490"/>
                              <a:pt x="3373" y="490"/>
                              <a:pt x="3378" y="492"/>
                            </a:cubicBezTo>
                            <a:cubicBezTo>
                              <a:pt x="3383" y="495"/>
                              <a:pt x="3384" y="494"/>
                              <a:pt x="3389" y="495"/>
                            </a:cubicBezTo>
                            <a:cubicBezTo>
                              <a:pt x="3395" y="496"/>
                              <a:pt x="3394" y="497"/>
                              <a:pt x="3400" y="498"/>
                            </a:cubicBezTo>
                            <a:cubicBezTo>
                              <a:pt x="3407" y="499"/>
                              <a:pt x="3415" y="502"/>
                              <a:pt x="3421" y="504"/>
                            </a:cubicBezTo>
                            <a:cubicBezTo>
                              <a:pt x="3427" y="506"/>
                              <a:pt x="3432" y="506"/>
                              <a:pt x="3441" y="508"/>
                            </a:cubicBezTo>
                            <a:cubicBezTo>
                              <a:pt x="3450" y="510"/>
                              <a:pt x="3450" y="511"/>
                              <a:pt x="3456" y="514"/>
                            </a:cubicBezTo>
                            <a:cubicBezTo>
                              <a:pt x="3462" y="517"/>
                              <a:pt x="3461" y="518"/>
                              <a:pt x="3462" y="524"/>
                            </a:cubicBezTo>
                            <a:cubicBezTo>
                              <a:pt x="3462" y="529"/>
                              <a:pt x="3466" y="531"/>
                              <a:pt x="3471" y="533"/>
                            </a:cubicBezTo>
                            <a:cubicBezTo>
                              <a:pt x="3475" y="536"/>
                              <a:pt x="3483" y="538"/>
                              <a:pt x="3489" y="545"/>
                            </a:cubicBezTo>
                            <a:cubicBezTo>
                              <a:pt x="3495" y="551"/>
                              <a:pt x="3499" y="557"/>
                              <a:pt x="3500" y="562"/>
                            </a:cubicBezTo>
                            <a:cubicBezTo>
                              <a:pt x="3501" y="568"/>
                              <a:pt x="3505" y="572"/>
                              <a:pt x="3507" y="573"/>
                            </a:cubicBezTo>
                            <a:cubicBezTo>
                              <a:pt x="3509" y="575"/>
                              <a:pt x="3513" y="572"/>
                              <a:pt x="3515" y="570"/>
                            </a:cubicBezTo>
                            <a:cubicBezTo>
                              <a:pt x="3518" y="568"/>
                              <a:pt x="3521" y="569"/>
                              <a:pt x="3524" y="571"/>
                            </a:cubicBezTo>
                            <a:cubicBezTo>
                              <a:pt x="3527" y="573"/>
                              <a:pt x="3526" y="577"/>
                              <a:pt x="3529" y="580"/>
                            </a:cubicBezTo>
                            <a:cubicBezTo>
                              <a:pt x="3533" y="583"/>
                              <a:pt x="3538" y="584"/>
                              <a:pt x="3544" y="586"/>
                            </a:cubicBezTo>
                            <a:cubicBezTo>
                              <a:pt x="3550" y="588"/>
                              <a:pt x="3554" y="588"/>
                              <a:pt x="3557" y="589"/>
                            </a:cubicBezTo>
                            <a:cubicBezTo>
                              <a:pt x="3559" y="590"/>
                              <a:pt x="3557" y="593"/>
                              <a:pt x="3554" y="593"/>
                            </a:cubicBezTo>
                            <a:cubicBezTo>
                              <a:pt x="3551" y="594"/>
                              <a:pt x="3548" y="592"/>
                              <a:pt x="3542" y="593"/>
                            </a:cubicBezTo>
                            <a:cubicBezTo>
                              <a:pt x="3537" y="593"/>
                              <a:pt x="3536" y="594"/>
                              <a:pt x="3529" y="594"/>
                            </a:cubicBezTo>
                            <a:cubicBezTo>
                              <a:pt x="3521" y="594"/>
                              <a:pt x="3523" y="594"/>
                              <a:pt x="3519" y="592"/>
                            </a:cubicBezTo>
                            <a:cubicBezTo>
                              <a:pt x="3515" y="589"/>
                              <a:pt x="3514" y="585"/>
                              <a:pt x="3511" y="582"/>
                            </a:cubicBezTo>
                            <a:cubicBezTo>
                              <a:pt x="3508" y="579"/>
                              <a:pt x="3506" y="580"/>
                              <a:pt x="3500" y="580"/>
                            </a:cubicBezTo>
                            <a:cubicBezTo>
                              <a:pt x="3495" y="580"/>
                              <a:pt x="3489" y="580"/>
                              <a:pt x="3484" y="583"/>
                            </a:cubicBezTo>
                            <a:cubicBezTo>
                              <a:pt x="3479" y="585"/>
                              <a:pt x="3477" y="586"/>
                              <a:pt x="3476" y="589"/>
                            </a:cubicBezTo>
                            <a:cubicBezTo>
                              <a:pt x="3475" y="592"/>
                              <a:pt x="3478" y="593"/>
                              <a:pt x="3483" y="597"/>
                            </a:cubicBezTo>
                            <a:cubicBezTo>
                              <a:pt x="3488" y="600"/>
                              <a:pt x="3491" y="600"/>
                              <a:pt x="3497" y="603"/>
                            </a:cubicBezTo>
                            <a:cubicBezTo>
                              <a:pt x="3504" y="606"/>
                              <a:pt x="3511" y="606"/>
                              <a:pt x="3518" y="606"/>
                            </a:cubicBezTo>
                            <a:cubicBezTo>
                              <a:pt x="3524" y="606"/>
                              <a:pt x="3537" y="607"/>
                              <a:pt x="3542" y="606"/>
                            </a:cubicBezTo>
                            <a:cubicBezTo>
                              <a:pt x="3548" y="604"/>
                              <a:pt x="3556" y="606"/>
                              <a:pt x="3568" y="605"/>
                            </a:cubicBezTo>
                            <a:cubicBezTo>
                              <a:pt x="3581" y="605"/>
                              <a:pt x="3586" y="605"/>
                              <a:pt x="3591" y="607"/>
                            </a:cubicBezTo>
                            <a:cubicBezTo>
                              <a:pt x="3597" y="609"/>
                              <a:pt x="3596" y="609"/>
                              <a:pt x="3601" y="612"/>
                            </a:cubicBezTo>
                            <a:cubicBezTo>
                              <a:pt x="3606" y="614"/>
                              <a:pt x="3612" y="613"/>
                              <a:pt x="3618" y="615"/>
                            </a:cubicBezTo>
                            <a:cubicBezTo>
                              <a:pt x="3624" y="617"/>
                              <a:pt x="3626" y="613"/>
                              <a:pt x="3632" y="612"/>
                            </a:cubicBezTo>
                            <a:cubicBezTo>
                              <a:pt x="3638" y="611"/>
                              <a:pt x="3638" y="611"/>
                              <a:pt x="3641" y="607"/>
                            </a:cubicBezTo>
                            <a:cubicBezTo>
                              <a:pt x="3644" y="604"/>
                              <a:pt x="3647" y="600"/>
                              <a:pt x="3654" y="597"/>
                            </a:cubicBezTo>
                            <a:cubicBezTo>
                              <a:pt x="3662" y="593"/>
                              <a:pt x="3659" y="596"/>
                              <a:pt x="3663" y="594"/>
                            </a:cubicBezTo>
                            <a:cubicBezTo>
                              <a:pt x="3667" y="592"/>
                              <a:pt x="3668" y="591"/>
                              <a:pt x="3671" y="591"/>
                            </a:cubicBezTo>
                            <a:cubicBezTo>
                              <a:pt x="3675" y="591"/>
                              <a:pt x="3673" y="593"/>
                              <a:pt x="3670" y="598"/>
                            </a:cubicBezTo>
                            <a:cubicBezTo>
                              <a:pt x="3667" y="604"/>
                              <a:pt x="3664" y="612"/>
                              <a:pt x="3660" y="618"/>
                            </a:cubicBezTo>
                            <a:cubicBezTo>
                              <a:pt x="3655" y="624"/>
                              <a:pt x="3655" y="621"/>
                              <a:pt x="3647" y="623"/>
                            </a:cubicBezTo>
                            <a:cubicBezTo>
                              <a:pt x="3639" y="624"/>
                              <a:pt x="3635" y="623"/>
                              <a:pt x="3625" y="622"/>
                            </a:cubicBezTo>
                            <a:cubicBezTo>
                              <a:pt x="3615" y="622"/>
                              <a:pt x="3608" y="622"/>
                              <a:pt x="3600" y="622"/>
                            </a:cubicBezTo>
                            <a:cubicBezTo>
                              <a:pt x="3593" y="621"/>
                              <a:pt x="3589" y="622"/>
                              <a:pt x="3585" y="623"/>
                            </a:cubicBezTo>
                            <a:cubicBezTo>
                              <a:pt x="3582" y="624"/>
                              <a:pt x="3581" y="624"/>
                              <a:pt x="3583" y="627"/>
                            </a:cubicBezTo>
                            <a:cubicBezTo>
                              <a:pt x="3584" y="629"/>
                              <a:pt x="3586" y="629"/>
                              <a:pt x="3589" y="630"/>
                            </a:cubicBezTo>
                            <a:cubicBezTo>
                              <a:pt x="3593" y="632"/>
                              <a:pt x="3593" y="632"/>
                              <a:pt x="3596" y="633"/>
                            </a:cubicBezTo>
                            <a:cubicBezTo>
                              <a:pt x="3599" y="635"/>
                              <a:pt x="3604" y="633"/>
                              <a:pt x="3610" y="633"/>
                            </a:cubicBezTo>
                            <a:cubicBezTo>
                              <a:pt x="3616" y="633"/>
                              <a:pt x="3622" y="633"/>
                              <a:pt x="3626" y="633"/>
                            </a:cubicBezTo>
                            <a:cubicBezTo>
                              <a:pt x="3631" y="633"/>
                              <a:pt x="3630" y="634"/>
                              <a:pt x="3630" y="637"/>
                            </a:cubicBezTo>
                            <a:cubicBezTo>
                              <a:pt x="3630" y="639"/>
                              <a:pt x="3628" y="639"/>
                              <a:pt x="3625" y="640"/>
                            </a:cubicBezTo>
                            <a:cubicBezTo>
                              <a:pt x="3622" y="640"/>
                              <a:pt x="3620" y="640"/>
                              <a:pt x="3620" y="641"/>
                            </a:cubicBezTo>
                            <a:cubicBezTo>
                              <a:pt x="3619" y="643"/>
                              <a:pt x="3622" y="646"/>
                              <a:pt x="3625" y="648"/>
                            </a:cubicBezTo>
                            <a:cubicBezTo>
                              <a:pt x="3629" y="651"/>
                              <a:pt x="3630" y="652"/>
                              <a:pt x="3631" y="654"/>
                            </a:cubicBezTo>
                            <a:cubicBezTo>
                              <a:pt x="3632" y="656"/>
                              <a:pt x="3631" y="658"/>
                              <a:pt x="3627" y="659"/>
                            </a:cubicBezTo>
                            <a:cubicBezTo>
                              <a:pt x="3624" y="660"/>
                              <a:pt x="3617" y="659"/>
                              <a:pt x="3610" y="656"/>
                            </a:cubicBezTo>
                            <a:cubicBezTo>
                              <a:pt x="3603" y="652"/>
                              <a:pt x="3599" y="651"/>
                              <a:pt x="3594" y="648"/>
                            </a:cubicBezTo>
                            <a:cubicBezTo>
                              <a:pt x="3589" y="645"/>
                              <a:pt x="3584" y="644"/>
                              <a:pt x="3574" y="639"/>
                            </a:cubicBezTo>
                            <a:cubicBezTo>
                              <a:pt x="3563" y="634"/>
                              <a:pt x="3565" y="633"/>
                              <a:pt x="3559" y="629"/>
                            </a:cubicBezTo>
                            <a:cubicBezTo>
                              <a:pt x="3553" y="625"/>
                              <a:pt x="3541" y="624"/>
                              <a:pt x="3532" y="622"/>
                            </a:cubicBezTo>
                            <a:cubicBezTo>
                              <a:pt x="3524" y="620"/>
                              <a:pt x="3513" y="623"/>
                              <a:pt x="3509" y="622"/>
                            </a:cubicBezTo>
                            <a:cubicBezTo>
                              <a:pt x="3505" y="621"/>
                              <a:pt x="3494" y="619"/>
                              <a:pt x="3477" y="615"/>
                            </a:cubicBezTo>
                            <a:cubicBezTo>
                              <a:pt x="3460" y="610"/>
                              <a:pt x="3461" y="613"/>
                              <a:pt x="3451" y="613"/>
                            </a:cubicBezTo>
                            <a:cubicBezTo>
                              <a:pt x="3441" y="613"/>
                              <a:pt x="3435" y="613"/>
                              <a:pt x="3424" y="615"/>
                            </a:cubicBezTo>
                            <a:cubicBezTo>
                              <a:pt x="3414" y="618"/>
                              <a:pt x="3409" y="619"/>
                              <a:pt x="3402" y="620"/>
                            </a:cubicBezTo>
                            <a:cubicBezTo>
                              <a:pt x="3394" y="622"/>
                              <a:pt x="3390" y="624"/>
                              <a:pt x="3382" y="624"/>
                            </a:cubicBezTo>
                            <a:cubicBezTo>
                              <a:pt x="3373" y="624"/>
                              <a:pt x="3367" y="625"/>
                              <a:pt x="3359" y="628"/>
                            </a:cubicBezTo>
                            <a:cubicBezTo>
                              <a:pt x="3351" y="631"/>
                              <a:pt x="3349" y="635"/>
                              <a:pt x="3338" y="644"/>
                            </a:cubicBezTo>
                            <a:cubicBezTo>
                              <a:pt x="3327" y="653"/>
                              <a:pt x="3321" y="662"/>
                              <a:pt x="3316" y="666"/>
                            </a:cubicBezTo>
                            <a:cubicBezTo>
                              <a:pt x="3310" y="670"/>
                              <a:pt x="3308" y="673"/>
                              <a:pt x="3306" y="678"/>
                            </a:cubicBezTo>
                            <a:cubicBezTo>
                              <a:pt x="3305" y="683"/>
                              <a:pt x="3305" y="686"/>
                              <a:pt x="3305" y="692"/>
                            </a:cubicBezTo>
                            <a:cubicBezTo>
                              <a:pt x="3306" y="697"/>
                              <a:pt x="3306" y="699"/>
                              <a:pt x="3308" y="701"/>
                            </a:cubicBezTo>
                            <a:cubicBezTo>
                              <a:pt x="3311" y="702"/>
                              <a:pt x="3320" y="703"/>
                              <a:pt x="3324" y="703"/>
                            </a:cubicBezTo>
                            <a:cubicBezTo>
                              <a:pt x="3329" y="704"/>
                              <a:pt x="3327" y="707"/>
                              <a:pt x="3325" y="709"/>
                            </a:cubicBezTo>
                            <a:cubicBezTo>
                              <a:pt x="3323" y="711"/>
                              <a:pt x="3320" y="712"/>
                              <a:pt x="3317" y="712"/>
                            </a:cubicBezTo>
                            <a:cubicBezTo>
                              <a:pt x="3315" y="712"/>
                              <a:pt x="3313" y="714"/>
                              <a:pt x="3312" y="716"/>
                            </a:cubicBezTo>
                            <a:cubicBezTo>
                              <a:pt x="3312" y="717"/>
                              <a:pt x="3315" y="717"/>
                              <a:pt x="3321" y="717"/>
                            </a:cubicBezTo>
                            <a:cubicBezTo>
                              <a:pt x="3326" y="716"/>
                              <a:pt x="3331" y="716"/>
                              <a:pt x="3336" y="718"/>
                            </a:cubicBezTo>
                            <a:cubicBezTo>
                              <a:pt x="3341" y="720"/>
                              <a:pt x="3349" y="719"/>
                              <a:pt x="3355" y="716"/>
                            </a:cubicBezTo>
                            <a:cubicBezTo>
                              <a:pt x="3360" y="713"/>
                              <a:pt x="3362" y="709"/>
                              <a:pt x="3366" y="707"/>
                            </a:cubicBezTo>
                            <a:cubicBezTo>
                              <a:pt x="3369" y="705"/>
                              <a:pt x="3377" y="707"/>
                              <a:pt x="3384" y="704"/>
                            </a:cubicBezTo>
                            <a:cubicBezTo>
                              <a:pt x="3390" y="702"/>
                              <a:pt x="3394" y="698"/>
                              <a:pt x="3399" y="693"/>
                            </a:cubicBezTo>
                            <a:cubicBezTo>
                              <a:pt x="3405" y="687"/>
                              <a:pt x="3403" y="684"/>
                              <a:pt x="3406" y="683"/>
                            </a:cubicBezTo>
                            <a:cubicBezTo>
                              <a:pt x="3408" y="682"/>
                              <a:pt x="3407" y="694"/>
                              <a:pt x="3404" y="701"/>
                            </a:cubicBezTo>
                            <a:cubicBezTo>
                              <a:pt x="3401" y="709"/>
                              <a:pt x="3395" y="710"/>
                              <a:pt x="3387" y="714"/>
                            </a:cubicBezTo>
                            <a:cubicBezTo>
                              <a:pt x="3379" y="717"/>
                              <a:pt x="3380" y="718"/>
                              <a:pt x="3379" y="720"/>
                            </a:cubicBezTo>
                            <a:cubicBezTo>
                              <a:pt x="3379" y="723"/>
                              <a:pt x="3388" y="724"/>
                              <a:pt x="3396" y="723"/>
                            </a:cubicBezTo>
                            <a:cubicBezTo>
                              <a:pt x="3403" y="721"/>
                              <a:pt x="3406" y="722"/>
                              <a:pt x="3415" y="722"/>
                            </a:cubicBezTo>
                            <a:cubicBezTo>
                              <a:pt x="3424" y="721"/>
                              <a:pt x="3428" y="720"/>
                              <a:pt x="3436" y="715"/>
                            </a:cubicBezTo>
                            <a:cubicBezTo>
                              <a:pt x="3444" y="709"/>
                              <a:pt x="3442" y="710"/>
                              <a:pt x="3446" y="706"/>
                            </a:cubicBezTo>
                            <a:cubicBezTo>
                              <a:pt x="3450" y="703"/>
                              <a:pt x="3453" y="702"/>
                              <a:pt x="3456" y="700"/>
                            </a:cubicBezTo>
                            <a:cubicBezTo>
                              <a:pt x="3460" y="697"/>
                              <a:pt x="3462" y="690"/>
                              <a:pt x="3464" y="682"/>
                            </a:cubicBezTo>
                            <a:cubicBezTo>
                              <a:pt x="3465" y="674"/>
                              <a:pt x="3466" y="676"/>
                              <a:pt x="3467" y="667"/>
                            </a:cubicBezTo>
                            <a:cubicBezTo>
                              <a:pt x="3469" y="658"/>
                              <a:pt x="3474" y="655"/>
                              <a:pt x="3479" y="653"/>
                            </a:cubicBezTo>
                            <a:cubicBezTo>
                              <a:pt x="3484" y="650"/>
                              <a:pt x="3482" y="659"/>
                              <a:pt x="3482" y="663"/>
                            </a:cubicBezTo>
                            <a:cubicBezTo>
                              <a:pt x="3482" y="667"/>
                              <a:pt x="3475" y="670"/>
                              <a:pt x="3473" y="675"/>
                            </a:cubicBezTo>
                            <a:cubicBezTo>
                              <a:pt x="3470" y="679"/>
                              <a:pt x="3473" y="681"/>
                              <a:pt x="3477" y="682"/>
                            </a:cubicBezTo>
                            <a:cubicBezTo>
                              <a:pt x="3480" y="684"/>
                              <a:pt x="3483" y="683"/>
                              <a:pt x="3484" y="687"/>
                            </a:cubicBezTo>
                            <a:cubicBezTo>
                              <a:pt x="3486" y="691"/>
                              <a:pt x="3482" y="690"/>
                              <a:pt x="3475" y="694"/>
                            </a:cubicBezTo>
                            <a:cubicBezTo>
                              <a:pt x="3469" y="697"/>
                              <a:pt x="3469" y="696"/>
                              <a:pt x="3467" y="699"/>
                            </a:cubicBezTo>
                            <a:cubicBezTo>
                              <a:pt x="3465" y="702"/>
                              <a:pt x="3468" y="703"/>
                              <a:pt x="3472" y="706"/>
                            </a:cubicBezTo>
                            <a:cubicBezTo>
                              <a:pt x="3477" y="708"/>
                              <a:pt x="3485" y="706"/>
                              <a:pt x="3493" y="706"/>
                            </a:cubicBezTo>
                            <a:cubicBezTo>
                              <a:pt x="3501" y="706"/>
                              <a:pt x="3509" y="706"/>
                              <a:pt x="3511" y="708"/>
                            </a:cubicBezTo>
                            <a:cubicBezTo>
                              <a:pt x="3514" y="711"/>
                              <a:pt x="3507" y="711"/>
                              <a:pt x="3503" y="713"/>
                            </a:cubicBezTo>
                            <a:cubicBezTo>
                              <a:pt x="3500" y="715"/>
                              <a:pt x="3487" y="713"/>
                              <a:pt x="3481" y="713"/>
                            </a:cubicBezTo>
                            <a:cubicBezTo>
                              <a:pt x="3474" y="712"/>
                              <a:pt x="3472" y="713"/>
                              <a:pt x="3465" y="713"/>
                            </a:cubicBezTo>
                            <a:cubicBezTo>
                              <a:pt x="3459" y="714"/>
                              <a:pt x="3459" y="714"/>
                              <a:pt x="3457" y="716"/>
                            </a:cubicBezTo>
                            <a:cubicBezTo>
                              <a:pt x="3454" y="718"/>
                              <a:pt x="3457" y="721"/>
                              <a:pt x="3462" y="722"/>
                            </a:cubicBezTo>
                            <a:cubicBezTo>
                              <a:pt x="3467" y="724"/>
                              <a:pt x="3477" y="722"/>
                              <a:pt x="3485" y="722"/>
                            </a:cubicBezTo>
                            <a:cubicBezTo>
                              <a:pt x="3492" y="722"/>
                              <a:pt x="3501" y="726"/>
                              <a:pt x="3492" y="729"/>
                            </a:cubicBezTo>
                            <a:cubicBezTo>
                              <a:pt x="3482" y="732"/>
                              <a:pt x="3479" y="729"/>
                              <a:pt x="3469" y="728"/>
                            </a:cubicBezTo>
                            <a:cubicBezTo>
                              <a:pt x="3460" y="728"/>
                              <a:pt x="3456" y="733"/>
                              <a:pt x="3445" y="734"/>
                            </a:cubicBezTo>
                            <a:cubicBezTo>
                              <a:pt x="3434" y="735"/>
                              <a:pt x="3430" y="739"/>
                              <a:pt x="3429" y="745"/>
                            </a:cubicBezTo>
                            <a:cubicBezTo>
                              <a:pt x="3427" y="751"/>
                              <a:pt x="3443" y="745"/>
                              <a:pt x="3453" y="745"/>
                            </a:cubicBezTo>
                            <a:cubicBezTo>
                              <a:pt x="3463" y="745"/>
                              <a:pt x="3469" y="746"/>
                              <a:pt x="3480" y="743"/>
                            </a:cubicBezTo>
                            <a:cubicBezTo>
                              <a:pt x="3491" y="740"/>
                              <a:pt x="3500" y="744"/>
                              <a:pt x="3498" y="749"/>
                            </a:cubicBezTo>
                            <a:cubicBezTo>
                              <a:pt x="3496" y="753"/>
                              <a:pt x="3488" y="749"/>
                              <a:pt x="3476" y="752"/>
                            </a:cubicBezTo>
                            <a:cubicBezTo>
                              <a:pt x="3465" y="755"/>
                              <a:pt x="3467" y="758"/>
                              <a:pt x="3460" y="765"/>
                            </a:cubicBezTo>
                            <a:cubicBezTo>
                              <a:pt x="3452" y="771"/>
                              <a:pt x="3452" y="768"/>
                              <a:pt x="3443" y="772"/>
                            </a:cubicBezTo>
                            <a:cubicBezTo>
                              <a:pt x="3435" y="775"/>
                              <a:pt x="3443" y="777"/>
                              <a:pt x="3446" y="783"/>
                            </a:cubicBezTo>
                            <a:cubicBezTo>
                              <a:pt x="3449" y="788"/>
                              <a:pt x="3458" y="786"/>
                              <a:pt x="3468" y="785"/>
                            </a:cubicBezTo>
                            <a:cubicBezTo>
                              <a:pt x="3479" y="784"/>
                              <a:pt x="3480" y="778"/>
                              <a:pt x="3486" y="772"/>
                            </a:cubicBezTo>
                            <a:cubicBezTo>
                              <a:pt x="3492" y="765"/>
                              <a:pt x="3494" y="772"/>
                              <a:pt x="3493" y="775"/>
                            </a:cubicBezTo>
                            <a:cubicBezTo>
                              <a:pt x="3492" y="779"/>
                              <a:pt x="3486" y="784"/>
                              <a:pt x="3479" y="787"/>
                            </a:cubicBezTo>
                            <a:cubicBezTo>
                              <a:pt x="3473" y="790"/>
                              <a:pt x="3473" y="795"/>
                              <a:pt x="3475" y="798"/>
                            </a:cubicBezTo>
                            <a:cubicBezTo>
                              <a:pt x="3477" y="801"/>
                              <a:pt x="3489" y="800"/>
                              <a:pt x="3503" y="798"/>
                            </a:cubicBezTo>
                            <a:cubicBezTo>
                              <a:pt x="3517" y="795"/>
                              <a:pt x="3518" y="798"/>
                              <a:pt x="3528" y="798"/>
                            </a:cubicBezTo>
                            <a:cubicBezTo>
                              <a:pt x="3538" y="799"/>
                              <a:pt x="3540" y="796"/>
                              <a:pt x="3547" y="791"/>
                            </a:cubicBezTo>
                            <a:cubicBezTo>
                              <a:pt x="3554" y="785"/>
                              <a:pt x="3558" y="782"/>
                              <a:pt x="3567" y="773"/>
                            </a:cubicBezTo>
                            <a:cubicBezTo>
                              <a:pt x="3576" y="764"/>
                              <a:pt x="3574" y="765"/>
                              <a:pt x="3580" y="759"/>
                            </a:cubicBezTo>
                            <a:cubicBezTo>
                              <a:pt x="3587" y="754"/>
                              <a:pt x="3590" y="754"/>
                              <a:pt x="3598" y="746"/>
                            </a:cubicBezTo>
                            <a:cubicBezTo>
                              <a:pt x="3605" y="739"/>
                              <a:pt x="3599" y="738"/>
                              <a:pt x="3603" y="732"/>
                            </a:cubicBezTo>
                            <a:cubicBezTo>
                              <a:pt x="3607" y="725"/>
                              <a:pt x="3611" y="725"/>
                              <a:pt x="3617" y="723"/>
                            </a:cubicBezTo>
                            <a:cubicBezTo>
                              <a:pt x="3624" y="721"/>
                              <a:pt x="3624" y="725"/>
                              <a:pt x="3619" y="729"/>
                            </a:cubicBezTo>
                            <a:cubicBezTo>
                              <a:pt x="3614" y="733"/>
                              <a:pt x="3612" y="737"/>
                              <a:pt x="3610" y="744"/>
                            </a:cubicBezTo>
                            <a:cubicBezTo>
                              <a:pt x="3608" y="752"/>
                              <a:pt x="3602" y="751"/>
                              <a:pt x="3600" y="758"/>
                            </a:cubicBezTo>
                            <a:cubicBezTo>
                              <a:pt x="3597" y="764"/>
                              <a:pt x="3594" y="768"/>
                              <a:pt x="3589" y="774"/>
                            </a:cubicBezTo>
                            <a:cubicBezTo>
                              <a:pt x="3583" y="781"/>
                              <a:pt x="3575" y="782"/>
                              <a:pt x="3572" y="789"/>
                            </a:cubicBezTo>
                            <a:cubicBezTo>
                              <a:pt x="3569" y="796"/>
                              <a:pt x="3566" y="799"/>
                              <a:pt x="3559" y="801"/>
                            </a:cubicBezTo>
                            <a:cubicBezTo>
                              <a:pt x="3552" y="803"/>
                              <a:pt x="3549" y="802"/>
                              <a:pt x="3547" y="807"/>
                            </a:cubicBezTo>
                            <a:cubicBezTo>
                              <a:pt x="3545" y="812"/>
                              <a:pt x="3553" y="816"/>
                              <a:pt x="3553" y="820"/>
                            </a:cubicBezTo>
                            <a:cubicBezTo>
                              <a:pt x="3552" y="824"/>
                              <a:pt x="3543" y="822"/>
                              <a:pt x="3534" y="819"/>
                            </a:cubicBezTo>
                            <a:cubicBezTo>
                              <a:pt x="3524" y="816"/>
                              <a:pt x="3519" y="817"/>
                              <a:pt x="3510" y="816"/>
                            </a:cubicBezTo>
                            <a:cubicBezTo>
                              <a:pt x="3502" y="815"/>
                              <a:pt x="3495" y="817"/>
                              <a:pt x="3488" y="817"/>
                            </a:cubicBezTo>
                            <a:cubicBezTo>
                              <a:pt x="3481" y="818"/>
                              <a:pt x="3480" y="821"/>
                              <a:pt x="3476" y="823"/>
                            </a:cubicBezTo>
                            <a:cubicBezTo>
                              <a:pt x="3472" y="826"/>
                              <a:pt x="3467" y="826"/>
                              <a:pt x="3458" y="821"/>
                            </a:cubicBezTo>
                            <a:cubicBezTo>
                              <a:pt x="3448" y="816"/>
                              <a:pt x="3449" y="820"/>
                              <a:pt x="3444" y="816"/>
                            </a:cubicBezTo>
                            <a:cubicBezTo>
                              <a:pt x="3439" y="812"/>
                              <a:pt x="3433" y="808"/>
                              <a:pt x="3426" y="809"/>
                            </a:cubicBezTo>
                            <a:cubicBezTo>
                              <a:pt x="3419" y="810"/>
                              <a:pt x="3409" y="809"/>
                              <a:pt x="3406" y="801"/>
                            </a:cubicBezTo>
                            <a:cubicBezTo>
                              <a:pt x="3403" y="794"/>
                              <a:pt x="3402" y="787"/>
                              <a:pt x="3399" y="779"/>
                            </a:cubicBezTo>
                            <a:cubicBezTo>
                              <a:pt x="3395" y="771"/>
                              <a:pt x="3392" y="771"/>
                              <a:pt x="3382" y="763"/>
                            </a:cubicBezTo>
                            <a:cubicBezTo>
                              <a:pt x="3371" y="755"/>
                              <a:pt x="3370" y="760"/>
                              <a:pt x="3359" y="759"/>
                            </a:cubicBezTo>
                            <a:cubicBezTo>
                              <a:pt x="3349" y="758"/>
                              <a:pt x="3342" y="753"/>
                              <a:pt x="3326" y="751"/>
                            </a:cubicBezTo>
                            <a:cubicBezTo>
                              <a:pt x="3311" y="749"/>
                              <a:pt x="3311" y="750"/>
                              <a:pt x="3300" y="753"/>
                            </a:cubicBezTo>
                            <a:cubicBezTo>
                              <a:pt x="3288" y="756"/>
                              <a:pt x="3282" y="760"/>
                              <a:pt x="3274" y="757"/>
                            </a:cubicBezTo>
                            <a:cubicBezTo>
                              <a:pt x="3266" y="754"/>
                              <a:pt x="3262" y="756"/>
                              <a:pt x="3260" y="762"/>
                            </a:cubicBezTo>
                            <a:cubicBezTo>
                              <a:pt x="3259" y="769"/>
                              <a:pt x="3260" y="774"/>
                              <a:pt x="3267" y="782"/>
                            </a:cubicBezTo>
                            <a:cubicBezTo>
                              <a:pt x="3274" y="791"/>
                              <a:pt x="3277" y="794"/>
                              <a:pt x="3281" y="802"/>
                            </a:cubicBezTo>
                            <a:cubicBezTo>
                              <a:pt x="3284" y="811"/>
                              <a:pt x="3286" y="816"/>
                              <a:pt x="3296" y="821"/>
                            </a:cubicBezTo>
                            <a:cubicBezTo>
                              <a:pt x="3306" y="825"/>
                              <a:pt x="3319" y="822"/>
                              <a:pt x="3327" y="817"/>
                            </a:cubicBezTo>
                            <a:cubicBezTo>
                              <a:pt x="3335" y="812"/>
                              <a:pt x="3342" y="815"/>
                              <a:pt x="3343" y="820"/>
                            </a:cubicBezTo>
                            <a:cubicBezTo>
                              <a:pt x="3344" y="824"/>
                              <a:pt x="3336" y="825"/>
                              <a:pt x="3331" y="829"/>
                            </a:cubicBezTo>
                            <a:cubicBezTo>
                              <a:pt x="3326" y="833"/>
                              <a:pt x="3329" y="835"/>
                              <a:pt x="3333" y="840"/>
                            </a:cubicBezTo>
                            <a:cubicBezTo>
                              <a:pt x="3338" y="845"/>
                              <a:pt x="3338" y="848"/>
                              <a:pt x="3336" y="849"/>
                            </a:cubicBezTo>
                            <a:cubicBezTo>
                              <a:pt x="3334" y="850"/>
                              <a:pt x="3327" y="845"/>
                              <a:pt x="3322" y="844"/>
                            </a:cubicBezTo>
                            <a:cubicBezTo>
                              <a:pt x="3316" y="843"/>
                              <a:pt x="3317" y="846"/>
                              <a:pt x="3310" y="849"/>
                            </a:cubicBezTo>
                            <a:cubicBezTo>
                              <a:pt x="3303" y="853"/>
                              <a:pt x="3299" y="849"/>
                              <a:pt x="3292" y="852"/>
                            </a:cubicBezTo>
                            <a:cubicBezTo>
                              <a:pt x="3285" y="855"/>
                              <a:pt x="3274" y="854"/>
                              <a:pt x="3263" y="852"/>
                            </a:cubicBezTo>
                            <a:cubicBezTo>
                              <a:pt x="3251" y="849"/>
                              <a:pt x="3246" y="852"/>
                              <a:pt x="3240" y="854"/>
                            </a:cubicBezTo>
                            <a:cubicBezTo>
                              <a:pt x="3235" y="856"/>
                              <a:pt x="3237" y="856"/>
                              <a:pt x="3229" y="862"/>
                            </a:cubicBezTo>
                            <a:cubicBezTo>
                              <a:pt x="3222" y="868"/>
                              <a:pt x="3214" y="873"/>
                              <a:pt x="3203" y="878"/>
                            </a:cubicBezTo>
                            <a:cubicBezTo>
                              <a:pt x="3193" y="882"/>
                              <a:pt x="3191" y="882"/>
                              <a:pt x="3186" y="886"/>
                            </a:cubicBezTo>
                            <a:cubicBezTo>
                              <a:pt x="3181" y="890"/>
                              <a:pt x="3183" y="895"/>
                              <a:pt x="3185" y="899"/>
                            </a:cubicBezTo>
                            <a:cubicBezTo>
                              <a:pt x="3187" y="903"/>
                              <a:pt x="3188" y="911"/>
                              <a:pt x="3183" y="915"/>
                            </a:cubicBezTo>
                            <a:cubicBezTo>
                              <a:pt x="3179" y="918"/>
                              <a:pt x="3179" y="920"/>
                              <a:pt x="3183" y="925"/>
                            </a:cubicBezTo>
                            <a:cubicBezTo>
                              <a:pt x="3188" y="930"/>
                              <a:pt x="3187" y="928"/>
                              <a:pt x="3196" y="930"/>
                            </a:cubicBezTo>
                            <a:cubicBezTo>
                              <a:pt x="3205" y="933"/>
                              <a:pt x="3210" y="940"/>
                              <a:pt x="3213" y="941"/>
                            </a:cubicBezTo>
                            <a:cubicBezTo>
                              <a:pt x="3215" y="941"/>
                              <a:pt x="3216" y="936"/>
                              <a:pt x="3219" y="931"/>
                            </a:cubicBezTo>
                            <a:cubicBezTo>
                              <a:pt x="3223" y="925"/>
                              <a:pt x="3235" y="919"/>
                              <a:pt x="3233" y="912"/>
                            </a:cubicBezTo>
                            <a:cubicBezTo>
                              <a:pt x="3230" y="905"/>
                              <a:pt x="3229" y="906"/>
                              <a:pt x="3231" y="899"/>
                            </a:cubicBezTo>
                            <a:cubicBezTo>
                              <a:pt x="3233" y="893"/>
                              <a:pt x="3238" y="888"/>
                              <a:pt x="3243" y="890"/>
                            </a:cubicBezTo>
                            <a:cubicBezTo>
                              <a:pt x="3248" y="891"/>
                              <a:pt x="3240" y="913"/>
                              <a:pt x="3246" y="919"/>
                            </a:cubicBezTo>
                            <a:cubicBezTo>
                              <a:pt x="3252" y="924"/>
                              <a:pt x="3252" y="926"/>
                              <a:pt x="3253" y="936"/>
                            </a:cubicBezTo>
                            <a:cubicBezTo>
                              <a:pt x="3254" y="945"/>
                              <a:pt x="3258" y="943"/>
                              <a:pt x="3272" y="946"/>
                            </a:cubicBezTo>
                            <a:cubicBezTo>
                              <a:pt x="3286" y="949"/>
                              <a:pt x="3289" y="946"/>
                              <a:pt x="3294" y="945"/>
                            </a:cubicBezTo>
                            <a:cubicBezTo>
                              <a:pt x="3299" y="944"/>
                              <a:pt x="3301" y="937"/>
                              <a:pt x="3299" y="931"/>
                            </a:cubicBezTo>
                            <a:cubicBezTo>
                              <a:pt x="3297" y="924"/>
                              <a:pt x="3295" y="920"/>
                              <a:pt x="3299" y="916"/>
                            </a:cubicBezTo>
                            <a:cubicBezTo>
                              <a:pt x="3303" y="912"/>
                              <a:pt x="3306" y="925"/>
                              <a:pt x="3308" y="931"/>
                            </a:cubicBezTo>
                            <a:cubicBezTo>
                              <a:pt x="3310" y="938"/>
                              <a:pt x="3312" y="937"/>
                              <a:pt x="3326" y="941"/>
                            </a:cubicBezTo>
                            <a:cubicBezTo>
                              <a:pt x="3340" y="945"/>
                              <a:pt x="3337" y="947"/>
                              <a:pt x="3342" y="950"/>
                            </a:cubicBezTo>
                            <a:cubicBezTo>
                              <a:pt x="3346" y="954"/>
                              <a:pt x="3353" y="950"/>
                              <a:pt x="3355" y="942"/>
                            </a:cubicBezTo>
                            <a:cubicBezTo>
                              <a:pt x="3357" y="933"/>
                              <a:pt x="3359" y="936"/>
                              <a:pt x="3365" y="931"/>
                            </a:cubicBezTo>
                            <a:cubicBezTo>
                              <a:pt x="3370" y="927"/>
                              <a:pt x="3365" y="926"/>
                              <a:pt x="3361" y="920"/>
                            </a:cubicBezTo>
                            <a:cubicBezTo>
                              <a:pt x="3357" y="915"/>
                              <a:pt x="3361" y="915"/>
                              <a:pt x="3367" y="916"/>
                            </a:cubicBezTo>
                            <a:cubicBezTo>
                              <a:pt x="3372" y="916"/>
                              <a:pt x="3381" y="923"/>
                              <a:pt x="3383" y="927"/>
                            </a:cubicBezTo>
                            <a:cubicBezTo>
                              <a:pt x="3385" y="932"/>
                              <a:pt x="3382" y="933"/>
                              <a:pt x="3377" y="935"/>
                            </a:cubicBezTo>
                            <a:cubicBezTo>
                              <a:pt x="3372" y="937"/>
                              <a:pt x="3375" y="941"/>
                              <a:pt x="3377" y="944"/>
                            </a:cubicBezTo>
                            <a:cubicBezTo>
                              <a:pt x="3378" y="947"/>
                              <a:pt x="3397" y="950"/>
                              <a:pt x="3405" y="950"/>
                            </a:cubicBezTo>
                            <a:cubicBezTo>
                              <a:pt x="3414" y="950"/>
                              <a:pt x="3439" y="957"/>
                              <a:pt x="3446" y="955"/>
                            </a:cubicBezTo>
                            <a:cubicBezTo>
                              <a:pt x="3454" y="953"/>
                              <a:pt x="3469" y="958"/>
                              <a:pt x="3478" y="958"/>
                            </a:cubicBezTo>
                            <a:cubicBezTo>
                              <a:pt x="3487" y="958"/>
                              <a:pt x="3485" y="955"/>
                              <a:pt x="3482" y="948"/>
                            </a:cubicBezTo>
                            <a:cubicBezTo>
                              <a:pt x="3479" y="941"/>
                              <a:pt x="3472" y="942"/>
                              <a:pt x="3467" y="940"/>
                            </a:cubicBezTo>
                            <a:cubicBezTo>
                              <a:pt x="3462" y="938"/>
                              <a:pt x="3462" y="937"/>
                              <a:pt x="3457" y="930"/>
                            </a:cubicBezTo>
                            <a:cubicBezTo>
                              <a:pt x="3452" y="923"/>
                              <a:pt x="3455" y="923"/>
                              <a:pt x="3461" y="921"/>
                            </a:cubicBezTo>
                            <a:cubicBezTo>
                              <a:pt x="3467" y="920"/>
                              <a:pt x="3470" y="926"/>
                              <a:pt x="3475" y="930"/>
                            </a:cubicBezTo>
                            <a:cubicBezTo>
                              <a:pt x="3479" y="935"/>
                              <a:pt x="3484" y="937"/>
                              <a:pt x="3491" y="936"/>
                            </a:cubicBezTo>
                            <a:cubicBezTo>
                              <a:pt x="3497" y="936"/>
                              <a:pt x="3500" y="930"/>
                              <a:pt x="3505" y="925"/>
                            </a:cubicBezTo>
                            <a:cubicBezTo>
                              <a:pt x="3510" y="921"/>
                              <a:pt x="3507" y="923"/>
                              <a:pt x="3503" y="917"/>
                            </a:cubicBezTo>
                            <a:cubicBezTo>
                              <a:pt x="3499" y="912"/>
                              <a:pt x="3499" y="913"/>
                              <a:pt x="3501" y="909"/>
                            </a:cubicBezTo>
                            <a:cubicBezTo>
                              <a:pt x="3503" y="905"/>
                              <a:pt x="3513" y="915"/>
                              <a:pt x="3519" y="924"/>
                            </a:cubicBezTo>
                            <a:cubicBezTo>
                              <a:pt x="3524" y="933"/>
                              <a:pt x="3528" y="932"/>
                              <a:pt x="3536" y="937"/>
                            </a:cubicBezTo>
                            <a:cubicBezTo>
                              <a:pt x="3544" y="942"/>
                              <a:pt x="3555" y="943"/>
                              <a:pt x="3559" y="940"/>
                            </a:cubicBezTo>
                            <a:cubicBezTo>
                              <a:pt x="3563" y="937"/>
                              <a:pt x="3560" y="932"/>
                              <a:pt x="3560" y="924"/>
                            </a:cubicBezTo>
                            <a:cubicBezTo>
                              <a:pt x="3560" y="916"/>
                              <a:pt x="3560" y="919"/>
                              <a:pt x="3555" y="914"/>
                            </a:cubicBezTo>
                            <a:cubicBezTo>
                              <a:pt x="3550" y="908"/>
                              <a:pt x="3549" y="908"/>
                              <a:pt x="3550" y="905"/>
                            </a:cubicBezTo>
                            <a:cubicBezTo>
                              <a:pt x="3550" y="902"/>
                              <a:pt x="3562" y="909"/>
                              <a:pt x="3565" y="913"/>
                            </a:cubicBezTo>
                            <a:cubicBezTo>
                              <a:pt x="3568" y="916"/>
                              <a:pt x="3574" y="921"/>
                              <a:pt x="3578" y="927"/>
                            </a:cubicBezTo>
                            <a:cubicBezTo>
                              <a:pt x="3582" y="932"/>
                              <a:pt x="3583" y="939"/>
                              <a:pt x="3589" y="941"/>
                            </a:cubicBezTo>
                            <a:cubicBezTo>
                              <a:pt x="3595" y="943"/>
                              <a:pt x="3606" y="943"/>
                              <a:pt x="3615" y="945"/>
                            </a:cubicBezTo>
                            <a:cubicBezTo>
                              <a:pt x="3624" y="947"/>
                              <a:pt x="3628" y="943"/>
                              <a:pt x="3631" y="940"/>
                            </a:cubicBezTo>
                            <a:cubicBezTo>
                              <a:pt x="3634" y="937"/>
                              <a:pt x="3633" y="922"/>
                              <a:pt x="3627" y="914"/>
                            </a:cubicBezTo>
                            <a:cubicBezTo>
                              <a:pt x="3620" y="907"/>
                              <a:pt x="3617" y="911"/>
                              <a:pt x="3608" y="904"/>
                            </a:cubicBezTo>
                            <a:cubicBezTo>
                              <a:pt x="3598" y="897"/>
                              <a:pt x="3600" y="896"/>
                              <a:pt x="3603" y="891"/>
                            </a:cubicBezTo>
                            <a:cubicBezTo>
                              <a:pt x="3606" y="887"/>
                              <a:pt x="3623" y="897"/>
                              <a:pt x="3630" y="900"/>
                            </a:cubicBezTo>
                            <a:cubicBezTo>
                              <a:pt x="3637" y="902"/>
                              <a:pt x="3643" y="907"/>
                              <a:pt x="3645" y="909"/>
                            </a:cubicBezTo>
                            <a:cubicBezTo>
                              <a:pt x="3647" y="911"/>
                              <a:pt x="3649" y="905"/>
                              <a:pt x="3656" y="907"/>
                            </a:cubicBezTo>
                            <a:cubicBezTo>
                              <a:pt x="3664" y="909"/>
                              <a:pt x="3658" y="910"/>
                              <a:pt x="3653" y="913"/>
                            </a:cubicBezTo>
                            <a:cubicBezTo>
                              <a:pt x="3649" y="915"/>
                              <a:pt x="3646" y="920"/>
                              <a:pt x="3648" y="926"/>
                            </a:cubicBezTo>
                            <a:cubicBezTo>
                              <a:pt x="3650" y="932"/>
                              <a:pt x="3662" y="933"/>
                              <a:pt x="3668" y="934"/>
                            </a:cubicBezTo>
                            <a:cubicBezTo>
                              <a:pt x="3673" y="936"/>
                              <a:pt x="3681" y="935"/>
                              <a:pt x="3686" y="930"/>
                            </a:cubicBezTo>
                            <a:cubicBezTo>
                              <a:pt x="3691" y="925"/>
                              <a:pt x="3696" y="926"/>
                              <a:pt x="3702" y="932"/>
                            </a:cubicBezTo>
                            <a:cubicBezTo>
                              <a:pt x="3708" y="938"/>
                              <a:pt x="3716" y="935"/>
                              <a:pt x="3719" y="937"/>
                            </a:cubicBezTo>
                            <a:cubicBezTo>
                              <a:pt x="3721" y="938"/>
                              <a:pt x="3716" y="951"/>
                              <a:pt x="3708" y="958"/>
                            </a:cubicBezTo>
                            <a:cubicBezTo>
                              <a:pt x="3700" y="964"/>
                              <a:pt x="3705" y="972"/>
                              <a:pt x="3710" y="978"/>
                            </a:cubicBezTo>
                            <a:cubicBezTo>
                              <a:pt x="3716" y="984"/>
                              <a:pt x="3723" y="976"/>
                              <a:pt x="3732" y="971"/>
                            </a:cubicBezTo>
                            <a:cubicBezTo>
                              <a:pt x="3741" y="967"/>
                              <a:pt x="3755" y="968"/>
                              <a:pt x="3768" y="962"/>
                            </a:cubicBezTo>
                            <a:cubicBezTo>
                              <a:pt x="3782" y="956"/>
                              <a:pt x="3790" y="960"/>
                              <a:pt x="3801" y="956"/>
                            </a:cubicBezTo>
                            <a:cubicBezTo>
                              <a:pt x="3811" y="952"/>
                              <a:pt x="3813" y="953"/>
                              <a:pt x="3818" y="944"/>
                            </a:cubicBezTo>
                            <a:close/>
                            <a:moveTo>
                              <a:pt x="4040" y="569"/>
                            </a:moveTo>
                            <a:cubicBezTo>
                              <a:pt x="4052" y="570"/>
                              <a:pt x="4051" y="570"/>
                              <a:pt x="4063" y="568"/>
                            </a:cubicBezTo>
                            <a:cubicBezTo>
                              <a:pt x="4075" y="566"/>
                              <a:pt x="4077" y="563"/>
                              <a:pt x="4084" y="566"/>
                            </a:cubicBezTo>
                            <a:cubicBezTo>
                              <a:pt x="4091" y="569"/>
                              <a:pt x="4091" y="569"/>
                              <a:pt x="4091" y="573"/>
                            </a:cubicBezTo>
                            <a:cubicBezTo>
                              <a:pt x="4091" y="578"/>
                              <a:pt x="4091" y="578"/>
                              <a:pt x="4097" y="581"/>
                            </a:cubicBezTo>
                            <a:cubicBezTo>
                              <a:pt x="4103" y="584"/>
                              <a:pt x="4105" y="585"/>
                              <a:pt x="4105" y="590"/>
                            </a:cubicBezTo>
                            <a:cubicBezTo>
                              <a:pt x="4105" y="594"/>
                              <a:pt x="4098" y="598"/>
                              <a:pt x="4092" y="595"/>
                            </a:cubicBezTo>
                            <a:cubicBezTo>
                              <a:pt x="4086" y="591"/>
                              <a:pt x="4076" y="589"/>
                              <a:pt x="4069" y="591"/>
                            </a:cubicBezTo>
                            <a:cubicBezTo>
                              <a:pt x="4062" y="594"/>
                              <a:pt x="4056" y="592"/>
                              <a:pt x="4046" y="591"/>
                            </a:cubicBezTo>
                            <a:cubicBezTo>
                              <a:pt x="4036" y="589"/>
                              <a:pt x="4034" y="591"/>
                              <a:pt x="4029" y="587"/>
                            </a:cubicBezTo>
                            <a:cubicBezTo>
                              <a:pt x="4024" y="584"/>
                              <a:pt x="4021" y="578"/>
                              <a:pt x="4017" y="576"/>
                            </a:cubicBezTo>
                            <a:cubicBezTo>
                              <a:pt x="4014" y="573"/>
                              <a:pt x="4010" y="570"/>
                              <a:pt x="4014" y="569"/>
                            </a:cubicBezTo>
                            <a:cubicBezTo>
                              <a:pt x="4018" y="567"/>
                              <a:pt x="4029" y="565"/>
                              <a:pt x="4040" y="569"/>
                            </a:cubicBezTo>
                            <a:close/>
                            <a:moveTo>
                              <a:pt x="3069" y="335"/>
                            </a:moveTo>
                            <a:cubicBezTo>
                              <a:pt x="3063" y="324"/>
                              <a:pt x="3056" y="319"/>
                              <a:pt x="3043" y="311"/>
                            </a:cubicBezTo>
                            <a:cubicBezTo>
                              <a:pt x="3031" y="303"/>
                              <a:pt x="3031" y="301"/>
                              <a:pt x="3023" y="293"/>
                            </a:cubicBezTo>
                            <a:cubicBezTo>
                              <a:pt x="3015" y="284"/>
                              <a:pt x="3018" y="286"/>
                              <a:pt x="3013" y="282"/>
                            </a:cubicBezTo>
                            <a:cubicBezTo>
                              <a:pt x="3009" y="278"/>
                              <a:pt x="3006" y="278"/>
                              <a:pt x="2995" y="277"/>
                            </a:cubicBezTo>
                            <a:cubicBezTo>
                              <a:pt x="2983" y="276"/>
                              <a:pt x="2971" y="274"/>
                              <a:pt x="2959" y="270"/>
                            </a:cubicBezTo>
                            <a:cubicBezTo>
                              <a:pt x="2948" y="265"/>
                              <a:pt x="2945" y="266"/>
                              <a:pt x="2939" y="267"/>
                            </a:cubicBezTo>
                            <a:cubicBezTo>
                              <a:pt x="2933" y="267"/>
                              <a:pt x="2928" y="271"/>
                              <a:pt x="2918" y="270"/>
                            </a:cubicBezTo>
                            <a:cubicBezTo>
                              <a:pt x="2908" y="270"/>
                              <a:pt x="2898" y="269"/>
                              <a:pt x="2891" y="270"/>
                            </a:cubicBezTo>
                            <a:cubicBezTo>
                              <a:pt x="2883" y="271"/>
                              <a:pt x="2882" y="278"/>
                              <a:pt x="2884" y="281"/>
                            </a:cubicBezTo>
                            <a:cubicBezTo>
                              <a:pt x="2887" y="283"/>
                              <a:pt x="2898" y="281"/>
                              <a:pt x="2910" y="280"/>
                            </a:cubicBezTo>
                            <a:cubicBezTo>
                              <a:pt x="2921" y="280"/>
                              <a:pt x="2923" y="281"/>
                              <a:pt x="2944" y="284"/>
                            </a:cubicBezTo>
                            <a:cubicBezTo>
                              <a:pt x="2965" y="288"/>
                              <a:pt x="2956" y="288"/>
                              <a:pt x="2956" y="296"/>
                            </a:cubicBezTo>
                            <a:cubicBezTo>
                              <a:pt x="2957" y="303"/>
                              <a:pt x="2953" y="305"/>
                              <a:pt x="2943" y="308"/>
                            </a:cubicBezTo>
                            <a:cubicBezTo>
                              <a:pt x="2933" y="310"/>
                              <a:pt x="2927" y="308"/>
                              <a:pt x="2916" y="307"/>
                            </a:cubicBezTo>
                            <a:cubicBezTo>
                              <a:pt x="2906" y="307"/>
                              <a:pt x="2901" y="305"/>
                              <a:pt x="2888" y="302"/>
                            </a:cubicBezTo>
                            <a:cubicBezTo>
                              <a:pt x="2876" y="298"/>
                              <a:pt x="2877" y="302"/>
                              <a:pt x="2867" y="305"/>
                            </a:cubicBezTo>
                            <a:cubicBezTo>
                              <a:pt x="2857" y="309"/>
                              <a:pt x="2856" y="310"/>
                              <a:pt x="2849" y="311"/>
                            </a:cubicBezTo>
                            <a:cubicBezTo>
                              <a:pt x="2842" y="311"/>
                              <a:pt x="2832" y="314"/>
                              <a:pt x="2827" y="318"/>
                            </a:cubicBezTo>
                            <a:cubicBezTo>
                              <a:pt x="2821" y="321"/>
                              <a:pt x="2822" y="327"/>
                              <a:pt x="2825" y="328"/>
                            </a:cubicBezTo>
                            <a:cubicBezTo>
                              <a:pt x="2828" y="330"/>
                              <a:pt x="2828" y="334"/>
                              <a:pt x="2830" y="337"/>
                            </a:cubicBezTo>
                            <a:cubicBezTo>
                              <a:pt x="2831" y="340"/>
                              <a:pt x="2838" y="339"/>
                              <a:pt x="2843" y="340"/>
                            </a:cubicBezTo>
                            <a:cubicBezTo>
                              <a:pt x="2848" y="341"/>
                              <a:pt x="2850" y="347"/>
                              <a:pt x="2863" y="350"/>
                            </a:cubicBezTo>
                            <a:cubicBezTo>
                              <a:pt x="2875" y="352"/>
                              <a:pt x="2879" y="353"/>
                              <a:pt x="2880" y="358"/>
                            </a:cubicBezTo>
                            <a:cubicBezTo>
                              <a:pt x="2882" y="363"/>
                              <a:pt x="2877" y="361"/>
                              <a:pt x="2870" y="363"/>
                            </a:cubicBezTo>
                            <a:cubicBezTo>
                              <a:pt x="2862" y="365"/>
                              <a:pt x="2859" y="364"/>
                              <a:pt x="2849" y="368"/>
                            </a:cubicBezTo>
                            <a:cubicBezTo>
                              <a:pt x="2839" y="371"/>
                              <a:pt x="2835" y="372"/>
                              <a:pt x="2825" y="373"/>
                            </a:cubicBezTo>
                            <a:cubicBezTo>
                              <a:pt x="2815" y="374"/>
                              <a:pt x="2806" y="374"/>
                              <a:pt x="2802" y="376"/>
                            </a:cubicBezTo>
                            <a:cubicBezTo>
                              <a:pt x="2797" y="378"/>
                              <a:pt x="2791" y="381"/>
                              <a:pt x="2791" y="384"/>
                            </a:cubicBezTo>
                            <a:cubicBezTo>
                              <a:pt x="2791" y="388"/>
                              <a:pt x="2787" y="386"/>
                              <a:pt x="2788" y="392"/>
                            </a:cubicBezTo>
                            <a:cubicBezTo>
                              <a:pt x="2788" y="398"/>
                              <a:pt x="2795" y="394"/>
                              <a:pt x="2796" y="399"/>
                            </a:cubicBezTo>
                            <a:cubicBezTo>
                              <a:pt x="2797" y="403"/>
                              <a:pt x="2787" y="404"/>
                              <a:pt x="2780" y="406"/>
                            </a:cubicBezTo>
                            <a:cubicBezTo>
                              <a:pt x="2774" y="408"/>
                              <a:pt x="2772" y="407"/>
                              <a:pt x="2762" y="409"/>
                            </a:cubicBezTo>
                            <a:cubicBezTo>
                              <a:pt x="2752" y="412"/>
                              <a:pt x="2752" y="412"/>
                              <a:pt x="2754" y="418"/>
                            </a:cubicBezTo>
                            <a:cubicBezTo>
                              <a:pt x="2756" y="423"/>
                              <a:pt x="2763" y="421"/>
                              <a:pt x="2770" y="425"/>
                            </a:cubicBezTo>
                            <a:cubicBezTo>
                              <a:pt x="2777" y="429"/>
                              <a:pt x="2780" y="426"/>
                              <a:pt x="2791" y="426"/>
                            </a:cubicBezTo>
                            <a:cubicBezTo>
                              <a:pt x="2803" y="426"/>
                              <a:pt x="2805" y="425"/>
                              <a:pt x="2812" y="422"/>
                            </a:cubicBezTo>
                            <a:cubicBezTo>
                              <a:pt x="2819" y="419"/>
                              <a:pt x="2823" y="423"/>
                              <a:pt x="2824" y="425"/>
                            </a:cubicBezTo>
                            <a:cubicBezTo>
                              <a:pt x="2826" y="427"/>
                              <a:pt x="2820" y="428"/>
                              <a:pt x="2815" y="430"/>
                            </a:cubicBezTo>
                            <a:cubicBezTo>
                              <a:pt x="2811" y="433"/>
                              <a:pt x="2815" y="434"/>
                              <a:pt x="2818" y="436"/>
                            </a:cubicBezTo>
                            <a:cubicBezTo>
                              <a:pt x="2821" y="438"/>
                              <a:pt x="2830" y="436"/>
                              <a:pt x="2845" y="433"/>
                            </a:cubicBezTo>
                            <a:cubicBezTo>
                              <a:pt x="2860" y="430"/>
                              <a:pt x="2861" y="427"/>
                              <a:pt x="2867" y="426"/>
                            </a:cubicBezTo>
                            <a:cubicBezTo>
                              <a:pt x="2874" y="426"/>
                              <a:pt x="2877" y="431"/>
                              <a:pt x="2876" y="435"/>
                            </a:cubicBezTo>
                            <a:cubicBezTo>
                              <a:pt x="2876" y="439"/>
                              <a:pt x="2873" y="439"/>
                              <a:pt x="2866" y="444"/>
                            </a:cubicBezTo>
                            <a:cubicBezTo>
                              <a:pt x="2860" y="448"/>
                              <a:pt x="2866" y="450"/>
                              <a:pt x="2869" y="453"/>
                            </a:cubicBezTo>
                            <a:cubicBezTo>
                              <a:pt x="2872" y="455"/>
                              <a:pt x="2871" y="461"/>
                              <a:pt x="2863" y="459"/>
                            </a:cubicBezTo>
                            <a:cubicBezTo>
                              <a:pt x="2856" y="457"/>
                              <a:pt x="2846" y="459"/>
                              <a:pt x="2836" y="458"/>
                            </a:cubicBezTo>
                            <a:cubicBezTo>
                              <a:pt x="2827" y="456"/>
                              <a:pt x="2818" y="452"/>
                              <a:pt x="2808" y="453"/>
                            </a:cubicBezTo>
                            <a:cubicBezTo>
                              <a:pt x="2798" y="453"/>
                              <a:pt x="2794" y="457"/>
                              <a:pt x="2780" y="460"/>
                            </a:cubicBezTo>
                            <a:cubicBezTo>
                              <a:pt x="2765" y="464"/>
                              <a:pt x="2764" y="457"/>
                              <a:pt x="2753" y="451"/>
                            </a:cubicBezTo>
                            <a:cubicBezTo>
                              <a:pt x="2741" y="445"/>
                              <a:pt x="2741" y="453"/>
                              <a:pt x="2739" y="456"/>
                            </a:cubicBezTo>
                            <a:cubicBezTo>
                              <a:pt x="2736" y="459"/>
                              <a:pt x="2746" y="472"/>
                              <a:pt x="2751" y="482"/>
                            </a:cubicBezTo>
                            <a:cubicBezTo>
                              <a:pt x="2756" y="491"/>
                              <a:pt x="2757" y="485"/>
                              <a:pt x="2771" y="492"/>
                            </a:cubicBezTo>
                            <a:cubicBezTo>
                              <a:pt x="2785" y="500"/>
                              <a:pt x="2781" y="502"/>
                              <a:pt x="2787" y="507"/>
                            </a:cubicBezTo>
                            <a:cubicBezTo>
                              <a:pt x="2792" y="511"/>
                              <a:pt x="2798" y="508"/>
                              <a:pt x="2811" y="509"/>
                            </a:cubicBezTo>
                            <a:cubicBezTo>
                              <a:pt x="2824" y="510"/>
                              <a:pt x="2823" y="509"/>
                              <a:pt x="2841" y="506"/>
                            </a:cubicBezTo>
                            <a:cubicBezTo>
                              <a:pt x="2860" y="502"/>
                              <a:pt x="2855" y="499"/>
                              <a:pt x="2867" y="495"/>
                            </a:cubicBezTo>
                            <a:cubicBezTo>
                              <a:pt x="2880" y="491"/>
                              <a:pt x="2872" y="500"/>
                              <a:pt x="2870" y="504"/>
                            </a:cubicBezTo>
                            <a:cubicBezTo>
                              <a:pt x="2869" y="509"/>
                              <a:pt x="2860" y="513"/>
                              <a:pt x="2847" y="514"/>
                            </a:cubicBezTo>
                            <a:cubicBezTo>
                              <a:pt x="2834" y="516"/>
                              <a:pt x="2838" y="520"/>
                              <a:pt x="2826" y="524"/>
                            </a:cubicBezTo>
                            <a:cubicBezTo>
                              <a:pt x="2814" y="527"/>
                              <a:pt x="2809" y="525"/>
                              <a:pt x="2799" y="528"/>
                            </a:cubicBezTo>
                            <a:cubicBezTo>
                              <a:pt x="2790" y="531"/>
                              <a:pt x="2797" y="532"/>
                              <a:pt x="2800" y="539"/>
                            </a:cubicBezTo>
                            <a:cubicBezTo>
                              <a:pt x="2802" y="545"/>
                              <a:pt x="2807" y="542"/>
                              <a:pt x="2819" y="543"/>
                            </a:cubicBezTo>
                            <a:cubicBezTo>
                              <a:pt x="2831" y="544"/>
                              <a:pt x="2829" y="551"/>
                              <a:pt x="2834" y="555"/>
                            </a:cubicBezTo>
                            <a:cubicBezTo>
                              <a:pt x="2838" y="558"/>
                              <a:pt x="2847" y="554"/>
                              <a:pt x="2857" y="550"/>
                            </a:cubicBezTo>
                            <a:cubicBezTo>
                              <a:pt x="2868" y="546"/>
                              <a:pt x="2869" y="541"/>
                              <a:pt x="2878" y="539"/>
                            </a:cubicBezTo>
                            <a:cubicBezTo>
                              <a:pt x="2887" y="538"/>
                              <a:pt x="2882" y="540"/>
                              <a:pt x="2888" y="542"/>
                            </a:cubicBezTo>
                            <a:cubicBezTo>
                              <a:pt x="2894" y="543"/>
                              <a:pt x="2893" y="549"/>
                              <a:pt x="2894" y="556"/>
                            </a:cubicBezTo>
                            <a:cubicBezTo>
                              <a:pt x="2895" y="563"/>
                              <a:pt x="2898" y="559"/>
                              <a:pt x="2911" y="558"/>
                            </a:cubicBezTo>
                            <a:cubicBezTo>
                              <a:pt x="2924" y="557"/>
                              <a:pt x="2918" y="555"/>
                              <a:pt x="2924" y="547"/>
                            </a:cubicBezTo>
                            <a:cubicBezTo>
                              <a:pt x="2930" y="538"/>
                              <a:pt x="2930" y="542"/>
                              <a:pt x="2941" y="539"/>
                            </a:cubicBezTo>
                            <a:cubicBezTo>
                              <a:pt x="2951" y="536"/>
                              <a:pt x="2943" y="546"/>
                              <a:pt x="2947" y="546"/>
                            </a:cubicBezTo>
                            <a:cubicBezTo>
                              <a:pt x="2951" y="547"/>
                              <a:pt x="2953" y="546"/>
                              <a:pt x="2959" y="542"/>
                            </a:cubicBezTo>
                            <a:cubicBezTo>
                              <a:pt x="2964" y="538"/>
                              <a:pt x="2959" y="535"/>
                              <a:pt x="2961" y="531"/>
                            </a:cubicBezTo>
                            <a:cubicBezTo>
                              <a:pt x="2963" y="527"/>
                              <a:pt x="2967" y="535"/>
                              <a:pt x="2972" y="539"/>
                            </a:cubicBezTo>
                            <a:cubicBezTo>
                              <a:pt x="2978" y="542"/>
                              <a:pt x="2979" y="539"/>
                              <a:pt x="2990" y="537"/>
                            </a:cubicBezTo>
                            <a:cubicBezTo>
                              <a:pt x="3001" y="535"/>
                              <a:pt x="2993" y="539"/>
                              <a:pt x="2994" y="546"/>
                            </a:cubicBezTo>
                            <a:cubicBezTo>
                              <a:pt x="2994" y="553"/>
                              <a:pt x="3002" y="548"/>
                              <a:pt x="3016" y="548"/>
                            </a:cubicBezTo>
                            <a:cubicBezTo>
                              <a:pt x="3030" y="548"/>
                              <a:pt x="3042" y="550"/>
                              <a:pt x="3054" y="548"/>
                            </a:cubicBezTo>
                            <a:cubicBezTo>
                              <a:pt x="3067" y="545"/>
                              <a:pt x="3072" y="547"/>
                              <a:pt x="3072" y="550"/>
                            </a:cubicBezTo>
                            <a:cubicBezTo>
                              <a:pt x="3073" y="553"/>
                              <a:pt x="3067" y="553"/>
                              <a:pt x="3053" y="555"/>
                            </a:cubicBezTo>
                            <a:cubicBezTo>
                              <a:pt x="3038" y="557"/>
                              <a:pt x="3038" y="555"/>
                              <a:pt x="3025" y="556"/>
                            </a:cubicBezTo>
                            <a:cubicBezTo>
                              <a:pt x="3013" y="558"/>
                              <a:pt x="3012" y="561"/>
                              <a:pt x="3003" y="561"/>
                            </a:cubicBezTo>
                            <a:cubicBezTo>
                              <a:pt x="2994" y="561"/>
                              <a:pt x="2991" y="563"/>
                              <a:pt x="2989" y="566"/>
                            </a:cubicBezTo>
                            <a:cubicBezTo>
                              <a:pt x="2987" y="570"/>
                              <a:pt x="3009" y="569"/>
                              <a:pt x="3026" y="569"/>
                            </a:cubicBezTo>
                            <a:cubicBezTo>
                              <a:pt x="3044" y="569"/>
                              <a:pt x="3046" y="569"/>
                              <a:pt x="3062" y="568"/>
                            </a:cubicBezTo>
                            <a:cubicBezTo>
                              <a:pt x="3078" y="566"/>
                              <a:pt x="3072" y="568"/>
                              <a:pt x="3072" y="570"/>
                            </a:cubicBezTo>
                            <a:cubicBezTo>
                              <a:pt x="3072" y="573"/>
                              <a:pt x="3062" y="576"/>
                              <a:pt x="3040" y="578"/>
                            </a:cubicBezTo>
                            <a:cubicBezTo>
                              <a:pt x="3018" y="581"/>
                              <a:pt x="3024" y="582"/>
                              <a:pt x="3010" y="583"/>
                            </a:cubicBezTo>
                            <a:cubicBezTo>
                              <a:pt x="2996" y="583"/>
                              <a:pt x="2985" y="581"/>
                              <a:pt x="2967" y="576"/>
                            </a:cubicBezTo>
                            <a:cubicBezTo>
                              <a:pt x="2949" y="571"/>
                              <a:pt x="2951" y="576"/>
                              <a:pt x="2942" y="579"/>
                            </a:cubicBezTo>
                            <a:cubicBezTo>
                              <a:pt x="2934" y="581"/>
                              <a:pt x="2931" y="585"/>
                              <a:pt x="2920" y="590"/>
                            </a:cubicBezTo>
                            <a:cubicBezTo>
                              <a:pt x="2909" y="594"/>
                              <a:pt x="2909" y="594"/>
                              <a:pt x="2901" y="596"/>
                            </a:cubicBezTo>
                            <a:cubicBezTo>
                              <a:pt x="2894" y="598"/>
                              <a:pt x="2891" y="601"/>
                              <a:pt x="2890" y="603"/>
                            </a:cubicBezTo>
                            <a:cubicBezTo>
                              <a:pt x="2890" y="606"/>
                              <a:pt x="2898" y="610"/>
                              <a:pt x="2901" y="613"/>
                            </a:cubicBezTo>
                            <a:cubicBezTo>
                              <a:pt x="2905" y="616"/>
                              <a:pt x="2907" y="620"/>
                              <a:pt x="2918" y="622"/>
                            </a:cubicBezTo>
                            <a:cubicBezTo>
                              <a:pt x="2930" y="624"/>
                              <a:pt x="2934" y="623"/>
                              <a:pt x="2942" y="625"/>
                            </a:cubicBezTo>
                            <a:cubicBezTo>
                              <a:pt x="2950" y="626"/>
                              <a:pt x="2946" y="628"/>
                              <a:pt x="2954" y="630"/>
                            </a:cubicBezTo>
                            <a:cubicBezTo>
                              <a:pt x="2962" y="631"/>
                              <a:pt x="2959" y="632"/>
                              <a:pt x="2957" y="634"/>
                            </a:cubicBezTo>
                            <a:cubicBezTo>
                              <a:pt x="2955" y="637"/>
                              <a:pt x="2942" y="636"/>
                              <a:pt x="2935" y="635"/>
                            </a:cubicBezTo>
                            <a:cubicBezTo>
                              <a:pt x="2928" y="635"/>
                              <a:pt x="2918" y="636"/>
                              <a:pt x="2924" y="639"/>
                            </a:cubicBezTo>
                            <a:cubicBezTo>
                              <a:pt x="2931" y="642"/>
                              <a:pt x="2944" y="653"/>
                              <a:pt x="2953" y="654"/>
                            </a:cubicBezTo>
                            <a:cubicBezTo>
                              <a:pt x="2961" y="656"/>
                              <a:pt x="2966" y="648"/>
                              <a:pt x="2977" y="645"/>
                            </a:cubicBezTo>
                            <a:cubicBezTo>
                              <a:pt x="2987" y="642"/>
                              <a:pt x="2989" y="647"/>
                              <a:pt x="2999" y="654"/>
                            </a:cubicBezTo>
                            <a:cubicBezTo>
                              <a:pt x="3008" y="661"/>
                              <a:pt x="3012" y="656"/>
                              <a:pt x="3024" y="660"/>
                            </a:cubicBezTo>
                            <a:cubicBezTo>
                              <a:pt x="3037" y="663"/>
                              <a:pt x="3040" y="661"/>
                              <a:pt x="3038" y="666"/>
                            </a:cubicBezTo>
                            <a:cubicBezTo>
                              <a:pt x="3036" y="670"/>
                              <a:pt x="3031" y="666"/>
                              <a:pt x="3021" y="667"/>
                            </a:cubicBezTo>
                            <a:cubicBezTo>
                              <a:pt x="3011" y="667"/>
                              <a:pt x="3016" y="670"/>
                              <a:pt x="2999" y="670"/>
                            </a:cubicBezTo>
                            <a:cubicBezTo>
                              <a:pt x="2982" y="670"/>
                              <a:pt x="2989" y="671"/>
                              <a:pt x="2982" y="671"/>
                            </a:cubicBezTo>
                            <a:cubicBezTo>
                              <a:pt x="2974" y="671"/>
                              <a:pt x="2966" y="670"/>
                              <a:pt x="2969" y="675"/>
                            </a:cubicBezTo>
                            <a:cubicBezTo>
                              <a:pt x="2971" y="680"/>
                              <a:pt x="2982" y="684"/>
                              <a:pt x="2990" y="686"/>
                            </a:cubicBezTo>
                            <a:cubicBezTo>
                              <a:pt x="2998" y="689"/>
                              <a:pt x="3008" y="694"/>
                              <a:pt x="3015" y="701"/>
                            </a:cubicBezTo>
                            <a:cubicBezTo>
                              <a:pt x="3022" y="708"/>
                              <a:pt x="3024" y="704"/>
                              <a:pt x="3033" y="703"/>
                            </a:cubicBezTo>
                            <a:cubicBezTo>
                              <a:pt x="3042" y="703"/>
                              <a:pt x="3044" y="703"/>
                              <a:pt x="3046" y="704"/>
                            </a:cubicBezTo>
                            <a:cubicBezTo>
                              <a:pt x="3048" y="706"/>
                              <a:pt x="3056" y="707"/>
                              <a:pt x="3063" y="710"/>
                            </a:cubicBezTo>
                            <a:cubicBezTo>
                              <a:pt x="3070" y="712"/>
                              <a:pt x="3091" y="712"/>
                              <a:pt x="3104" y="712"/>
                            </a:cubicBezTo>
                            <a:cubicBezTo>
                              <a:pt x="3116" y="712"/>
                              <a:pt x="3125" y="712"/>
                              <a:pt x="3129" y="712"/>
                            </a:cubicBezTo>
                            <a:cubicBezTo>
                              <a:pt x="3132" y="711"/>
                              <a:pt x="3132" y="705"/>
                              <a:pt x="3131" y="702"/>
                            </a:cubicBezTo>
                            <a:cubicBezTo>
                              <a:pt x="3130" y="699"/>
                              <a:pt x="3125" y="698"/>
                              <a:pt x="3121" y="697"/>
                            </a:cubicBezTo>
                            <a:cubicBezTo>
                              <a:pt x="3117" y="697"/>
                              <a:pt x="3110" y="694"/>
                              <a:pt x="3110" y="691"/>
                            </a:cubicBezTo>
                            <a:cubicBezTo>
                              <a:pt x="3110" y="687"/>
                              <a:pt x="3118" y="689"/>
                              <a:pt x="3122" y="689"/>
                            </a:cubicBezTo>
                            <a:cubicBezTo>
                              <a:pt x="3127" y="688"/>
                              <a:pt x="3138" y="691"/>
                              <a:pt x="3141" y="694"/>
                            </a:cubicBezTo>
                            <a:cubicBezTo>
                              <a:pt x="3144" y="697"/>
                              <a:pt x="3153" y="702"/>
                              <a:pt x="3161" y="705"/>
                            </a:cubicBezTo>
                            <a:cubicBezTo>
                              <a:pt x="3168" y="707"/>
                              <a:pt x="3175" y="713"/>
                              <a:pt x="3180" y="714"/>
                            </a:cubicBezTo>
                            <a:cubicBezTo>
                              <a:pt x="3185" y="716"/>
                              <a:pt x="3179" y="708"/>
                              <a:pt x="3177" y="704"/>
                            </a:cubicBezTo>
                            <a:cubicBezTo>
                              <a:pt x="3175" y="699"/>
                              <a:pt x="3168" y="696"/>
                              <a:pt x="3168" y="688"/>
                            </a:cubicBezTo>
                            <a:cubicBezTo>
                              <a:pt x="3167" y="680"/>
                              <a:pt x="3159" y="680"/>
                              <a:pt x="3153" y="675"/>
                            </a:cubicBezTo>
                            <a:cubicBezTo>
                              <a:pt x="3147" y="670"/>
                              <a:pt x="3146" y="667"/>
                              <a:pt x="3146" y="665"/>
                            </a:cubicBezTo>
                            <a:cubicBezTo>
                              <a:pt x="3147" y="663"/>
                              <a:pt x="3150" y="661"/>
                              <a:pt x="3152" y="661"/>
                            </a:cubicBezTo>
                            <a:cubicBezTo>
                              <a:pt x="3154" y="660"/>
                              <a:pt x="3168" y="671"/>
                              <a:pt x="3172" y="677"/>
                            </a:cubicBezTo>
                            <a:cubicBezTo>
                              <a:pt x="3176" y="683"/>
                              <a:pt x="3183" y="691"/>
                              <a:pt x="3189" y="694"/>
                            </a:cubicBezTo>
                            <a:cubicBezTo>
                              <a:pt x="3196" y="697"/>
                              <a:pt x="3207" y="706"/>
                              <a:pt x="3210" y="707"/>
                            </a:cubicBezTo>
                            <a:cubicBezTo>
                              <a:pt x="3213" y="709"/>
                              <a:pt x="3220" y="713"/>
                              <a:pt x="3221" y="711"/>
                            </a:cubicBezTo>
                            <a:cubicBezTo>
                              <a:pt x="3222" y="710"/>
                              <a:pt x="3225" y="704"/>
                              <a:pt x="3227" y="695"/>
                            </a:cubicBezTo>
                            <a:cubicBezTo>
                              <a:pt x="3228" y="686"/>
                              <a:pt x="3237" y="685"/>
                              <a:pt x="3241" y="682"/>
                            </a:cubicBezTo>
                            <a:cubicBezTo>
                              <a:pt x="3245" y="679"/>
                              <a:pt x="3239" y="675"/>
                              <a:pt x="3236" y="671"/>
                            </a:cubicBezTo>
                            <a:cubicBezTo>
                              <a:pt x="3232" y="667"/>
                              <a:pt x="3228" y="660"/>
                              <a:pt x="3232" y="655"/>
                            </a:cubicBezTo>
                            <a:cubicBezTo>
                              <a:pt x="3235" y="650"/>
                              <a:pt x="3239" y="656"/>
                              <a:pt x="3242" y="657"/>
                            </a:cubicBezTo>
                            <a:cubicBezTo>
                              <a:pt x="3244" y="658"/>
                              <a:pt x="3256" y="670"/>
                              <a:pt x="3258" y="669"/>
                            </a:cubicBezTo>
                            <a:cubicBezTo>
                              <a:pt x="3259" y="667"/>
                              <a:pt x="3266" y="666"/>
                              <a:pt x="3272" y="663"/>
                            </a:cubicBezTo>
                            <a:cubicBezTo>
                              <a:pt x="3278" y="661"/>
                              <a:pt x="3278" y="658"/>
                              <a:pt x="3277" y="655"/>
                            </a:cubicBezTo>
                            <a:cubicBezTo>
                              <a:pt x="3276" y="652"/>
                              <a:pt x="3271" y="646"/>
                              <a:pt x="3264" y="647"/>
                            </a:cubicBezTo>
                            <a:cubicBezTo>
                              <a:pt x="3258" y="648"/>
                              <a:pt x="3256" y="647"/>
                              <a:pt x="3254" y="642"/>
                            </a:cubicBezTo>
                            <a:cubicBezTo>
                              <a:pt x="3253" y="636"/>
                              <a:pt x="3259" y="639"/>
                              <a:pt x="3264" y="637"/>
                            </a:cubicBezTo>
                            <a:cubicBezTo>
                              <a:pt x="3268" y="636"/>
                              <a:pt x="3264" y="633"/>
                              <a:pt x="3261" y="624"/>
                            </a:cubicBezTo>
                            <a:cubicBezTo>
                              <a:pt x="3259" y="614"/>
                              <a:pt x="3261" y="613"/>
                              <a:pt x="3264" y="603"/>
                            </a:cubicBezTo>
                            <a:cubicBezTo>
                              <a:pt x="3267" y="593"/>
                              <a:pt x="3275" y="595"/>
                              <a:pt x="3285" y="594"/>
                            </a:cubicBezTo>
                            <a:cubicBezTo>
                              <a:pt x="3294" y="593"/>
                              <a:pt x="3288" y="597"/>
                              <a:pt x="3285" y="603"/>
                            </a:cubicBezTo>
                            <a:cubicBezTo>
                              <a:pt x="3282" y="608"/>
                              <a:pt x="3283" y="609"/>
                              <a:pt x="3287" y="619"/>
                            </a:cubicBezTo>
                            <a:cubicBezTo>
                              <a:pt x="3290" y="629"/>
                              <a:pt x="3298" y="643"/>
                              <a:pt x="3299" y="643"/>
                            </a:cubicBezTo>
                            <a:cubicBezTo>
                              <a:pt x="3300" y="643"/>
                              <a:pt x="3306" y="633"/>
                              <a:pt x="3313" y="631"/>
                            </a:cubicBezTo>
                            <a:cubicBezTo>
                              <a:pt x="3321" y="629"/>
                              <a:pt x="3334" y="619"/>
                              <a:pt x="3333" y="615"/>
                            </a:cubicBezTo>
                            <a:cubicBezTo>
                              <a:pt x="3332" y="611"/>
                              <a:pt x="3332" y="603"/>
                              <a:pt x="3336" y="601"/>
                            </a:cubicBezTo>
                            <a:cubicBezTo>
                              <a:pt x="3340" y="598"/>
                              <a:pt x="3353" y="605"/>
                              <a:pt x="3358" y="604"/>
                            </a:cubicBezTo>
                            <a:cubicBezTo>
                              <a:pt x="3364" y="603"/>
                              <a:pt x="3364" y="597"/>
                              <a:pt x="3364" y="592"/>
                            </a:cubicBezTo>
                            <a:cubicBezTo>
                              <a:pt x="3364" y="586"/>
                              <a:pt x="3378" y="585"/>
                              <a:pt x="3392" y="581"/>
                            </a:cubicBezTo>
                            <a:cubicBezTo>
                              <a:pt x="3407" y="578"/>
                              <a:pt x="3413" y="581"/>
                              <a:pt x="3424" y="579"/>
                            </a:cubicBezTo>
                            <a:cubicBezTo>
                              <a:pt x="3434" y="578"/>
                              <a:pt x="3440" y="572"/>
                              <a:pt x="3448" y="569"/>
                            </a:cubicBezTo>
                            <a:cubicBezTo>
                              <a:pt x="3455" y="566"/>
                              <a:pt x="3459" y="566"/>
                              <a:pt x="3463" y="560"/>
                            </a:cubicBezTo>
                            <a:cubicBezTo>
                              <a:pt x="3466" y="554"/>
                              <a:pt x="3461" y="553"/>
                              <a:pt x="3456" y="548"/>
                            </a:cubicBezTo>
                            <a:cubicBezTo>
                              <a:pt x="3452" y="544"/>
                              <a:pt x="3442" y="537"/>
                              <a:pt x="3435" y="535"/>
                            </a:cubicBezTo>
                            <a:cubicBezTo>
                              <a:pt x="3427" y="532"/>
                              <a:pt x="3428" y="527"/>
                              <a:pt x="3421" y="521"/>
                            </a:cubicBezTo>
                            <a:cubicBezTo>
                              <a:pt x="3414" y="515"/>
                              <a:pt x="3413" y="518"/>
                              <a:pt x="3410" y="518"/>
                            </a:cubicBezTo>
                            <a:cubicBezTo>
                              <a:pt x="3407" y="519"/>
                              <a:pt x="3405" y="527"/>
                              <a:pt x="3404" y="532"/>
                            </a:cubicBezTo>
                            <a:cubicBezTo>
                              <a:pt x="3402" y="536"/>
                              <a:pt x="3396" y="537"/>
                              <a:pt x="3393" y="534"/>
                            </a:cubicBezTo>
                            <a:cubicBezTo>
                              <a:pt x="3390" y="530"/>
                              <a:pt x="3392" y="521"/>
                              <a:pt x="3390" y="519"/>
                            </a:cubicBezTo>
                            <a:cubicBezTo>
                              <a:pt x="3388" y="517"/>
                              <a:pt x="3380" y="514"/>
                              <a:pt x="3374" y="512"/>
                            </a:cubicBezTo>
                            <a:cubicBezTo>
                              <a:pt x="3368" y="511"/>
                              <a:pt x="3359" y="512"/>
                              <a:pt x="3356" y="514"/>
                            </a:cubicBezTo>
                            <a:cubicBezTo>
                              <a:pt x="3352" y="516"/>
                              <a:pt x="3353" y="524"/>
                              <a:pt x="3348" y="523"/>
                            </a:cubicBezTo>
                            <a:cubicBezTo>
                              <a:pt x="3344" y="522"/>
                              <a:pt x="3339" y="519"/>
                              <a:pt x="3333" y="518"/>
                            </a:cubicBezTo>
                            <a:cubicBezTo>
                              <a:pt x="3328" y="517"/>
                              <a:pt x="3325" y="521"/>
                              <a:pt x="3319" y="527"/>
                            </a:cubicBezTo>
                            <a:cubicBezTo>
                              <a:pt x="3314" y="532"/>
                              <a:pt x="3311" y="526"/>
                              <a:pt x="3308" y="522"/>
                            </a:cubicBezTo>
                            <a:cubicBezTo>
                              <a:pt x="3306" y="517"/>
                              <a:pt x="3311" y="518"/>
                              <a:pt x="3319" y="512"/>
                            </a:cubicBezTo>
                            <a:cubicBezTo>
                              <a:pt x="3326" y="507"/>
                              <a:pt x="3326" y="506"/>
                              <a:pt x="3328" y="499"/>
                            </a:cubicBezTo>
                            <a:cubicBezTo>
                              <a:pt x="3329" y="492"/>
                              <a:pt x="3333" y="491"/>
                              <a:pt x="3337" y="488"/>
                            </a:cubicBezTo>
                            <a:cubicBezTo>
                              <a:pt x="3342" y="485"/>
                              <a:pt x="3338" y="481"/>
                              <a:pt x="3331" y="479"/>
                            </a:cubicBezTo>
                            <a:cubicBezTo>
                              <a:pt x="3323" y="477"/>
                              <a:pt x="3323" y="480"/>
                              <a:pt x="3317" y="482"/>
                            </a:cubicBezTo>
                            <a:cubicBezTo>
                              <a:pt x="3311" y="484"/>
                              <a:pt x="3310" y="484"/>
                              <a:pt x="3307" y="482"/>
                            </a:cubicBezTo>
                            <a:cubicBezTo>
                              <a:pt x="3304" y="481"/>
                              <a:pt x="3308" y="477"/>
                              <a:pt x="3310" y="474"/>
                            </a:cubicBezTo>
                            <a:cubicBezTo>
                              <a:pt x="3311" y="471"/>
                              <a:pt x="3316" y="470"/>
                              <a:pt x="3321" y="469"/>
                            </a:cubicBezTo>
                            <a:cubicBezTo>
                              <a:pt x="3326" y="467"/>
                              <a:pt x="3330" y="463"/>
                              <a:pt x="3329" y="456"/>
                            </a:cubicBezTo>
                            <a:cubicBezTo>
                              <a:pt x="3329" y="450"/>
                              <a:pt x="3322" y="449"/>
                              <a:pt x="3316" y="448"/>
                            </a:cubicBezTo>
                            <a:cubicBezTo>
                              <a:pt x="3310" y="446"/>
                              <a:pt x="3307" y="448"/>
                              <a:pt x="3297" y="448"/>
                            </a:cubicBezTo>
                            <a:cubicBezTo>
                              <a:pt x="3287" y="448"/>
                              <a:pt x="3288" y="451"/>
                              <a:pt x="3279" y="451"/>
                            </a:cubicBezTo>
                            <a:cubicBezTo>
                              <a:pt x="3269" y="451"/>
                              <a:pt x="3272" y="448"/>
                              <a:pt x="3272" y="440"/>
                            </a:cubicBezTo>
                            <a:cubicBezTo>
                              <a:pt x="3273" y="433"/>
                              <a:pt x="3284" y="434"/>
                              <a:pt x="3291" y="431"/>
                            </a:cubicBezTo>
                            <a:cubicBezTo>
                              <a:pt x="3299" y="428"/>
                              <a:pt x="3298" y="423"/>
                              <a:pt x="3298" y="414"/>
                            </a:cubicBezTo>
                            <a:cubicBezTo>
                              <a:pt x="3298" y="406"/>
                              <a:pt x="3295" y="404"/>
                              <a:pt x="3289" y="402"/>
                            </a:cubicBezTo>
                            <a:cubicBezTo>
                              <a:pt x="3283" y="399"/>
                              <a:pt x="3281" y="402"/>
                              <a:pt x="3266" y="401"/>
                            </a:cubicBezTo>
                            <a:cubicBezTo>
                              <a:pt x="3251" y="401"/>
                              <a:pt x="3251" y="400"/>
                              <a:pt x="3245" y="400"/>
                            </a:cubicBezTo>
                            <a:cubicBezTo>
                              <a:pt x="3239" y="400"/>
                              <a:pt x="3237" y="403"/>
                              <a:pt x="3236" y="408"/>
                            </a:cubicBezTo>
                            <a:cubicBezTo>
                              <a:pt x="3235" y="413"/>
                              <a:pt x="3241" y="418"/>
                              <a:pt x="3246" y="425"/>
                            </a:cubicBezTo>
                            <a:cubicBezTo>
                              <a:pt x="3252" y="433"/>
                              <a:pt x="3256" y="434"/>
                              <a:pt x="3257" y="439"/>
                            </a:cubicBezTo>
                            <a:cubicBezTo>
                              <a:pt x="3259" y="443"/>
                              <a:pt x="3257" y="443"/>
                              <a:pt x="3250" y="441"/>
                            </a:cubicBezTo>
                            <a:cubicBezTo>
                              <a:pt x="3243" y="439"/>
                              <a:pt x="3244" y="442"/>
                              <a:pt x="3238" y="446"/>
                            </a:cubicBezTo>
                            <a:cubicBezTo>
                              <a:pt x="3232" y="450"/>
                              <a:pt x="3229" y="443"/>
                              <a:pt x="3219" y="439"/>
                            </a:cubicBezTo>
                            <a:cubicBezTo>
                              <a:pt x="3209" y="434"/>
                              <a:pt x="3205" y="433"/>
                              <a:pt x="3199" y="428"/>
                            </a:cubicBezTo>
                            <a:cubicBezTo>
                              <a:pt x="3192" y="422"/>
                              <a:pt x="3196" y="420"/>
                              <a:pt x="3199" y="417"/>
                            </a:cubicBezTo>
                            <a:cubicBezTo>
                              <a:pt x="3203" y="415"/>
                              <a:pt x="3205" y="409"/>
                              <a:pt x="3204" y="400"/>
                            </a:cubicBezTo>
                            <a:cubicBezTo>
                              <a:pt x="3203" y="390"/>
                              <a:pt x="3200" y="393"/>
                              <a:pt x="3194" y="389"/>
                            </a:cubicBezTo>
                            <a:cubicBezTo>
                              <a:pt x="3188" y="386"/>
                              <a:pt x="3176" y="385"/>
                              <a:pt x="3172" y="391"/>
                            </a:cubicBezTo>
                            <a:cubicBezTo>
                              <a:pt x="3167" y="397"/>
                              <a:pt x="3165" y="395"/>
                              <a:pt x="3159" y="392"/>
                            </a:cubicBezTo>
                            <a:cubicBezTo>
                              <a:pt x="3153" y="389"/>
                              <a:pt x="3151" y="386"/>
                              <a:pt x="3138" y="382"/>
                            </a:cubicBezTo>
                            <a:cubicBezTo>
                              <a:pt x="3125" y="378"/>
                              <a:pt x="3122" y="380"/>
                              <a:pt x="3112" y="380"/>
                            </a:cubicBezTo>
                            <a:cubicBezTo>
                              <a:pt x="3101" y="380"/>
                              <a:pt x="3102" y="379"/>
                              <a:pt x="3098" y="374"/>
                            </a:cubicBezTo>
                            <a:cubicBezTo>
                              <a:pt x="3095" y="368"/>
                              <a:pt x="3094" y="366"/>
                              <a:pt x="3087" y="358"/>
                            </a:cubicBezTo>
                            <a:cubicBezTo>
                              <a:pt x="3081" y="351"/>
                              <a:pt x="3079" y="348"/>
                              <a:pt x="3069" y="335"/>
                            </a:cubicBezTo>
                            <a:close/>
                            <a:moveTo>
                              <a:pt x="3125" y="784"/>
                            </a:moveTo>
                            <a:cubicBezTo>
                              <a:pt x="3139" y="791"/>
                              <a:pt x="3137" y="794"/>
                              <a:pt x="3150" y="798"/>
                            </a:cubicBezTo>
                            <a:cubicBezTo>
                              <a:pt x="3164" y="803"/>
                              <a:pt x="3164" y="799"/>
                              <a:pt x="3166" y="809"/>
                            </a:cubicBezTo>
                            <a:cubicBezTo>
                              <a:pt x="3168" y="820"/>
                              <a:pt x="3169" y="821"/>
                              <a:pt x="3159" y="826"/>
                            </a:cubicBezTo>
                            <a:cubicBezTo>
                              <a:pt x="3150" y="830"/>
                              <a:pt x="3140" y="832"/>
                              <a:pt x="3134" y="835"/>
                            </a:cubicBezTo>
                            <a:cubicBezTo>
                              <a:pt x="3129" y="838"/>
                              <a:pt x="3109" y="825"/>
                              <a:pt x="3098" y="824"/>
                            </a:cubicBezTo>
                            <a:cubicBezTo>
                              <a:pt x="3087" y="823"/>
                              <a:pt x="3078" y="819"/>
                              <a:pt x="3078" y="812"/>
                            </a:cubicBezTo>
                            <a:cubicBezTo>
                              <a:pt x="3077" y="805"/>
                              <a:pt x="3071" y="794"/>
                              <a:pt x="3081" y="790"/>
                            </a:cubicBezTo>
                            <a:cubicBezTo>
                              <a:pt x="3092" y="786"/>
                              <a:pt x="3090" y="782"/>
                              <a:pt x="3104" y="782"/>
                            </a:cubicBezTo>
                            <a:cubicBezTo>
                              <a:pt x="3119" y="782"/>
                              <a:pt x="3118" y="779"/>
                              <a:pt x="3125" y="784"/>
                            </a:cubicBezTo>
                            <a:close/>
                            <a:moveTo>
                              <a:pt x="3122" y="903"/>
                            </a:moveTo>
                            <a:cubicBezTo>
                              <a:pt x="3131" y="911"/>
                              <a:pt x="3130" y="910"/>
                              <a:pt x="3137" y="918"/>
                            </a:cubicBezTo>
                            <a:cubicBezTo>
                              <a:pt x="3143" y="925"/>
                              <a:pt x="3147" y="932"/>
                              <a:pt x="3154" y="932"/>
                            </a:cubicBezTo>
                            <a:cubicBezTo>
                              <a:pt x="3161" y="932"/>
                              <a:pt x="3170" y="933"/>
                              <a:pt x="3168" y="928"/>
                            </a:cubicBezTo>
                            <a:cubicBezTo>
                              <a:pt x="3167" y="923"/>
                              <a:pt x="3159" y="923"/>
                              <a:pt x="3161" y="917"/>
                            </a:cubicBezTo>
                            <a:cubicBezTo>
                              <a:pt x="3163" y="911"/>
                              <a:pt x="3167" y="915"/>
                              <a:pt x="3167" y="907"/>
                            </a:cubicBezTo>
                            <a:cubicBezTo>
                              <a:pt x="3166" y="900"/>
                              <a:pt x="3161" y="896"/>
                              <a:pt x="3154" y="892"/>
                            </a:cubicBezTo>
                            <a:cubicBezTo>
                              <a:pt x="3147" y="889"/>
                              <a:pt x="3140" y="889"/>
                              <a:pt x="3133" y="890"/>
                            </a:cubicBezTo>
                            <a:cubicBezTo>
                              <a:pt x="3125" y="890"/>
                              <a:pt x="3113" y="894"/>
                              <a:pt x="3122" y="903"/>
                            </a:cubicBezTo>
                            <a:close/>
                            <a:moveTo>
                              <a:pt x="2871" y="765"/>
                            </a:moveTo>
                            <a:cubicBezTo>
                              <a:pt x="2860" y="762"/>
                              <a:pt x="2853" y="765"/>
                              <a:pt x="2847" y="767"/>
                            </a:cubicBezTo>
                            <a:cubicBezTo>
                              <a:pt x="2840" y="768"/>
                              <a:pt x="2832" y="769"/>
                              <a:pt x="2823" y="767"/>
                            </a:cubicBezTo>
                            <a:cubicBezTo>
                              <a:pt x="2814" y="765"/>
                              <a:pt x="2813" y="764"/>
                              <a:pt x="2802" y="765"/>
                            </a:cubicBezTo>
                            <a:cubicBezTo>
                              <a:pt x="2791" y="765"/>
                              <a:pt x="2790" y="772"/>
                              <a:pt x="2780" y="773"/>
                            </a:cubicBezTo>
                            <a:cubicBezTo>
                              <a:pt x="2770" y="775"/>
                              <a:pt x="2762" y="778"/>
                              <a:pt x="2762" y="785"/>
                            </a:cubicBezTo>
                            <a:cubicBezTo>
                              <a:pt x="2763" y="792"/>
                              <a:pt x="2768" y="796"/>
                              <a:pt x="2776" y="801"/>
                            </a:cubicBezTo>
                            <a:cubicBezTo>
                              <a:pt x="2784" y="806"/>
                              <a:pt x="2791" y="804"/>
                              <a:pt x="2803" y="804"/>
                            </a:cubicBezTo>
                            <a:cubicBezTo>
                              <a:pt x="2814" y="804"/>
                              <a:pt x="2830" y="807"/>
                              <a:pt x="2845" y="805"/>
                            </a:cubicBezTo>
                            <a:cubicBezTo>
                              <a:pt x="2859" y="803"/>
                              <a:pt x="2862" y="804"/>
                              <a:pt x="2885" y="804"/>
                            </a:cubicBezTo>
                            <a:cubicBezTo>
                              <a:pt x="2908" y="804"/>
                              <a:pt x="2904" y="807"/>
                              <a:pt x="2916" y="807"/>
                            </a:cubicBezTo>
                            <a:cubicBezTo>
                              <a:pt x="2928" y="807"/>
                              <a:pt x="2926" y="801"/>
                              <a:pt x="2933" y="794"/>
                            </a:cubicBezTo>
                            <a:cubicBezTo>
                              <a:pt x="2940" y="786"/>
                              <a:pt x="2947" y="784"/>
                              <a:pt x="2950" y="777"/>
                            </a:cubicBezTo>
                            <a:cubicBezTo>
                              <a:pt x="2954" y="769"/>
                              <a:pt x="2947" y="774"/>
                              <a:pt x="2938" y="770"/>
                            </a:cubicBezTo>
                            <a:cubicBezTo>
                              <a:pt x="2929" y="766"/>
                              <a:pt x="2926" y="765"/>
                              <a:pt x="2917" y="767"/>
                            </a:cubicBezTo>
                            <a:cubicBezTo>
                              <a:pt x="2909" y="768"/>
                              <a:pt x="2909" y="771"/>
                              <a:pt x="2901" y="773"/>
                            </a:cubicBezTo>
                            <a:cubicBezTo>
                              <a:pt x="2893" y="774"/>
                              <a:pt x="2889" y="769"/>
                              <a:pt x="2871" y="765"/>
                            </a:cubicBezTo>
                            <a:close/>
                            <a:moveTo>
                              <a:pt x="2703" y="633"/>
                            </a:moveTo>
                            <a:cubicBezTo>
                              <a:pt x="2724" y="633"/>
                              <a:pt x="2733" y="630"/>
                              <a:pt x="2745" y="638"/>
                            </a:cubicBezTo>
                            <a:cubicBezTo>
                              <a:pt x="2757" y="647"/>
                              <a:pt x="2766" y="640"/>
                              <a:pt x="2769" y="652"/>
                            </a:cubicBezTo>
                            <a:cubicBezTo>
                              <a:pt x="2772" y="664"/>
                              <a:pt x="2775" y="669"/>
                              <a:pt x="2785" y="669"/>
                            </a:cubicBezTo>
                            <a:cubicBezTo>
                              <a:pt x="2795" y="669"/>
                              <a:pt x="2794" y="665"/>
                              <a:pt x="2805" y="668"/>
                            </a:cubicBezTo>
                            <a:cubicBezTo>
                              <a:pt x="2817" y="671"/>
                              <a:pt x="2818" y="675"/>
                              <a:pt x="2828" y="678"/>
                            </a:cubicBezTo>
                            <a:cubicBezTo>
                              <a:pt x="2839" y="682"/>
                              <a:pt x="2845" y="678"/>
                              <a:pt x="2847" y="684"/>
                            </a:cubicBezTo>
                            <a:cubicBezTo>
                              <a:pt x="2848" y="690"/>
                              <a:pt x="2838" y="700"/>
                              <a:pt x="2837" y="704"/>
                            </a:cubicBezTo>
                            <a:cubicBezTo>
                              <a:pt x="2836" y="709"/>
                              <a:pt x="2840" y="712"/>
                              <a:pt x="2844" y="716"/>
                            </a:cubicBezTo>
                            <a:cubicBezTo>
                              <a:pt x="2849" y="720"/>
                              <a:pt x="2847" y="736"/>
                              <a:pt x="2841" y="737"/>
                            </a:cubicBezTo>
                            <a:cubicBezTo>
                              <a:pt x="2835" y="739"/>
                              <a:pt x="2812" y="738"/>
                              <a:pt x="2805" y="739"/>
                            </a:cubicBezTo>
                            <a:cubicBezTo>
                              <a:pt x="2799" y="740"/>
                              <a:pt x="2786" y="744"/>
                              <a:pt x="2777" y="748"/>
                            </a:cubicBezTo>
                            <a:cubicBezTo>
                              <a:pt x="2767" y="751"/>
                              <a:pt x="2750" y="752"/>
                              <a:pt x="2741" y="757"/>
                            </a:cubicBezTo>
                            <a:cubicBezTo>
                              <a:pt x="2733" y="761"/>
                              <a:pt x="2719" y="766"/>
                              <a:pt x="2715" y="762"/>
                            </a:cubicBezTo>
                            <a:cubicBezTo>
                              <a:pt x="2710" y="758"/>
                              <a:pt x="2714" y="747"/>
                              <a:pt x="2706" y="743"/>
                            </a:cubicBezTo>
                            <a:cubicBezTo>
                              <a:pt x="2697" y="739"/>
                              <a:pt x="2690" y="740"/>
                              <a:pt x="2684" y="737"/>
                            </a:cubicBezTo>
                            <a:cubicBezTo>
                              <a:pt x="2678" y="733"/>
                              <a:pt x="2675" y="722"/>
                              <a:pt x="2683" y="722"/>
                            </a:cubicBezTo>
                            <a:cubicBezTo>
                              <a:pt x="2691" y="721"/>
                              <a:pt x="2696" y="719"/>
                              <a:pt x="2709" y="722"/>
                            </a:cubicBezTo>
                            <a:cubicBezTo>
                              <a:pt x="2723" y="726"/>
                              <a:pt x="2732" y="722"/>
                              <a:pt x="2727" y="718"/>
                            </a:cubicBezTo>
                            <a:cubicBezTo>
                              <a:pt x="2722" y="713"/>
                              <a:pt x="2724" y="710"/>
                              <a:pt x="2705" y="708"/>
                            </a:cubicBezTo>
                            <a:cubicBezTo>
                              <a:pt x="2685" y="706"/>
                              <a:pt x="2679" y="706"/>
                              <a:pt x="2671" y="706"/>
                            </a:cubicBezTo>
                            <a:cubicBezTo>
                              <a:pt x="2663" y="705"/>
                              <a:pt x="2657" y="704"/>
                              <a:pt x="2654" y="697"/>
                            </a:cubicBezTo>
                            <a:cubicBezTo>
                              <a:pt x="2651" y="690"/>
                              <a:pt x="2652" y="690"/>
                              <a:pt x="2647" y="685"/>
                            </a:cubicBezTo>
                            <a:cubicBezTo>
                              <a:pt x="2642" y="679"/>
                              <a:pt x="2632" y="679"/>
                              <a:pt x="2632" y="673"/>
                            </a:cubicBezTo>
                            <a:cubicBezTo>
                              <a:pt x="2632" y="667"/>
                              <a:pt x="2637" y="665"/>
                              <a:pt x="2645" y="665"/>
                            </a:cubicBezTo>
                            <a:cubicBezTo>
                              <a:pt x="2652" y="665"/>
                              <a:pt x="2654" y="662"/>
                              <a:pt x="2653" y="658"/>
                            </a:cubicBezTo>
                            <a:cubicBezTo>
                              <a:pt x="2651" y="655"/>
                              <a:pt x="2638" y="651"/>
                              <a:pt x="2637" y="644"/>
                            </a:cubicBezTo>
                            <a:cubicBezTo>
                              <a:pt x="2636" y="636"/>
                              <a:pt x="2636" y="629"/>
                              <a:pt x="2643" y="628"/>
                            </a:cubicBezTo>
                            <a:cubicBezTo>
                              <a:pt x="2650" y="626"/>
                              <a:pt x="2655" y="627"/>
                              <a:pt x="2669" y="626"/>
                            </a:cubicBezTo>
                            <a:cubicBezTo>
                              <a:pt x="2683" y="626"/>
                              <a:pt x="2690" y="635"/>
                              <a:pt x="2703" y="633"/>
                            </a:cubicBezTo>
                            <a:close/>
                            <a:moveTo>
                              <a:pt x="2490" y="626"/>
                            </a:moveTo>
                            <a:cubicBezTo>
                              <a:pt x="2476" y="635"/>
                              <a:pt x="2474" y="627"/>
                              <a:pt x="2464" y="624"/>
                            </a:cubicBezTo>
                            <a:cubicBezTo>
                              <a:pt x="2453" y="621"/>
                              <a:pt x="2459" y="623"/>
                              <a:pt x="2460" y="613"/>
                            </a:cubicBezTo>
                            <a:cubicBezTo>
                              <a:pt x="2461" y="604"/>
                              <a:pt x="2462" y="606"/>
                              <a:pt x="2455" y="599"/>
                            </a:cubicBezTo>
                            <a:cubicBezTo>
                              <a:pt x="2448" y="591"/>
                              <a:pt x="2448" y="595"/>
                              <a:pt x="2428" y="590"/>
                            </a:cubicBezTo>
                            <a:cubicBezTo>
                              <a:pt x="2408" y="585"/>
                              <a:pt x="2412" y="591"/>
                              <a:pt x="2398" y="594"/>
                            </a:cubicBezTo>
                            <a:cubicBezTo>
                              <a:pt x="2384" y="598"/>
                              <a:pt x="2387" y="603"/>
                              <a:pt x="2384" y="609"/>
                            </a:cubicBezTo>
                            <a:cubicBezTo>
                              <a:pt x="2381" y="615"/>
                              <a:pt x="2374" y="612"/>
                              <a:pt x="2365" y="607"/>
                            </a:cubicBezTo>
                            <a:cubicBezTo>
                              <a:pt x="2356" y="602"/>
                              <a:pt x="2363" y="601"/>
                              <a:pt x="2363" y="593"/>
                            </a:cubicBezTo>
                            <a:cubicBezTo>
                              <a:pt x="2362" y="584"/>
                              <a:pt x="2356" y="585"/>
                              <a:pt x="2350" y="573"/>
                            </a:cubicBezTo>
                            <a:cubicBezTo>
                              <a:pt x="2344" y="561"/>
                              <a:pt x="2344" y="566"/>
                              <a:pt x="2337" y="560"/>
                            </a:cubicBezTo>
                            <a:cubicBezTo>
                              <a:pt x="2330" y="555"/>
                              <a:pt x="2325" y="557"/>
                              <a:pt x="2314" y="554"/>
                            </a:cubicBezTo>
                            <a:cubicBezTo>
                              <a:pt x="2303" y="551"/>
                              <a:pt x="2303" y="553"/>
                              <a:pt x="2287" y="552"/>
                            </a:cubicBezTo>
                            <a:cubicBezTo>
                              <a:pt x="2271" y="551"/>
                              <a:pt x="2278" y="552"/>
                              <a:pt x="2255" y="553"/>
                            </a:cubicBezTo>
                            <a:cubicBezTo>
                              <a:pt x="2233" y="554"/>
                              <a:pt x="2240" y="555"/>
                              <a:pt x="2223" y="554"/>
                            </a:cubicBezTo>
                            <a:cubicBezTo>
                              <a:pt x="2206" y="554"/>
                              <a:pt x="2211" y="555"/>
                              <a:pt x="2200" y="562"/>
                            </a:cubicBezTo>
                            <a:cubicBezTo>
                              <a:pt x="2189" y="570"/>
                              <a:pt x="2194" y="571"/>
                              <a:pt x="2188" y="576"/>
                            </a:cubicBezTo>
                            <a:cubicBezTo>
                              <a:pt x="2181" y="580"/>
                              <a:pt x="2186" y="584"/>
                              <a:pt x="2189" y="592"/>
                            </a:cubicBezTo>
                            <a:cubicBezTo>
                              <a:pt x="2193" y="599"/>
                              <a:pt x="2199" y="596"/>
                              <a:pt x="2207" y="597"/>
                            </a:cubicBezTo>
                            <a:cubicBezTo>
                              <a:pt x="2215" y="598"/>
                              <a:pt x="2230" y="597"/>
                              <a:pt x="2237" y="598"/>
                            </a:cubicBezTo>
                            <a:cubicBezTo>
                              <a:pt x="2244" y="599"/>
                              <a:pt x="2240" y="606"/>
                              <a:pt x="2236" y="608"/>
                            </a:cubicBezTo>
                            <a:cubicBezTo>
                              <a:pt x="2231" y="610"/>
                              <a:pt x="2228" y="616"/>
                              <a:pt x="2228" y="621"/>
                            </a:cubicBezTo>
                            <a:cubicBezTo>
                              <a:pt x="2229" y="625"/>
                              <a:pt x="2239" y="621"/>
                              <a:pt x="2246" y="617"/>
                            </a:cubicBezTo>
                            <a:cubicBezTo>
                              <a:pt x="2253" y="613"/>
                              <a:pt x="2258" y="607"/>
                              <a:pt x="2266" y="603"/>
                            </a:cubicBezTo>
                            <a:cubicBezTo>
                              <a:pt x="2274" y="599"/>
                              <a:pt x="2278" y="603"/>
                              <a:pt x="2285" y="606"/>
                            </a:cubicBezTo>
                            <a:cubicBezTo>
                              <a:pt x="2292" y="608"/>
                              <a:pt x="2293" y="610"/>
                              <a:pt x="2289" y="616"/>
                            </a:cubicBezTo>
                            <a:cubicBezTo>
                              <a:pt x="2286" y="621"/>
                              <a:pt x="2284" y="620"/>
                              <a:pt x="2281" y="628"/>
                            </a:cubicBezTo>
                            <a:cubicBezTo>
                              <a:pt x="2277" y="635"/>
                              <a:pt x="2290" y="635"/>
                              <a:pt x="2290" y="635"/>
                            </a:cubicBezTo>
                            <a:cubicBezTo>
                              <a:pt x="2290" y="635"/>
                              <a:pt x="2298" y="636"/>
                              <a:pt x="2315" y="634"/>
                            </a:cubicBezTo>
                            <a:cubicBezTo>
                              <a:pt x="2331" y="633"/>
                              <a:pt x="2321" y="637"/>
                              <a:pt x="2319" y="642"/>
                            </a:cubicBezTo>
                            <a:cubicBezTo>
                              <a:pt x="2316" y="647"/>
                              <a:pt x="2311" y="645"/>
                              <a:pt x="2304" y="648"/>
                            </a:cubicBezTo>
                            <a:cubicBezTo>
                              <a:pt x="2297" y="651"/>
                              <a:pt x="2306" y="653"/>
                              <a:pt x="2317" y="656"/>
                            </a:cubicBezTo>
                            <a:cubicBezTo>
                              <a:pt x="2329" y="658"/>
                              <a:pt x="2317" y="660"/>
                              <a:pt x="2315" y="665"/>
                            </a:cubicBezTo>
                            <a:cubicBezTo>
                              <a:pt x="2314" y="669"/>
                              <a:pt x="2304" y="670"/>
                              <a:pt x="2291" y="667"/>
                            </a:cubicBezTo>
                            <a:cubicBezTo>
                              <a:pt x="2278" y="664"/>
                              <a:pt x="2282" y="665"/>
                              <a:pt x="2266" y="665"/>
                            </a:cubicBezTo>
                            <a:cubicBezTo>
                              <a:pt x="2249" y="665"/>
                              <a:pt x="2242" y="663"/>
                              <a:pt x="2231" y="665"/>
                            </a:cubicBezTo>
                            <a:cubicBezTo>
                              <a:pt x="2220" y="666"/>
                              <a:pt x="2218" y="666"/>
                              <a:pt x="2221" y="674"/>
                            </a:cubicBezTo>
                            <a:cubicBezTo>
                              <a:pt x="2223" y="681"/>
                              <a:pt x="2236" y="683"/>
                              <a:pt x="2248" y="693"/>
                            </a:cubicBezTo>
                            <a:cubicBezTo>
                              <a:pt x="2260" y="703"/>
                              <a:pt x="2265" y="703"/>
                              <a:pt x="2278" y="704"/>
                            </a:cubicBezTo>
                            <a:cubicBezTo>
                              <a:pt x="2290" y="705"/>
                              <a:pt x="2290" y="697"/>
                              <a:pt x="2299" y="691"/>
                            </a:cubicBezTo>
                            <a:cubicBezTo>
                              <a:pt x="2308" y="686"/>
                              <a:pt x="2321" y="691"/>
                              <a:pt x="2328" y="690"/>
                            </a:cubicBezTo>
                            <a:cubicBezTo>
                              <a:pt x="2336" y="688"/>
                              <a:pt x="2334" y="683"/>
                              <a:pt x="2353" y="683"/>
                            </a:cubicBezTo>
                            <a:cubicBezTo>
                              <a:pt x="2371" y="684"/>
                              <a:pt x="2362" y="698"/>
                              <a:pt x="2367" y="702"/>
                            </a:cubicBezTo>
                            <a:cubicBezTo>
                              <a:pt x="2372" y="707"/>
                              <a:pt x="2380" y="701"/>
                              <a:pt x="2395" y="697"/>
                            </a:cubicBezTo>
                            <a:cubicBezTo>
                              <a:pt x="2410" y="693"/>
                              <a:pt x="2412" y="699"/>
                              <a:pt x="2420" y="703"/>
                            </a:cubicBezTo>
                            <a:cubicBezTo>
                              <a:pt x="2429" y="707"/>
                              <a:pt x="2443" y="705"/>
                              <a:pt x="2455" y="706"/>
                            </a:cubicBezTo>
                            <a:cubicBezTo>
                              <a:pt x="2466" y="707"/>
                              <a:pt x="2471" y="718"/>
                              <a:pt x="2476" y="727"/>
                            </a:cubicBezTo>
                            <a:cubicBezTo>
                              <a:pt x="2481" y="736"/>
                              <a:pt x="2492" y="746"/>
                              <a:pt x="2495" y="754"/>
                            </a:cubicBezTo>
                            <a:cubicBezTo>
                              <a:pt x="2499" y="762"/>
                              <a:pt x="2506" y="755"/>
                              <a:pt x="2512" y="755"/>
                            </a:cubicBezTo>
                            <a:cubicBezTo>
                              <a:pt x="2518" y="755"/>
                              <a:pt x="2534" y="763"/>
                              <a:pt x="2540" y="763"/>
                            </a:cubicBezTo>
                            <a:cubicBezTo>
                              <a:pt x="2546" y="763"/>
                              <a:pt x="2555" y="756"/>
                              <a:pt x="2563" y="754"/>
                            </a:cubicBezTo>
                            <a:cubicBezTo>
                              <a:pt x="2572" y="751"/>
                              <a:pt x="2583" y="752"/>
                              <a:pt x="2588" y="747"/>
                            </a:cubicBezTo>
                            <a:cubicBezTo>
                              <a:pt x="2594" y="742"/>
                              <a:pt x="2594" y="736"/>
                              <a:pt x="2592" y="727"/>
                            </a:cubicBezTo>
                            <a:cubicBezTo>
                              <a:pt x="2589" y="719"/>
                              <a:pt x="2581" y="719"/>
                              <a:pt x="2578" y="714"/>
                            </a:cubicBezTo>
                            <a:cubicBezTo>
                              <a:pt x="2575" y="708"/>
                              <a:pt x="2567" y="702"/>
                              <a:pt x="2558" y="698"/>
                            </a:cubicBezTo>
                            <a:cubicBezTo>
                              <a:pt x="2550" y="694"/>
                              <a:pt x="2550" y="696"/>
                              <a:pt x="2545" y="689"/>
                            </a:cubicBezTo>
                            <a:cubicBezTo>
                              <a:pt x="2541" y="682"/>
                              <a:pt x="2542" y="673"/>
                              <a:pt x="2543" y="667"/>
                            </a:cubicBezTo>
                            <a:cubicBezTo>
                              <a:pt x="2545" y="661"/>
                              <a:pt x="2560" y="660"/>
                              <a:pt x="2559" y="655"/>
                            </a:cubicBezTo>
                            <a:cubicBezTo>
                              <a:pt x="2557" y="650"/>
                              <a:pt x="2539" y="654"/>
                              <a:pt x="2534" y="648"/>
                            </a:cubicBezTo>
                            <a:cubicBezTo>
                              <a:pt x="2528" y="642"/>
                              <a:pt x="2536" y="644"/>
                              <a:pt x="2535" y="636"/>
                            </a:cubicBezTo>
                            <a:cubicBezTo>
                              <a:pt x="2534" y="629"/>
                              <a:pt x="2529" y="635"/>
                              <a:pt x="2525" y="628"/>
                            </a:cubicBezTo>
                            <a:cubicBezTo>
                              <a:pt x="2522" y="621"/>
                              <a:pt x="2506" y="622"/>
                              <a:pt x="2490" y="626"/>
                            </a:cubicBezTo>
                            <a:close/>
                            <a:moveTo>
                              <a:pt x="2572" y="446"/>
                            </a:moveTo>
                            <a:cubicBezTo>
                              <a:pt x="2583" y="446"/>
                              <a:pt x="2581" y="439"/>
                              <a:pt x="2592" y="444"/>
                            </a:cubicBezTo>
                            <a:cubicBezTo>
                              <a:pt x="2603" y="450"/>
                              <a:pt x="2609" y="458"/>
                              <a:pt x="2609" y="465"/>
                            </a:cubicBezTo>
                            <a:cubicBezTo>
                              <a:pt x="2609" y="473"/>
                              <a:pt x="2609" y="479"/>
                              <a:pt x="2613" y="484"/>
                            </a:cubicBezTo>
                            <a:cubicBezTo>
                              <a:pt x="2618" y="489"/>
                              <a:pt x="2617" y="494"/>
                              <a:pt x="2611" y="498"/>
                            </a:cubicBezTo>
                            <a:cubicBezTo>
                              <a:pt x="2604" y="503"/>
                              <a:pt x="2601" y="504"/>
                              <a:pt x="2588" y="500"/>
                            </a:cubicBezTo>
                            <a:cubicBezTo>
                              <a:pt x="2575" y="496"/>
                              <a:pt x="2570" y="485"/>
                              <a:pt x="2552" y="483"/>
                            </a:cubicBezTo>
                            <a:cubicBezTo>
                              <a:pt x="2534" y="482"/>
                              <a:pt x="2524" y="478"/>
                              <a:pt x="2522" y="474"/>
                            </a:cubicBezTo>
                            <a:cubicBezTo>
                              <a:pt x="2521" y="469"/>
                              <a:pt x="2520" y="461"/>
                              <a:pt x="2527" y="453"/>
                            </a:cubicBezTo>
                            <a:cubicBezTo>
                              <a:pt x="2534" y="445"/>
                              <a:pt x="2539" y="443"/>
                              <a:pt x="2547" y="440"/>
                            </a:cubicBezTo>
                            <a:cubicBezTo>
                              <a:pt x="2554" y="438"/>
                              <a:pt x="2561" y="440"/>
                              <a:pt x="2564" y="444"/>
                            </a:cubicBezTo>
                            <a:cubicBezTo>
                              <a:pt x="2567" y="447"/>
                              <a:pt x="2567" y="448"/>
                              <a:pt x="2572" y="446"/>
                            </a:cubicBezTo>
                            <a:close/>
                            <a:moveTo>
                              <a:pt x="2401" y="756"/>
                            </a:moveTo>
                            <a:cubicBezTo>
                              <a:pt x="2421" y="752"/>
                              <a:pt x="2417" y="742"/>
                              <a:pt x="2427" y="746"/>
                            </a:cubicBezTo>
                            <a:cubicBezTo>
                              <a:pt x="2437" y="750"/>
                              <a:pt x="2440" y="750"/>
                              <a:pt x="2447" y="757"/>
                            </a:cubicBezTo>
                            <a:cubicBezTo>
                              <a:pt x="2455" y="763"/>
                              <a:pt x="2466" y="760"/>
                              <a:pt x="2469" y="765"/>
                            </a:cubicBezTo>
                            <a:cubicBezTo>
                              <a:pt x="2473" y="770"/>
                              <a:pt x="2467" y="778"/>
                              <a:pt x="2456" y="775"/>
                            </a:cubicBezTo>
                            <a:cubicBezTo>
                              <a:pt x="2445" y="772"/>
                              <a:pt x="2434" y="771"/>
                              <a:pt x="2423" y="775"/>
                            </a:cubicBezTo>
                            <a:cubicBezTo>
                              <a:pt x="2411" y="779"/>
                              <a:pt x="2406" y="785"/>
                              <a:pt x="2395" y="779"/>
                            </a:cubicBezTo>
                            <a:cubicBezTo>
                              <a:pt x="2384" y="773"/>
                              <a:pt x="2374" y="774"/>
                              <a:pt x="2377" y="766"/>
                            </a:cubicBezTo>
                            <a:cubicBezTo>
                              <a:pt x="2379" y="758"/>
                              <a:pt x="2386" y="759"/>
                              <a:pt x="2401" y="756"/>
                            </a:cubicBezTo>
                            <a:close/>
                            <a:moveTo>
                              <a:pt x="2189" y="776"/>
                            </a:moveTo>
                            <a:cubicBezTo>
                              <a:pt x="2204" y="783"/>
                              <a:pt x="2210" y="781"/>
                              <a:pt x="2214" y="790"/>
                            </a:cubicBezTo>
                            <a:cubicBezTo>
                              <a:pt x="2217" y="799"/>
                              <a:pt x="2207" y="800"/>
                              <a:pt x="2219" y="807"/>
                            </a:cubicBezTo>
                            <a:cubicBezTo>
                              <a:pt x="2230" y="814"/>
                              <a:pt x="2237" y="808"/>
                              <a:pt x="2246" y="814"/>
                            </a:cubicBezTo>
                            <a:cubicBezTo>
                              <a:pt x="2254" y="820"/>
                              <a:pt x="2258" y="830"/>
                              <a:pt x="2257" y="837"/>
                            </a:cubicBezTo>
                            <a:cubicBezTo>
                              <a:pt x="2255" y="843"/>
                              <a:pt x="2253" y="845"/>
                              <a:pt x="2242" y="848"/>
                            </a:cubicBezTo>
                            <a:cubicBezTo>
                              <a:pt x="2230" y="851"/>
                              <a:pt x="2211" y="848"/>
                              <a:pt x="2198" y="835"/>
                            </a:cubicBezTo>
                            <a:cubicBezTo>
                              <a:pt x="2185" y="822"/>
                              <a:pt x="2177" y="817"/>
                              <a:pt x="2176" y="806"/>
                            </a:cubicBezTo>
                            <a:cubicBezTo>
                              <a:pt x="2176" y="795"/>
                              <a:pt x="2161" y="785"/>
                              <a:pt x="2159" y="777"/>
                            </a:cubicBezTo>
                            <a:cubicBezTo>
                              <a:pt x="2158" y="769"/>
                              <a:pt x="2169" y="767"/>
                              <a:pt x="2174" y="770"/>
                            </a:cubicBezTo>
                            <a:cubicBezTo>
                              <a:pt x="2178" y="772"/>
                              <a:pt x="2182" y="773"/>
                              <a:pt x="2189" y="776"/>
                            </a:cubicBezTo>
                            <a:close/>
                            <a:moveTo>
                              <a:pt x="2300" y="921"/>
                            </a:moveTo>
                            <a:cubicBezTo>
                              <a:pt x="2311" y="926"/>
                              <a:pt x="2309" y="925"/>
                              <a:pt x="2320" y="929"/>
                            </a:cubicBezTo>
                            <a:cubicBezTo>
                              <a:pt x="2331" y="932"/>
                              <a:pt x="2340" y="928"/>
                              <a:pt x="2338" y="936"/>
                            </a:cubicBezTo>
                            <a:cubicBezTo>
                              <a:pt x="2336" y="943"/>
                              <a:pt x="2331" y="944"/>
                              <a:pt x="2325" y="946"/>
                            </a:cubicBezTo>
                            <a:cubicBezTo>
                              <a:pt x="2319" y="948"/>
                              <a:pt x="2286" y="951"/>
                              <a:pt x="2281" y="951"/>
                            </a:cubicBezTo>
                            <a:cubicBezTo>
                              <a:pt x="2276" y="951"/>
                              <a:pt x="2265" y="944"/>
                              <a:pt x="2265" y="940"/>
                            </a:cubicBezTo>
                            <a:cubicBezTo>
                              <a:pt x="2265" y="936"/>
                              <a:pt x="2260" y="935"/>
                              <a:pt x="2257" y="933"/>
                            </a:cubicBezTo>
                            <a:cubicBezTo>
                              <a:pt x="2254" y="931"/>
                              <a:pt x="2245" y="927"/>
                              <a:pt x="2245" y="921"/>
                            </a:cubicBezTo>
                            <a:cubicBezTo>
                              <a:pt x="2246" y="915"/>
                              <a:pt x="2254" y="913"/>
                              <a:pt x="2262" y="914"/>
                            </a:cubicBezTo>
                            <a:cubicBezTo>
                              <a:pt x="2269" y="915"/>
                              <a:pt x="2275" y="913"/>
                              <a:pt x="2278" y="912"/>
                            </a:cubicBezTo>
                            <a:cubicBezTo>
                              <a:pt x="2282" y="910"/>
                              <a:pt x="2287" y="910"/>
                              <a:pt x="2300" y="921"/>
                            </a:cubicBezTo>
                            <a:close/>
                            <a:moveTo>
                              <a:pt x="2296" y="963"/>
                            </a:moveTo>
                            <a:cubicBezTo>
                              <a:pt x="2310" y="958"/>
                              <a:pt x="2325" y="962"/>
                              <a:pt x="2332" y="961"/>
                            </a:cubicBezTo>
                            <a:cubicBezTo>
                              <a:pt x="2339" y="959"/>
                              <a:pt x="2352" y="960"/>
                              <a:pt x="2362" y="959"/>
                            </a:cubicBezTo>
                            <a:cubicBezTo>
                              <a:pt x="2372" y="958"/>
                              <a:pt x="2367" y="969"/>
                              <a:pt x="2363" y="975"/>
                            </a:cubicBezTo>
                            <a:cubicBezTo>
                              <a:pt x="2358" y="982"/>
                              <a:pt x="2348" y="979"/>
                              <a:pt x="2342" y="982"/>
                            </a:cubicBezTo>
                            <a:cubicBezTo>
                              <a:pt x="2337" y="985"/>
                              <a:pt x="2329" y="989"/>
                              <a:pt x="2324" y="989"/>
                            </a:cubicBezTo>
                            <a:cubicBezTo>
                              <a:pt x="2319" y="989"/>
                              <a:pt x="2313" y="990"/>
                              <a:pt x="2297" y="991"/>
                            </a:cubicBezTo>
                            <a:cubicBezTo>
                              <a:pt x="2282" y="993"/>
                              <a:pt x="2285" y="988"/>
                              <a:pt x="2275" y="986"/>
                            </a:cubicBezTo>
                            <a:cubicBezTo>
                              <a:pt x="2265" y="985"/>
                              <a:pt x="2261" y="981"/>
                              <a:pt x="2261" y="976"/>
                            </a:cubicBezTo>
                            <a:cubicBezTo>
                              <a:pt x="2260" y="972"/>
                              <a:pt x="2271" y="973"/>
                              <a:pt x="2280" y="969"/>
                            </a:cubicBezTo>
                            <a:cubicBezTo>
                              <a:pt x="2289" y="966"/>
                              <a:pt x="2288" y="964"/>
                              <a:pt x="2296" y="963"/>
                            </a:cubicBezTo>
                            <a:close/>
                            <a:moveTo>
                              <a:pt x="2433" y="940"/>
                            </a:moveTo>
                            <a:cubicBezTo>
                              <a:pt x="2426" y="941"/>
                              <a:pt x="2424" y="941"/>
                              <a:pt x="2418" y="943"/>
                            </a:cubicBezTo>
                            <a:cubicBezTo>
                              <a:pt x="2412" y="946"/>
                              <a:pt x="2412" y="950"/>
                              <a:pt x="2411" y="955"/>
                            </a:cubicBezTo>
                            <a:cubicBezTo>
                              <a:pt x="2410" y="960"/>
                              <a:pt x="2411" y="961"/>
                              <a:pt x="2414" y="964"/>
                            </a:cubicBezTo>
                            <a:cubicBezTo>
                              <a:pt x="2418" y="968"/>
                              <a:pt x="2424" y="964"/>
                              <a:pt x="2433" y="963"/>
                            </a:cubicBezTo>
                            <a:cubicBezTo>
                              <a:pt x="2441" y="961"/>
                              <a:pt x="2442" y="963"/>
                              <a:pt x="2443" y="967"/>
                            </a:cubicBezTo>
                            <a:cubicBezTo>
                              <a:pt x="2445" y="972"/>
                              <a:pt x="2442" y="972"/>
                              <a:pt x="2439" y="974"/>
                            </a:cubicBezTo>
                            <a:cubicBezTo>
                              <a:pt x="2437" y="976"/>
                              <a:pt x="2434" y="976"/>
                              <a:pt x="2428" y="980"/>
                            </a:cubicBezTo>
                            <a:cubicBezTo>
                              <a:pt x="2422" y="984"/>
                              <a:pt x="2425" y="983"/>
                              <a:pt x="2424" y="987"/>
                            </a:cubicBezTo>
                            <a:cubicBezTo>
                              <a:pt x="2424" y="991"/>
                              <a:pt x="2425" y="992"/>
                              <a:pt x="2429" y="993"/>
                            </a:cubicBezTo>
                            <a:cubicBezTo>
                              <a:pt x="2433" y="994"/>
                              <a:pt x="2440" y="993"/>
                              <a:pt x="2445" y="992"/>
                            </a:cubicBezTo>
                            <a:cubicBezTo>
                              <a:pt x="2449" y="991"/>
                              <a:pt x="2451" y="992"/>
                              <a:pt x="2451" y="996"/>
                            </a:cubicBezTo>
                            <a:cubicBezTo>
                              <a:pt x="2452" y="1000"/>
                              <a:pt x="2447" y="996"/>
                              <a:pt x="2444" y="1004"/>
                            </a:cubicBezTo>
                            <a:cubicBezTo>
                              <a:pt x="2442" y="1012"/>
                              <a:pt x="2448" y="1013"/>
                              <a:pt x="2460" y="1016"/>
                            </a:cubicBezTo>
                            <a:cubicBezTo>
                              <a:pt x="2472" y="1019"/>
                              <a:pt x="2482" y="1019"/>
                              <a:pt x="2477" y="1024"/>
                            </a:cubicBezTo>
                            <a:cubicBezTo>
                              <a:pt x="2471" y="1029"/>
                              <a:pt x="2455" y="1026"/>
                              <a:pt x="2439" y="1020"/>
                            </a:cubicBezTo>
                            <a:cubicBezTo>
                              <a:pt x="2424" y="1013"/>
                              <a:pt x="2428" y="1018"/>
                              <a:pt x="2417" y="1015"/>
                            </a:cubicBezTo>
                            <a:cubicBezTo>
                              <a:pt x="2405" y="1011"/>
                              <a:pt x="2397" y="1016"/>
                              <a:pt x="2394" y="1021"/>
                            </a:cubicBezTo>
                            <a:cubicBezTo>
                              <a:pt x="2391" y="1027"/>
                              <a:pt x="2411" y="1030"/>
                              <a:pt x="2410" y="1033"/>
                            </a:cubicBezTo>
                            <a:cubicBezTo>
                              <a:pt x="2410" y="1037"/>
                              <a:pt x="2389" y="1033"/>
                              <a:pt x="2374" y="1035"/>
                            </a:cubicBezTo>
                            <a:cubicBezTo>
                              <a:pt x="2360" y="1037"/>
                              <a:pt x="2362" y="1038"/>
                              <a:pt x="2356" y="1044"/>
                            </a:cubicBezTo>
                            <a:cubicBezTo>
                              <a:pt x="2350" y="1050"/>
                              <a:pt x="2370" y="1061"/>
                              <a:pt x="2378" y="1057"/>
                            </a:cubicBezTo>
                            <a:cubicBezTo>
                              <a:pt x="2386" y="1053"/>
                              <a:pt x="2413" y="1056"/>
                              <a:pt x="2422" y="1050"/>
                            </a:cubicBezTo>
                            <a:cubicBezTo>
                              <a:pt x="2431" y="1043"/>
                              <a:pt x="2450" y="1046"/>
                              <a:pt x="2462" y="1046"/>
                            </a:cubicBezTo>
                            <a:cubicBezTo>
                              <a:pt x="2474" y="1045"/>
                              <a:pt x="2494" y="1046"/>
                              <a:pt x="2519" y="1042"/>
                            </a:cubicBezTo>
                            <a:cubicBezTo>
                              <a:pt x="2545" y="1038"/>
                              <a:pt x="2552" y="1037"/>
                              <a:pt x="2563" y="1035"/>
                            </a:cubicBezTo>
                            <a:cubicBezTo>
                              <a:pt x="2574" y="1033"/>
                              <a:pt x="2595" y="1029"/>
                              <a:pt x="2600" y="1032"/>
                            </a:cubicBezTo>
                            <a:cubicBezTo>
                              <a:pt x="2605" y="1034"/>
                              <a:pt x="2598" y="1038"/>
                              <a:pt x="2587" y="1039"/>
                            </a:cubicBezTo>
                            <a:cubicBezTo>
                              <a:pt x="2575" y="1040"/>
                              <a:pt x="2574" y="1044"/>
                              <a:pt x="2563" y="1044"/>
                            </a:cubicBezTo>
                            <a:cubicBezTo>
                              <a:pt x="2552" y="1045"/>
                              <a:pt x="2547" y="1046"/>
                              <a:pt x="2544" y="1050"/>
                            </a:cubicBezTo>
                            <a:cubicBezTo>
                              <a:pt x="2541" y="1054"/>
                              <a:pt x="2536" y="1065"/>
                              <a:pt x="2526" y="1069"/>
                            </a:cubicBezTo>
                            <a:cubicBezTo>
                              <a:pt x="2517" y="1072"/>
                              <a:pt x="2518" y="1070"/>
                              <a:pt x="2512" y="1070"/>
                            </a:cubicBezTo>
                            <a:cubicBezTo>
                              <a:pt x="2506" y="1070"/>
                              <a:pt x="2506" y="1080"/>
                              <a:pt x="2507" y="1083"/>
                            </a:cubicBezTo>
                            <a:cubicBezTo>
                              <a:pt x="2509" y="1086"/>
                              <a:pt x="2530" y="1087"/>
                              <a:pt x="2535" y="1090"/>
                            </a:cubicBezTo>
                            <a:cubicBezTo>
                              <a:pt x="2539" y="1092"/>
                              <a:pt x="2534" y="1095"/>
                              <a:pt x="2524" y="1095"/>
                            </a:cubicBezTo>
                            <a:cubicBezTo>
                              <a:pt x="2514" y="1095"/>
                              <a:pt x="2503" y="1096"/>
                              <a:pt x="2503" y="1101"/>
                            </a:cubicBezTo>
                            <a:cubicBezTo>
                              <a:pt x="2503" y="1107"/>
                              <a:pt x="2515" y="1116"/>
                              <a:pt x="2522" y="1117"/>
                            </a:cubicBezTo>
                            <a:cubicBezTo>
                              <a:pt x="2529" y="1119"/>
                              <a:pt x="2544" y="1121"/>
                              <a:pt x="2559" y="1120"/>
                            </a:cubicBezTo>
                            <a:cubicBezTo>
                              <a:pt x="2574" y="1120"/>
                              <a:pt x="2568" y="1106"/>
                              <a:pt x="2573" y="1110"/>
                            </a:cubicBezTo>
                            <a:cubicBezTo>
                              <a:pt x="2578" y="1114"/>
                              <a:pt x="2601" y="1112"/>
                              <a:pt x="2611" y="1115"/>
                            </a:cubicBezTo>
                            <a:cubicBezTo>
                              <a:pt x="2621" y="1117"/>
                              <a:pt x="2622" y="1118"/>
                              <a:pt x="2629" y="1119"/>
                            </a:cubicBezTo>
                            <a:cubicBezTo>
                              <a:pt x="2636" y="1120"/>
                              <a:pt x="2650" y="1115"/>
                              <a:pt x="2650" y="1112"/>
                            </a:cubicBezTo>
                            <a:cubicBezTo>
                              <a:pt x="2651" y="1108"/>
                              <a:pt x="2658" y="1099"/>
                              <a:pt x="2664" y="1095"/>
                            </a:cubicBezTo>
                            <a:cubicBezTo>
                              <a:pt x="2670" y="1091"/>
                              <a:pt x="2657" y="1088"/>
                              <a:pt x="2656" y="1084"/>
                            </a:cubicBezTo>
                            <a:cubicBezTo>
                              <a:pt x="2655" y="1081"/>
                              <a:pt x="2665" y="1075"/>
                              <a:pt x="2668" y="1070"/>
                            </a:cubicBezTo>
                            <a:cubicBezTo>
                              <a:pt x="2670" y="1064"/>
                              <a:pt x="2668" y="1059"/>
                              <a:pt x="2668" y="1050"/>
                            </a:cubicBezTo>
                            <a:cubicBezTo>
                              <a:pt x="2669" y="1041"/>
                              <a:pt x="2679" y="1050"/>
                              <a:pt x="2691" y="1063"/>
                            </a:cubicBezTo>
                            <a:cubicBezTo>
                              <a:pt x="2703" y="1076"/>
                              <a:pt x="2696" y="1053"/>
                              <a:pt x="2696" y="1047"/>
                            </a:cubicBezTo>
                            <a:cubicBezTo>
                              <a:pt x="2696" y="1041"/>
                              <a:pt x="2690" y="1036"/>
                              <a:pt x="2683" y="1032"/>
                            </a:cubicBezTo>
                            <a:cubicBezTo>
                              <a:pt x="2676" y="1029"/>
                              <a:pt x="2677" y="1022"/>
                              <a:pt x="2675" y="1017"/>
                            </a:cubicBezTo>
                            <a:cubicBezTo>
                              <a:pt x="2673" y="1011"/>
                              <a:pt x="2674" y="1006"/>
                              <a:pt x="2676" y="1000"/>
                            </a:cubicBezTo>
                            <a:cubicBezTo>
                              <a:pt x="2678" y="994"/>
                              <a:pt x="2683" y="980"/>
                              <a:pt x="2680" y="973"/>
                            </a:cubicBezTo>
                            <a:cubicBezTo>
                              <a:pt x="2677" y="967"/>
                              <a:pt x="2673" y="964"/>
                              <a:pt x="2668" y="958"/>
                            </a:cubicBezTo>
                            <a:cubicBezTo>
                              <a:pt x="2663" y="952"/>
                              <a:pt x="2671" y="945"/>
                              <a:pt x="2671" y="937"/>
                            </a:cubicBezTo>
                            <a:cubicBezTo>
                              <a:pt x="2671" y="928"/>
                              <a:pt x="2666" y="929"/>
                              <a:pt x="2654" y="929"/>
                            </a:cubicBezTo>
                            <a:cubicBezTo>
                              <a:pt x="2641" y="929"/>
                              <a:pt x="2641" y="929"/>
                              <a:pt x="2633" y="925"/>
                            </a:cubicBezTo>
                            <a:cubicBezTo>
                              <a:pt x="2625" y="920"/>
                              <a:pt x="2626" y="917"/>
                              <a:pt x="2619" y="914"/>
                            </a:cubicBezTo>
                            <a:cubicBezTo>
                              <a:pt x="2612" y="910"/>
                              <a:pt x="2610" y="914"/>
                              <a:pt x="2599" y="920"/>
                            </a:cubicBezTo>
                            <a:cubicBezTo>
                              <a:pt x="2589" y="926"/>
                              <a:pt x="2600" y="936"/>
                              <a:pt x="2596" y="939"/>
                            </a:cubicBezTo>
                            <a:cubicBezTo>
                              <a:pt x="2592" y="942"/>
                              <a:pt x="2589" y="944"/>
                              <a:pt x="2580" y="943"/>
                            </a:cubicBezTo>
                            <a:cubicBezTo>
                              <a:pt x="2571" y="943"/>
                              <a:pt x="2578" y="930"/>
                              <a:pt x="2573" y="925"/>
                            </a:cubicBezTo>
                            <a:cubicBezTo>
                              <a:pt x="2567" y="920"/>
                              <a:pt x="2557" y="911"/>
                              <a:pt x="2549" y="910"/>
                            </a:cubicBezTo>
                            <a:cubicBezTo>
                              <a:pt x="2542" y="910"/>
                              <a:pt x="2522" y="912"/>
                              <a:pt x="2510" y="921"/>
                            </a:cubicBezTo>
                            <a:cubicBezTo>
                              <a:pt x="2497" y="929"/>
                              <a:pt x="2488" y="925"/>
                              <a:pt x="2479" y="932"/>
                            </a:cubicBezTo>
                            <a:cubicBezTo>
                              <a:pt x="2469" y="939"/>
                              <a:pt x="2481" y="938"/>
                              <a:pt x="2494" y="944"/>
                            </a:cubicBezTo>
                            <a:cubicBezTo>
                              <a:pt x="2507" y="951"/>
                              <a:pt x="2513" y="944"/>
                              <a:pt x="2523" y="944"/>
                            </a:cubicBezTo>
                            <a:cubicBezTo>
                              <a:pt x="2532" y="944"/>
                              <a:pt x="2535" y="955"/>
                              <a:pt x="2529" y="958"/>
                            </a:cubicBezTo>
                            <a:cubicBezTo>
                              <a:pt x="2523" y="960"/>
                              <a:pt x="2521" y="966"/>
                              <a:pt x="2523" y="970"/>
                            </a:cubicBezTo>
                            <a:cubicBezTo>
                              <a:pt x="2524" y="973"/>
                              <a:pt x="2534" y="972"/>
                              <a:pt x="2551" y="972"/>
                            </a:cubicBezTo>
                            <a:cubicBezTo>
                              <a:pt x="2568" y="972"/>
                              <a:pt x="2565" y="978"/>
                              <a:pt x="2560" y="980"/>
                            </a:cubicBezTo>
                            <a:cubicBezTo>
                              <a:pt x="2556" y="983"/>
                              <a:pt x="2548" y="981"/>
                              <a:pt x="2537" y="979"/>
                            </a:cubicBezTo>
                            <a:cubicBezTo>
                              <a:pt x="2526" y="976"/>
                              <a:pt x="2529" y="982"/>
                              <a:pt x="2531" y="987"/>
                            </a:cubicBezTo>
                            <a:cubicBezTo>
                              <a:pt x="2533" y="993"/>
                              <a:pt x="2542" y="998"/>
                              <a:pt x="2551" y="998"/>
                            </a:cubicBezTo>
                            <a:cubicBezTo>
                              <a:pt x="2560" y="999"/>
                              <a:pt x="2560" y="1000"/>
                              <a:pt x="2556" y="1005"/>
                            </a:cubicBezTo>
                            <a:cubicBezTo>
                              <a:pt x="2552" y="1009"/>
                              <a:pt x="2544" y="1007"/>
                              <a:pt x="2534" y="1007"/>
                            </a:cubicBezTo>
                            <a:cubicBezTo>
                              <a:pt x="2525" y="1007"/>
                              <a:pt x="2523" y="1000"/>
                              <a:pt x="2515" y="992"/>
                            </a:cubicBezTo>
                            <a:cubicBezTo>
                              <a:pt x="2508" y="984"/>
                              <a:pt x="2507" y="985"/>
                              <a:pt x="2496" y="982"/>
                            </a:cubicBezTo>
                            <a:cubicBezTo>
                              <a:pt x="2486" y="979"/>
                              <a:pt x="2487" y="976"/>
                              <a:pt x="2479" y="971"/>
                            </a:cubicBezTo>
                            <a:cubicBezTo>
                              <a:pt x="2470" y="966"/>
                              <a:pt x="2465" y="958"/>
                              <a:pt x="2457" y="951"/>
                            </a:cubicBezTo>
                            <a:cubicBezTo>
                              <a:pt x="2448" y="944"/>
                              <a:pt x="2445" y="939"/>
                              <a:pt x="2433" y="940"/>
                            </a:cubicBezTo>
                            <a:close/>
                            <a:moveTo>
                              <a:pt x="2362" y="999"/>
                            </a:moveTo>
                            <a:cubicBezTo>
                              <a:pt x="2355" y="1004"/>
                              <a:pt x="2350" y="1005"/>
                              <a:pt x="2344" y="1007"/>
                            </a:cubicBezTo>
                            <a:cubicBezTo>
                              <a:pt x="2338" y="1009"/>
                              <a:pt x="2332" y="1012"/>
                              <a:pt x="2330" y="1017"/>
                            </a:cubicBezTo>
                            <a:cubicBezTo>
                              <a:pt x="2329" y="1022"/>
                              <a:pt x="2326" y="1026"/>
                              <a:pt x="2335" y="1023"/>
                            </a:cubicBezTo>
                            <a:cubicBezTo>
                              <a:pt x="2343" y="1019"/>
                              <a:pt x="2336" y="1021"/>
                              <a:pt x="2348" y="1016"/>
                            </a:cubicBezTo>
                            <a:cubicBezTo>
                              <a:pt x="2360" y="1012"/>
                              <a:pt x="2366" y="1012"/>
                              <a:pt x="2374" y="1011"/>
                            </a:cubicBezTo>
                            <a:cubicBezTo>
                              <a:pt x="2382" y="1011"/>
                              <a:pt x="2377" y="1006"/>
                              <a:pt x="2388" y="1005"/>
                            </a:cubicBezTo>
                            <a:cubicBezTo>
                              <a:pt x="2398" y="1004"/>
                              <a:pt x="2401" y="1002"/>
                              <a:pt x="2400" y="999"/>
                            </a:cubicBezTo>
                            <a:cubicBezTo>
                              <a:pt x="2400" y="996"/>
                              <a:pt x="2397" y="997"/>
                              <a:pt x="2389" y="998"/>
                            </a:cubicBezTo>
                            <a:cubicBezTo>
                              <a:pt x="2380" y="999"/>
                              <a:pt x="2382" y="999"/>
                              <a:pt x="2377" y="998"/>
                            </a:cubicBezTo>
                            <a:cubicBezTo>
                              <a:pt x="2371" y="996"/>
                              <a:pt x="2368" y="994"/>
                              <a:pt x="2362" y="999"/>
                            </a:cubicBezTo>
                            <a:close/>
                            <a:moveTo>
                              <a:pt x="2281" y="1069"/>
                            </a:moveTo>
                            <a:cubicBezTo>
                              <a:pt x="2291" y="1074"/>
                              <a:pt x="2291" y="1072"/>
                              <a:pt x="2296" y="1079"/>
                            </a:cubicBezTo>
                            <a:cubicBezTo>
                              <a:pt x="2300" y="1087"/>
                              <a:pt x="2305" y="1088"/>
                              <a:pt x="2306" y="1092"/>
                            </a:cubicBezTo>
                            <a:cubicBezTo>
                              <a:pt x="2308" y="1097"/>
                              <a:pt x="2308" y="1104"/>
                              <a:pt x="2303" y="1106"/>
                            </a:cubicBezTo>
                            <a:cubicBezTo>
                              <a:pt x="2299" y="1109"/>
                              <a:pt x="2291" y="1106"/>
                              <a:pt x="2285" y="1111"/>
                            </a:cubicBezTo>
                            <a:cubicBezTo>
                              <a:pt x="2279" y="1116"/>
                              <a:pt x="2283" y="1120"/>
                              <a:pt x="2272" y="1118"/>
                            </a:cubicBezTo>
                            <a:cubicBezTo>
                              <a:pt x="2261" y="1115"/>
                              <a:pt x="2255" y="1108"/>
                              <a:pt x="2249" y="1108"/>
                            </a:cubicBezTo>
                            <a:cubicBezTo>
                              <a:pt x="2244" y="1107"/>
                              <a:pt x="2236" y="1109"/>
                              <a:pt x="2232" y="1104"/>
                            </a:cubicBezTo>
                            <a:cubicBezTo>
                              <a:pt x="2228" y="1099"/>
                              <a:pt x="2226" y="1098"/>
                              <a:pt x="2238" y="1092"/>
                            </a:cubicBezTo>
                            <a:cubicBezTo>
                              <a:pt x="2249" y="1085"/>
                              <a:pt x="2257" y="1081"/>
                              <a:pt x="2258" y="1076"/>
                            </a:cubicBezTo>
                            <a:cubicBezTo>
                              <a:pt x="2259" y="1071"/>
                              <a:pt x="2273" y="1065"/>
                              <a:pt x="2281" y="1069"/>
                            </a:cubicBezTo>
                            <a:close/>
                            <a:moveTo>
                              <a:pt x="2462" y="905"/>
                            </a:moveTo>
                            <a:cubicBezTo>
                              <a:pt x="2471" y="903"/>
                              <a:pt x="2472" y="905"/>
                              <a:pt x="2480" y="900"/>
                            </a:cubicBezTo>
                            <a:cubicBezTo>
                              <a:pt x="2489" y="896"/>
                              <a:pt x="2496" y="898"/>
                              <a:pt x="2503" y="901"/>
                            </a:cubicBezTo>
                            <a:cubicBezTo>
                              <a:pt x="2511" y="905"/>
                              <a:pt x="2506" y="907"/>
                              <a:pt x="2493" y="909"/>
                            </a:cubicBezTo>
                            <a:cubicBezTo>
                              <a:pt x="2480" y="910"/>
                              <a:pt x="2484" y="909"/>
                              <a:pt x="2470" y="912"/>
                            </a:cubicBezTo>
                            <a:cubicBezTo>
                              <a:pt x="2455" y="916"/>
                              <a:pt x="2450" y="920"/>
                              <a:pt x="2441" y="920"/>
                            </a:cubicBezTo>
                            <a:cubicBezTo>
                              <a:pt x="2433" y="920"/>
                              <a:pt x="2429" y="921"/>
                              <a:pt x="2432" y="918"/>
                            </a:cubicBezTo>
                            <a:cubicBezTo>
                              <a:pt x="2436" y="916"/>
                              <a:pt x="2441" y="918"/>
                              <a:pt x="2446" y="914"/>
                            </a:cubicBezTo>
                            <a:cubicBezTo>
                              <a:pt x="2451" y="911"/>
                              <a:pt x="2450" y="906"/>
                              <a:pt x="2462" y="905"/>
                            </a:cubicBezTo>
                            <a:close/>
                            <a:moveTo>
                              <a:pt x="2821" y="1050"/>
                            </a:moveTo>
                            <a:cubicBezTo>
                              <a:pt x="2804" y="1060"/>
                              <a:pt x="2803" y="1063"/>
                              <a:pt x="2789" y="1067"/>
                            </a:cubicBezTo>
                            <a:cubicBezTo>
                              <a:pt x="2776" y="1071"/>
                              <a:pt x="2771" y="1072"/>
                              <a:pt x="2773" y="1077"/>
                            </a:cubicBezTo>
                            <a:cubicBezTo>
                              <a:pt x="2775" y="1081"/>
                              <a:pt x="2770" y="1082"/>
                              <a:pt x="2762" y="1089"/>
                            </a:cubicBezTo>
                            <a:cubicBezTo>
                              <a:pt x="2753" y="1095"/>
                              <a:pt x="2749" y="1099"/>
                              <a:pt x="2749" y="1108"/>
                            </a:cubicBezTo>
                            <a:cubicBezTo>
                              <a:pt x="2749" y="1116"/>
                              <a:pt x="2744" y="1120"/>
                              <a:pt x="2750" y="1123"/>
                            </a:cubicBezTo>
                            <a:cubicBezTo>
                              <a:pt x="2756" y="1126"/>
                              <a:pt x="2755" y="1130"/>
                              <a:pt x="2760" y="1131"/>
                            </a:cubicBezTo>
                            <a:cubicBezTo>
                              <a:pt x="2764" y="1132"/>
                              <a:pt x="2770" y="1126"/>
                              <a:pt x="2773" y="1126"/>
                            </a:cubicBezTo>
                            <a:cubicBezTo>
                              <a:pt x="2776" y="1127"/>
                              <a:pt x="2774" y="1126"/>
                              <a:pt x="2777" y="1134"/>
                            </a:cubicBezTo>
                            <a:cubicBezTo>
                              <a:pt x="2781" y="1142"/>
                              <a:pt x="2786" y="1141"/>
                              <a:pt x="2793" y="1141"/>
                            </a:cubicBezTo>
                            <a:cubicBezTo>
                              <a:pt x="2800" y="1141"/>
                              <a:pt x="2795" y="1147"/>
                              <a:pt x="2804" y="1150"/>
                            </a:cubicBezTo>
                            <a:cubicBezTo>
                              <a:pt x="2813" y="1153"/>
                              <a:pt x="2812" y="1144"/>
                              <a:pt x="2820" y="1145"/>
                            </a:cubicBezTo>
                            <a:cubicBezTo>
                              <a:pt x="2827" y="1146"/>
                              <a:pt x="2827" y="1145"/>
                              <a:pt x="2835" y="1153"/>
                            </a:cubicBezTo>
                            <a:cubicBezTo>
                              <a:pt x="2843" y="1161"/>
                              <a:pt x="2838" y="1161"/>
                              <a:pt x="2855" y="1162"/>
                            </a:cubicBezTo>
                            <a:cubicBezTo>
                              <a:pt x="2872" y="1162"/>
                              <a:pt x="2873" y="1157"/>
                              <a:pt x="2886" y="1162"/>
                            </a:cubicBezTo>
                            <a:cubicBezTo>
                              <a:pt x="2899" y="1166"/>
                              <a:pt x="2908" y="1165"/>
                              <a:pt x="2918" y="1161"/>
                            </a:cubicBezTo>
                            <a:cubicBezTo>
                              <a:pt x="2927" y="1156"/>
                              <a:pt x="2933" y="1170"/>
                              <a:pt x="2935" y="1150"/>
                            </a:cubicBezTo>
                            <a:cubicBezTo>
                              <a:pt x="2938" y="1129"/>
                              <a:pt x="2942" y="1131"/>
                              <a:pt x="2933" y="1123"/>
                            </a:cubicBezTo>
                            <a:cubicBezTo>
                              <a:pt x="2924" y="1116"/>
                              <a:pt x="2920" y="1110"/>
                              <a:pt x="2926" y="1107"/>
                            </a:cubicBezTo>
                            <a:cubicBezTo>
                              <a:pt x="2931" y="1104"/>
                              <a:pt x="2942" y="1090"/>
                              <a:pt x="2934" y="1084"/>
                            </a:cubicBezTo>
                            <a:cubicBezTo>
                              <a:pt x="2927" y="1078"/>
                              <a:pt x="2918" y="1077"/>
                              <a:pt x="2906" y="1075"/>
                            </a:cubicBezTo>
                            <a:cubicBezTo>
                              <a:pt x="2894" y="1072"/>
                              <a:pt x="2897" y="1073"/>
                              <a:pt x="2887" y="1060"/>
                            </a:cubicBezTo>
                            <a:cubicBezTo>
                              <a:pt x="2877" y="1047"/>
                              <a:pt x="2881" y="1045"/>
                              <a:pt x="2866" y="1044"/>
                            </a:cubicBezTo>
                            <a:cubicBezTo>
                              <a:pt x="2850" y="1042"/>
                              <a:pt x="2836" y="1042"/>
                              <a:pt x="2821" y="1050"/>
                            </a:cubicBezTo>
                            <a:close/>
                            <a:moveTo>
                              <a:pt x="2915" y="1235"/>
                            </a:moveTo>
                            <a:cubicBezTo>
                              <a:pt x="2938" y="1232"/>
                              <a:pt x="2936" y="1231"/>
                              <a:pt x="2954" y="1231"/>
                            </a:cubicBezTo>
                            <a:cubicBezTo>
                              <a:pt x="2971" y="1232"/>
                              <a:pt x="2979" y="1231"/>
                              <a:pt x="2993" y="1233"/>
                            </a:cubicBezTo>
                            <a:cubicBezTo>
                              <a:pt x="3006" y="1236"/>
                              <a:pt x="2999" y="1242"/>
                              <a:pt x="3007" y="1246"/>
                            </a:cubicBezTo>
                            <a:cubicBezTo>
                              <a:pt x="3014" y="1250"/>
                              <a:pt x="3021" y="1253"/>
                              <a:pt x="3033" y="1249"/>
                            </a:cubicBezTo>
                            <a:cubicBezTo>
                              <a:pt x="3045" y="1244"/>
                              <a:pt x="3042" y="1241"/>
                              <a:pt x="3057" y="1241"/>
                            </a:cubicBezTo>
                            <a:cubicBezTo>
                              <a:pt x="3071" y="1241"/>
                              <a:pt x="3071" y="1239"/>
                              <a:pt x="3083" y="1245"/>
                            </a:cubicBezTo>
                            <a:cubicBezTo>
                              <a:pt x="3095" y="1251"/>
                              <a:pt x="3090" y="1250"/>
                              <a:pt x="3108" y="1251"/>
                            </a:cubicBezTo>
                            <a:cubicBezTo>
                              <a:pt x="3126" y="1252"/>
                              <a:pt x="3134" y="1247"/>
                              <a:pt x="3134" y="1255"/>
                            </a:cubicBezTo>
                            <a:cubicBezTo>
                              <a:pt x="3134" y="1262"/>
                              <a:pt x="3124" y="1262"/>
                              <a:pt x="3119" y="1274"/>
                            </a:cubicBezTo>
                            <a:cubicBezTo>
                              <a:pt x="3113" y="1286"/>
                              <a:pt x="3108" y="1294"/>
                              <a:pt x="3101" y="1295"/>
                            </a:cubicBezTo>
                            <a:cubicBezTo>
                              <a:pt x="3094" y="1297"/>
                              <a:pt x="3087" y="1292"/>
                              <a:pt x="3087" y="1298"/>
                            </a:cubicBezTo>
                            <a:cubicBezTo>
                              <a:pt x="3087" y="1304"/>
                              <a:pt x="3092" y="1309"/>
                              <a:pt x="3087" y="1314"/>
                            </a:cubicBezTo>
                            <a:cubicBezTo>
                              <a:pt x="3082" y="1320"/>
                              <a:pt x="3079" y="1324"/>
                              <a:pt x="3072" y="1329"/>
                            </a:cubicBezTo>
                            <a:cubicBezTo>
                              <a:pt x="3065" y="1334"/>
                              <a:pt x="3053" y="1329"/>
                              <a:pt x="3052" y="1336"/>
                            </a:cubicBezTo>
                            <a:cubicBezTo>
                              <a:pt x="3052" y="1342"/>
                              <a:pt x="3054" y="1340"/>
                              <a:pt x="3056" y="1345"/>
                            </a:cubicBezTo>
                            <a:cubicBezTo>
                              <a:pt x="3058" y="1349"/>
                              <a:pt x="3050" y="1356"/>
                              <a:pt x="3044" y="1362"/>
                            </a:cubicBezTo>
                            <a:cubicBezTo>
                              <a:pt x="3038" y="1367"/>
                              <a:pt x="3031" y="1369"/>
                              <a:pt x="3029" y="1377"/>
                            </a:cubicBezTo>
                            <a:cubicBezTo>
                              <a:pt x="3026" y="1386"/>
                              <a:pt x="3021" y="1385"/>
                              <a:pt x="3012" y="1390"/>
                            </a:cubicBezTo>
                            <a:cubicBezTo>
                              <a:pt x="3003" y="1394"/>
                              <a:pt x="2989" y="1397"/>
                              <a:pt x="2977" y="1394"/>
                            </a:cubicBezTo>
                            <a:cubicBezTo>
                              <a:pt x="2966" y="1390"/>
                              <a:pt x="2939" y="1381"/>
                              <a:pt x="2930" y="1382"/>
                            </a:cubicBezTo>
                            <a:cubicBezTo>
                              <a:pt x="2921" y="1384"/>
                              <a:pt x="2915" y="1384"/>
                              <a:pt x="2907" y="1385"/>
                            </a:cubicBezTo>
                            <a:cubicBezTo>
                              <a:pt x="2900" y="1387"/>
                              <a:pt x="2880" y="1385"/>
                              <a:pt x="2882" y="1391"/>
                            </a:cubicBezTo>
                            <a:cubicBezTo>
                              <a:pt x="2883" y="1396"/>
                              <a:pt x="2885" y="1400"/>
                              <a:pt x="2894" y="1399"/>
                            </a:cubicBezTo>
                            <a:cubicBezTo>
                              <a:pt x="2903" y="1398"/>
                              <a:pt x="2909" y="1393"/>
                              <a:pt x="2912" y="1398"/>
                            </a:cubicBezTo>
                            <a:cubicBezTo>
                              <a:pt x="2916" y="1403"/>
                              <a:pt x="2913" y="1405"/>
                              <a:pt x="2918" y="1408"/>
                            </a:cubicBezTo>
                            <a:cubicBezTo>
                              <a:pt x="2922" y="1412"/>
                              <a:pt x="2930" y="1409"/>
                              <a:pt x="2932" y="1418"/>
                            </a:cubicBezTo>
                            <a:cubicBezTo>
                              <a:pt x="2934" y="1427"/>
                              <a:pt x="2933" y="1429"/>
                              <a:pt x="2925" y="1435"/>
                            </a:cubicBezTo>
                            <a:cubicBezTo>
                              <a:pt x="2916" y="1440"/>
                              <a:pt x="2906" y="1440"/>
                              <a:pt x="2903" y="1452"/>
                            </a:cubicBezTo>
                            <a:cubicBezTo>
                              <a:pt x="2900" y="1463"/>
                              <a:pt x="2903" y="1467"/>
                              <a:pt x="2897" y="1472"/>
                            </a:cubicBezTo>
                            <a:cubicBezTo>
                              <a:pt x="2891" y="1477"/>
                              <a:pt x="2884" y="1478"/>
                              <a:pt x="2881" y="1480"/>
                            </a:cubicBezTo>
                            <a:cubicBezTo>
                              <a:pt x="2878" y="1483"/>
                              <a:pt x="2878" y="1489"/>
                              <a:pt x="2871" y="1490"/>
                            </a:cubicBezTo>
                            <a:cubicBezTo>
                              <a:pt x="2864" y="1490"/>
                              <a:pt x="2855" y="1491"/>
                              <a:pt x="2847" y="1488"/>
                            </a:cubicBezTo>
                            <a:cubicBezTo>
                              <a:pt x="2839" y="1485"/>
                              <a:pt x="2833" y="1482"/>
                              <a:pt x="2838" y="1476"/>
                            </a:cubicBezTo>
                            <a:cubicBezTo>
                              <a:pt x="2843" y="1470"/>
                              <a:pt x="2858" y="1460"/>
                              <a:pt x="2853" y="1458"/>
                            </a:cubicBezTo>
                            <a:cubicBezTo>
                              <a:pt x="2848" y="1455"/>
                              <a:pt x="2845" y="1463"/>
                              <a:pt x="2840" y="1454"/>
                            </a:cubicBezTo>
                            <a:cubicBezTo>
                              <a:pt x="2834" y="1445"/>
                              <a:pt x="2841" y="1444"/>
                              <a:pt x="2834" y="1431"/>
                            </a:cubicBezTo>
                            <a:cubicBezTo>
                              <a:pt x="2827" y="1418"/>
                              <a:pt x="2829" y="1420"/>
                              <a:pt x="2819" y="1412"/>
                            </a:cubicBezTo>
                            <a:cubicBezTo>
                              <a:pt x="2809" y="1404"/>
                              <a:pt x="2813" y="1408"/>
                              <a:pt x="2806" y="1394"/>
                            </a:cubicBezTo>
                            <a:cubicBezTo>
                              <a:pt x="2800" y="1380"/>
                              <a:pt x="2795" y="1385"/>
                              <a:pt x="2794" y="1373"/>
                            </a:cubicBezTo>
                            <a:cubicBezTo>
                              <a:pt x="2794" y="1361"/>
                              <a:pt x="2797" y="1364"/>
                              <a:pt x="2801" y="1350"/>
                            </a:cubicBezTo>
                            <a:cubicBezTo>
                              <a:pt x="2805" y="1336"/>
                              <a:pt x="2807" y="1342"/>
                              <a:pt x="2801" y="1324"/>
                            </a:cubicBezTo>
                            <a:cubicBezTo>
                              <a:pt x="2795" y="1306"/>
                              <a:pt x="2792" y="1297"/>
                              <a:pt x="2795" y="1288"/>
                            </a:cubicBezTo>
                            <a:cubicBezTo>
                              <a:pt x="2799" y="1280"/>
                              <a:pt x="2803" y="1278"/>
                              <a:pt x="2818" y="1282"/>
                            </a:cubicBezTo>
                            <a:cubicBezTo>
                              <a:pt x="2833" y="1287"/>
                              <a:pt x="2837" y="1286"/>
                              <a:pt x="2847" y="1285"/>
                            </a:cubicBezTo>
                            <a:cubicBezTo>
                              <a:pt x="2857" y="1284"/>
                              <a:pt x="2855" y="1276"/>
                              <a:pt x="2850" y="1275"/>
                            </a:cubicBezTo>
                            <a:cubicBezTo>
                              <a:pt x="2845" y="1274"/>
                              <a:pt x="2842" y="1272"/>
                              <a:pt x="2841" y="1266"/>
                            </a:cubicBezTo>
                            <a:cubicBezTo>
                              <a:pt x="2840" y="1260"/>
                              <a:pt x="2844" y="1267"/>
                              <a:pt x="2836" y="1259"/>
                            </a:cubicBezTo>
                            <a:cubicBezTo>
                              <a:pt x="2827" y="1251"/>
                              <a:pt x="2822" y="1247"/>
                              <a:pt x="2830" y="1243"/>
                            </a:cubicBezTo>
                            <a:cubicBezTo>
                              <a:pt x="2837" y="1240"/>
                              <a:pt x="2841" y="1236"/>
                              <a:pt x="2852" y="1234"/>
                            </a:cubicBezTo>
                            <a:cubicBezTo>
                              <a:pt x="2862" y="1233"/>
                              <a:pt x="2874" y="1230"/>
                              <a:pt x="2884" y="1232"/>
                            </a:cubicBezTo>
                            <a:cubicBezTo>
                              <a:pt x="2894" y="1234"/>
                              <a:pt x="2896" y="1239"/>
                              <a:pt x="2915" y="1235"/>
                            </a:cubicBezTo>
                            <a:close/>
                            <a:moveTo>
                              <a:pt x="3359" y="1889"/>
                            </a:moveTo>
                            <a:cubicBezTo>
                              <a:pt x="3362" y="1896"/>
                              <a:pt x="3366" y="1897"/>
                              <a:pt x="3370" y="1904"/>
                            </a:cubicBezTo>
                            <a:cubicBezTo>
                              <a:pt x="3374" y="1911"/>
                              <a:pt x="3371" y="1914"/>
                              <a:pt x="3370" y="1921"/>
                            </a:cubicBezTo>
                            <a:cubicBezTo>
                              <a:pt x="3370" y="1929"/>
                              <a:pt x="3372" y="1929"/>
                              <a:pt x="3368" y="1935"/>
                            </a:cubicBezTo>
                            <a:cubicBezTo>
                              <a:pt x="3365" y="1942"/>
                              <a:pt x="3369" y="1945"/>
                              <a:pt x="3358" y="1944"/>
                            </a:cubicBezTo>
                            <a:cubicBezTo>
                              <a:pt x="3346" y="1943"/>
                              <a:pt x="3340" y="1945"/>
                              <a:pt x="3341" y="1938"/>
                            </a:cubicBezTo>
                            <a:cubicBezTo>
                              <a:pt x="3343" y="1931"/>
                              <a:pt x="3351" y="1927"/>
                              <a:pt x="3345" y="1920"/>
                            </a:cubicBezTo>
                            <a:cubicBezTo>
                              <a:pt x="3338" y="1912"/>
                              <a:pt x="3335" y="1909"/>
                              <a:pt x="3341" y="1904"/>
                            </a:cubicBezTo>
                            <a:cubicBezTo>
                              <a:pt x="3347" y="1899"/>
                              <a:pt x="3352" y="1891"/>
                              <a:pt x="3352" y="1890"/>
                            </a:cubicBezTo>
                            <a:cubicBezTo>
                              <a:pt x="3352" y="1888"/>
                              <a:pt x="3358" y="1884"/>
                              <a:pt x="3359" y="1889"/>
                            </a:cubicBezTo>
                            <a:close/>
                            <a:moveTo>
                              <a:pt x="2803" y="1747"/>
                            </a:moveTo>
                            <a:cubicBezTo>
                              <a:pt x="2797" y="1746"/>
                              <a:pt x="2789" y="1749"/>
                              <a:pt x="2785" y="1754"/>
                            </a:cubicBezTo>
                            <a:cubicBezTo>
                              <a:pt x="2781" y="1758"/>
                              <a:pt x="2779" y="1758"/>
                              <a:pt x="2784" y="1761"/>
                            </a:cubicBezTo>
                            <a:cubicBezTo>
                              <a:pt x="2788" y="1764"/>
                              <a:pt x="2789" y="1759"/>
                              <a:pt x="2793" y="1760"/>
                            </a:cubicBezTo>
                            <a:cubicBezTo>
                              <a:pt x="2797" y="1761"/>
                              <a:pt x="2799" y="1766"/>
                              <a:pt x="2798" y="1768"/>
                            </a:cubicBezTo>
                            <a:cubicBezTo>
                              <a:pt x="2797" y="1771"/>
                              <a:pt x="2797" y="1777"/>
                              <a:pt x="2800" y="1778"/>
                            </a:cubicBezTo>
                            <a:cubicBezTo>
                              <a:pt x="2803" y="1780"/>
                              <a:pt x="2808" y="1777"/>
                              <a:pt x="2811" y="1774"/>
                            </a:cubicBezTo>
                            <a:cubicBezTo>
                              <a:pt x="2814" y="1771"/>
                              <a:pt x="2816" y="1770"/>
                              <a:pt x="2817" y="1763"/>
                            </a:cubicBezTo>
                            <a:cubicBezTo>
                              <a:pt x="2818" y="1755"/>
                              <a:pt x="2817" y="1757"/>
                              <a:pt x="2814" y="1753"/>
                            </a:cubicBezTo>
                            <a:cubicBezTo>
                              <a:pt x="2811" y="1749"/>
                              <a:pt x="2809" y="1750"/>
                              <a:pt x="2803" y="1747"/>
                            </a:cubicBezTo>
                            <a:close/>
                            <a:moveTo>
                              <a:pt x="2689" y="1732"/>
                            </a:moveTo>
                            <a:cubicBezTo>
                              <a:pt x="2688" y="1723"/>
                              <a:pt x="2683" y="1724"/>
                              <a:pt x="2674" y="1721"/>
                            </a:cubicBezTo>
                            <a:cubicBezTo>
                              <a:pt x="2665" y="1717"/>
                              <a:pt x="2669" y="1715"/>
                              <a:pt x="2657" y="1715"/>
                            </a:cubicBezTo>
                            <a:cubicBezTo>
                              <a:pt x="2644" y="1716"/>
                              <a:pt x="2652" y="1721"/>
                              <a:pt x="2646" y="1727"/>
                            </a:cubicBezTo>
                            <a:cubicBezTo>
                              <a:pt x="2639" y="1733"/>
                              <a:pt x="2636" y="1736"/>
                              <a:pt x="2634" y="1743"/>
                            </a:cubicBezTo>
                            <a:cubicBezTo>
                              <a:pt x="2632" y="1750"/>
                              <a:pt x="2633" y="1750"/>
                              <a:pt x="2628" y="1754"/>
                            </a:cubicBezTo>
                            <a:cubicBezTo>
                              <a:pt x="2623" y="1759"/>
                              <a:pt x="2624" y="1763"/>
                              <a:pt x="2626" y="1768"/>
                            </a:cubicBezTo>
                            <a:cubicBezTo>
                              <a:pt x="2628" y="1772"/>
                              <a:pt x="2636" y="1775"/>
                              <a:pt x="2636" y="1779"/>
                            </a:cubicBezTo>
                            <a:cubicBezTo>
                              <a:pt x="2636" y="1784"/>
                              <a:pt x="2620" y="1782"/>
                              <a:pt x="2616" y="1784"/>
                            </a:cubicBezTo>
                            <a:cubicBezTo>
                              <a:pt x="2611" y="1786"/>
                              <a:pt x="2611" y="1792"/>
                              <a:pt x="2601" y="1797"/>
                            </a:cubicBezTo>
                            <a:cubicBezTo>
                              <a:pt x="2592" y="1801"/>
                              <a:pt x="2587" y="1799"/>
                              <a:pt x="2578" y="1799"/>
                            </a:cubicBezTo>
                            <a:cubicBezTo>
                              <a:pt x="2569" y="1799"/>
                              <a:pt x="2563" y="1801"/>
                              <a:pt x="2560" y="1807"/>
                            </a:cubicBezTo>
                            <a:cubicBezTo>
                              <a:pt x="2556" y="1813"/>
                              <a:pt x="2560" y="1817"/>
                              <a:pt x="2562" y="1821"/>
                            </a:cubicBezTo>
                            <a:cubicBezTo>
                              <a:pt x="2564" y="1825"/>
                              <a:pt x="2572" y="1829"/>
                              <a:pt x="2581" y="1830"/>
                            </a:cubicBezTo>
                            <a:cubicBezTo>
                              <a:pt x="2590" y="1831"/>
                              <a:pt x="2587" y="1824"/>
                              <a:pt x="2592" y="1821"/>
                            </a:cubicBezTo>
                            <a:cubicBezTo>
                              <a:pt x="2598" y="1818"/>
                              <a:pt x="2600" y="1823"/>
                              <a:pt x="2604" y="1829"/>
                            </a:cubicBezTo>
                            <a:cubicBezTo>
                              <a:pt x="2607" y="1835"/>
                              <a:pt x="2611" y="1834"/>
                              <a:pt x="2615" y="1839"/>
                            </a:cubicBezTo>
                            <a:cubicBezTo>
                              <a:pt x="2619" y="1843"/>
                              <a:pt x="2623" y="1840"/>
                              <a:pt x="2627" y="1835"/>
                            </a:cubicBezTo>
                            <a:cubicBezTo>
                              <a:pt x="2631" y="1830"/>
                              <a:pt x="2636" y="1833"/>
                              <a:pt x="2640" y="1835"/>
                            </a:cubicBezTo>
                            <a:cubicBezTo>
                              <a:pt x="2643" y="1837"/>
                              <a:pt x="2648" y="1846"/>
                              <a:pt x="2653" y="1849"/>
                            </a:cubicBezTo>
                            <a:cubicBezTo>
                              <a:pt x="2659" y="1852"/>
                              <a:pt x="2668" y="1850"/>
                              <a:pt x="2677" y="1850"/>
                            </a:cubicBezTo>
                            <a:cubicBezTo>
                              <a:pt x="2685" y="1850"/>
                              <a:pt x="2688" y="1861"/>
                              <a:pt x="2691" y="1864"/>
                            </a:cubicBezTo>
                            <a:cubicBezTo>
                              <a:pt x="2694" y="1868"/>
                              <a:pt x="2704" y="1866"/>
                              <a:pt x="2711" y="1860"/>
                            </a:cubicBezTo>
                            <a:cubicBezTo>
                              <a:pt x="2718" y="1854"/>
                              <a:pt x="2719" y="1859"/>
                              <a:pt x="2724" y="1862"/>
                            </a:cubicBezTo>
                            <a:cubicBezTo>
                              <a:pt x="2728" y="1864"/>
                              <a:pt x="2739" y="1870"/>
                              <a:pt x="2751" y="1871"/>
                            </a:cubicBezTo>
                            <a:cubicBezTo>
                              <a:pt x="2763" y="1872"/>
                              <a:pt x="2767" y="1867"/>
                              <a:pt x="2774" y="1862"/>
                            </a:cubicBezTo>
                            <a:cubicBezTo>
                              <a:pt x="2781" y="1858"/>
                              <a:pt x="2786" y="1858"/>
                              <a:pt x="2795" y="1847"/>
                            </a:cubicBezTo>
                            <a:cubicBezTo>
                              <a:pt x="2803" y="1837"/>
                              <a:pt x="2813" y="1840"/>
                              <a:pt x="2822" y="1839"/>
                            </a:cubicBezTo>
                            <a:cubicBezTo>
                              <a:pt x="2831" y="1838"/>
                              <a:pt x="2829" y="1836"/>
                              <a:pt x="2825" y="1830"/>
                            </a:cubicBezTo>
                            <a:cubicBezTo>
                              <a:pt x="2821" y="1823"/>
                              <a:pt x="2816" y="1829"/>
                              <a:pt x="2808" y="1831"/>
                            </a:cubicBezTo>
                            <a:cubicBezTo>
                              <a:pt x="2799" y="1833"/>
                              <a:pt x="2797" y="1831"/>
                              <a:pt x="2789" y="1820"/>
                            </a:cubicBezTo>
                            <a:cubicBezTo>
                              <a:pt x="2780" y="1809"/>
                              <a:pt x="2786" y="1811"/>
                              <a:pt x="2784" y="1804"/>
                            </a:cubicBezTo>
                            <a:cubicBezTo>
                              <a:pt x="2782" y="1796"/>
                              <a:pt x="2777" y="1798"/>
                              <a:pt x="2773" y="1805"/>
                            </a:cubicBezTo>
                            <a:cubicBezTo>
                              <a:pt x="2769" y="1813"/>
                              <a:pt x="2767" y="1804"/>
                              <a:pt x="2763" y="1797"/>
                            </a:cubicBezTo>
                            <a:cubicBezTo>
                              <a:pt x="2760" y="1790"/>
                              <a:pt x="2763" y="1784"/>
                              <a:pt x="2759" y="1777"/>
                            </a:cubicBezTo>
                            <a:cubicBezTo>
                              <a:pt x="2755" y="1770"/>
                              <a:pt x="2748" y="1767"/>
                              <a:pt x="2740" y="1761"/>
                            </a:cubicBezTo>
                            <a:cubicBezTo>
                              <a:pt x="2733" y="1755"/>
                              <a:pt x="2728" y="1757"/>
                              <a:pt x="2710" y="1748"/>
                            </a:cubicBezTo>
                            <a:cubicBezTo>
                              <a:pt x="2692" y="1740"/>
                              <a:pt x="2697" y="1741"/>
                              <a:pt x="2689" y="1732"/>
                            </a:cubicBezTo>
                            <a:close/>
                            <a:moveTo>
                              <a:pt x="2495" y="1822"/>
                            </a:moveTo>
                            <a:cubicBezTo>
                              <a:pt x="2492" y="1828"/>
                              <a:pt x="2493" y="1831"/>
                              <a:pt x="2497" y="1835"/>
                            </a:cubicBezTo>
                            <a:cubicBezTo>
                              <a:pt x="2501" y="1840"/>
                              <a:pt x="2501" y="1849"/>
                              <a:pt x="2508" y="1845"/>
                            </a:cubicBezTo>
                            <a:cubicBezTo>
                              <a:pt x="2515" y="1841"/>
                              <a:pt x="2520" y="1841"/>
                              <a:pt x="2519" y="1833"/>
                            </a:cubicBezTo>
                            <a:cubicBezTo>
                              <a:pt x="2517" y="1825"/>
                              <a:pt x="2517" y="1823"/>
                              <a:pt x="2513" y="1819"/>
                            </a:cubicBezTo>
                            <a:cubicBezTo>
                              <a:pt x="2509" y="1815"/>
                              <a:pt x="2501" y="1811"/>
                              <a:pt x="2495" y="1822"/>
                            </a:cubicBezTo>
                            <a:close/>
                            <a:moveTo>
                              <a:pt x="2523" y="1798"/>
                            </a:moveTo>
                            <a:cubicBezTo>
                              <a:pt x="2521" y="1801"/>
                              <a:pt x="2517" y="1804"/>
                              <a:pt x="2522" y="1810"/>
                            </a:cubicBezTo>
                            <a:cubicBezTo>
                              <a:pt x="2527" y="1816"/>
                              <a:pt x="2527" y="1825"/>
                              <a:pt x="2530" y="1820"/>
                            </a:cubicBezTo>
                            <a:cubicBezTo>
                              <a:pt x="2534" y="1814"/>
                              <a:pt x="2533" y="1811"/>
                              <a:pt x="2534" y="1807"/>
                            </a:cubicBezTo>
                            <a:cubicBezTo>
                              <a:pt x="2534" y="1803"/>
                              <a:pt x="2529" y="1793"/>
                              <a:pt x="2523" y="1798"/>
                            </a:cubicBezTo>
                            <a:close/>
                            <a:moveTo>
                              <a:pt x="2418" y="1837"/>
                            </a:moveTo>
                            <a:cubicBezTo>
                              <a:pt x="2408" y="1833"/>
                              <a:pt x="2407" y="1837"/>
                              <a:pt x="2401" y="1839"/>
                            </a:cubicBezTo>
                            <a:cubicBezTo>
                              <a:pt x="2396" y="1842"/>
                              <a:pt x="2390" y="1843"/>
                              <a:pt x="2390" y="1847"/>
                            </a:cubicBezTo>
                            <a:cubicBezTo>
                              <a:pt x="2390" y="1851"/>
                              <a:pt x="2397" y="1850"/>
                              <a:pt x="2401" y="1855"/>
                            </a:cubicBezTo>
                            <a:cubicBezTo>
                              <a:pt x="2404" y="1859"/>
                              <a:pt x="2417" y="1858"/>
                              <a:pt x="2419" y="1853"/>
                            </a:cubicBezTo>
                            <a:cubicBezTo>
                              <a:pt x="2421" y="1848"/>
                              <a:pt x="2426" y="1848"/>
                              <a:pt x="2429" y="1842"/>
                            </a:cubicBezTo>
                            <a:cubicBezTo>
                              <a:pt x="2432" y="1836"/>
                              <a:pt x="2427" y="1840"/>
                              <a:pt x="2418" y="1837"/>
                            </a:cubicBezTo>
                            <a:close/>
                            <a:moveTo>
                              <a:pt x="2234" y="1859"/>
                            </a:moveTo>
                            <a:cubicBezTo>
                              <a:pt x="2226" y="1859"/>
                              <a:pt x="2217" y="1864"/>
                              <a:pt x="2224" y="1865"/>
                            </a:cubicBezTo>
                            <a:cubicBezTo>
                              <a:pt x="2231" y="1866"/>
                              <a:pt x="2237" y="1875"/>
                              <a:pt x="2241" y="1878"/>
                            </a:cubicBezTo>
                            <a:cubicBezTo>
                              <a:pt x="2246" y="1880"/>
                              <a:pt x="2255" y="1877"/>
                              <a:pt x="2256" y="1875"/>
                            </a:cubicBezTo>
                            <a:cubicBezTo>
                              <a:pt x="2258" y="1871"/>
                              <a:pt x="2254" y="1871"/>
                              <a:pt x="2249" y="1866"/>
                            </a:cubicBezTo>
                            <a:cubicBezTo>
                              <a:pt x="2245" y="1860"/>
                              <a:pt x="2243" y="1859"/>
                              <a:pt x="2234" y="1859"/>
                            </a:cubicBezTo>
                            <a:close/>
                            <a:moveTo>
                              <a:pt x="2490" y="1628"/>
                            </a:moveTo>
                            <a:cubicBezTo>
                              <a:pt x="2483" y="1627"/>
                              <a:pt x="2484" y="1641"/>
                              <a:pt x="2489" y="1645"/>
                            </a:cubicBezTo>
                            <a:cubicBezTo>
                              <a:pt x="2493" y="1648"/>
                              <a:pt x="2505" y="1648"/>
                              <a:pt x="2511" y="1653"/>
                            </a:cubicBezTo>
                            <a:cubicBezTo>
                              <a:pt x="2517" y="1658"/>
                              <a:pt x="2515" y="1654"/>
                              <a:pt x="2516" y="1648"/>
                            </a:cubicBezTo>
                            <a:cubicBezTo>
                              <a:pt x="2517" y="1643"/>
                              <a:pt x="2514" y="1637"/>
                              <a:pt x="2509" y="1634"/>
                            </a:cubicBezTo>
                            <a:cubicBezTo>
                              <a:pt x="2504" y="1631"/>
                              <a:pt x="2500" y="1630"/>
                              <a:pt x="2490" y="1628"/>
                            </a:cubicBezTo>
                            <a:close/>
                            <a:moveTo>
                              <a:pt x="2674" y="1326"/>
                            </a:moveTo>
                            <a:cubicBezTo>
                              <a:pt x="2680" y="1326"/>
                              <a:pt x="2688" y="1320"/>
                              <a:pt x="2695" y="1320"/>
                            </a:cubicBezTo>
                            <a:cubicBezTo>
                              <a:pt x="2702" y="1319"/>
                              <a:pt x="2706" y="1314"/>
                              <a:pt x="2706" y="1308"/>
                            </a:cubicBezTo>
                            <a:cubicBezTo>
                              <a:pt x="2707" y="1303"/>
                              <a:pt x="2705" y="1305"/>
                              <a:pt x="2695" y="1305"/>
                            </a:cubicBezTo>
                            <a:cubicBezTo>
                              <a:pt x="2685" y="1305"/>
                              <a:pt x="2684" y="1301"/>
                              <a:pt x="2681" y="1295"/>
                            </a:cubicBezTo>
                            <a:cubicBezTo>
                              <a:pt x="2677" y="1289"/>
                              <a:pt x="2693" y="1293"/>
                              <a:pt x="2702" y="1290"/>
                            </a:cubicBezTo>
                            <a:cubicBezTo>
                              <a:pt x="2712" y="1287"/>
                              <a:pt x="2717" y="1280"/>
                              <a:pt x="2719" y="1270"/>
                            </a:cubicBezTo>
                            <a:cubicBezTo>
                              <a:pt x="2722" y="1260"/>
                              <a:pt x="2708" y="1265"/>
                              <a:pt x="2694" y="1259"/>
                            </a:cubicBezTo>
                            <a:cubicBezTo>
                              <a:pt x="2681" y="1253"/>
                              <a:pt x="2674" y="1257"/>
                              <a:pt x="2666" y="1259"/>
                            </a:cubicBezTo>
                            <a:cubicBezTo>
                              <a:pt x="2658" y="1260"/>
                              <a:pt x="2651" y="1267"/>
                              <a:pt x="2640" y="1272"/>
                            </a:cubicBezTo>
                            <a:cubicBezTo>
                              <a:pt x="2628" y="1277"/>
                              <a:pt x="2623" y="1273"/>
                              <a:pt x="2604" y="1275"/>
                            </a:cubicBezTo>
                            <a:cubicBezTo>
                              <a:pt x="2586" y="1277"/>
                              <a:pt x="2590" y="1278"/>
                              <a:pt x="2577" y="1272"/>
                            </a:cubicBezTo>
                            <a:cubicBezTo>
                              <a:pt x="2564" y="1266"/>
                              <a:pt x="2558" y="1260"/>
                              <a:pt x="2546" y="1263"/>
                            </a:cubicBezTo>
                            <a:cubicBezTo>
                              <a:pt x="2533" y="1266"/>
                              <a:pt x="2536" y="1274"/>
                              <a:pt x="2524" y="1274"/>
                            </a:cubicBezTo>
                            <a:cubicBezTo>
                              <a:pt x="2513" y="1273"/>
                              <a:pt x="2512" y="1268"/>
                              <a:pt x="2500" y="1262"/>
                            </a:cubicBezTo>
                            <a:cubicBezTo>
                              <a:pt x="2487" y="1255"/>
                              <a:pt x="2483" y="1262"/>
                              <a:pt x="2473" y="1262"/>
                            </a:cubicBezTo>
                            <a:cubicBezTo>
                              <a:pt x="2462" y="1262"/>
                              <a:pt x="2470" y="1272"/>
                              <a:pt x="2475" y="1280"/>
                            </a:cubicBezTo>
                            <a:cubicBezTo>
                              <a:pt x="2480" y="1289"/>
                              <a:pt x="2491" y="1285"/>
                              <a:pt x="2497" y="1286"/>
                            </a:cubicBezTo>
                            <a:cubicBezTo>
                              <a:pt x="2503" y="1287"/>
                              <a:pt x="2508" y="1297"/>
                              <a:pt x="2510" y="1307"/>
                            </a:cubicBezTo>
                            <a:cubicBezTo>
                              <a:pt x="2511" y="1317"/>
                              <a:pt x="2521" y="1323"/>
                              <a:pt x="2528" y="1328"/>
                            </a:cubicBezTo>
                            <a:cubicBezTo>
                              <a:pt x="2536" y="1332"/>
                              <a:pt x="2542" y="1332"/>
                              <a:pt x="2544" y="1337"/>
                            </a:cubicBezTo>
                            <a:cubicBezTo>
                              <a:pt x="2546" y="1343"/>
                              <a:pt x="2538" y="1340"/>
                              <a:pt x="2522" y="1337"/>
                            </a:cubicBezTo>
                            <a:cubicBezTo>
                              <a:pt x="2507" y="1333"/>
                              <a:pt x="2506" y="1337"/>
                              <a:pt x="2501" y="1342"/>
                            </a:cubicBezTo>
                            <a:cubicBezTo>
                              <a:pt x="2495" y="1346"/>
                              <a:pt x="2500" y="1349"/>
                              <a:pt x="2510" y="1350"/>
                            </a:cubicBezTo>
                            <a:cubicBezTo>
                              <a:pt x="2519" y="1352"/>
                              <a:pt x="2521" y="1356"/>
                              <a:pt x="2528" y="1364"/>
                            </a:cubicBezTo>
                            <a:cubicBezTo>
                              <a:pt x="2536" y="1371"/>
                              <a:pt x="2524" y="1371"/>
                              <a:pt x="2515" y="1373"/>
                            </a:cubicBezTo>
                            <a:cubicBezTo>
                              <a:pt x="2505" y="1374"/>
                              <a:pt x="2513" y="1384"/>
                              <a:pt x="2507" y="1388"/>
                            </a:cubicBezTo>
                            <a:cubicBezTo>
                              <a:pt x="2500" y="1393"/>
                              <a:pt x="2497" y="1388"/>
                              <a:pt x="2487" y="1395"/>
                            </a:cubicBezTo>
                            <a:cubicBezTo>
                              <a:pt x="2477" y="1402"/>
                              <a:pt x="2473" y="1401"/>
                              <a:pt x="2460" y="1390"/>
                            </a:cubicBezTo>
                            <a:cubicBezTo>
                              <a:pt x="2447" y="1379"/>
                              <a:pt x="2443" y="1379"/>
                              <a:pt x="2433" y="1368"/>
                            </a:cubicBezTo>
                            <a:cubicBezTo>
                              <a:pt x="2422" y="1356"/>
                              <a:pt x="2419" y="1353"/>
                              <a:pt x="2408" y="1352"/>
                            </a:cubicBezTo>
                            <a:cubicBezTo>
                              <a:pt x="2397" y="1350"/>
                              <a:pt x="2384" y="1353"/>
                              <a:pt x="2378" y="1362"/>
                            </a:cubicBezTo>
                            <a:cubicBezTo>
                              <a:pt x="2373" y="1371"/>
                              <a:pt x="2369" y="1377"/>
                              <a:pt x="2365" y="1389"/>
                            </a:cubicBezTo>
                            <a:cubicBezTo>
                              <a:pt x="2360" y="1400"/>
                              <a:pt x="2367" y="1397"/>
                              <a:pt x="2374" y="1403"/>
                            </a:cubicBezTo>
                            <a:cubicBezTo>
                              <a:pt x="2381" y="1409"/>
                              <a:pt x="2383" y="1410"/>
                              <a:pt x="2392" y="1412"/>
                            </a:cubicBezTo>
                            <a:cubicBezTo>
                              <a:pt x="2401" y="1415"/>
                              <a:pt x="2409" y="1419"/>
                              <a:pt x="2412" y="1424"/>
                            </a:cubicBezTo>
                            <a:cubicBezTo>
                              <a:pt x="2415" y="1428"/>
                              <a:pt x="2415" y="1436"/>
                              <a:pt x="2422" y="1441"/>
                            </a:cubicBezTo>
                            <a:cubicBezTo>
                              <a:pt x="2428" y="1445"/>
                              <a:pt x="2434" y="1446"/>
                              <a:pt x="2440" y="1447"/>
                            </a:cubicBezTo>
                            <a:cubicBezTo>
                              <a:pt x="2446" y="1448"/>
                              <a:pt x="2451" y="1442"/>
                              <a:pt x="2456" y="1442"/>
                            </a:cubicBezTo>
                            <a:cubicBezTo>
                              <a:pt x="2461" y="1441"/>
                              <a:pt x="2466" y="1451"/>
                              <a:pt x="2468" y="1454"/>
                            </a:cubicBezTo>
                            <a:cubicBezTo>
                              <a:pt x="2471" y="1458"/>
                              <a:pt x="2480" y="1458"/>
                              <a:pt x="2487" y="1458"/>
                            </a:cubicBezTo>
                            <a:cubicBezTo>
                              <a:pt x="2493" y="1458"/>
                              <a:pt x="2501" y="1467"/>
                              <a:pt x="2506" y="1474"/>
                            </a:cubicBezTo>
                            <a:cubicBezTo>
                              <a:pt x="2512" y="1480"/>
                              <a:pt x="2518" y="1485"/>
                              <a:pt x="2528" y="1492"/>
                            </a:cubicBezTo>
                            <a:cubicBezTo>
                              <a:pt x="2538" y="1499"/>
                              <a:pt x="2539" y="1503"/>
                              <a:pt x="2545" y="1505"/>
                            </a:cubicBezTo>
                            <a:cubicBezTo>
                              <a:pt x="2551" y="1508"/>
                              <a:pt x="2566" y="1523"/>
                              <a:pt x="2570" y="1532"/>
                            </a:cubicBezTo>
                            <a:cubicBezTo>
                              <a:pt x="2575" y="1540"/>
                              <a:pt x="2573" y="1550"/>
                              <a:pt x="2579" y="1551"/>
                            </a:cubicBezTo>
                            <a:cubicBezTo>
                              <a:pt x="2586" y="1553"/>
                              <a:pt x="2590" y="1548"/>
                              <a:pt x="2595" y="1547"/>
                            </a:cubicBezTo>
                            <a:cubicBezTo>
                              <a:pt x="2600" y="1546"/>
                              <a:pt x="2604" y="1559"/>
                              <a:pt x="2611" y="1556"/>
                            </a:cubicBezTo>
                            <a:cubicBezTo>
                              <a:pt x="2617" y="1552"/>
                              <a:pt x="2625" y="1548"/>
                              <a:pt x="2631" y="1544"/>
                            </a:cubicBezTo>
                            <a:cubicBezTo>
                              <a:pt x="2637" y="1540"/>
                              <a:pt x="2647" y="1536"/>
                              <a:pt x="2642" y="1530"/>
                            </a:cubicBezTo>
                            <a:cubicBezTo>
                              <a:pt x="2637" y="1525"/>
                              <a:pt x="2633" y="1515"/>
                              <a:pt x="2633" y="1505"/>
                            </a:cubicBezTo>
                            <a:cubicBezTo>
                              <a:pt x="2633" y="1495"/>
                              <a:pt x="2635" y="1493"/>
                              <a:pt x="2638" y="1490"/>
                            </a:cubicBezTo>
                            <a:cubicBezTo>
                              <a:pt x="2642" y="1488"/>
                              <a:pt x="2644" y="1494"/>
                              <a:pt x="2641" y="1501"/>
                            </a:cubicBezTo>
                            <a:cubicBezTo>
                              <a:pt x="2639" y="1508"/>
                              <a:pt x="2646" y="1515"/>
                              <a:pt x="2652" y="1517"/>
                            </a:cubicBezTo>
                            <a:cubicBezTo>
                              <a:pt x="2658" y="1519"/>
                              <a:pt x="2672" y="1522"/>
                              <a:pt x="2680" y="1514"/>
                            </a:cubicBezTo>
                            <a:cubicBezTo>
                              <a:pt x="2688" y="1506"/>
                              <a:pt x="2699" y="1511"/>
                              <a:pt x="2705" y="1505"/>
                            </a:cubicBezTo>
                            <a:cubicBezTo>
                              <a:pt x="2710" y="1500"/>
                              <a:pt x="2722" y="1496"/>
                              <a:pt x="2729" y="1495"/>
                            </a:cubicBezTo>
                            <a:cubicBezTo>
                              <a:pt x="2735" y="1494"/>
                              <a:pt x="2752" y="1490"/>
                              <a:pt x="2751" y="1485"/>
                            </a:cubicBezTo>
                            <a:cubicBezTo>
                              <a:pt x="2750" y="1479"/>
                              <a:pt x="2742" y="1480"/>
                              <a:pt x="2738" y="1473"/>
                            </a:cubicBezTo>
                            <a:cubicBezTo>
                              <a:pt x="2735" y="1465"/>
                              <a:pt x="2743" y="1469"/>
                              <a:pt x="2746" y="1464"/>
                            </a:cubicBezTo>
                            <a:cubicBezTo>
                              <a:pt x="2750" y="1459"/>
                              <a:pt x="2747" y="1453"/>
                              <a:pt x="2744" y="1448"/>
                            </a:cubicBezTo>
                            <a:cubicBezTo>
                              <a:pt x="2742" y="1442"/>
                              <a:pt x="2737" y="1444"/>
                              <a:pt x="2731" y="1444"/>
                            </a:cubicBezTo>
                            <a:cubicBezTo>
                              <a:pt x="2725" y="1444"/>
                              <a:pt x="2731" y="1436"/>
                              <a:pt x="2737" y="1433"/>
                            </a:cubicBezTo>
                            <a:cubicBezTo>
                              <a:pt x="2743" y="1430"/>
                              <a:pt x="2752" y="1432"/>
                              <a:pt x="2759" y="1430"/>
                            </a:cubicBezTo>
                            <a:cubicBezTo>
                              <a:pt x="2765" y="1429"/>
                              <a:pt x="2758" y="1422"/>
                              <a:pt x="2756" y="1415"/>
                            </a:cubicBezTo>
                            <a:cubicBezTo>
                              <a:pt x="2753" y="1407"/>
                              <a:pt x="2752" y="1408"/>
                              <a:pt x="2751" y="1399"/>
                            </a:cubicBezTo>
                            <a:cubicBezTo>
                              <a:pt x="2750" y="1390"/>
                              <a:pt x="2749" y="1389"/>
                              <a:pt x="2743" y="1392"/>
                            </a:cubicBezTo>
                            <a:cubicBezTo>
                              <a:pt x="2737" y="1394"/>
                              <a:pt x="2732" y="1397"/>
                              <a:pt x="2726" y="1401"/>
                            </a:cubicBezTo>
                            <a:cubicBezTo>
                              <a:pt x="2720" y="1405"/>
                              <a:pt x="2716" y="1402"/>
                              <a:pt x="2710" y="1401"/>
                            </a:cubicBezTo>
                            <a:cubicBezTo>
                              <a:pt x="2704" y="1400"/>
                              <a:pt x="2708" y="1391"/>
                              <a:pt x="2708" y="1383"/>
                            </a:cubicBezTo>
                            <a:cubicBezTo>
                              <a:pt x="2707" y="1375"/>
                              <a:pt x="2704" y="1373"/>
                              <a:pt x="2698" y="1366"/>
                            </a:cubicBezTo>
                            <a:cubicBezTo>
                              <a:pt x="2692" y="1360"/>
                              <a:pt x="2692" y="1365"/>
                              <a:pt x="2681" y="1363"/>
                            </a:cubicBezTo>
                            <a:cubicBezTo>
                              <a:pt x="2671" y="1361"/>
                              <a:pt x="2674" y="1359"/>
                              <a:pt x="2662" y="1357"/>
                            </a:cubicBezTo>
                            <a:cubicBezTo>
                              <a:pt x="2650" y="1355"/>
                              <a:pt x="2650" y="1358"/>
                              <a:pt x="2645" y="1364"/>
                            </a:cubicBezTo>
                            <a:cubicBezTo>
                              <a:pt x="2641" y="1370"/>
                              <a:pt x="2639" y="1373"/>
                              <a:pt x="2634" y="1378"/>
                            </a:cubicBezTo>
                            <a:cubicBezTo>
                              <a:pt x="2629" y="1383"/>
                              <a:pt x="2629" y="1377"/>
                              <a:pt x="2625" y="1372"/>
                            </a:cubicBezTo>
                            <a:cubicBezTo>
                              <a:pt x="2622" y="1367"/>
                              <a:pt x="2624" y="1364"/>
                              <a:pt x="2632" y="1355"/>
                            </a:cubicBezTo>
                            <a:cubicBezTo>
                              <a:pt x="2639" y="1347"/>
                              <a:pt x="2643" y="1344"/>
                              <a:pt x="2653" y="1337"/>
                            </a:cubicBezTo>
                            <a:cubicBezTo>
                              <a:pt x="2662" y="1330"/>
                              <a:pt x="2668" y="1329"/>
                              <a:pt x="2674" y="1326"/>
                            </a:cubicBezTo>
                            <a:close/>
                            <a:moveTo>
                              <a:pt x="2450" y="1298"/>
                            </a:moveTo>
                            <a:cubicBezTo>
                              <a:pt x="2464" y="1294"/>
                              <a:pt x="2468" y="1291"/>
                              <a:pt x="2477" y="1296"/>
                            </a:cubicBezTo>
                            <a:cubicBezTo>
                              <a:pt x="2486" y="1301"/>
                              <a:pt x="2489" y="1303"/>
                              <a:pt x="2494" y="1308"/>
                            </a:cubicBezTo>
                            <a:cubicBezTo>
                              <a:pt x="2499" y="1313"/>
                              <a:pt x="2505" y="1316"/>
                              <a:pt x="2502" y="1320"/>
                            </a:cubicBezTo>
                            <a:cubicBezTo>
                              <a:pt x="2499" y="1325"/>
                              <a:pt x="2491" y="1322"/>
                              <a:pt x="2482" y="1325"/>
                            </a:cubicBezTo>
                            <a:cubicBezTo>
                              <a:pt x="2473" y="1328"/>
                              <a:pt x="2458" y="1321"/>
                              <a:pt x="2453" y="1317"/>
                            </a:cubicBezTo>
                            <a:cubicBezTo>
                              <a:pt x="2449" y="1314"/>
                              <a:pt x="2437" y="1314"/>
                              <a:pt x="2436" y="1309"/>
                            </a:cubicBezTo>
                            <a:cubicBezTo>
                              <a:pt x="2436" y="1304"/>
                              <a:pt x="2443" y="1299"/>
                              <a:pt x="2450" y="1298"/>
                            </a:cubicBezTo>
                            <a:close/>
                            <a:moveTo>
                              <a:pt x="2622" y="1243"/>
                            </a:moveTo>
                            <a:cubicBezTo>
                              <a:pt x="2635" y="1241"/>
                              <a:pt x="2641" y="1237"/>
                              <a:pt x="2652" y="1235"/>
                            </a:cubicBezTo>
                            <a:cubicBezTo>
                              <a:pt x="2662" y="1232"/>
                              <a:pt x="2680" y="1224"/>
                              <a:pt x="2679" y="1230"/>
                            </a:cubicBezTo>
                            <a:cubicBezTo>
                              <a:pt x="2679" y="1237"/>
                              <a:pt x="2674" y="1244"/>
                              <a:pt x="2660" y="1248"/>
                            </a:cubicBezTo>
                            <a:cubicBezTo>
                              <a:pt x="2646" y="1252"/>
                              <a:pt x="2640" y="1257"/>
                              <a:pt x="2626" y="1260"/>
                            </a:cubicBezTo>
                            <a:cubicBezTo>
                              <a:pt x="2611" y="1262"/>
                              <a:pt x="2594" y="1260"/>
                              <a:pt x="2586" y="1258"/>
                            </a:cubicBezTo>
                            <a:cubicBezTo>
                              <a:pt x="2579" y="1255"/>
                              <a:pt x="2571" y="1251"/>
                              <a:pt x="2578" y="1249"/>
                            </a:cubicBezTo>
                            <a:cubicBezTo>
                              <a:pt x="2585" y="1248"/>
                              <a:pt x="2606" y="1244"/>
                              <a:pt x="2622" y="1243"/>
                            </a:cubicBezTo>
                            <a:close/>
                            <a:moveTo>
                              <a:pt x="2722" y="1345"/>
                            </a:moveTo>
                            <a:cubicBezTo>
                              <a:pt x="2715" y="1347"/>
                              <a:pt x="2706" y="1344"/>
                              <a:pt x="2711" y="1353"/>
                            </a:cubicBezTo>
                            <a:cubicBezTo>
                              <a:pt x="2715" y="1363"/>
                              <a:pt x="2714" y="1374"/>
                              <a:pt x="2724" y="1372"/>
                            </a:cubicBezTo>
                            <a:cubicBezTo>
                              <a:pt x="2734" y="1370"/>
                              <a:pt x="2744" y="1368"/>
                              <a:pt x="2744" y="1362"/>
                            </a:cubicBezTo>
                            <a:cubicBezTo>
                              <a:pt x="2744" y="1355"/>
                              <a:pt x="2740" y="1349"/>
                              <a:pt x="2737" y="1346"/>
                            </a:cubicBezTo>
                            <a:cubicBezTo>
                              <a:pt x="2733" y="1343"/>
                              <a:pt x="2728" y="1341"/>
                              <a:pt x="2722" y="1345"/>
                            </a:cubicBezTo>
                            <a:close/>
                            <a:moveTo>
                              <a:pt x="2155" y="1273"/>
                            </a:moveTo>
                            <a:cubicBezTo>
                              <a:pt x="2177" y="1274"/>
                              <a:pt x="2176" y="1275"/>
                              <a:pt x="2191" y="1272"/>
                            </a:cubicBezTo>
                            <a:cubicBezTo>
                              <a:pt x="2205" y="1268"/>
                              <a:pt x="2210" y="1267"/>
                              <a:pt x="2219" y="1275"/>
                            </a:cubicBezTo>
                            <a:cubicBezTo>
                              <a:pt x="2227" y="1282"/>
                              <a:pt x="2234" y="1282"/>
                              <a:pt x="2241" y="1287"/>
                            </a:cubicBezTo>
                            <a:cubicBezTo>
                              <a:pt x="2248" y="1291"/>
                              <a:pt x="2251" y="1292"/>
                              <a:pt x="2249" y="1304"/>
                            </a:cubicBezTo>
                            <a:cubicBezTo>
                              <a:pt x="2247" y="1317"/>
                              <a:pt x="2241" y="1313"/>
                              <a:pt x="2241" y="1324"/>
                            </a:cubicBezTo>
                            <a:cubicBezTo>
                              <a:pt x="2241" y="1335"/>
                              <a:pt x="2235" y="1336"/>
                              <a:pt x="2227" y="1346"/>
                            </a:cubicBezTo>
                            <a:cubicBezTo>
                              <a:pt x="2219" y="1356"/>
                              <a:pt x="2217" y="1363"/>
                              <a:pt x="2208" y="1363"/>
                            </a:cubicBezTo>
                            <a:cubicBezTo>
                              <a:pt x="2198" y="1364"/>
                              <a:pt x="2192" y="1366"/>
                              <a:pt x="2187" y="1361"/>
                            </a:cubicBezTo>
                            <a:cubicBezTo>
                              <a:pt x="2181" y="1355"/>
                              <a:pt x="2181" y="1348"/>
                              <a:pt x="2169" y="1341"/>
                            </a:cubicBezTo>
                            <a:cubicBezTo>
                              <a:pt x="2157" y="1334"/>
                              <a:pt x="2157" y="1329"/>
                              <a:pt x="2147" y="1323"/>
                            </a:cubicBezTo>
                            <a:cubicBezTo>
                              <a:pt x="2138" y="1317"/>
                              <a:pt x="2129" y="1309"/>
                              <a:pt x="2118" y="1308"/>
                            </a:cubicBezTo>
                            <a:cubicBezTo>
                              <a:pt x="2108" y="1307"/>
                              <a:pt x="2103" y="1313"/>
                              <a:pt x="2100" y="1305"/>
                            </a:cubicBezTo>
                            <a:cubicBezTo>
                              <a:pt x="2097" y="1297"/>
                              <a:pt x="2102" y="1295"/>
                              <a:pt x="2112" y="1289"/>
                            </a:cubicBezTo>
                            <a:cubicBezTo>
                              <a:pt x="2121" y="1283"/>
                              <a:pt x="2125" y="1280"/>
                              <a:pt x="2132" y="1279"/>
                            </a:cubicBezTo>
                            <a:cubicBezTo>
                              <a:pt x="2140" y="1277"/>
                              <a:pt x="2141" y="1273"/>
                              <a:pt x="2155" y="1273"/>
                            </a:cubicBezTo>
                            <a:close/>
                            <a:moveTo>
                              <a:pt x="2043" y="1285"/>
                            </a:moveTo>
                            <a:cubicBezTo>
                              <a:pt x="2052" y="1285"/>
                              <a:pt x="2056" y="1285"/>
                              <a:pt x="2058" y="1289"/>
                            </a:cubicBezTo>
                            <a:cubicBezTo>
                              <a:pt x="2061" y="1294"/>
                              <a:pt x="2061" y="1299"/>
                              <a:pt x="2056" y="1297"/>
                            </a:cubicBezTo>
                            <a:cubicBezTo>
                              <a:pt x="2051" y="1296"/>
                              <a:pt x="2045" y="1295"/>
                              <a:pt x="2040" y="1295"/>
                            </a:cubicBezTo>
                            <a:cubicBezTo>
                              <a:pt x="2035" y="1295"/>
                              <a:pt x="2029" y="1298"/>
                              <a:pt x="2029" y="1295"/>
                            </a:cubicBezTo>
                            <a:cubicBezTo>
                              <a:pt x="2029" y="1291"/>
                              <a:pt x="2038" y="1285"/>
                              <a:pt x="2043" y="1285"/>
                            </a:cubicBezTo>
                            <a:close/>
                            <a:moveTo>
                              <a:pt x="2218" y="1442"/>
                            </a:moveTo>
                            <a:cubicBezTo>
                              <a:pt x="2216" y="1426"/>
                              <a:pt x="2213" y="1428"/>
                              <a:pt x="2209" y="1422"/>
                            </a:cubicBezTo>
                            <a:cubicBezTo>
                              <a:pt x="2204" y="1415"/>
                              <a:pt x="2203" y="1414"/>
                              <a:pt x="2197" y="1404"/>
                            </a:cubicBezTo>
                            <a:cubicBezTo>
                              <a:pt x="2191" y="1393"/>
                              <a:pt x="2186" y="1381"/>
                              <a:pt x="2179" y="1372"/>
                            </a:cubicBezTo>
                            <a:cubicBezTo>
                              <a:pt x="2173" y="1363"/>
                              <a:pt x="2170" y="1362"/>
                              <a:pt x="2164" y="1359"/>
                            </a:cubicBezTo>
                            <a:cubicBezTo>
                              <a:pt x="2157" y="1356"/>
                              <a:pt x="2153" y="1360"/>
                              <a:pt x="2140" y="1352"/>
                            </a:cubicBezTo>
                            <a:cubicBezTo>
                              <a:pt x="2128" y="1344"/>
                              <a:pt x="2131" y="1336"/>
                              <a:pt x="2124" y="1331"/>
                            </a:cubicBezTo>
                            <a:cubicBezTo>
                              <a:pt x="2116" y="1327"/>
                              <a:pt x="2107" y="1329"/>
                              <a:pt x="2103" y="1334"/>
                            </a:cubicBezTo>
                            <a:cubicBezTo>
                              <a:pt x="2098" y="1338"/>
                              <a:pt x="2095" y="1339"/>
                              <a:pt x="2082" y="1338"/>
                            </a:cubicBezTo>
                            <a:cubicBezTo>
                              <a:pt x="2068" y="1337"/>
                              <a:pt x="2071" y="1332"/>
                              <a:pt x="2061" y="1329"/>
                            </a:cubicBezTo>
                            <a:cubicBezTo>
                              <a:pt x="2051" y="1325"/>
                              <a:pt x="2044" y="1324"/>
                              <a:pt x="2041" y="1328"/>
                            </a:cubicBezTo>
                            <a:cubicBezTo>
                              <a:pt x="2037" y="1332"/>
                              <a:pt x="2046" y="1338"/>
                              <a:pt x="2044" y="1341"/>
                            </a:cubicBezTo>
                            <a:cubicBezTo>
                              <a:pt x="2042" y="1345"/>
                              <a:pt x="2033" y="1340"/>
                              <a:pt x="2027" y="1342"/>
                            </a:cubicBezTo>
                            <a:cubicBezTo>
                              <a:pt x="2022" y="1344"/>
                              <a:pt x="2017" y="1349"/>
                              <a:pt x="2023" y="1364"/>
                            </a:cubicBezTo>
                            <a:cubicBezTo>
                              <a:pt x="2030" y="1378"/>
                              <a:pt x="2035" y="1384"/>
                              <a:pt x="2038" y="1390"/>
                            </a:cubicBezTo>
                            <a:cubicBezTo>
                              <a:pt x="2041" y="1396"/>
                              <a:pt x="2042" y="1398"/>
                              <a:pt x="2042" y="1401"/>
                            </a:cubicBezTo>
                            <a:cubicBezTo>
                              <a:pt x="2042" y="1404"/>
                              <a:pt x="2042" y="1408"/>
                              <a:pt x="2043" y="1416"/>
                            </a:cubicBezTo>
                            <a:cubicBezTo>
                              <a:pt x="2043" y="1423"/>
                              <a:pt x="2048" y="1425"/>
                              <a:pt x="2051" y="1427"/>
                            </a:cubicBezTo>
                            <a:cubicBezTo>
                              <a:pt x="2053" y="1429"/>
                              <a:pt x="2060" y="1442"/>
                              <a:pt x="2055" y="1445"/>
                            </a:cubicBezTo>
                            <a:cubicBezTo>
                              <a:pt x="2050" y="1448"/>
                              <a:pt x="2052" y="1451"/>
                              <a:pt x="2052" y="1457"/>
                            </a:cubicBezTo>
                            <a:cubicBezTo>
                              <a:pt x="2052" y="1464"/>
                              <a:pt x="2061" y="1471"/>
                              <a:pt x="2065" y="1473"/>
                            </a:cubicBezTo>
                            <a:cubicBezTo>
                              <a:pt x="2070" y="1475"/>
                              <a:pt x="2074" y="1479"/>
                              <a:pt x="2081" y="1483"/>
                            </a:cubicBezTo>
                            <a:cubicBezTo>
                              <a:pt x="2087" y="1488"/>
                              <a:pt x="2081" y="1491"/>
                              <a:pt x="2082" y="1495"/>
                            </a:cubicBezTo>
                            <a:cubicBezTo>
                              <a:pt x="2083" y="1500"/>
                              <a:pt x="2084" y="1506"/>
                              <a:pt x="2077" y="1507"/>
                            </a:cubicBezTo>
                            <a:cubicBezTo>
                              <a:pt x="2070" y="1509"/>
                              <a:pt x="2056" y="1507"/>
                              <a:pt x="2056" y="1515"/>
                            </a:cubicBezTo>
                            <a:cubicBezTo>
                              <a:pt x="2056" y="1522"/>
                              <a:pt x="2054" y="1525"/>
                              <a:pt x="2049" y="1526"/>
                            </a:cubicBezTo>
                            <a:cubicBezTo>
                              <a:pt x="2043" y="1527"/>
                              <a:pt x="2035" y="1519"/>
                              <a:pt x="2026" y="1510"/>
                            </a:cubicBezTo>
                            <a:cubicBezTo>
                              <a:pt x="2018" y="1501"/>
                              <a:pt x="2023" y="1500"/>
                              <a:pt x="2021" y="1490"/>
                            </a:cubicBezTo>
                            <a:cubicBezTo>
                              <a:pt x="2019" y="1479"/>
                              <a:pt x="2014" y="1484"/>
                              <a:pt x="2014" y="1476"/>
                            </a:cubicBezTo>
                            <a:cubicBezTo>
                              <a:pt x="2014" y="1467"/>
                              <a:pt x="2014" y="1467"/>
                              <a:pt x="2011" y="1459"/>
                            </a:cubicBezTo>
                            <a:cubicBezTo>
                              <a:pt x="2008" y="1452"/>
                              <a:pt x="2005" y="1456"/>
                              <a:pt x="2001" y="1449"/>
                            </a:cubicBezTo>
                            <a:cubicBezTo>
                              <a:pt x="1996" y="1442"/>
                              <a:pt x="1997" y="1442"/>
                              <a:pt x="1997" y="1434"/>
                            </a:cubicBezTo>
                            <a:cubicBezTo>
                              <a:pt x="1997" y="1425"/>
                              <a:pt x="1999" y="1422"/>
                              <a:pt x="1995" y="1416"/>
                            </a:cubicBezTo>
                            <a:cubicBezTo>
                              <a:pt x="1990" y="1410"/>
                              <a:pt x="1985" y="1415"/>
                              <a:pt x="1976" y="1411"/>
                            </a:cubicBezTo>
                            <a:cubicBezTo>
                              <a:pt x="1967" y="1408"/>
                              <a:pt x="1975" y="1407"/>
                              <a:pt x="1974" y="1402"/>
                            </a:cubicBezTo>
                            <a:cubicBezTo>
                              <a:pt x="1972" y="1397"/>
                              <a:pt x="1971" y="1394"/>
                              <a:pt x="1967" y="1391"/>
                            </a:cubicBezTo>
                            <a:cubicBezTo>
                              <a:pt x="1963" y="1387"/>
                              <a:pt x="1964" y="1390"/>
                              <a:pt x="1959" y="1390"/>
                            </a:cubicBezTo>
                            <a:cubicBezTo>
                              <a:pt x="1953" y="1389"/>
                              <a:pt x="1949" y="1387"/>
                              <a:pt x="1940" y="1384"/>
                            </a:cubicBezTo>
                            <a:cubicBezTo>
                              <a:pt x="1931" y="1381"/>
                              <a:pt x="1932" y="1379"/>
                              <a:pt x="1930" y="1372"/>
                            </a:cubicBezTo>
                            <a:cubicBezTo>
                              <a:pt x="1929" y="1366"/>
                              <a:pt x="1929" y="1367"/>
                              <a:pt x="1922" y="1367"/>
                            </a:cubicBezTo>
                            <a:cubicBezTo>
                              <a:pt x="1914" y="1367"/>
                              <a:pt x="1905" y="1368"/>
                              <a:pt x="1893" y="1366"/>
                            </a:cubicBezTo>
                            <a:cubicBezTo>
                              <a:pt x="1881" y="1363"/>
                              <a:pt x="1880" y="1365"/>
                              <a:pt x="1872" y="1366"/>
                            </a:cubicBezTo>
                            <a:cubicBezTo>
                              <a:pt x="1864" y="1368"/>
                              <a:pt x="1875" y="1374"/>
                              <a:pt x="1880" y="1380"/>
                            </a:cubicBezTo>
                            <a:cubicBezTo>
                              <a:pt x="1886" y="1385"/>
                              <a:pt x="1885" y="1380"/>
                              <a:pt x="1892" y="1380"/>
                            </a:cubicBezTo>
                            <a:cubicBezTo>
                              <a:pt x="1899" y="1380"/>
                              <a:pt x="1897" y="1382"/>
                              <a:pt x="1897" y="1386"/>
                            </a:cubicBezTo>
                            <a:cubicBezTo>
                              <a:pt x="1898" y="1389"/>
                              <a:pt x="1906" y="1390"/>
                              <a:pt x="1913" y="1389"/>
                            </a:cubicBezTo>
                            <a:cubicBezTo>
                              <a:pt x="1919" y="1389"/>
                              <a:pt x="1927" y="1392"/>
                              <a:pt x="1929" y="1395"/>
                            </a:cubicBezTo>
                            <a:cubicBezTo>
                              <a:pt x="1931" y="1398"/>
                              <a:pt x="1925" y="1404"/>
                              <a:pt x="1921" y="1403"/>
                            </a:cubicBezTo>
                            <a:cubicBezTo>
                              <a:pt x="1916" y="1402"/>
                              <a:pt x="1915" y="1403"/>
                              <a:pt x="1912" y="1405"/>
                            </a:cubicBezTo>
                            <a:cubicBezTo>
                              <a:pt x="1909" y="1408"/>
                              <a:pt x="1918" y="1413"/>
                              <a:pt x="1921" y="1417"/>
                            </a:cubicBezTo>
                            <a:cubicBezTo>
                              <a:pt x="1925" y="1421"/>
                              <a:pt x="1921" y="1422"/>
                              <a:pt x="1919" y="1428"/>
                            </a:cubicBezTo>
                            <a:cubicBezTo>
                              <a:pt x="1917" y="1434"/>
                              <a:pt x="1907" y="1428"/>
                              <a:pt x="1902" y="1425"/>
                            </a:cubicBezTo>
                            <a:cubicBezTo>
                              <a:pt x="1897" y="1423"/>
                              <a:pt x="1891" y="1419"/>
                              <a:pt x="1872" y="1415"/>
                            </a:cubicBezTo>
                            <a:cubicBezTo>
                              <a:pt x="1854" y="1411"/>
                              <a:pt x="1865" y="1421"/>
                              <a:pt x="1857" y="1425"/>
                            </a:cubicBezTo>
                            <a:cubicBezTo>
                              <a:pt x="1850" y="1430"/>
                              <a:pt x="1851" y="1433"/>
                              <a:pt x="1850" y="1438"/>
                            </a:cubicBezTo>
                            <a:cubicBezTo>
                              <a:pt x="1849" y="1444"/>
                              <a:pt x="1847" y="1448"/>
                              <a:pt x="1840" y="1446"/>
                            </a:cubicBezTo>
                            <a:cubicBezTo>
                              <a:pt x="1834" y="1444"/>
                              <a:pt x="1832" y="1436"/>
                              <a:pt x="1823" y="1434"/>
                            </a:cubicBezTo>
                            <a:cubicBezTo>
                              <a:pt x="1815" y="1431"/>
                              <a:pt x="1819" y="1440"/>
                              <a:pt x="1818" y="1450"/>
                            </a:cubicBezTo>
                            <a:cubicBezTo>
                              <a:pt x="1816" y="1460"/>
                              <a:pt x="1810" y="1458"/>
                              <a:pt x="1805" y="1457"/>
                            </a:cubicBezTo>
                            <a:cubicBezTo>
                              <a:pt x="1800" y="1456"/>
                              <a:pt x="1804" y="1448"/>
                              <a:pt x="1800" y="1441"/>
                            </a:cubicBezTo>
                            <a:cubicBezTo>
                              <a:pt x="1795" y="1434"/>
                              <a:pt x="1795" y="1435"/>
                              <a:pt x="1797" y="1429"/>
                            </a:cubicBezTo>
                            <a:cubicBezTo>
                              <a:pt x="1800" y="1423"/>
                              <a:pt x="1809" y="1422"/>
                              <a:pt x="1815" y="1420"/>
                            </a:cubicBezTo>
                            <a:cubicBezTo>
                              <a:pt x="1821" y="1418"/>
                              <a:pt x="1825" y="1416"/>
                              <a:pt x="1829" y="1411"/>
                            </a:cubicBezTo>
                            <a:cubicBezTo>
                              <a:pt x="1833" y="1407"/>
                              <a:pt x="1828" y="1410"/>
                              <a:pt x="1818" y="1404"/>
                            </a:cubicBezTo>
                            <a:cubicBezTo>
                              <a:pt x="1807" y="1398"/>
                              <a:pt x="1800" y="1400"/>
                              <a:pt x="1786" y="1391"/>
                            </a:cubicBezTo>
                            <a:cubicBezTo>
                              <a:pt x="1773" y="1382"/>
                              <a:pt x="1767" y="1386"/>
                              <a:pt x="1760" y="1377"/>
                            </a:cubicBezTo>
                            <a:cubicBezTo>
                              <a:pt x="1753" y="1368"/>
                              <a:pt x="1742" y="1365"/>
                              <a:pt x="1727" y="1364"/>
                            </a:cubicBezTo>
                            <a:cubicBezTo>
                              <a:pt x="1712" y="1362"/>
                              <a:pt x="1717" y="1371"/>
                              <a:pt x="1709" y="1372"/>
                            </a:cubicBezTo>
                            <a:cubicBezTo>
                              <a:pt x="1701" y="1374"/>
                              <a:pt x="1699" y="1376"/>
                              <a:pt x="1693" y="1386"/>
                            </a:cubicBezTo>
                            <a:cubicBezTo>
                              <a:pt x="1687" y="1395"/>
                              <a:pt x="1707" y="1389"/>
                              <a:pt x="1709" y="1392"/>
                            </a:cubicBezTo>
                            <a:cubicBezTo>
                              <a:pt x="1711" y="1396"/>
                              <a:pt x="1700" y="1401"/>
                              <a:pt x="1693" y="1406"/>
                            </a:cubicBezTo>
                            <a:cubicBezTo>
                              <a:pt x="1687" y="1412"/>
                              <a:pt x="1687" y="1406"/>
                              <a:pt x="1685" y="1402"/>
                            </a:cubicBezTo>
                            <a:cubicBezTo>
                              <a:pt x="1683" y="1398"/>
                              <a:pt x="1676" y="1400"/>
                              <a:pt x="1665" y="1400"/>
                            </a:cubicBezTo>
                            <a:cubicBezTo>
                              <a:pt x="1653" y="1400"/>
                              <a:pt x="1657" y="1404"/>
                              <a:pt x="1647" y="1408"/>
                            </a:cubicBezTo>
                            <a:cubicBezTo>
                              <a:pt x="1637" y="1412"/>
                              <a:pt x="1636" y="1414"/>
                              <a:pt x="1630" y="1408"/>
                            </a:cubicBezTo>
                            <a:cubicBezTo>
                              <a:pt x="1623" y="1402"/>
                              <a:pt x="1639" y="1403"/>
                              <a:pt x="1643" y="1401"/>
                            </a:cubicBezTo>
                            <a:cubicBezTo>
                              <a:pt x="1646" y="1400"/>
                              <a:pt x="1641" y="1395"/>
                              <a:pt x="1647" y="1388"/>
                            </a:cubicBezTo>
                            <a:cubicBezTo>
                              <a:pt x="1653" y="1381"/>
                              <a:pt x="1663" y="1385"/>
                              <a:pt x="1666" y="1379"/>
                            </a:cubicBezTo>
                            <a:cubicBezTo>
                              <a:pt x="1669" y="1372"/>
                              <a:pt x="1663" y="1373"/>
                              <a:pt x="1662" y="1365"/>
                            </a:cubicBezTo>
                            <a:cubicBezTo>
                              <a:pt x="1661" y="1356"/>
                              <a:pt x="1665" y="1354"/>
                              <a:pt x="1663" y="1347"/>
                            </a:cubicBezTo>
                            <a:cubicBezTo>
                              <a:pt x="1661" y="1340"/>
                              <a:pt x="1656" y="1338"/>
                              <a:pt x="1646" y="1329"/>
                            </a:cubicBezTo>
                            <a:cubicBezTo>
                              <a:pt x="1636" y="1319"/>
                              <a:pt x="1624" y="1319"/>
                              <a:pt x="1621" y="1321"/>
                            </a:cubicBezTo>
                            <a:cubicBezTo>
                              <a:pt x="1618" y="1322"/>
                              <a:pt x="1606" y="1326"/>
                              <a:pt x="1582" y="1335"/>
                            </a:cubicBezTo>
                            <a:cubicBezTo>
                              <a:pt x="1558" y="1344"/>
                              <a:pt x="1546" y="1343"/>
                              <a:pt x="1529" y="1350"/>
                            </a:cubicBezTo>
                            <a:cubicBezTo>
                              <a:pt x="1511" y="1357"/>
                              <a:pt x="1494" y="1364"/>
                              <a:pt x="1477" y="1367"/>
                            </a:cubicBezTo>
                            <a:cubicBezTo>
                              <a:pt x="1459" y="1370"/>
                              <a:pt x="1456" y="1375"/>
                              <a:pt x="1444" y="1383"/>
                            </a:cubicBezTo>
                            <a:cubicBezTo>
                              <a:pt x="1431" y="1392"/>
                              <a:pt x="1422" y="1398"/>
                              <a:pt x="1411" y="1405"/>
                            </a:cubicBezTo>
                            <a:cubicBezTo>
                              <a:pt x="1400" y="1412"/>
                              <a:pt x="1398" y="1412"/>
                              <a:pt x="1393" y="1418"/>
                            </a:cubicBezTo>
                            <a:cubicBezTo>
                              <a:pt x="1387" y="1424"/>
                              <a:pt x="1387" y="1427"/>
                              <a:pt x="1391" y="1435"/>
                            </a:cubicBezTo>
                            <a:cubicBezTo>
                              <a:pt x="1396" y="1444"/>
                              <a:pt x="1406" y="1436"/>
                              <a:pt x="1406" y="1445"/>
                            </a:cubicBezTo>
                            <a:cubicBezTo>
                              <a:pt x="1405" y="1454"/>
                              <a:pt x="1399" y="1447"/>
                              <a:pt x="1392" y="1451"/>
                            </a:cubicBezTo>
                            <a:cubicBezTo>
                              <a:pt x="1385" y="1455"/>
                              <a:pt x="1384" y="1460"/>
                              <a:pt x="1374" y="1465"/>
                            </a:cubicBezTo>
                            <a:cubicBezTo>
                              <a:pt x="1364" y="1470"/>
                              <a:pt x="1365" y="1471"/>
                              <a:pt x="1357" y="1484"/>
                            </a:cubicBezTo>
                            <a:cubicBezTo>
                              <a:pt x="1349" y="1496"/>
                              <a:pt x="1354" y="1502"/>
                              <a:pt x="1352" y="1511"/>
                            </a:cubicBezTo>
                            <a:cubicBezTo>
                              <a:pt x="1350" y="1520"/>
                              <a:pt x="1354" y="1517"/>
                              <a:pt x="1363" y="1519"/>
                            </a:cubicBezTo>
                            <a:cubicBezTo>
                              <a:pt x="1371" y="1521"/>
                              <a:pt x="1375" y="1519"/>
                              <a:pt x="1383" y="1520"/>
                            </a:cubicBezTo>
                            <a:cubicBezTo>
                              <a:pt x="1392" y="1521"/>
                              <a:pt x="1391" y="1527"/>
                              <a:pt x="1403" y="1526"/>
                            </a:cubicBezTo>
                            <a:cubicBezTo>
                              <a:pt x="1416" y="1525"/>
                              <a:pt x="1413" y="1517"/>
                              <a:pt x="1423" y="1518"/>
                            </a:cubicBezTo>
                            <a:cubicBezTo>
                              <a:pt x="1434" y="1518"/>
                              <a:pt x="1422" y="1524"/>
                              <a:pt x="1416" y="1528"/>
                            </a:cubicBezTo>
                            <a:cubicBezTo>
                              <a:pt x="1411" y="1533"/>
                              <a:pt x="1407" y="1534"/>
                              <a:pt x="1405" y="1541"/>
                            </a:cubicBezTo>
                            <a:cubicBezTo>
                              <a:pt x="1402" y="1548"/>
                              <a:pt x="1410" y="1548"/>
                              <a:pt x="1421" y="1548"/>
                            </a:cubicBezTo>
                            <a:cubicBezTo>
                              <a:pt x="1432" y="1548"/>
                              <a:pt x="1433" y="1550"/>
                              <a:pt x="1443" y="1548"/>
                            </a:cubicBezTo>
                            <a:cubicBezTo>
                              <a:pt x="1452" y="1546"/>
                              <a:pt x="1445" y="1540"/>
                              <a:pt x="1447" y="1536"/>
                            </a:cubicBezTo>
                            <a:cubicBezTo>
                              <a:pt x="1450" y="1531"/>
                              <a:pt x="1453" y="1539"/>
                              <a:pt x="1458" y="1544"/>
                            </a:cubicBezTo>
                            <a:cubicBezTo>
                              <a:pt x="1462" y="1549"/>
                              <a:pt x="1466" y="1545"/>
                              <a:pt x="1477" y="1544"/>
                            </a:cubicBezTo>
                            <a:cubicBezTo>
                              <a:pt x="1488" y="1542"/>
                              <a:pt x="1498" y="1542"/>
                              <a:pt x="1511" y="1538"/>
                            </a:cubicBezTo>
                            <a:cubicBezTo>
                              <a:pt x="1523" y="1533"/>
                              <a:pt x="1539" y="1534"/>
                              <a:pt x="1537" y="1537"/>
                            </a:cubicBezTo>
                            <a:cubicBezTo>
                              <a:pt x="1536" y="1540"/>
                              <a:pt x="1515" y="1546"/>
                              <a:pt x="1490" y="1555"/>
                            </a:cubicBezTo>
                            <a:cubicBezTo>
                              <a:pt x="1465" y="1565"/>
                              <a:pt x="1475" y="1562"/>
                              <a:pt x="1462" y="1569"/>
                            </a:cubicBezTo>
                            <a:cubicBezTo>
                              <a:pt x="1450" y="1575"/>
                              <a:pt x="1447" y="1572"/>
                              <a:pt x="1432" y="1576"/>
                            </a:cubicBezTo>
                            <a:cubicBezTo>
                              <a:pt x="1417" y="1581"/>
                              <a:pt x="1418" y="1584"/>
                              <a:pt x="1409" y="1588"/>
                            </a:cubicBezTo>
                            <a:cubicBezTo>
                              <a:pt x="1400" y="1593"/>
                              <a:pt x="1394" y="1593"/>
                              <a:pt x="1397" y="1601"/>
                            </a:cubicBezTo>
                            <a:cubicBezTo>
                              <a:pt x="1401" y="1610"/>
                              <a:pt x="1413" y="1618"/>
                              <a:pt x="1429" y="1626"/>
                            </a:cubicBezTo>
                            <a:cubicBezTo>
                              <a:pt x="1446" y="1633"/>
                              <a:pt x="1442" y="1636"/>
                              <a:pt x="1458" y="1635"/>
                            </a:cubicBezTo>
                            <a:cubicBezTo>
                              <a:pt x="1473" y="1635"/>
                              <a:pt x="1482" y="1635"/>
                              <a:pt x="1496" y="1633"/>
                            </a:cubicBezTo>
                            <a:cubicBezTo>
                              <a:pt x="1511" y="1631"/>
                              <a:pt x="1523" y="1632"/>
                              <a:pt x="1531" y="1638"/>
                            </a:cubicBezTo>
                            <a:cubicBezTo>
                              <a:pt x="1539" y="1644"/>
                              <a:pt x="1553" y="1639"/>
                              <a:pt x="1571" y="1639"/>
                            </a:cubicBezTo>
                            <a:cubicBezTo>
                              <a:pt x="1590" y="1639"/>
                              <a:pt x="1600" y="1637"/>
                              <a:pt x="1621" y="1629"/>
                            </a:cubicBezTo>
                            <a:cubicBezTo>
                              <a:pt x="1641" y="1620"/>
                              <a:pt x="1660" y="1626"/>
                              <a:pt x="1678" y="1626"/>
                            </a:cubicBezTo>
                            <a:cubicBezTo>
                              <a:pt x="1696" y="1626"/>
                              <a:pt x="1711" y="1627"/>
                              <a:pt x="1723" y="1638"/>
                            </a:cubicBezTo>
                            <a:cubicBezTo>
                              <a:pt x="1735" y="1648"/>
                              <a:pt x="1737" y="1645"/>
                              <a:pt x="1747" y="1648"/>
                            </a:cubicBezTo>
                            <a:cubicBezTo>
                              <a:pt x="1758" y="1650"/>
                              <a:pt x="1766" y="1648"/>
                              <a:pt x="1777" y="1648"/>
                            </a:cubicBezTo>
                            <a:cubicBezTo>
                              <a:pt x="1788" y="1648"/>
                              <a:pt x="1785" y="1657"/>
                              <a:pt x="1792" y="1662"/>
                            </a:cubicBezTo>
                            <a:cubicBezTo>
                              <a:pt x="1798" y="1667"/>
                              <a:pt x="1802" y="1663"/>
                              <a:pt x="1809" y="1664"/>
                            </a:cubicBezTo>
                            <a:cubicBezTo>
                              <a:pt x="1817" y="1665"/>
                              <a:pt x="1820" y="1669"/>
                              <a:pt x="1818" y="1674"/>
                            </a:cubicBezTo>
                            <a:cubicBezTo>
                              <a:pt x="1815" y="1678"/>
                              <a:pt x="1808" y="1674"/>
                              <a:pt x="1793" y="1672"/>
                            </a:cubicBezTo>
                            <a:cubicBezTo>
                              <a:pt x="1779" y="1671"/>
                              <a:pt x="1777" y="1674"/>
                              <a:pt x="1772" y="1678"/>
                            </a:cubicBezTo>
                            <a:cubicBezTo>
                              <a:pt x="1766" y="1683"/>
                              <a:pt x="1761" y="1681"/>
                              <a:pt x="1749" y="1682"/>
                            </a:cubicBezTo>
                            <a:cubicBezTo>
                              <a:pt x="1737" y="1683"/>
                              <a:pt x="1727" y="1683"/>
                              <a:pt x="1700" y="1675"/>
                            </a:cubicBezTo>
                            <a:cubicBezTo>
                              <a:pt x="1674" y="1668"/>
                              <a:pt x="1681" y="1677"/>
                              <a:pt x="1659" y="1673"/>
                            </a:cubicBezTo>
                            <a:cubicBezTo>
                              <a:pt x="1637" y="1668"/>
                              <a:pt x="1632" y="1672"/>
                              <a:pt x="1609" y="1675"/>
                            </a:cubicBezTo>
                            <a:cubicBezTo>
                              <a:pt x="1585" y="1678"/>
                              <a:pt x="1585" y="1679"/>
                              <a:pt x="1563" y="1678"/>
                            </a:cubicBezTo>
                            <a:cubicBezTo>
                              <a:pt x="1541" y="1677"/>
                              <a:pt x="1546" y="1680"/>
                              <a:pt x="1526" y="1685"/>
                            </a:cubicBezTo>
                            <a:cubicBezTo>
                              <a:pt x="1507" y="1689"/>
                              <a:pt x="1482" y="1699"/>
                              <a:pt x="1472" y="1699"/>
                            </a:cubicBezTo>
                            <a:cubicBezTo>
                              <a:pt x="1463" y="1699"/>
                              <a:pt x="1459" y="1702"/>
                              <a:pt x="1458" y="1708"/>
                            </a:cubicBezTo>
                            <a:cubicBezTo>
                              <a:pt x="1456" y="1714"/>
                              <a:pt x="1463" y="1719"/>
                              <a:pt x="1467" y="1726"/>
                            </a:cubicBezTo>
                            <a:cubicBezTo>
                              <a:pt x="1472" y="1732"/>
                              <a:pt x="1474" y="1733"/>
                              <a:pt x="1484" y="1738"/>
                            </a:cubicBezTo>
                            <a:cubicBezTo>
                              <a:pt x="1494" y="1743"/>
                              <a:pt x="1488" y="1742"/>
                              <a:pt x="1492" y="1747"/>
                            </a:cubicBezTo>
                            <a:cubicBezTo>
                              <a:pt x="1496" y="1752"/>
                              <a:pt x="1511" y="1754"/>
                              <a:pt x="1527" y="1770"/>
                            </a:cubicBezTo>
                            <a:cubicBezTo>
                              <a:pt x="1544" y="1787"/>
                              <a:pt x="1541" y="1778"/>
                              <a:pt x="1559" y="1782"/>
                            </a:cubicBezTo>
                            <a:cubicBezTo>
                              <a:pt x="1577" y="1787"/>
                              <a:pt x="1582" y="1783"/>
                              <a:pt x="1599" y="1782"/>
                            </a:cubicBezTo>
                            <a:cubicBezTo>
                              <a:pt x="1616" y="1782"/>
                              <a:pt x="1618" y="1786"/>
                              <a:pt x="1645" y="1792"/>
                            </a:cubicBezTo>
                            <a:cubicBezTo>
                              <a:pt x="1673" y="1799"/>
                              <a:pt x="1674" y="1790"/>
                              <a:pt x="1685" y="1793"/>
                            </a:cubicBezTo>
                            <a:cubicBezTo>
                              <a:pt x="1697" y="1796"/>
                              <a:pt x="1688" y="1800"/>
                              <a:pt x="1691" y="1806"/>
                            </a:cubicBezTo>
                            <a:cubicBezTo>
                              <a:pt x="1694" y="1812"/>
                              <a:pt x="1693" y="1818"/>
                              <a:pt x="1690" y="1829"/>
                            </a:cubicBezTo>
                            <a:cubicBezTo>
                              <a:pt x="1687" y="1839"/>
                              <a:pt x="1692" y="1837"/>
                              <a:pt x="1701" y="1849"/>
                            </a:cubicBezTo>
                            <a:cubicBezTo>
                              <a:pt x="1710" y="1861"/>
                              <a:pt x="1715" y="1863"/>
                              <a:pt x="1727" y="1866"/>
                            </a:cubicBezTo>
                            <a:cubicBezTo>
                              <a:pt x="1739" y="1870"/>
                              <a:pt x="1753" y="1868"/>
                              <a:pt x="1772" y="1866"/>
                            </a:cubicBezTo>
                            <a:cubicBezTo>
                              <a:pt x="1790" y="1865"/>
                              <a:pt x="1798" y="1860"/>
                              <a:pt x="1820" y="1858"/>
                            </a:cubicBezTo>
                            <a:cubicBezTo>
                              <a:pt x="1841" y="1857"/>
                              <a:pt x="1849" y="1858"/>
                              <a:pt x="1852" y="1860"/>
                            </a:cubicBezTo>
                            <a:cubicBezTo>
                              <a:pt x="1854" y="1861"/>
                              <a:pt x="1846" y="1866"/>
                              <a:pt x="1849" y="1869"/>
                            </a:cubicBezTo>
                            <a:cubicBezTo>
                              <a:pt x="1852" y="1873"/>
                              <a:pt x="1865" y="1873"/>
                              <a:pt x="1868" y="1870"/>
                            </a:cubicBezTo>
                            <a:cubicBezTo>
                              <a:pt x="1872" y="1867"/>
                              <a:pt x="1864" y="1864"/>
                              <a:pt x="1864" y="1860"/>
                            </a:cubicBezTo>
                            <a:cubicBezTo>
                              <a:pt x="1863" y="1856"/>
                              <a:pt x="1877" y="1855"/>
                              <a:pt x="1882" y="1853"/>
                            </a:cubicBezTo>
                            <a:cubicBezTo>
                              <a:pt x="1887" y="1852"/>
                              <a:pt x="1893" y="1853"/>
                              <a:pt x="1919" y="1851"/>
                            </a:cubicBezTo>
                            <a:cubicBezTo>
                              <a:pt x="1944" y="1850"/>
                              <a:pt x="1953" y="1845"/>
                              <a:pt x="1978" y="1839"/>
                            </a:cubicBezTo>
                            <a:cubicBezTo>
                              <a:pt x="2002" y="1834"/>
                              <a:pt x="1993" y="1826"/>
                              <a:pt x="2006" y="1818"/>
                            </a:cubicBezTo>
                            <a:cubicBezTo>
                              <a:pt x="2019" y="1809"/>
                              <a:pt x="2024" y="1815"/>
                              <a:pt x="2045" y="1814"/>
                            </a:cubicBezTo>
                            <a:cubicBezTo>
                              <a:pt x="2066" y="1814"/>
                              <a:pt x="2071" y="1814"/>
                              <a:pt x="2074" y="1813"/>
                            </a:cubicBezTo>
                            <a:cubicBezTo>
                              <a:pt x="2078" y="1812"/>
                              <a:pt x="2090" y="1804"/>
                              <a:pt x="2100" y="1794"/>
                            </a:cubicBezTo>
                            <a:cubicBezTo>
                              <a:pt x="2110" y="1784"/>
                              <a:pt x="2104" y="1790"/>
                              <a:pt x="2105" y="1779"/>
                            </a:cubicBezTo>
                            <a:cubicBezTo>
                              <a:pt x="2106" y="1769"/>
                              <a:pt x="2113" y="1773"/>
                              <a:pt x="2121" y="1763"/>
                            </a:cubicBezTo>
                            <a:cubicBezTo>
                              <a:pt x="2129" y="1753"/>
                              <a:pt x="2125" y="1760"/>
                              <a:pt x="2135" y="1763"/>
                            </a:cubicBezTo>
                            <a:cubicBezTo>
                              <a:pt x="2145" y="1767"/>
                              <a:pt x="2145" y="1775"/>
                              <a:pt x="2145" y="1783"/>
                            </a:cubicBezTo>
                            <a:cubicBezTo>
                              <a:pt x="2144" y="1791"/>
                              <a:pt x="2140" y="1788"/>
                              <a:pt x="2135" y="1794"/>
                            </a:cubicBezTo>
                            <a:cubicBezTo>
                              <a:pt x="2131" y="1800"/>
                              <a:pt x="2144" y="1797"/>
                              <a:pt x="2155" y="1799"/>
                            </a:cubicBezTo>
                            <a:cubicBezTo>
                              <a:pt x="2166" y="1801"/>
                              <a:pt x="2169" y="1800"/>
                              <a:pt x="2183" y="1802"/>
                            </a:cubicBezTo>
                            <a:cubicBezTo>
                              <a:pt x="2197" y="1804"/>
                              <a:pt x="2203" y="1804"/>
                              <a:pt x="2213" y="1804"/>
                            </a:cubicBezTo>
                            <a:cubicBezTo>
                              <a:pt x="2224" y="1804"/>
                              <a:pt x="2230" y="1805"/>
                              <a:pt x="2229" y="1811"/>
                            </a:cubicBezTo>
                            <a:cubicBezTo>
                              <a:pt x="2228" y="1817"/>
                              <a:pt x="2218" y="1817"/>
                              <a:pt x="2221" y="1821"/>
                            </a:cubicBezTo>
                            <a:cubicBezTo>
                              <a:pt x="2224" y="1825"/>
                              <a:pt x="2240" y="1821"/>
                              <a:pt x="2248" y="1820"/>
                            </a:cubicBezTo>
                            <a:cubicBezTo>
                              <a:pt x="2257" y="1820"/>
                              <a:pt x="2266" y="1819"/>
                              <a:pt x="2272" y="1822"/>
                            </a:cubicBezTo>
                            <a:cubicBezTo>
                              <a:pt x="2278" y="1824"/>
                              <a:pt x="2283" y="1827"/>
                              <a:pt x="2293" y="1827"/>
                            </a:cubicBezTo>
                            <a:cubicBezTo>
                              <a:pt x="2304" y="1827"/>
                              <a:pt x="2310" y="1829"/>
                              <a:pt x="2330" y="1833"/>
                            </a:cubicBezTo>
                            <a:cubicBezTo>
                              <a:pt x="2351" y="1838"/>
                              <a:pt x="2344" y="1833"/>
                              <a:pt x="2351" y="1831"/>
                            </a:cubicBezTo>
                            <a:cubicBezTo>
                              <a:pt x="2358" y="1829"/>
                              <a:pt x="2363" y="1825"/>
                              <a:pt x="2379" y="1821"/>
                            </a:cubicBezTo>
                            <a:cubicBezTo>
                              <a:pt x="2395" y="1818"/>
                              <a:pt x="2419" y="1814"/>
                              <a:pt x="2419" y="1808"/>
                            </a:cubicBezTo>
                            <a:cubicBezTo>
                              <a:pt x="2419" y="1801"/>
                              <a:pt x="2419" y="1797"/>
                              <a:pt x="2415" y="1794"/>
                            </a:cubicBezTo>
                            <a:cubicBezTo>
                              <a:pt x="2411" y="1791"/>
                              <a:pt x="2405" y="1794"/>
                              <a:pt x="2402" y="1787"/>
                            </a:cubicBezTo>
                            <a:cubicBezTo>
                              <a:pt x="2399" y="1780"/>
                              <a:pt x="2401" y="1782"/>
                              <a:pt x="2398" y="1776"/>
                            </a:cubicBezTo>
                            <a:cubicBezTo>
                              <a:pt x="2395" y="1770"/>
                              <a:pt x="2404" y="1770"/>
                              <a:pt x="2412" y="1769"/>
                            </a:cubicBezTo>
                            <a:cubicBezTo>
                              <a:pt x="2419" y="1767"/>
                              <a:pt x="2409" y="1764"/>
                              <a:pt x="2401" y="1762"/>
                            </a:cubicBezTo>
                            <a:cubicBezTo>
                              <a:pt x="2392" y="1760"/>
                              <a:pt x="2382" y="1762"/>
                              <a:pt x="2373" y="1766"/>
                            </a:cubicBezTo>
                            <a:cubicBezTo>
                              <a:pt x="2364" y="1770"/>
                              <a:pt x="2356" y="1770"/>
                              <a:pt x="2350" y="1784"/>
                            </a:cubicBezTo>
                            <a:cubicBezTo>
                              <a:pt x="2344" y="1797"/>
                              <a:pt x="2342" y="1800"/>
                              <a:pt x="2334" y="1802"/>
                            </a:cubicBezTo>
                            <a:cubicBezTo>
                              <a:pt x="2325" y="1804"/>
                              <a:pt x="2333" y="1790"/>
                              <a:pt x="2335" y="1784"/>
                            </a:cubicBezTo>
                            <a:cubicBezTo>
                              <a:pt x="2336" y="1779"/>
                              <a:pt x="2342" y="1772"/>
                              <a:pt x="2341" y="1765"/>
                            </a:cubicBezTo>
                            <a:cubicBezTo>
                              <a:pt x="2341" y="1757"/>
                              <a:pt x="2334" y="1761"/>
                              <a:pt x="2327" y="1756"/>
                            </a:cubicBezTo>
                            <a:cubicBezTo>
                              <a:pt x="2320" y="1752"/>
                              <a:pt x="2319" y="1746"/>
                              <a:pt x="2318" y="1741"/>
                            </a:cubicBezTo>
                            <a:cubicBezTo>
                              <a:pt x="2317" y="1735"/>
                              <a:pt x="2326" y="1737"/>
                              <a:pt x="2329" y="1742"/>
                            </a:cubicBezTo>
                            <a:cubicBezTo>
                              <a:pt x="2333" y="1747"/>
                              <a:pt x="2346" y="1748"/>
                              <a:pt x="2353" y="1750"/>
                            </a:cubicBezTo>
                            <a:cubicBezTo>
                              <a:pt x="2361" y="1752"/>
                              <a:pt x="2363" y="1753"/>
                              <a:pt x="2373" y="1752"/>
                            </a:cubicBezTo>
                            <a:cubicBezTo>
                              <a:pt x="2382" y="1751"/>
                              <a:pt x="2374" y="1748"/>
                              <a:pt x="2373" y="1739"/>
                            </a:cubicBezTo>
                            <a:cubicBezTo>
                              <a:pt x="2371" y="1730"/>
                              <a:pt x="2374" y="1734"/>
                              <a:pt x="2384" y="1732"/>
                            </a:cubicBezTo>
                            <a:cubicBezTo>
                              <a:pt x="2394" y="1731"/>
                              <a:pt x="2389" y="1731"/>
                              <a:pt x="2391" y="1718"/>
                            </a:cubicBezTo>
                            <a:cubicBezTo>
                              <a:pt x="2394" y="1706"/>
                              <a:pt x="2398" y="1717"/>
                              <a:pt x="2406" y="1720"/>
                            </a:cubicBezTo>
                            <a:cubicBezTo>
                              <a:pt x="2414" y="1724"/>
                              <a:pt x="2415" y="1731"/>
                              <a:pt x="2421" y="1737"/>
                            </a:cubicBezTo>
                            <a:cubicBezTo>
                              <a:pt x="2427" y="1743"/>
                              <a:pt x="2428" y="1738"/>
                              <a:pt x="2436" y="1732"/>
                            </a:cubicBezTo>
                            <a:cubicBezTo>
                              <a:pt x="2443" y="1727"/>
                              <a:pt x="2439" y="1720"/>
                              <a:pt x="2441" y="1715"/>
                            </a:cubicBezTo>
                            <a:cubicBezTo>
                              <a:pt x="2443" y="1711"/>
                              <a:pt x="2448" y="1717"/>
                              <a:pt x="2448" y="1723"/>
                            </a:cubicBezTo>
                            <a:cubicBezTo>
                              <a:pt x="2448" y="1729"/>
                              <a:pt x="2455" y="1734"/>
                              <a:pt x="2460" y="1735"/>
                            </a:cubicBezTo>
                            <a:cubicBezTo>
                              <a:pt x="2465" y="1735"/>
                              <a:pt x="2472" y="1742"/>
                              <a:pt x="2475" y="1738"/>
                            </a:cubicBezTo>
                            <a:cubicBezTo>
                              <a:pt x="2478" y="1735"/>
                              <a:pt x="2475" y="1728"/>
                              <a:pt x="2476" y="1715"/>
                            </a:cubicBezTo>
                            <a:cubicBezTo>
                              <a:pt x="2476" y="1702"/>
                              <a:pt x="2475" y="1699"/>
                              <a:pt x="2467" y="1687"/>
                            </a:cubicBezTo>
                            <a:cubicBezTo>
                              <a:pt x="2460" y="1675"/>
                              <a:pt x="2462" y="1687"/>
                              <a:pt x="2454" y="1686"/>
                            </a:cubicBezTo>
                            <a:cubicBezTo>
                              <a:pt x="2446" y="1686"/>
                              <a:pt x="2437" y="1694"/>
                              <a:pt x="2433" y="1687"/>
                            </a:cubicBezTo>
                            <a:cubicBezTo>
                              <a:pt x="2429" y="1681"/>
                              <a:pt x="2434" y="1674"/>
                              <a:pt x="2431" y="1668"/>
                            </a:cubicBezTo>
                            <a:cubicBezTo>
                              <a:pt x="2428" y="1662"/>
                              <a:pt x="2419" y="1669"/>
                              <a:pt x="2414" y="1672"/>
                            </a:cubicBezTo>
                            <a:cubicBezTo>
                              <a:pt x="2408" y="1675"/>
                              <a:pt x="2404" y="1672"/>
                              <a:pt x="2392" y="1665"/>
                            </a:cubicBezTo>
                            <a:cubicBezTo>
                              <a:pt x="2379" y="1657"/>
                              <a:pt x="2376" y="1659"/>
                              <a:pt x="2365" y="1652"/>
                            </a:cubicBezTo>
                            <a:cubicBezTo>
                              <a:pt x="2353" y="1645"/>
                              <a:pt x="2360" y="1645"/>
                              <a:pt x="2358" y="1639"/>
                            </a:cubicBezTo>
                            <a:cubicBezTo>
                              <a:pt x="2357" y="1633"/>
                              <a:pt x="2351" y="1629"/>
                              <a:pt x="2346" y="1629"/>
                            </a:cubicBezTo>
                            <a:cubicBezTo>
                              <a:pt x="2340" y="1629"/>
                              <a:pt x="2343" y="1635"/>
                              <a:pt x="2346" y="1638"/>
                            </a:cubicBezTo>
                            <a:cubicBezTo>
                              <a:pt x="2350" y="1642"/>
                              <a:pt x="2346" y="1646"/>
                              <a:pt x="2344" y="1649"/>
                            </a:cubicBezTo>
                            <a:cubicBezTo>
                              <a:pt x="2342" y="1652"/>
                              <a:pt x="2334" y="1648"/>
                              <a:pt x="2323" y="1642"/>
                            </a:cubicBezTo>
                            <a:cubicBezTo>
                              <a:pt x="2313" y="1635"/>
                              <a:pt x="2306" y="1635"/>
                              <a:pt x="2296" y="1630"/>
                            </a:cubicBezTo>
                            <a:cubicBezTo>
                              <a:pt x="2286" y="1624"/>
                              <a:pt x="2284" y="1624"/>
                              <a:pt x="2282" y="1616"/>
                            </a:cubicBezTo>
                            <a:cubicBezTo>
                              <a:pt x="2279" y="1608"/>
                              <a:pt x="2273" y="1602"/>
                              <a:pt x="2260" y="1593"/>
                            </a:cubicBezTo>
                            <a:cubicBezTo>
                              <a:pt x="2248" y="1584"/>
                              <a:pt x="2252" y="1586"/>
                              <a:pt x="2253" y="1576"/>
                            </a:cubicBezTo>
                            <a:cubicBezTo>
                              <a:pt x="2254" y="1566"/>
                              <a:pt x="2267" y="1559"/>
                              <a:pt x="2267" y="1546"/>
                            </a:cubicBezTo>
                            <a:cubicBezTo>
                              <a:pt x="2267" y="1533"/>
                              <a:pt x="2266" y="1524"/>
                              <a:pt x="2250" y="1514"/>
                            </a:cubicBezTo>
                            <a:cubicBezTo>
                              <a:pt x="2233" y="1503"/>
                              <a:pt x="2240" y="1494"/>
                              <a:pt x="2230" y="1479"/>
                            </a:cubicBezTo>
                            <a:cubicBezTo>
                              <a:pt x="2219" y="1465"/>
                              <a:pt x="2224" y="1461"/>
                              <a:pt x="2218" y="1442"/>
                            </a:cubicBezTo>
                            <a:close/>
                            <a:moveTo>
                              <a:pt x="1373" y="821"/>
                            </a:moveTo>
                            <a:cubicBezTo>
                              <a:pt x="1362" y="819"/>
                              <a:pt x="1350" y="822"/>
                              <a:pt x="1344" y="827"/>
                            </a:cubicBezTo>
                            <a:cubicBezTo>
                              <a:pt x="1338" y="832"/>
                              <a:pt x="1338" y="835"/>
                              <a:pt x="1329" y="844"/>
                            </a:cubicBezTo>
                            <a:cubicBezTo>
                              <a:pt x="1320" y="852"/>
                              <a:pt x="1314" y="855"/>
                              <a:pt x="1303" y="860"/>
                            </a:cubicBezTo>
                            <a:cubicBezTo>
                              <a:pt x="1291" y="865"/>
                              <a:pt x="1286" y="870"/>
                              <a:pt x="1279" y="876"/>
                            </a:cubicBezTo>
                            <a:cubicBezTo>
                              <a:pt x="1272" y="882"/>
                              <a:pt x="1272" y="885"/>
                              <a:pt x="1269" y="891"/>
                            </a:cubicBezTo>
                            <a:cubicBezTo>
                              <a:pt x="1266" y="897"/>
                              <a:pt x="1259" y="897"/>
                              <a:pt x="1245" y="900"/>
                            </a:cubicBezTo>
                            <a:cubicBezTo>
                              <a:pt x="1231" y="904"/>
                              <a:pt x="1231" y="905"/>
                              <a:pt x="1220" y="916"/>
                            </a:cubicBezTo>
                            <a:cubicBezTo>
                              <a:pt x="1209" y="927"/>
                              <a:pt x="1207" y="937"/>
                              <a:pt x="1196" y="944"/>
                            </a:cubicBezTo>
                            <a:cubicBezTo>
                              <a:pt x="1185" y="950"/>
                              <a:pt x="1173" y="944"/>
                              <a:pt x="1157" y="945"/>
                            </a:cubicBezTo>
                            <a:cubicBezTo>
                              <a:pt x="1141" y="945"/>
                              <a:pt x="1142" y="946"/>
                              <a:pt x="1138" y="952"/>
                            </a:cubicBezTo>
                            <a:cubicBezTo>
                              <a:pt x="1135" y="957"/>
                              <a:pt x="1132" y="961"/>
                              <a:pt x="1126" y="971"/>
                            </a:cubicBezTo>
                            <a:cubicBezTo>
                              <a:pt x="1120" y="981"/>
                              <a:pt x="1113" y="975"/>
                              <a:pt x="1110" y="978"/>
                            </a:cubicBezTo>
                            <a:cubicBezTo>
                              <a:pt x="1107" y="982"/>
                              <a:pt x="1117" y="985"/>
                              <a:pt x="1126" y="981"/>
                            </a:cubicBezTo>
                            <a:cubicBezTo>
                              <a:pt x="1134" y="978"/>
                              <a:pt x="1135" y="979"/>
                              <a:pt x="1143" y="982"/>
                            </a:cubicBezTo>
                            <a:cubicBezTo>
                              <a:pt x="1150" y="986"/>
                              <a:pt x="1144" y="994"/>
                              <a:pt x="1149" y="998"/>
                            </a:cubicBezTo>
                            <a:cubicBezTo>
                              <a:pt x="1155" y="1003"/>
                              <a:pt x="1163" y="1003"/>
                              <a:pt x="1176" y="1002"/>
                            </a:cubicBezTo>
                            <a:cubicBezTo>
                              <a:pt x="1188" y="1000"/>
                              <a:pt x="1202" y="1000"/>
                              <a:pt x="1211" y="1000"/>
                            </a:cubicBezTo>
                            <a:cubicBezTo>
                              <a:pt x="1220" y="1000"/>
                              <a:pt x="1232" y="1000"/>
                              <a:pt x="1234" y="994"/>
                            </a:cubicBezTo>
                            <a:cubicBezTo>
                              <a:pt x="1236" y="987"/>
                              <a:pt x="1230" y="984"/>
                              <a:pt x="1234" y="975"/>
                            </a:cubicBezTo>
                            <a:cubicBezTo>
                              <a:pt x="1238" y="967"/>
                              <a:pt x="1243" y="972"/>
                              <a:pt x="1250" y="974"/>
                            </a:cubicBezTo>
                            <a:cubicBezTo>
                              <a:pt x="1256" y="976"/>
                              <a:pt x="1253" y="983"/>
                              <a:pt x="1258" y="987"/>
                            </a:cubicBezTo>
                            <a:cubicBezTo>
                              <a:pt x="1262" y="992"/>
                              <a:pt x="1267" y="991"/>
                              <a:pt x="1266" y="997"/>
                            </a:cubicBezTo>
                            <a:cubicBezTo>
                              <a:pt x="1265" y="1003"/>
                              <a:pt x="1269" y="1009"/>
                              <a:pt x="1278" y="1011"/>
                            </a:cubicBezTo>
                            <a:cubicBezTo>
                              <a:pt x="1288" y="1012"/>
                              <a:pt x="1285" y="1008"/>
                              <a:pt x="1295" y="1000"/>
                            </a:cubicBezTo>
                            <a:cubicBezTo>
                              <a:pt x="1304" y="992"/>
                              <a:pt x="1310" y="998"/>
                              <a:pt x="1320" y="995"/>
                            </a:cubicBezTo>
                            <a:cubicBezTo>
                              <a:pt x="1330" y="991"/>
                              <a:pt x="1329" y="990"/>
                              <a:pt x="1326" y="982"/>
                            </a:cubicBezTo>
                            <a:cubicBezTo>
                              <a:pt x="1323" y="975"/>
                              <a:pt x="1321" y="973"/>
                              <a:pt x="1315" y="963"/>
                            </a:cubicBezTo>
                            <a:cubicBezTo>
                              <a:pt x="1309" y="953"/>
                              <a:pt x="1314" y="953"/>
                              <a:pt x="1320" y="949"/>
                            </a:cubicBezTo>
                            <a:cubicBezTo>
                              <a:pt x="1326" y="945"/>
                              <a:pt x="1330" y="951"/>
                              <a:pt x="1332" y="960"/>
                            </a:cubicBezTo>
                            <a:cubicBezTo>
                              <a:pt x="1333" y="970"/>
                              <a:pt x="1340" y="969"/>
                              <a:pt x="1348" y="968"/>
                            </a:cubicBezTo>
                            <a:cubicBezTo>
                              <a:pt x="1355" y="967"/>
                              <a:pt x="1361" y="967"/>
                              <a:pt x="1374" y="960"/>
                            </a:cubicBezTo>
                            <a:cubicBezTo>
                              <a:pt x="1386" y="953"/>
                              <a:pt x="1383" y="956"/>
                              <a:pt x="1385" y="948"/>
                            </a:cubicBezTo>
                            <a:cubicBezTo>
                              <a:pt x="1388" y="939"/>
                              <a:pt x="1379" y="940"/>
                              <a:pt x="1369" y="936"/>
                            </a:cubicBezTo>
                            <a:cubicBezTo>
                              <a:pt x="1360" y="931"/>
                              <a:pt x="1365" y="931"/>
                              <a:pt x="1368" y="924"/>
                            </a:cubicBezTo>
                            <a:cubicBezTo>
                              <a:pt x="1370" y="918"/>
                              <a:pt x="1375" y="924"/>
                              <a:pt x="1387" y="924"/>
                            </a:cubicBezTo>
                            <a:cubicBezTo>
                              <a:pt x="1400" y="924"/>
                              <a:pt x="1403" y="924"/>
                              <a:pt x="1402" y="914"/>
                            </a:cubicBezTo>
                            <a:cubicBezTo>
                              <a:pt x="1402" y="904"/>
                              <a:pt x="1402" y="905"/>
                              <a:pt x="1402" y="895"/>
                            </a:cubicBezTo>
                            <a:cubicBezTo>
                              <a:pt x="1402" y="886"/>
                              <a:pt x="1405" y="893"/>
                              <a:pt x="1419" y="891"/>
                            </a:cubicBezTo>
                            <a:cubicBezTo>
                              <a:pt x="1432" y="889"/>
                              <a:pt x="1432" y="892"/>
                              <a:pt x="1429" y="899"/>
                            </a:cubicBezTo>
                            <a:cubicBezTo>
                              <a:pt x="1426" y="906"/>
                              <a:pt x="1423" y="908"/>
                              <a:pt x="1426" y="917"/>
                            </a:cubicBezTo>
                            <a:cubicBezTo>
                              <a:pt x="1428" y="926"/>
                              <a:pt x="1428" y="927"/>
                              <a:pt x="1421" y="935"/>
                            </a:cubicBezTo>
                            <a:cubicBezTo>
                              <a:pt x="1414" y="942"/>
                              <a:pt x="1424" y="947"/>
                              <a:pt x="1431" y="947"/>
                            </a:cubicBezTo>
                            <a:cubicBezTo>
                              <a:pt x="1439" y="948"/>
                              <a:pt x="1451" y="952"/>
                              <a:pt x="1462" y="953"/>
                            </a:cubicBezTo>
                            <a:cubicBezTo>
                              <a:pt x="1473" y="954"/>
                              <a:pt x="1477" y="951"/>
                              <a:pt x="1484" y="945"/>
                            </a:cubicBezTo>
                            <a:cubicBezTo>
                              <a:pt x="1490" y="938"/>
                              <a:pt x="1493" y="939"/>
                              <a:pt x="1501" y="926"/>
                            </a:cubicBezTo>
                            <a:cubicBezTo>
                              <a:pt x="1509" y="914"/>
                              <a:pt x="1518" y="917"/>
                              <a:pt x="1536" y="911"/>
                            </a:cubicBezTo>
                            <a:cubicBezTo>
                              <a:pt x="1553" y="906"/>
                              <a:pt x="1549" y="902"/>
                              <a:pt x="1546" y="895"/>
                            </a:cubicBezTo>
                            <a:cubicBezTo>
                              <a:pt x="1543" y="889"/>
                              <a:pt x="1539" y="892"/>
                              <a:pt x="1530" y="886"/>
                            </a:cubicBezTo>
                            <a:cubicBezTo>
                              <a:pt x="1522" y="880"/>
                              <a:pt x="1530" y="879"/>
                              <a:pt x="1534" y="874"/>
                            </a:cubicBezTo>
                            <a:cubicBezTo>
                              <a:pt x="1538" y="869"/>
                              <a:pt x="1546" y="873"/>
                              <a:pt x="1553" y="872"/>
                            </a:cubicBezTo>
                            <a:cubicBezTo>
                              <a:pt x="1559" y="871"/>
                              <a:pt x="1560" y="869"/>
                              <a:pt x="1557" y="864"/>
                            </a:cubicBezTo>
                            <a:cubicBezTo>
                              <a:pt x="1553" y="859"/>
                              <a:pt x="1549" y="862"/>
                              <a:pt x="1537" y="862"/>
                            </a:cubicBezTo>
                            <a:cubicBezTo>
                              <a:pt x="1526" y="861"/>
                              <a:pt x="1529" y="857"/>
                              <a:pt x="1524" y="849"/>
                            </a:cubicBezTo>
                            <a:cubicBezTo>
                              <a:pt x="1518" y="842"/>
                              <a:pt x="1522" y="845"/>
                              <a:pt x="1539" y="836"/>
                            </a:cubicBezTo>
                            <a:cubicBezTo>
                              <a:pt x="1555" y="828"/>
                              <a:pt x="1556" y="830"/>
                              <a:pt x="1568" y="830"/>
                            </a:cubicBezTo>
                            <a:cubicBezTo>
                              <a:pt x="1579" y="829"/>
                              <a:pt x="1578" y="825"/>
                              <a:pt x="1575" y="817"/>
                            </a:cubicBezTo>
                            <a:cubicBezTo>
                              <a:pt x="1571" y="809"/>
                              <a:pt x="1562" y="816"/>
                              <a:pt x="1549" y="809"/>
                            </a:cubicBezTo>
                            <a:cubicBezTo>
                              <a:pt x="1537" y="802"/>
                              <a:pt x="1544" y="804"/>
                              <a:pt x="1528" y="794"/>
                            </a:cubicBezTo>
                            <a:cubicBezTo>
                              <a:pt x="1512" y="785"/>
                              <a:pt x="1516" y="796"/>
                              <a:pt x="1504" y="796"/>
                            </a:cubicBezTo>
                            <a:cubicBezTo>
                              <a:pt x="1491" y="797"/>
                              <a:pt x="1487" y="798"/>
                              <a:pt x="1479" y="802"/>
                            </a:cubicBezTo>
                            <a:cubicBezTo>
                              <a:pt x="1471" y="807"/>
                              <a:pt x="1476" y="810"/>
                              <a:pt x="1484" y="810"/>
                            </a:cubicBezTo>
                            <a:cubicBezTo>
                              <a:pt x="1492" y="811"/>
                              <a:pt x="1497" y="812"/>
                              <a:pt x="1500" y="816"/>
                            </a:cubicBezTo>
                            <a:cubicBezTo>
                              <a:pt x="1503" y="819"/>
                              <a:pt x="1496" y="822"/>
                              <a:pt x="1489" y="822"/>
                            </a:cubicBezTo>
                            <a:cubicBezTo>
                              <a:pt x="1482" y="823"/>
                              <a:pt x="1480" y="826"/>
                              <a:pt x="1470" y="827"/>
                            </a:cubicBezTo>
                            <a:cubicBezTo>
                              <a:pt x="1460" y="828"/>
                              <a:pt x="1456" y="824"/>
                              <a:pt x="1443" y="819"/>
                            </a:cubicBezTo>
                            <a:cubicBezTo>
                              <a:pt x="1430" y="813"/>
                              <a:pt x="1420" y="814"/>
                              <a:pt x="1411" y="817"/>
                            </a:cubicBezTo>
                            <a:cubicBezTo>
                              <a:pt x="1402" y="820"/>
                              <a:pt x="1391" y="821"/>
                              <a:pt x="1373" y="821"/>
                            </a:cubicBezTo>
                            <a:close/>
                            <a:moveTo>
                              <a:pt x="1375" y="1010"/>
                            </a:moveTo>
                            <a:cubicBezTo>
                              <a:pt x="1364" y="1018"/>
                              <a:pt x="1366" y="1016"/>
                              <a:pt x="1355" y="1026"/>
                            </a:cubicBezTo>
                            <a:cubicBezTo>
                              <a:pt x="1344" y="1037"/>
                              <a:pt x="1336" y="1029"/>
                              <a:pt x="1339" y="1040"/>
                            </a:cubicBezTo>
                            <a:cubicBezTo>
                              <a:pt x="1342" y="1050"/>
                              <a:pt x="1359" y="1053"/>
                              <a:pt x="1369" y="1055"/>
                            </a:cubicBezTo>
                            <a:cubicBezTo>
                              <a:pt x="1380" y="1056"/>
                              <a:pt x="1385" y="1053"/>
                              <a:pt x="1395" y="1046"/>
                            </a:cubicBezTo>
                            <a:cubicBezTo>
                              <a:pt x="1405" y="1039"/>
                              <a:pt x="1409" y="1039"/>
                              <a:pt x="1419" y="1026"/>
                            </a:cubicBezTo>
                            <a:cubicBezTo>
                              <a:pt x="1429" y="1012"/>
                              <a:pt x="1433" y="1016"/>
                              <a:pt x="1439" y="1006"/>
                            </a:cubicBezTo>
                            <a:cubicBezTo>
                              <a:pt x="1445" y="995"/>
                              <a:pt x="1452" y="997"/>
                              <a:pt x="1442" y="988"/>
                            </a:cubicBezTo>
                            <a:cubicBezTo>
                              <a:pt x="1432" y="980"/>
                              <a:pt x="1425" y="985"/>
                              <a:pt x="1417" y="993"/>
                            </a:cubicBezTo>
                            <a:cubicBezTo>
                              <a:pt x="1409" y="1002"/>
                              <a:pt x="1393" y="1006"/>
                              <a:pt x="1375" y="1010"/>
                            </a:cubicBezTo>
                            <a:close/>
                            <a:moveTo>
                              <a:pt x="1648" y="941"/>
                            </a:moveTo>
                            <a:cubicBezTo>
                              <a:pt x="1660" y="953"/>
                              <a:pt x="1654" y="957"/>
                              <a:pt x="1661" y="963"/>
                            </a:cubicBezTo>
                            <a:cubicBezTo>
                              <a:pt x="1669" y="969"/>
                              <a:pt x="1665" y="968"/>
                              <a:pt x="1681" y="968"/>
                            </a:cubicBezTo>
                            <a:cubicBezTo>
                              <a:pt x="1697" y="967"/>
                              <a:pt x="1699" y="963"/>
                              <a:pt x="1721" y="964"/>
                            </a:cubicBezTo>
                            <a:cubicBezTo>
                              <a:pt x="1742" y="965"/>
                              <a:pt x="1751" y="967"/>
                              <a:pt x="1762" y="978"/>
                            </a:cubicBezTo>
                            <a:cubicBezTo>
                              <a:pt x="1773" y="990"/>
                              <a:pt x="1771" y="993"/>
                              <a:pt x="1781" y="1000"/>
                            </a:cubicBezTo>
                            <a:cubicBezTo>
                              <a:pt x="1791" y="1007"/>
                              <a:pt x="1795" y="1001"/>
                              <a:pt x="1794" y="1006"/>
                            </a:cubicBezTo>
                            <a:cubicBezTo>
                              <a:pt x="1793" y="1012"/>
                              <a:pt x="1784" y="1010"/>
                              <a:pt x="1785" y="1014"/>
                            </a:cubicBezTo>
                            <a:cubicBezTo>
                              <a:pt x="1787" y="1018"/>
                              <a:pt x="1790" y="1020"/>
                              <a:pt x="1801" y="1019"/>
                            </a:cubicBezTo>
                            <a:cubicBezTo>
                              <a:pt x="1812" y="1017"/>
                              <a:pt x="1813" y="1008"/>
                              <a:pt x="1818" y="1019"/>
                            </a:cubicBezTo>
                            <a:cubicBezTo>
                              <a:pt x="1824" y="1030"/>
                              <a:pt x="1820" y="1032"/>
                              <a:pt x="1824" y="1041"/>
                            </a:cubicBezTo>
                            <a:cubicBezTo>
                              <a:pt x="1827" y="1049"/>
                              <a:pt x="1819" y="1052"/>
                              <a:pt x="1838" y="1055"/>
                            </a:cubicBezTo>
                            <a:cubicBezTo>
                              <a:pt x="1857" y="1057"/>
                              <a:pt x="1858" y="1054"/>
                              <a:pt x="1873" y="1053"/>
                            </a:cubicBezTo>
                            <a:cubicBezTo>
                              <a:pt x="1887" y="1052"/>
                              <a:pt x="1883" y="1051"/>
                              <a:pt x="1904" y="1054"/>
                            </a:cubicBezTo>
                            <a:cubicBezTo>
                              <a:pt x="1925" y="1056"/>
                              <a:pt x="1920" y="1057"/>
                              <a:pt x="1940" y="1057"/>
                            </a:cubicBezTo>
                            <a:cubicBezTo>
                              <a:pt x="1960" y="1058"/>
                              <a:pt x="1971" y="1065"/>
                              <a:pt x="1977" y="1059"/>
                            </a:cubicBezTo>
                            <a:cubicBezTo>
                              <a:pt x="1982" y="1053"/>
                              <a:pt x="1988" y="1053"/>
                              <a:pt x="1987" y="1045"/>
                            </a:cubicBezTo>
                            <a:cubicBezTo>
                              <a:pt x="1985" y="1037"/>
                              <a:pt x="1988" y="1033"/>
                              <a:pt x="1974" y="1031"/>
                            </a:cubicBezTo>
                            <a:cubicBezTo>
                              <a:pt x="1961" y="1029"/>
                              <a:pt x="1950" y="1026"/>
                              <a:pt x="1940" y="1020"/>
                            </a:cubicBezTo>
                            <a:cubicBezTo>
                              <a:pt x="1930" y="1015"/>
                              <a:pt x="1919" y="1013"/>
                              <a:pt x="1921" y="1008"/>
                            </a:cubicBezTo>
                            <a:cubicBezTo>
                              <a:pt x="1923" y="1004"/>
                              <a:pt x="1932" y="1001"/>
                              <a:pt x="1943" y="999"/>
                            </a:cubicBezTo>
                            <a:cubicBezTo>
                              <a:pt x="1954" y="996"/>
                              <a:pt x="1961" y="996"/>
                              <a:pt x="1953" y="990"/>
                            </a:cubicBezTo>
                            <a:cubicBezTo>
                              <a:pt x="1945" y="984"/>
                              <a:pt x="1952" y="982"/>
                              <a:pt x="1927" y="973"/>
                            </a:cubicBezTo>
                            <a:cubicBezTo>
                              <a:pt x="1903" y="964"/>
                              <a:pt x="1893" y="961"/>
                              <a:pt x="1891" y="955"/>
                            </a:cubicBezTo>
                            <a:cubicBezTo>
                              <a:pt x="1890" y="949"/>
                              <a:pt x="1892" y="948"/>
                              <a:pt x="1903" y="941"/>
                            </a:cubicBezTo>
                            <a:cubicBezTo>
                              <a:pt x="1913" y="933"/>
                              <a:pt x="1915" y="939"/>
                              <a:pt x="1924" y="932"/>
                            </a:cubicBezTo>
                            <a:cubicBezTo>
                              <a:pt x="1932" y="925"/>
                              <a:pt x="1935" y="920"/>
                              <a:pt x="1940" y="912"/>
                            </a:cubicBezTo>
                            <a:cubicBezTo>
                              <a:pt x="1945" y="903"/>
                              <a:pt x="1950" y="899"/>
                              <a:pt x="1957" y="895"/>
                            </a:cubicBezTo>
                            <a:cubicBezTo>
                              <a:pt x="1963" y="891"/>
                              <a:pt x="1967" y="886"/>
                              <a:pt x="1978" y="886"/>
                            </a:cubicBezTo>
                            <a:cubicBezTo>
                              <a:pt x="1989" y="886"/>
                              <a:pt x="1993" y="881"/>
                              <a:pt x="1999" y="891"/>
                            </a:cubicBezTo>
                            <a:cubicBezTo>
                              <a:pt x="2005" y="901"/>
                              <a:pt x="2012" y="900"/>
                              <a:pt x="2006" y="905"/>
                            </a:cubicBezTo>
                            <a:cubicBezTo>
                              <a:pt x="2000" y="910"/>
                              <a:pt x="1991" y="906"/>
                              <a:pt x="1994" y="914"/>
                            </a:cubicBezTo>
                            <a:cubicBezTo>
                              <a:pt x="1998" y="921"/>
                              <a:pt x="2001" y="914"/>
                              <a:pt x="2004" y="926"/>
                            </a:cubicBezTo>
                            <a:cubicBezTo>
                              <a:pt x="2006" y="937"/>
                              <a:pt x="1999" y="942"/>
                              <a:pt x="2008" y="946"/>
                            </a:cubicBezTo>
                            <a:cubicBezTo>
                              <a:pt x="2017" y="950"/>
                              <a:pt x="2025" y="952"/>
                              <a:pt x="2030" y="957"/>
                            </a:cubicBezTo>
                            <a:cubicBezTo>
                              <a:pt x="2034" y="963"/>
                              <a:pt x="2031" y="962"/>
                              <a:pt x="2029" y="973"/>
                            </a:cubicBezTo>
                            <a:cubicBezTo>
                              <a:pt x="2027" y="984"/>
                              <a:pt x="2025" y="986"/>
                              <a:pt x="2032" y="989"/>
                            </a:cubicBezTo>
                            <a:cubicBezTo>
                              <a:pt x="2040" y="992"/>
                              <a:pt x="2046" y="987"/>
                              <a:pt x="2051" y="994"/>
                            </a:cubicBezTo>
                            <a:cubicBezTo>
                              <a:pt x="2057" y="1001"/>
                              <a:pt x="2053" y="1006"/>
                              <a:pt x="2061" y="1008"/>
                            </a:cubicBezTo>
                            <a:cubicBezTo>
                              <a:pt x="2068" y="1010"/>
                              <a:pt x="2069" y="1006"/>
                              <a:pt x="2081" y="1010"/>
                            </a:cubicBezTo>
                            <a:cubicBezTo>
                              <a:pt x="2092" y="1013"/>
                              <a:pt x="2098" y="1014"/>
                              <a:pt x="2100" y="1021"/>
                            </a:cubicBezTo>
                            <a:cubicBezTo>
                              <a:pt x="2101" y="1028"/>
                              <a:pt x="2102" y="1043"/>
                              <a:pt x="2105" y="1042"/>
                            </a:cubicBezTo>
                            <a:cubicBezTo>
                              <a:pt x="2108" y="1041"/>
                              <a:pt x="2107" y="1031"/>
                              <a:pt x="2110" y="1027"/>
                            </a:cubicBezTo>
                            <a:cubicBezTo>
                              <a:pt x="2113" y="1023"/>
                              <a:pt x="2127" y="1027"/>
                              <a:pt x="2125" y="1020"/>
                            </a:cubicBezTo>
                            <a:cubicBezTo>
                              <a:pt x="2123" y="1013"/>
                              <a:pt x="2115" y="1020"/>
                              <a:pt x="2111" y="1012"/>
                            </a:cubicBezTo>
                            <a:cubicBezTo>
                              <a:pt x="2108" y="1004"/>
                              <a:pt x="2108" y="1001"/>
                              <a:pt x="2113" y="997"/>
                            </a:cubicBezTo>
                            <a:cubicBezTo>
                              <a:pt x="2118" y="994"/>
                              <a:pt x="2120" y="991"/>
                              <a:pt x="2135" y="990"/>
                            </a:cubicBezTo>
                            <a:cubicBezTo>
                              <a:pt x="2151" y="990"/>
                              <a:pt x="2157" y="994"/>
                              <a:pt x="2166" y="996"/>
                            </a:cubicBezTo>
                            <a:cubicBezTo>
                              <a:pt x="2175" y="999"/>
                              <a:pt x="2173" y="997"/>
                              <a:pt x="2183" y="1010"/>
                            </a:cubicBezTo>
                            <a:cubicBezTo>
                              <a:pt x="2192" y="1022"/>
                              <a:pt x="2199" y="1022"/>
                              <a:pt x="2198" y="1032"/>
                            </a:cubicBezTo>
                            <a:cubicBezTo>
                              <a:pt x="2197" y="1041"/>
                              <a:pt x="2191" y="1043"/>
                              <a:pt x="2185" y="1050"/>
                            </a:cubicBezTo>
                            <a:cubicBezTo>
                              <a:pt x="2180" y="1056"/>
                              <a:pt x="2177" y="1056"/>
                              <a:pt x="2179" y="1065"/>
                            </a:cubicBezTo>
                            <a:cubicBezTo>
                              <a:pt x="2181" y="1073"/>
                              <a:pt x="2181" y="1076"/>
                              <a:pt x="2176" y="1082"/>
                            </a:cubicBezTo>
                            <a:cubicBezTo>
                              <a:pt x="2170" y="1087"/>
                              <a:pt x="2165" y="1086"/>
                              <a:pt x="2165" y="1091"/>
                            </a:cubicBezTo>
                            <a:cubicBezTo>
                              <a:pt x="2165" y="1095"/>
                              <a:pt x="2168" y="1097"/>
                              <a:pt x="2165" y="1102"/>
                            </a:cubicBezTo>
                            <a:cubicBezTo>
                              <a:pt x="2162" y="1107"/>
                              <a:pt x="2157" y="1104"/>
                              <a:pt x="2154" y="1109"/>
                            </a:cubicBezTo>
                            <a:cubicBezTo>
                              <a:pt x="2151" y="1114"/>
                              <a:pt x="2145" y="1115"/>
                              <a:pt x="2140" y="1114"/>
                            </a:cubicBezTo>
                            <a:cubicBezTo>
                              <a:pt x="2136" y="1114"/>
                              <a:pt x="2139" y="1111"/>
                              <a:pt x="2124" y="1111"/>
                            </a:cubicBezTo>
                            <a:cubicBezTo>
                              <a:pt x="2109" y="1111"/>
                              <a:pt x="2108" y="1114"/>
                              <a:pt x="2099" y="1112"/>
                            </a:cubicBezTo>
                            <a:cubicBezTo>
                              <a:pt x="2091" y="1111"/>
                              <a:pt x="2090" y="1109"/>
                              <a:pt x="2078" y="1109"/>
                            </a:cubicBezTo>
                            <a:cubicBezTo>
                              <a:pt x="2066" y="1109"/>
                              <a:pt x="2058" y="1107"/>
                              <a:pt x="2055" y="1112"/>
                            </a:cubicBezTo>
                            <a:cubicBezTo>
                              <a:pt x="2051" y="1117"/>
                              <a:pt x="2047" y="1125"/>
                              <a:pt x="2038" y="1124"/>
                            </a:cubicBezTo>
                            <a:cubicBezTo>
                              <a:pt x="2029" y="1124"/>
                              <a:pt x="2017" y="1120"/>
                              <a:pt x="2006" y="1117"/>
                            </a:cubicBezTo>
                            <a:cubicBezTo>
                              <a:pt x="1995" y="1114"/>
                              <a:pt x="1991" y="1108"/>
                              <a:pt x="1976" y="1113"/>
                            </a:cubicBezTo>
                            <a:cubicBezTo>
                              <a:pt x="1962" y="1119"/>
                              <a:pt x="1958" y="1127"/>
                              <a:pt x="1943" y="1130"/>
                            </a:cubicBezTo>
                            <a:cubicBezTo>
                              <a:pt x="1927" y="1133"/>
                              <a:pt x="1924" y="1129"/>
                              <a:pt x="1907" y="1137"/>
                            </a:cubicBezTo>
                            <a:cubicBezTo>
                              <a:pt x="1890" y="1145"/>
                              <a:pt x="1876" y="1149"/>
                              <a:pt x="1868" y="1152"/>
                            </a:cubicBezTo>
                            <a:cubicBezTo>
                              <a:pt x="1860" y="1155"/>
                              <a:pt x="1822" y="1165"/>
                              <a:pt x="1807" y="1169"/>
                            </a:cubicBezTo>
                            <a:cubicBezTo>
                              <a:pt x="1792" y="1174"/>
                              <a:pt x="1778" y="1180"/>
                              <a:pt x="1763" y="1186"/>
                            </a:cubicBezTo>
                            <a:cubicBezTo>
                              <a:pt x="1747" y="1191"/>
                              <a:pt x="1735" y="1191"/>
                              <a:pt x="1726" y="1192"/>
                            </a:cubicBezTo>
                            <a:cubicBezTo>
                              <a:pt x="1717" y="1193"/>
                              <a:pt x="1708" y="1191"/>
                              <a:pt x="1698" y="1190"/>
                            </a:cubicBezTo>
                            <a:cubicBezTo>
                              <a:pt x="1688" y="1190"/>
                              <a:pt x="1677" y="1185"/>
                              <a:pt x="1668" y="1179"/>
                            </a:cubicBezTo>
                            <a:cubicBezTo>
                              <a:pt x="1658" y="1173"/>
                              <a:pt x="1645" y="1170"/>
                              <a:pt x="1644" y="1165"/>
                            </a:cubicBezTo>
                            <a:cubicBezTo>
                              <a:pt x="1644" y="1160"/>
                              <a:pt x="1644" y="1158"/>
                              <a:pt x="1652" y="1157"/>
                            </a:cubicBezTo>
                            <a:cubicBezTo>
                              <a:pt x="1659" y="1155"/>
                              <a:pt x="1665" y="1152"/>
                              <a:pt x="1676" y="1148"/>
                            </a:cubicBezTo>
                            <a:cubicBezTo>
                              <a:pt x="1687" y="1144"/>
                              <a:pt x="1695" y="1144"/>
                              <a:pt x="1712" y="1137"/>
                            </a:cubicBezTo>
                            <a:cubicBezTo>
                              <a:pt x="1729" y="1131"/>
                              <a:pt x="1737" y="1128"/>
                              <a:pt x="1746" y="1125"/>
                            </a:cubicBezTo>
                            <a:cubicBezTo>
                              <a:pt x="1755" y="1122"/>
                              <a:pt x="1761" y="1119"/>
                              <a:pt x="1774" y="1119"/>
                            </a:cubicBezTo>
                            <a:cubicBezTo>
                              <a:pt x="1787" y="1119"/>
                              <a:pt x="1793" y="1121"/>
                              <a:pt x="1804" y="1118"/>
                            </a:cubicBezTo>
                            <a:cubicBezTo>
                              <a:pt x="1814" y="1116"/>
                              <a:pt x="1822" y="1116"/>
                              <a:pt x="1825" y="1109"/>
                            </a:cubicBezTo>
                            <a:cubicBezTo>
                              <a:pt x="1828" y="1102"/>
                              <a:pt x="1836" y="1098"/>
                              <a:pt x="1838" y="1092"/>
                            </a:cubicBezTo>
                            <a:cubicBezTo>
                              <a:pt x="1839" y="1087"/>
                              <a:pt x="1843" y="1080"/>
                              <a:pt x="1833" y="1087"/>
                            </a:cubicBezTo>
                            <a:cubicBezTo>
                              <a:pt x="1822" y="1094"/>
                              <a:pt x="1823" y="1099"/>
                              <a:pt x="1815" y="1099"/>
                            </a:cubicBezTo>
                            <a:cubicBezTo>
                              <a:pt x="1808" y="1100"/>
                              <a:pt x="1810" y="1094"/>
                              <a:pt x="1799" y="1097"/>
                            </a:cubicBezTo>
                            <a:cubicBezTo>
                              <a:pt x="1789" y="1100"/>
                              <a:pt x="1788" y="1102"/>
                              <a:pt x="1779" y="1103"/>
                            </a:cubicBezTo>
                            <a:cubicBezTo>
                              <a:pt x="1771" y="1105"/>
                              <a:pt x="1767" y="1105"/>
                              <a:pt x="1766" y="1101"/>
                            </a:cubicBezTo>
                            <a:cubicBezTo>
                              <a:pt x="1766" y="1097"/>
                              <a:pt x="1773" y="1094"/>
                              <a:pt x="1767" y="1093"/>
                            </a:cubicBezTo>
                            <a:cubicBezTo>
                              <a:pt x="1760" y="1092"/>
                              <a:pt x="1758" y="1093"/>
                              <a:pt x="1753" y="1092"/>
                            </a:cubicBezTo>
                            <a:cubicBezTo>
                              <a:pt x="1749" y="1090"/>
                              <a:pt x="1745" y="1093"/>
                              <a:pt x="1740" y="1099"/>
                            </a:cubicBezTo>
                            <a:cubicBezTo>
                              <a:pt x="1735" y="1104"/>
                              <a:pt x="1733" y="1106"/>
                              <a:pt x="1721" y="1107"/>
                            </a:cubicBezTo>
                            <a:cubicBezTo>
                              <a:pt x="1710" y="1107"/>
                              <a:pt x="1707" y="1108"/>
                              <a:pt x="1695" y="1108"/>
                            </a:cubicBezTo>
                            <a:cubicBezTo>
                              <a:pt x="1683" y="1109"/>
                              <a:pt x="1674" y="1113"/>
                              <a:pt x="1672" y="1105"/>
                            </a:cubicBezTo>
                            <a:cubicBezTo>
                              <a:pt x="1671" y="1097"/>
                              <a:pt x="1660" y="1105"/>
                              <a:pt x="1671" y="1094"/>
                            </a:cubicBezTo>
                            <a:cubicBezTo>
                              <a:pt x="1682" y="1084"/>
                              <a:pt x="1681" y="1080"/>
                              <a:pt x="1682" y="1076"/>
                            </a:cubicBezTo>
                            <a:cubicBezTo>
                              <a:pt x="1682" y="1071"/>
                              <a:pt x="1679" y="1072"/>
                              <a:pt x="1674" y="1071"/>
                            </a:cubicBezTo>
                            <a:cubicBezTo>
                              <a:pt x="1668" y="1071"/>
                              <a:pt x="1669" y="1065"/>
                              <a:pt x="1662" y="1066"/>
                            </a:cubicBezTo>
                            <a:cubicBezTo>
                              <a:pt x="1656" y="1067"/>
                              <a:pt x="1655" y="1067"/>
                              <a:pt x="1656" y="1078"/>
                            </a:cubicBezTo>
                            <a:cubicBezTo>
                              <a:pt x="1657" y="1088"/>
                              <a:pt x="1655" y="1091"/>
                              <a:pt x="1651" y="1089"/>
                            </a:cubicBezTo>
                            <a:cubicBezTo>
                              <a:pt x="1647" y="1087"/>
                              <a:pt x="1641" y="1082"/>
                              <a:pt x="1637" y="1082"/>
                            </a:cubicBezTo>
                            <a:cubicBezTo>
                              <a:pt x="1633" y="1082"/>
                              <a:pt x="1631" y="1083"/>
                              <a:pt x="1635" y="1089"/>
                            </a:cubicBezTo>
                            <a:cubicBezTo>
                              <a:pt x="1639" y="1095"/>
                              <a:pt x="1643" y="1093"/>
                              <a:pt x="1642" y="1099"/>
                            </a:cubicBezTo>
                            <a:cubicBezTo>
                              <a:pt x="1641" y="1105"/>
                              <a:pt x="1630" y="1107"/>
                              <a:pt x="1627" y="1110"/>
                            </a:cubicBezTo>
                            <a:cubicBezTo>
                              <a:pt x="1623" y="1113"/>
                              <a:pt x="1621" y="1119"/>
                              <a:pt x="1616" y="1121"/>
                            </a:cubicBezTo>
                            <a:cubicBezTo>
                              <a:pt x="1611" y="1124"/>
                              <a:pt x="1609" y="1129"/>
                              <a:pt x="1602" y="1122"/>
                            </a:cubicBezTo>
                            <a:cubicBezTo>
                              <a:pt x="1595" y="1115"/>
                              <a:pt x="1592" y="1117"/>
                              <a:pt x="1592" y="1112"/>
                            </a:cubicBezTo>
                            <a:cubicBezTo>
                              <a:pt x="1592" y="1106"/>
                              <a:pt x="1594" y="1097"/>
                              <a:pt x="1588" y="1098"/>
                            </a:cubicBezTo>
                            <a:cubicBezTo>
                              <a:pt x="1582" y="1100"/>
                              <a:pt x="1588" y="1108"/>
                              <a:pt x="1580" y="1106"/>
                            </a:cubicBezTo>
                            <a:cubicBezTo>
                              <a:pt x="1573" y="1104"/>
                              <a:pt x="1567" y="1100"/>
                              <a:pt x="1565" y="1102"/>
                            </a:cubicBezTo>
                            <a:cubicBezTo>
                              <a:pt x="1564" y="1104"/>
                              <a:pt x="1564" y="1111"/>
                              <a:pt x="1566" y="1113"/>
                            </a:cubicBezTo>
                            <a:cubicBezTo>
                              <a:pt x="1568" y="1115"/>
                              <a:pt x="1574" y="1117"/>
                              <a:pt x="1568" y="1120"/>
                            </a:cubicBezTo>
                            <a:cubicBezTo>
                              <a:pt x="1562" y="1123"/>
                              <a:pt x="1553" y="1121"/>
                              <a:pt x="1544" y="1117"/>
                            </a:cubicBezTo>
                            <a:cubicBezTo>
                              <a:pt x="1535" y="1113"/>
                              <a:pt x="1529" y="1118"/>
                              <a:pt x="1528" y="1108"/>
                            </a:cubicBezTo>
                            <a:cubicBezTo>
                              <a:pt x="1526" y="1099"/>
                              <a:pt x="1527" y="1095"/>
                              <a:pt x="1523" y="1095"/>
                            </a:cubicBezTo>
                            <a:cubicBezTo>
                              <a:pt x="1519" y="1095"/>
                              <a:pt x="1513" y="1099"/>
                              <a:pt x="1504" y="1100"/>
                            </a:cubicBezTo>
                            <a:cubicBezTo>
                              <a:pt x="1496" y="1101"/>
                              <a:pt x="1483" y="1100"/>
                              <a:pt x="1476" y="1099"/>
                            </a:cubicBezTo>
                            <a:cubicBezTo>
                              <a:pt x="1468" y="1097"/>
                              <a:pt x="1456" y="1097"/>
                              <a:pt x="1450" y="1092"/>
                            </a:cubicBezTo>
                            <a:cubicBezTo>
                              <a:pt x="1444" y="1088"/>
                              <a:pt x="1439" y="1086"/>
                              <a:pt x="1444" y="1081"/>
                            </a:cubicBezTo>
                            <a:cubicBezTo>
                              <a:pt x="1449" y="1077"/>
                              <a:pt x="1454" y="1072"/>
                              <a:pt x="1458" y="1071"/>
                            </a:cubicBezTo>
                            <a:cubicBezTo>
                              <a:pt x="1463" y="1070"/>
                              <a:pt x="1477" y="1068"/>
                              <a:pt x="1486" y="1067"/>
                            </a:cubicBezTo>
                            <a:cubicBezTo>
                              <a:pt x="1496" y="1067"/>
                              <a:pt x="1502" y="1068"/>
                              <a:pt x="1516" y="1065"/>
                            </a:cubicBezTo>
                            <a:cubicBezTo>
                              <a:pt x="1530" y="1062"/>
                              <a:pt x="1542" y="1056"/>
                              <a:pt x="1551" y="1054"/>
                            </a:cubicBezTo>
                            <a:cubicBezTo>
                              <a:pt x="1560" y="1052"/>
                              <a:pt x="1571" y="1051"/>
                              <a:pt x="1579" y="1049"/>
                            </a:cubicBezTo>
                            <a:cubicBezTo>
                              <a:pt x="1588" y="1046"/>
                              <a:pt x="1607" y="1038"/>
                              <a:pt x="1606" y="1035"/>
                            </a:cubicBezTo>
                            <a:cubicBezTo>
                              <a:pt x="1606" y="1033"/>
                              <a:pt x="1603" y="1031"/>
                              <a:pt x="1592" y="1036"/>
                            </a:cubicBezTo>
                            <a:cubicBezTo>
                              <a:pt x="1582" y="1041"/>
                              <a:pt x="1574" y="1044"/>
                              <a:pt x="1558" y="1044"/>
                            </a:cubicBezTo>
                            <a:cubicBezTo>
                              <a:pt x="1543" y="1045"/>
                              <a:pt x="1537" y="1042"/>
                              <a:pt x="1528" y="1046"/>
                            </a:cubicBezTo>
                            <a:cubicBezTo>
                              <a:pt x="1520" y="1050"/>
                              <a:pt x="1518" y="1052"/>
                              <a:pt x="1509" y="1050"/>
                            </a:cubicBezTo>
                            <a:cubicBezTo>
                              <a:pt x="1499" y="1049"/>
                              <a:pt x="1494" y="1047"/>
                              <a:pt x="1487" y="1047"/>
                            </a:cubicBezTo>
                            <a:cubicBezTo>
                              <a:pt x="1479" y="1047"/>
                              <a:pt x="1470" y="1050"/>
                              <a:pt x="1473" y="1045"/>
                            </a:cubicBezTo>
                            <a:cubicBezTo>
                              <a:pt x="1477" y="1040"/>
                              <a:pt x="1478" y="1042"/>
                              <a:pt x="1483" y="1034"/>
                            </a:cubicBezTo>
                            <a:cubicBezTo>
                              <a:pt x="1488" y="1027"/>
                              <a:pt x="1482" y="1025"/>
                              <a:pt x="1495" y="1023"/>
                            </a:cubicBezTo>
                            <a:cubicBezTo>
                              <a:pt x="1507" y="1022"/>
                              <a:pt x="1510" y="1022"/>
                              <a:pt x="1519" y="1022"/>
                            </a:cubicBezTo>
                            <a:cubicBezTo>
                              <a:pt x="1527" y="1022"/>
                              <a:pt x="1533" y="1021"/>
                              <a:pt x="1539" y="1019"/>
                            </a:cubicBezTo>
                            <a:cubicBezTo>
                              <a:pt x="1544" y="1018"/>
                              <a:pt x="1546" y="1017"/>
                              <a:pt x="1556" y="1017"/>
                            </a:cubicBezTo>
                            <a:cubicBezTo>
                              <a:pt x="1566" y="1017"/>
                              <a:pt x="1578" y="1015"/>
                              <a:pt x="1586" y="1016"/>
                            </a:cubicBezTo>
                            <a:cubicBezTo>
                              <a:pt x="1594" y="1016"/>
                              <a:pt x="1607" y="1018"/>
                              <a:pt x="1609" y="1013"/>
                            </a:cubicBezTo>
                            <a:cubicBezTo>
                              <a:pt x="1611" y="1008"/>
                              <a:pt x="1614" y="1004"/>
                              <a:pt x="1602" y="1008"/>
                            </a:cubicBezTo>
                            <a:cubicBezTo>
                              <a:pt x="1590" y="1012"/>
                              <a:pt x="1583" y="1012"/>
                              <a:pt x="1569" y="1011"/>
                            </a:cubicBezTo>
                            <a:cubicBezTo>
                              <a:pt x="1554" y="1010"/>
                              <a:pt x="1551" y="1010"/>
                              <a:pt x="1541" y="1010"/>
                            </a:cubicBezTo>
                            <a:cubicBezTo>
                              <a:pt x="1531" y="1009"/>
                              <a:pt x="1528" y="1012"/>
                              <a:pt x="1518" y="1009"/>
                            </a:cubicBezTo>
                            <a:cubicBezTo>
                              <a:pt x="1507" y="1005"/>
                              <a:pt x="1505" y="1005"/>
                              <a:pt x="1506" y="1001"/>
                            </a:cubicBezTo>
                            <a:cubicBezTo>
                              <a:pt x="1506" y="998"/>
                              <a:pt x="1509" y="996"/>
                              <a:pt x="1508" y="993"/>
                            </a:cubicBezTo>
                            <a:cubicBezTo>
                              <a:pt x="1507" y="990"/>
                              <a:pt x="1502" y="990"/>
                              <a:pt x="1510" y="984"/>
                            </a:cubicBezTo>
                            <a:cubicBezTo>
                              <a:pt x="1517" y="977"/>
                              <a:pt x="1517" y="976"/>
                              <a:pt x="1524" y="976"/>
                            </a:cubicBezTo>
                            <a:cubicBezTo>
                              <a:pt x="1531" y="975"/>
                              <a:pt x="1534" y="973"/>
                              <a:pt x="1541" y="973"/>
                            </a:cubicBezTo>
                            <a:cubicBezTo>
                              <a:pt x="1547" y="973"/>
                              <a:pt x="1551" y="970"/>
                              <a:pt x="1563" y="974"/>
                            </a:cubicBezTo>
                            <a:cubicBezTo>
                              <a:pt x="1575" y="977"/>
                              <a:pt x="1584" y="977"/>
                              <a:pt x="1594" y="977"/>
                            </a:cubicBezTo>
                            <a:cubicBezTo>
                              <a:pt x="1605" y="977"/>
                              <a:pt x="1605" y="978"/>
                              <a:pt x="1613" y="977"/>
                            </a:cubicBezTo>
                            <a:cubicBezTo>
                              <a:pt x="1621" y="977"/>
                              <a:pt x="1626" y="976"/>
                              <a:pt x="1624" y="973"/>
                            </a:cubicBezTo>
                            <a:cubicBezTo>
                              <a:pt x="1622" y="970"/>
                              <a:pt x="1620" y="971"/>
                              <a:pt x="1607" y="969"/>
                            </a:cubicBezTo>
                            <a:cubicBezTo>
                              <a:pt x="1594" y="968"/>
                              <a:pt x="1585" y="962"/>
                              <a:pt x="1575" y="960"/>
                            </a:cubicBezTo>
                            <a:cubicBezTo>
                              <a:pt x="1565" y="958"/>
                              <a:pt x="1558" y="963"/>
                              <a:pt x="1556" y="956"/>
                            </a:cubicBezTo>
                            <a:cubicBezTo>
                              <a:pt x="1554" y="950"/>
                              <a:pt x="1554" y="946"/>
                              <a:pt x="1562" y="944"/>
                            </a:cubicBezTo>
                            <a:cubicBezTo>
                              <a:pt x="1570" y="941"/>
                              <a:pt x="1580" y="938"/>
                              <a:pt x="1590" y="934"/>
                            </a:cubicBezTo>
                            <a:cubicBezTo>
                              <a:pt x="1600" y="930"/>
                              <a:pt x="1605" y="928"/>
                              <a:pt x="1618" y="930"/>
                            </a:cubicBezTo>
                            <a:cubicBezTo>
                              <a:pt x="1630" y="931"/>
                              <a:pt x="1639" y="930"/>
                              <a:pt x="1648" y="941"/>
                            </a:cubicBezTo>
                            <a:close/>
                            <a:moveTo>
                              <a:pt x="1653" y="882"/>
                            </a:moveTo>
                            <a:cubicBezTo>
                              <a:pt x="1661" y="882"/>
                              <a:pt x="1661" y="881"/>
                              <a:pt x="1668" y="881"/>
                            </a:cubicBezTo>
                            <a:cubicBezTo>
                              <a:pt x="1674" y="881"/>
                              <a:pt x="1677" y="879"/>
                              <a:pt x="1682" y="884"/>
                            </a:cubicBezTo>
                            <a:cubicBezTo>
                              <a:pt x="1687" y="888"/>
                              <a:pt x="1686" y="888"/>
                              <a:pt x="1690" y="892"/>
                            </a:cubicBezTo>
                            <a:cubicBezTo>
                              <a:pt x="1695" y="896"/>
                              <a:pt x="1698" y="896"/>
                              <a:pt x="1695" y="899"/>
                            </a:cubicBezTo>
                            <a:cubicBezTo>
                              <a:pt x="1692" y="903"/>
                              <a:pt x="1694" y="905"/>
                              <a:pt x="1684" y="906"/>
                            </a:cubicBezTo>
                            <a:cubicBezTo>
                              <a:pt x="1673" y="906"/>
                              <a:pt x="1665" y="906"/>
                              <a:pt x="1657" y="903"/>
                            </a:cubicBezTo>
                            <a:cubicBezTo>
                              <a:pt x="1649" y="901"/>
                              <a:pt x="1647" y="899"/>
                              <a:pt x="1636" y="899"/>
                            </a:cubicBezTo>
                            <a:cubicBezTo>
                              <a:pt x="1625" y="899"/>
                              <a:pt x="1617" y="903"/>
                              <a:pt x="1616" y="897"/>
                            </a:cubicBezTo>
                            <a:cubicBezTo>
                              <a:pt x="1615" y="890"/>
                              <a:pt x="1613" y="890"/>
                              <a:pt x="1622" y="888"/>
                            </a:cubicBezTo>
                            <a:cubicBezTo>
                              <a:pt x="1630" y="886"/>
                              <a:pt x="1629" y="885"/>
                              <a:pt x="1633" y="884"/>
                            </a:cubicBezTo>
                            <a:cubicBezTo>
                              <a:pt x="1637" y="883"/>
                              <a:pt x="1645" y="883"/>
                              <a:pt x="1653" y="882"/>
                            </a:cubicBezTo>
                            <a:close/>
                            <a:moveTo>
                              <a:pt x="1661" y="736"/>
                            </a:moveTo>
                            <a:cubicBezTo>
                              <a:pt x="1671" y="745"/>
                              <a:pt x="1671" y="744"/>
                              <a:pt x="1678" y="749"/>
                            </a:cubicBezTo>
                            <a:cubicBezTo>
                              <a:pt x="1686" y="754"/>
                              <a:pt x="1690" y="749"/>
                              <a:pt x="1688" y="757"/>
                            </a:cubicBezTo>
                            <a:cubicBezTo>
                              <a:pt x="1686" y="765"/>
                              <a:pt x="1691" y="766"/>
                              <a:pt x="1678" y="768"/>
                            </a:cubicBezTo>
                            <a:cubicBezTo>
                              <a:pt x="1666" y="770"/>
                              <a:pt x="1662" y="769"/>
                              <a:pt x="1654" y="771"/>
                            </a:cubicBezTo>
                            <a:cubicBezTo>
                              <a:pt x="1645" y="773"/>
                              <a:pt x="1632" y="769"/>
                              <a:pt x="1628" y="762"/>
                            </a:cubicBezTo>
                            <a:cubicBezTo>
                              <a:pt x="1625" y="756"/>
                              <a:pt x="1624" y="757"/>
                              <a:pt x="1616" y="751"/>
                            </a:cubicBezTo>
                            <a:cubicBezTo>
                              <a:pt x="1608" y="745"/>
                              <a:pt x="1602" y="747"/>
                              <a:pt x="1604" y="742"/>
                            </a:cubicBezTo>
                            <a:cubicBezTo>
                              <a:pt x="1606" y="737"/>
                              <a:pt x="1612" y="735"/>
                              <a:pt x="1620" y="734"/>
                            </a:cubicBezTo>
                            <a:cubicBezTo>
                              <a:pt x="1627" y="732"/>
                              <a:pt x="1638" y="726"/>
                              <a:pt x="1642" y="724"/>
                            </a:cubicBezTo>
                            <a:cubicBezTo>
                              <a:pt x="1646" y="723"/>
                              <a:pt x="1653" y="723"/>
                              <a:pt x="1661" y="736"/>
                            </a:cubicBezTo>
                            <a:close/>
                            <a:moveTo>
                              <a:pt x="1715" y="749"/>
                            </a:moveTo>
                            <a:cubicBezTo>
                              <a:pt x="1709" y="756"/>
                              <a:pt x="1705" y="753"/>
                              <a:pt x="1709" y="761"/>
                            </a:cubicBezTo>
                            <a:cubicBezTo>
                              <a:pt x="1712" y="769"/>
                              <a:pt x="1714" y="767"/>
                              <a:pt x="1716" y="775"/>
                            </a:cubicBezTo>
                            <a:cubicBezTo>
                              <a:pt x="1719" y="783"/>
                              <a:pt x="1718" y="789"/>
                              <a:pt x="1718" y="792"/>
                            </a:cubicBezTo>
                            <a:cubicBezTo>
                              <a:pt x="1717" y="795"/>
                              <a:pt x="1717" y="799"/>
                              <a:pt x="1723" y="802"/>
                            </a:cubicBezTo>
                            <a:cubicBezTo>
                              <a:pt x="1729" y="806"/>
                              <a:pt x="1730" y="807"/>
                              <a:pt x="1736" y="807"/>
                            </a:cubicBezTo>
                            <a:cubicBezTo>
                              <a:pt x="1743" y="808"/>
                              <a:pt x="1741" y="802"/>
                              <a:pt x="1750" y="807"/>
                            </a:cubicBezTo>
                            <a:cubicBezTo>
                              <a:pt x="1759" y="813"/>
                              <a:pt x="1756" y="815"/>
                              <a:pt x="1763" y="818"/>
                            </a:cubicBezTo>
                            <a:cubicBezTo>
                              <a:pt x="1771" y="821"/>
                              <a:pt x="1772" y="821"/>
                              <a:pt x="1780" y="822"/>
                            </a:cubicBezTo>
                            <a:cubicBezTo>
                              <a:pt x="1787" y="823"/>
                              <a:pt x="1788" y="823"/>
                              <a:pt x="1798" y="819"/>
                            </a:cubicBezTo>
                            <a:cubicBezTo>
                              <a:pt x="1807" y="816"/>
                              <a:pt x="1805" y="814"/>
                              <a:pt x="1813" y="814"/>
                            </a:cubicBezTo>
                            <a:cubicBezTo>
                              <a:pt x="1821" y="815"/>
                              <a:pt x="1825" y="812"/>
                              <a:pt x="1836" y="811"/>
                            </a:cubicBezTo>
                            <a:cubicBezTo>
                              <a:pt x="1846" y="810"/>
                              <a:pt x="1850" y="807"/>
                              <a:pt x="1857" y="805"/>
                            </a:cubicBezTo>
                            <a:cubicBezTo>
                              <a:pt x="1864" y="803"/>
                              <a:pt x="1866" y="802"/>
                              <a:pt x="1872" y="802"/>
                            </a:cubicBezTo>
                            <a:cubicBezTo>
                              <a:pt x="1878" y="803"/>
                              <a:pt x="1882" y="798"/>
                              <a:pt x="1890" y="798"/>
                            </a:cubicBezTo>
                            <a:cubicBezTo>
                              <a:pt x="1897" y="798"/>
                              <a:pt x="1900" y="797"/>
                              <a:pt x="1903" y="792"/>
                            </a:cubicBezTo>
                            <a:cubicBezTo>
                              <a:pt x="1905" y="787"/>
                              <a:pt x="1907" y="787"/>
                              <a:pt x="1909" y="782"/>
                            </a:cubicBezTo>
                            <a:cubicBezTo>
                              <a:pt x="1911" y="777"/>
                              <a:pt x="1915" y="774"/>
                              <a:pt x="1908" y="770"/>
                            </a:cubicBezTo>
                            <a:cubicBezTo>
                              <a:pt x="1900" y="765"/>
                              <a:pt x="1886" y="765"/>
                              <a:pt x="1884" y="769"/>
                            </a:cubicBezTo>
                            <a:cubicBezTo>
                              <a:pt x="1883" y="773"/>
                              <a:pt x="1878" y="773"/>
                              <a:pt x="1872" y="770"/>
                            </a:cubicBezTo>
                            <a:cubicBezTo>
                              <a:pt x="1866" y="767"/>
                              <a:pt x="1858" y="760"/>
                              <a:pt x="1861" y="756"/>
                            </a:cubicBezTo>
                            <a:cubicBezTo>
                              <a:pt x="1863" y="753"/>
                              <a:pt x="1865" y="750"/>
                              <a:pt x="1875" y="751"/>
                            </a:cubicBezTo>
                            <a:cubicBezTo>
                              <a:pt x="1884" y="752"/>
                              <a:pt x="1885" y="753"/>
                              <a:pt x="1892" y="750"/>
                            </a:cubicBezTo>
                            <a:cubicBezTo>
                              <a:pt x="1899" y="747"/>
                              <a:pt x="1898" y="746"/>
                              <a:pt x="1908" y="745"/>
                            </a:cubicBezTo>
                            <a:cubicBezTo>
                              <a:pt x="1917" y="744"/>
                              <a:pt x="1924" y="742"/>
                              <a:pt x="1927" y="736"/>
                            </a:cubicBezTo>
                            <a:cubicBezTo>
                              <a:pt x="1929" y="730"/>
                              <a:pt x="1940" y="727"/>
                              <a:pt x="1935" y="724"/>
                            </a:cubicBezTo>
                            <a:cubicBezTo>
                              <a:pt x="1929" y="721"/>
                              <a:pt x="1924" y="723"/>
                              <a:pt x="1913" y="722"/>
                            </a:cubicBezTo>
                            <a:cubicBezTo>
                              <a:pt x="1901" y="721"/>
                              <a:pt x="1899" y="718"/>
                              <a:pt x="1888" y="723"/>
                            </a:cubicBezTo>
                            <a:cubicBezTo>
                              <a:pt x="1877" y="728"/>
                              <a:pt x="1869" y="729"/>
                              <a:pt x="1859" y="729"/>
                            </a:cubicBezTo>
                            <a:cubicBezTo>
                              <a:pt x="1848" y="729"/>
                              <a:pt x="1851" y="728"/>
                              <a:pt x="1837" y="732"/>
                            </a:cubicBezTo>
                            <a:cubicBezTo>
                              <a:pt x="1823" y="735"/>
                              <a:pt x="1826" y="735"/>
                              <a:pt x="1811" y="735"/>
                            </a:cubicBezTo>
                            <a:cubicBezTo>
                              <a:pt x="1795" y="736"/>
                              <a:pt x="1788" y="735"/>
                              <a:pt x="1782" y="738"/>
                            </a:cubicBezTo>
                            <a:cubicBezTo>
                              <a:pt x="1776" y="741"/>
                              <a:pt x="1765" y="742"/>
                              <a:pt x="1753" y="743"/>
                            </a:cubicBezTo>
                            <a:cubicBezTo>
                              <a:pt x="1740" y="744"/>
                              <a:pt x="1720" y="741"/>
                              <a:pt x="1715" y="749"/>
                            </a:cubicBezTo>
                            <a:close/>
                            <a:moveTo>
                              <a:pt x="1811" y="649"/>
                            </a:moveTo>
                            <a:cubicBezTo>
                              <a:pt x="1823" y="646"/>
                              <a:pt x="1831" y="646"/>
                              <a:pt x="1842" y="641"/>
                            </a:cubicBezTo>
                            <a:cubicBezTo>
                              <a:pt x="1852" y="636"/>
                              <a:pt x="1854" y="635"/>
                              <a:pt x="1865" y="634"/>
                            </a:cubicBezTo>
                            <a:cubicBezTo>
                              <a:pt x="1876" y="632"/>
                              <a:pt x="1887" y="630"/>
                              <a:pt x="1896" y="635"/>
                            </a:cubicBezTo>
                            <a:cubicBezTo>
                              <a:pt x="1905" y="640"/>
                              <a:pt x="1904" y="643"/>
                              <a:pt x="1916" y="645"/>
                            </a:cubicBezTo>
                            <a:cubicBezTo>
                              <a:pt x="1929" y="647"/>
                              <a:pt x="1932" y="646"/>
                              <a:pt x="1944" y="654"/>
                            </a:cubicBezTo>
                            <a:cubicBezTo>
                              <a:pt x="1957" y="663"/>
                              <a:pt x="1959" y="664"/>
                              <a:pt x="1956" y="673"/>
                            </a:cubicBezTo>
                            <a:cubicBezTo>
                              <a:pt x="1952" y="681"/>
                              <a:pt x="1948" y="684"/>
                              <a:pt x="1944" y="688"/>
                            </a:cubicBezTo>
                            <a:cubicBezTo>
                              <a:pt x="1939" y="692"/>
                              <a:pt x="1923" y="695"/>
                              <a:pt x="1913" y="693"/>
                            </a:cubicBezTo>
                            <a:cubicBezTo>
                              <a:pt x="1902" y="690"/>
                              <a:pt x="1894" y="688"/>
                              <a:pt x="1885" y="687"/>
                            </a:cubicBezTo>
                            <a:cubicBezTo>
                              <a:pt x="1877" y="686"/>
                              <a:pt x="1870" y="687"/>
                              <a:pt x="1859" y="685"/>
                            </a:cubicBezTo>
                            <a:cubicBezTo>
                              <a:pt x="1848" y="682"/>
                              <a:pt x="1838" y="680"/>
                              <a:pt x="1833" y="685"/>
                            </a:cubicBezTo>
                            <a:cubicBezTo>
                              <a:pt x="1828" y="691"/>
                              <a:pt x="1824" y="697"/>
                              <a:pt x="1817" y="696"/>
                            </a:cubicBezTo>
                            <a:cubicBezTo>
                              <a:pt x="1810" y="696"/>
                              <a:pt x="1801" y="693"/>
                              <a:pt x="1798" y="690"/>
                            </a:cubicBezTo>
                            <a:cubicBezTo>
                              <a:pt x="1794" y="687"/>
                              <a:pt x="1788" y="685"/>
                              <a:pt x="1780" y="685"/>
                            </a:cubicBezTo>
                            <a:cubicBezTo>
                              <a:pt x="1771" y="685"/>
                              <a:pt x="1764" y="685"/>
                              <a:pt x="1759" y="689"/>
                            </a:cubicBezTo>
                            <a:cubicBezTo>
                              <a:pt x="1753" y="692"/>
                              <a:pt x="1746" y="693"/>
                              <a:pt x="1735" y="696"/>
                            </a:cubicBezTo>
                            <a:cubicBezTo>
                              <a:pt x="1724" y="699"/>
                              <a:pt x="1718" y="700"/>
                              <a:pt x="1713" y="696"/>
                            </a:cubicBezTo>
                            <a:cubicBezTo>
                              <a:pt x="1709" y="692"/>
                              <a:pt x="1711" y="690"/>
                              <a:pt x="1715" y="685"/>
                            </a:cubicBezTo>
                            <a:cubicBezTo>
                              <a:pt x="1719" y="680"/>
                              <a:pt x="1714" y="682"/>
                              <a:pt x="1731" y="676"/>
                            </a:cubicBezTo>
                            <a:cubicBezTo>
                              <a:pt x="1748" y="670"/>
                              <a:pt x="1753" y="671"/>
                              <a:pt x="1763" y="668"/>
                            </a:cubicBezTo>
                            <a:cubicBezTo>
                              <a:pt x="1773" y="664"/>
                              <a:pt x="1782" y="662"/>
                              <a:pt x="1790" y="658"/>
                            </a:cubicBezTo>
                            <a:cubicBezTo>
                              <a:pt x="1797" y="654"/>
                              <a:pt x="1804" y="650"/>
                              <a:pt x="1811" y="649"/>
                            </a:cubicBezTo>
                            <a:close/>
                            <a:moveTo>
                              <a:pt x="1444" y="1214"/>
                            </a:moveTo>
                            <a:cubicBezTo>
                              <a:pt x="1426" y="1216"/>
                              <a:pt x="1418" y="1211"/>
                              <a:pt x="1411" y="1211"/>
                            </a:cubicBezTo>
                            <a:cubicBezTo>
                              <a:pt x="1404" y="1212"/>
                              <a:pt x="1397" y="1214"/>
                              <a:pt x="1390" y="1214"/>
                            </a:cubicBezTo>
                            <a:cubicBezTo>
                              <a:pt x="1383" y="1214"/>
                              <a:pt x="1374" y="1215"/>
                              <a:pt x="1368" y="1219"/>
                            </a:cubicBezTo>
                            <a:cubicBezTo>
                              <a:pt x="1361" y="1223"/>
                              <a:pt x="1364" y="1229"/>
                              <a:pt x="1361" y="1233"/>
                            </a:cubicBezTo>
                            <a:cubicBezTo>
                              <a:pt x="1358" y="1237"/>
                              <a:pt x="1355" y="1241"/>
                              <a:pt x="1349" y="1242"/>
                            </a:cubicBezTo>
                            <a:cubicBezTo>
                              <a:pt x="1344" y="1244"/>
                              <a:pt x="1346" y="1235"/>
                              <a:pt x="1346" y="1228"/>
                            </a:cubicBezTo>
                            <a:cubicBezTo>
                              <a:pt x="1346" y="1221"/>
                              <a:pt x="1345" y="1223"/>
                              <a:pt x="1341" y="1220"/>
                            </a:cubicBezTo>
                            <a:cubicBezTo>
                              <a:pt x="1337" y="1217"/>
                              <a:pt x="1334" y="1218"/>
                              <a:pt x="1326" y="1218"/>
                            </a:cubicBezTo>
                            <a:cubicBezTo>
                              <a:pt x="1317" y="1219"/>
                              <a:pt x="1320" y="1223"/>
                              <a:pt x="1315" y="1226"/>
                            </a:cubicBezTo>
                            <a:cubicBezTo>
                              <a:pt x="1311" y="1229"/>
                              <a:pt x="1308" y="1228"/>
                              <a:pt x="1308" y="1224"/>
                            </a:cubicBezTo>
                            <a:cubicBezTo>
                              <a:pt x="1307" y="1220"/>
                              <a:pt x="1315" y="1218"/>
                              <a:pt x="1315" y="1214"/>
                            </a:cubicBezTo>
                            <a:cubicBezTo>
                              <a:pt x="1314" y="1210"/>
                              <a:pt x="1309" y="1211"/>
                              <a:pt x="1298" y="1209"/>
                            </a:cubicBezTo>
                            <a:cubicBezTo>
                              <a:pt x="1286" y="1208"/>
                              <a:pt x="1277" y="1207"/>
                              <a:pt x="1270" y="1205"/>
                            </a:cubicBezTo>
                            <a:cubicBezTo>
                              <a:pt x="1262" y="1203"/>
                              <a:pt x="1243" y="1198"/>
                              <a:pt x="1237" y="1192"/>
                            </a:cubicBezTo>
                            <a:cubicBezTo>
                              <a:pt x="1231" y="1187"/>
                              <a:pt x="1225" y="1184"/>
                              <a:pt x="1214" y="1179"/>
                            </a:cubicBezTo>
                            <a:cubicBezTo>
                              <a:pt x="1203" y="1174"/>
                              <a:pt x="1195" y="1179"/>
                              <a:pt x="1178" y="1180"/>
                            </a:cubicBezTo>
                            <a:cubicBezTo>
                              <a:pt x="1162" y="1182"/>
                              <a:pt x="1153" y="1183"/>
                              <a:pt x="1135" y="1184"/>
                            </a:cubicBezTo>
                            <a:cubicBezTo>
                              <a:pt x="1117" y="1185"/>
                              <a:pt x="1101" y="1190"/>
                              <a:pt x="1078" y="1194"/>
                            </a:cubicBezTo>
                            <a:cubicBezTo>
                              <a:pt x="1056" y="1198"/>
                              <a:pt x="1054" y="1198"/>
                              <a:pt x="1037" y="1198"/>
                            </a:cubicBezTo>
                            <a:cubicBezTo>
                              <a:pt x="1020" y="1197"/>
                              <a:pt x="1015" y="1198"/>
                              <a:pt x="1010" y="1203"/>
                            </a:cubicBezTo>
                            <a:cubicBezTo>
                              <a:pt x="1005" y="1208"/>
                              <a:pt x="1013" y="1213"/>
                              <a:pt x="1019" y="1221"/>
                            </a:cubicBezTo>
                            <a:cubicBezTo>
                              <a:pt x="1024" y="1229"/>
                              <a:pt x="1033" y="1239"/>
                              <a:pt x="1035" y="1247"/>
                            </a:cubicBezTo>
                            <a:cubicBezTo>
                              <a:pt x="1038" y="1256"/>
                              <a:pt x="1041" y="1259"/>
                              <a:pt x="1046" y="1260"/>
                            </a:cubicBezTo>
                            <a:cubicBezTo>
                              <a:pt x="1052" y="1261"/>
                              <a:pt x="1058" y="1265"/>
                              <a:pt x="1056" y="1271"/>
                            </a:cubicBezTo>
                            <a:cubicBezTo>
                              <a:pt x="1053" y="1277"/>
                              <a:pt x="1050" y="1274"/>
                              <a:pt x="1047" y="1282"/>
                            </a:cubicBezTo>
                            <a:cubicBezTo>
                              <a:pt x="1044" y="1290"/>
                              <a:pt x="1045" y="1294"/>
                              <a:pt x="1040" y="1300"/>
                            </a:cubicBezTo>
                            <a:cubicBezTo>
                              <a:pt x="1034" y="1306"/>
                              <a:pt x="1032" y="1304"/>
                              <a:pt x="1025" y="1310"/>
                            </a:cubicBezTo>
                            <a:cubicBezTo>
                              <a:pt x="1019" y="1316"/>
                              <a:pt x="1019" y="1327"/>
                              <a:pt x="1013" y="1332"/>
                            </a:cubicBezTo>
                            <a:cubicBezTo>
                              <a:pt x="1007" y="1337"/>
                              <a:pt x="1006" y="1341"/>
                              <a:pt x="1005" y="1349"/>
                            </a:cubicBezTo>
                            <a:cubicBezTo>
                              <a:pt x="1005" y="1357"/>
                              <a:pt x="1008" y="1355"/>
                              <a:pt x="1012" y="1362"/>
                            </a:cubicBezTo>
                            <a:cubicBezTo>
                              <a:pt x="1017" y="1369"/>
                              <a:pt x="1013" y="1367"/>
                              <a:pt x="1008" y="1372"/>
                            </a:cubicBezTo>
                            <a:cubicBezTo>
                              <a:pt x="1004" y="1377"/>
                              <a:pt x="1002" y="1373"/>
                              <a:pt x="992" y="1377"/>
                            </a:cubicBezTo>
                            <a:cubicBezTo>
                              <a:pt x="981" y="1381"/>
                              <a:pt x="983" y="1388"/>
                              <a:pt x="982" y="1392"/>
                            </a:cubicBezTo>
                            <a:cubicBezTo>
                              <a:pt x="982" y="1396"/>
                              <a:pt x="978" y="1413"/>
                              <a:pt x="975" y="1417"/>
                            </a:cubicBezTo>
                            <a:cubicBezTo>
                              <a:pt x="972" y="1421"/>
                              <a:pt x="967" y="1423"/>
                              <a:pt x="961" y="1428"/>
                            </a:cubicBezTo>
                            <a:cubicBezTo>
                              <a:pt x="955" y="1433"/>
                              <a:pt x="956" y="1437"/>
                              <a:pt x="955" y="1443"/>
                            </a:cubicBezTo>
                            <a:cubicBezTo>
                              <a:pt x="954" y="1448"/>
                              <a:pt x="950" y="1447"/>
                              <a:pt x="945" y="1454"/>
                            </a:cubicBezTo>
                            <a:cubicBezTo>
                              <a:pt x="940" y="1461"/>
                              <a:pt x="945" y="1461"/>
                              <a:pt x="940" y="1466"/>
                            </a:cubicBezTo>
                            <a:cubicBezTo>
                              <a:pt x="936" y="1472"/>
                              <a:pt x="936" y="1472"/>
                              <a:pt x="935" y="1478"/>
                            </a:cubicBezTo>
                            <a:cubicBezTo>
                              <a:pt x="935" y="1485"/>
                              <a:pt x="947" y="1482"/>
                              <a:pt x="955" y="1480"/>
                            </a:cubicBezTo>
                            <a:cubicBezTo>
                              <a:pt x="964" y="1478"/>
                              <a:pt x="978" y="1481"/>
                              <a:pt x="982" y="1487"/>
                            </a:cubicBezTo>
                            <a:cubicBezTo>
                              <a:pt x="986" y="1493"/>
                              <a:pt x="988" y="1492"/>
                              <a:pt x="1004" y="1500"/>
                            </a:cubicBezTo>
                            <a:cubicBezTo>
                              <a:pt x="1020" y="1507"/>
                              <a:pt x="1026" y="1505"/>
                              <a:pt x="1044" y="1517"/>
                            </a:cubicBezTo>
                            <a:cubicBezTo>
                              <a:pt x="1062" y="1530"/>
                              <a:pt x="1066" y="1528"/>
                              <a:pt x="1078" y="1545"/>
                            </a:cubicBezTo>
                            <a:cubicBezTo>
                              <a:pt x="1090" y="1562"/>
                              <a:pt x="1093" y="1577"/>
                              <a:pt x="1104" y="1582"/>
                            </a:cubicBezTo>
                            <a:cubicBezTo>
                              <a:pt x="1114" y="1586"/>
                              <a:pt x="1116" y="1579"/>
                              <a:pt x="1126" y="1574"/>
                            </a:cubicBezTo>
                            <a:cubicBezTo>
                              <a:pt x="1135" y="1570"/>
                              <a:pt x="1143" y="1573"/>
                              <a:pt x="1160" y="1566"/>
                            </a:cubicBezTo>
                            <a:cubicBezTo>
                              <a:pt x="1177" y="1559"/>
                              <a:pt x="1174" y="1550"/>
                              <a:pt x="1186" y="1540"/>
                            </a:cubicBezTo>
                            <a:cubicBezTo>
                              <a:pt x="1197" y="1529"/>
                              <a:pt x="1197" y="1543"/>
                              <a:pt x="1203" y="1547"/>
                            </a:cubicBezTo>
                            <a:cubicBezTo>
                              <a:pt x="1210" y="1551"/>
                              <a:pt x="1221" y="1546"/>
                              <a:pt x="1234" y="1541"/>
                            </a:cubicBezTo>
                            <a:cubicBezTo>
                              <a:pt x="1247" y="1537"/>
                              <a:pt x="1254" y="1535"/>
                              <a:pt x="1259" y="1530"/>
                            </a:cubicBezTo>
                            <a:cubicBezTo>
                              <a:pt x="1264" y="1525"/>
                              <a:pt x="1267" y="1527"/>
                              <a:pt x="1269" y="1513"/>
                            </a:cubicBezTo>
                            <a:cubicBezTo>
                              <a:pt x="1271" y="1499"/>
                              <a:pt x="1268" y="1499"/>
                              <a:pt x="1269" y="1483"/>
                            </a:cubicBezTo>
                            <a:cubicBezTo>
                              <a:pt x="1269" y="1467"/>
                              <a:pt x="1277" y="1478"/>
                              <a:pt x="1282" y="1470"/>
                            </a:cubicBezTo>
                            <a:cubicBezTo>
                              <a:pt x="1287" y="1462"/>
                              <a:pt x="1279" y="1460"/>
                              <a:pt x="1280" y="1450"/>
                            </a:cubicBezTo>
                            <a:cubicBezTo>
                              <a:pt x="1280" y="1440"/>
                              <a:pt x="1286" y="1451"/>
                              <a:pt x="1302" y="1453"/>
                            </a:cubicBezTo>
                            <a:cubicBezTo>
                              <a:pt x="1318" y="1456"/>
                              <a:pt x="1321" y="1452"/>
                              <a:pt x="1330" y="1445"/>
                            </a:cubicBezTo>
                            <a:cubicBezTo>
                              <a:pt x="1339" y="1437"/>
                              <a:pt x="1341" y="1427"/>
                              <a:pt x="1345" y="1414"/>
                            </a:cubicBezTo>
                            <a:cubicBezTo>
                              <a:pt x="1350" y="1400"/>
                              <a:pt x="1360" y="1396"/>
                              <a:pt x="1373" y="1391"/>
                            </a:cubicBezTo>
                            <a:cubicBezTo>
                              <a:pt x="1385" y="1386"/>
                              <a:pt x="1404" y="1379"/>
                              <a:pt x="1416" y="1373"/>
                            </a:cubicBezTo>
                            <a:cubicBezTo>
                              <a:pt x="1427" y="1368"/>
                              <a:pt x="1439" y="1361"/>
                              <a:pt x="1454" y="1353"/>
                            </a:cubicBezTo>
                            <a:cubicBezTo>
                              <a:pt x="1469" y="1346"/>
                              <a:pt x="1491" y="1343"/>
                              <a:pt x="1501" y="1337"/>
                            </a:cubicBezTo>
                            <a:cubicBezTo>
                              <a:pt x="1511" y="1330"/>
                              <a:pt x="1538" y="1319"/>
                              <a:pt x="1553" y="1319"/>
                            </a:cubicBezTo>
                            <a:cubicBezTo>
                              <a:pt x="1569" y="1318"/>
                              <a:pt x="1578" y="1316"/>
                              <a:pt x="1581" y="1305"/>
                            </a:cubicBezTo>
                            <a:cubicBezTo>
                              <a:pt x="1583" y="1294"/>
                              <a:pt x="1580" y="1295"/>
                              <a:pt x="1565" y="1286"/>
                            </a:cubicBezTo>
                            <a:cubicBezTo>
                              <a:pt x="1550" y="1277"/>
                              <a:pt x="1547" y="1279"/>
                              <a:pt x="1538" y="1269"/>
                            </a:cubicBezTo>
                            <a:cubicBezTo>
                              <a:pt x="1530" y="1258"/>
                              <a:pt x="1528" y="1257"/>
                              <a:pt x="1517" y="1251"/>
                            </a:cubicBezTo>
                            <a:cubicBezTo>
                              <a:pt x="1506" y="1245"/>
                              <a:pt x="1493" y="1239"/>
                              <a:pt x="1475" y="1226"/>
                            </a:cubicBezTo>
                            <a:cubicBezTo>
                              <a:pt x="1457" y="1213"/>
                              <a:pt x="1462" y="1215"/>
                              <a:pt x="1444" y="1214"/>
                            </a:cubicBezTo>
                            <a:close/>
                            <a:moveTo>
                              <a:pt x="3514" y="2121"/>
                            </a:moveTo>
                            <a:cubicBezTo>
                              <a:pt x="3528" y="2123"/>
                              <a:pt x="3536" y="2132"/>
                              <a:pt x="3537" y="2136"/>
                            </a:cubicBezTo>
                            <a:cubicBezTo>
                              <a:pt x="3538" y="2140"/>
                              <a:pt x="3535" y="2140"/>
                              <a:pt x="3536" y="2145"/>
                            </a:cubicBezTo>
                            <a:cubicBezTo>
                              <a:pt x="3536" y="2150"/>
                              <a:pt x="3535" y="2152"/>
                              <a:pt x="3532" y="2153"/>
                            </a:cubicBezTo>
                            <a:cubicBezTo>
                              <a:pt x="3529" y="2154"/>
                              <a:pt x="3523" y="2154"/>
                              <a:pt x="3518" y="2152"/>
                            </a:cubicBezTo>
                            <a:cubicBezTo>
                              <a:pt x="3512" y="2150"/>
                              <a:pt x="3515" y="2149"/>
                              <a:pt x="3515" y="2144"/>
                            </a:cubicBezTo>
                            <a:cubicBezTo>
                              <a:pt x="3515" y="2139"/>
                              <a:pt x="3512" y="2137"/>
                              <a:pt x="3507" y="2133"/>
                            </a:cubicBezTo>
                            <a:cubicBezTo>
                              <a:pt x="3503" y="2128"/>
                              <a:pt x="3502" y="2125"/>
                              <a:pt x="3503" y="2121"/>
                            </a:cubicBezTo>
                            <a:cubicBezTo>
                              <a:pt x="3503" y="2118"/>
                              <a:pt x="3509" y="2120"/>
                              <a:pt x="3514" y="2121"/>
                            </a:cubicBezTo>
                            <a:close/>
                            <a:moveTo>
                              <a:pt x="3539" y="2159"/>
                            </a:moveTo>
                            <a:cubicBezTo>
                              <a:pt x="3544" y="2155"/>
                              <a:pt x="3548" y="2158"/>
                              <a:pt x="3550" y="2160"/>
                            </a:cubicBezTo>
                            <a:cubicBezTo>
                              <a:pt x="3552" y="2163"/>
                              <a:pt x="3549" y="2163"/>
                              <a:pt x="3549" y="2167"/>
                            </a:cubicBezTo>
                            <a:cubicBezTo>
                              <a:pt x="3548" y="2170"/>
                              <a:pt x="3543" y="2167"/>
                              <a:pt x="3539" y="2166"/>
                            </a:cubicBezTo>
                            <a:cubicBezTo>
                              <a:pt x="3536" y="2164"/>
                              <a:pt x="3537" y="2163"/>
                              <a:pt x="3539" y="2159"/>
                            </a:cubicBezTo>
                            <a:close/>
                            <a:moveTo>
                              <a:pt x="3473" y="2141"/>
                            </a:moveTo>
                            <a:cubicBezTo>
                              <a:pt x="3475" y="2146"/>
                              <a:pt x="3476" y="2149"/>
                              <a:pt x="3480" y="2152"/>
                            </a:cubicBezTo>
                            <a:cubicBezTo>
                              <a:pt x="3484" y="2155"/>
                              <a:pt x="3486" y="2158"/>
                              <a:pt x="3485" y="2162"/>
                            </a:cubicBezTo>
                            <a:cubicBezTo>
                              <a:pt x="3485" y="2165"/>
                              <a:pt x="3482" y="2168"/>
                              <a:pt x="3479" y="2168"/>
                            </a:cubicBezTo>
                            <a:cubicBezTo>
                              <a:pt x="3476" y="2168"/>
                              <a:pt x="3473" y="2169"/>
                              <a:pt x="3470" y="2165"/>
                            </a:cubicBezTo>
                            <a:cubicBezTo>
                              <a:pt x="3468" y="2162"/>
                              <a:pt x="3465" y="2159"/>
                              <a:pt x="3461" y="2156"/>
                            </a:cubicBezTo>
                            <a:cubicBezTo>
                              <a:pt x="3458" y="2154"/>
                              <a:pt x="3454" y="2152"/>
                              <a:pt x="3453" y="2147"/>
                            </a:cubicBezTo>
                            <a:cubicBezTo>
                              <a:pt x="3452" y="2142"/>
                              <a:pt x="3453" y="2140"/>
                              <a:pt x="3453" y="2135"/>
                            </a:cubicBezTo>
                            <a:cubicBezTo>
                              <a:pt x="3454" y="2131"/>
                              <a:pt x="3459" y="2129"/>
                              <a:pt x="3462" y="2131"/>
                            </a:cubicBezTo>
                            <a:cubicBezTo>
                              <a:pt x="3465" y="2132"/>
                              <a:pt x="3472" y="2133"/>
                              <a:pt x="3473" y="2141"/>
                            </a:cubicBezTo>
                            <a:close/>
                            <a:moveTo>
                              <a:pt x="487" y="3238"/>
                            </a:moveTo>
                            <a:cubicBezTo>
                              <a:pt x="484" y="3248"/>
                              <a:pt x="480" y="3251"/>
                              <a:pt x="488" y="3257"/>
                            </a:cubicBezTo>
                            <a:cubicBezTo>
                              <a:pt x="495" y="3263"/>
                              <a:pt x="502" y="3268"/>
                              <a:pt x="501" y="3275"/>
                            </a:cubicBezTo>
                            <a:cubicBezTo>
                              <a:pt x="499" y="3283"/>
                              <a:pt x="495" y="3285"/>
                              <a:pt x="502" y="3288"/>
                            </a:cubicBezTo>
                            <a:cubicBezTo>
                              <a:pt x="510" y="3292"/>
                              <a:pt x="519" y="3291"/>
                              <a:pt x="519" y="3295"/>
                            </a:cubicBezTo>
                            <a:cubicBezTo>
                              <a:pt x="519" y="3299"/>
                              <a:pt x="514" y="3299"/>
                              <a:pt x="517" y="3303"/>
                            </a:cubicBezTo>
                            <a:cubicBezTo>
                              <a:pt x="519" y="3308"/>
                              <a:pt x="517" y="3311"/>
                              <a:pt x="524" y="3310"/>
                            </a:cubicBezTo>
                            <a:cubicBezTo>
                              <a:pt x="531" y="3309"/>
                              <a:pt x="534" y="3308"/>
                              <a:pt x="539" y="3304"/>
                            </a:cubicBezTo>
                            <a:cubicBezTo>
                              <a:pt x="543" y="3299"/>
                              <a:pt x="550" y="3301"/>
                              <a:pt x="550" y="3293"/>
                            </a:cubicBezTo>
                            <a:cubicBezTo>
                              <a:pt x="551" y="3285"/>
                              <a:pt x="549" y="3287"/>
                              <a:pt x="551" y="3276"/>
                            </a:cubicBezTo>
                            <a:cubicBezTo>
                              <a:pt x="554" y="3266"/>
                              <a:pt x="551" y="3271"/>
                              <a:pt x="558" y="3258"/>
                            </a:cubicBezTo>
                            <a:cubicBezTo>
                              <a:pt x="566" y="3246"/>
                              <a:pt x="571" y="3234"/>
                              <a:pt x="568" y="3234"/>
                            </a:cubicBezTo>
                            <a:cubicBezTo>
                              <a:pt x="565" y="3234"/>
                              <a:pt x="564" y="3239"/>
                              <a:pt x="558" y="3242"/>
                            </a:cubicBezTo>
                            <a:cubicBezTo>
                              <a:pt x="552" y="3246"/>
                              <a:pt x="546" y="3245"/>
                              <a:pt x="547" y="3253"/>
                            </a:cubicBezTo>
                            <a:cubicBezTo>
                              <a:pt x="548" y="3260"/>
                              <a:pt x="549" y="3260"/>
                              <a:pt x="548" y="3266"/>
                            </a:cubicBezTo>
                            <a:cubicBezTo>
                              <a:pt x="546" y="3271"/>
                              <a:pt x="541" y="3274"/>
                              <a:pt x="536" y="3277"/>
                            </a:cubicBezTo>
                            <a:cubicBezTo>
                              <a:pt x="532" y="3279"/>
                              <a:pt x="524" y="3283"/>
                              <a:pt x="523" y="3278"/>
                            </a:cubicBezTo>
                            <a:cubicBezTo>
                              <a:pt x="523" y="3273"/>
                              <a:pt x="514" y="3274"/>
                              <a:pt x="524" y="3267"/>
                            </a:cubicBezTo>
                            <a:cubicBezTo>
                              <a:pt x="534" y="3261"/>
                              <a:pt x="536" y="3261"/>
                              <a:pt x="537" y="3257"/>
                            </a:cubicBezTo>
                            <a:cubicBezTo>
                              <a:pt x="538" y="3254"/>
                              <a:pt x="540" y="3247"/>
                              <a:pt x="538" y="3244"/>
                            </a:cubicBezTo>
                            <a:cubicBezTo>
                              <a:pt x="536" y="3241"/>
                              <a:pt x="532" y="3239"/>
                              <a:pt x="525" y="3241"/>
                            </a:cubicBezTo>
                            <a:cubicBezTo>
                              <a:pt x="519" y="3242"/>
                              <a:pt x="521" y="3248"/>
                              <a:pt x="515" y="3241"/>
                            </a:cubicBezTo>
                            <a:cubicBezTo>
                              <a:pt x="509" y="3233"/>
                              <a:pt x="507" y="3231"/>
                              <a:pt x="502" y="3232"/>
                            </a:cubicBezTo>
                            <a:cubicBezTo>
                              <a:pt x="497" y="3233"/>
                              <a:pt x="491" y="3233"/>
                              <a:pt x="487" y="3238"/>
                            </a:cubicBezTo>
                            <a:close/>
                            <a:moveTo>
                              <a:pt x="645" y="3236"/>
                            </a:moveTo>
                            <a:cubicBezTo>
                              <a:pt x="640" y="3244"/>
                              <a:pt x="633" y="3242"/>
                              <a:pt x="631" y="3248"/>
                            </a:cubicBezTo>
                            <a:cubicBezTo>
                              <a:pt x="629" y="3254"/>
                              <a:pt x="629" y="3259"/>
                              <a:pt x="635" y="3257"/>
                            </a:cubicBezTo>
                            <a:cubicBezTo>
                              <a:pt x="640" y="3255"/>
                              <a:pt x="640" y="3254"/>
                              <a:pt x="647" y="3252"/>
                            </a:cubicBezTo>
                            <a:cubicBezTo>
                              <a:pt x="654" y="3251"/>
                              <a:pt x="656" y="3254"/>
                              <a:pt x="658" y="3249"/>
                            </a:cubicBezTo>
                            <a:cubicBezTo>
                              <a:pt x="660" y="3243"/>
                              <a:pt x="652" y="3228"/>
                              <a:pt x="645" y="3236"/>
                            </a:cubicBezTo>
                            <a:close/>
                            <a:moveTo>
                              <a:pt x="658" y="3289"/>
                            </a:moveTo>
                            <a:cubicBezTo>
                              <a:pt x="657" y="3293"/>
                              <a:pt x="656" y="3290"/>
                              <a:pt x="664" y="3297"/>
                            </a:cubicBezTo>
                            <a:cubicBezTo>
                              <a:pt x="672" y="3303"/>
                              <a:pt x="674" y="3301"/>
                              <a:pt x="678" y="3308"/>
                            </a:cubicBezTo>
                            <a:cubicBezTo>
                              <a:pt x="683" y="3315"/>
                              <a:pt x="687" y="3317"/>
                              <a:pt x="688" y="3311"/>
                            </a:cubicBezTo>
                            <a:cubicBezTo>
                              <a:pt x="689" y="3306"/>
                              <a:pt x="690" y="3305"/>
                              <a:pt x="684" y="3301"/>
                            </a:cubicBezTo>
                            <a:cubicBezTo>
                              <a:pt x="678" y="3297"/>
                              <a:pt x="677" y="3293"/>
                              <a:pt x="673" y="3290"/>
                            </a:cubicBezTo>
                            <a:cubicBezTo>
                              <a:pt x="669" y="3288"/>
                              <a:pt x="660" y="3282"/>
                              <a:pt x="658" y="3289"/>
                            </a:cubicBezTo>
                            <a:close/>
                            <a:moveTo>
                              <a:pt x="665" y="3259"/>
                            </a:moveTo>
                            <a:cubicBezTo>
                              <a:pt x="665" y="3264"/>
                              <a:pt x="667" y="3266"/>
                              <a:pt x="671" y="3270"/>
                            </a:cubicBezTo>
                            <a:cubicBezTo>
                              <a:pt x="676" y="3274"/>
                              <a:pt x="679" y="3278"/>
                              <a:pt x="680" y="3274"/>
                            </a:cubicBezTo>
                            <a:cubicBezTo>
                              <a:pt x="681" y="3270"/>
                              <a:pt x="684" y="3269"/>
                              <a:pt x="679" y="3266"/>
                            </a:cubicBezTo>
                            <a:cubicBezTo>
                              <a:pt x="674" y="3262"/>
                              <a:pt x="666" y="3254"/>
                              <a:pt x="665" y="3259"/>
                            </a:cubicBezTo>
                            <a:close/>
                            <a:moveTo>
                              <a:pt x="688" y="3280"/>
                            </a:moveTo>
                            <a:cubicBezTo>
                              <a:pt x="686" y="3287"/>
                              <a:pt x="684" y="3290"/>
                              <a:pt x="690" y="3294"/>
                            </a:cubicBezTo>
                            <a:cubicBezTo>
                              <a:pt x="696" y="3298"/>
                              <a:pt x="697" y="3307"/>
                              <a:pt x="702" y="3302"/>
                            </a:cubicBezTo>
                            <a:cubicBezTo>
                              <a:pt x="706" y="3298"/>
                              <a:pt x="710" y="3298"/>
                              <a:pt x="707" y="3293"/>
                            </a:cubicBezTo>
                            <a:cubicBezTo>
                              <a:pt x="704" y="3289"/>
                              <a:pt x="702" y="3290"/>
                              <a:pt x="699" y="3286"/>
                            </a:cubicBezTo>
                            <a:cubicBezTo>
                              <a:pt x="697" y="3281"/>
                              <a:pt x="689" y="3276"/>
                              <a:pt x="688" y="3280"/>
                            </a:cubicBezTo>
                            <a:close/>
                            <a:moveTo>
                              <a:pt x="650" y="3192"/>
                            </a:moveTo>
                            <a:cubicBezTo>
                              <a:pt x="649" y="3196"/>
                              <a:pt x="647" y="3201"/>
                              <a:pt x="652" y="3203"/>
                            </a:cubicBezTo>
                            <a:cubicBezTo>
                              <a:pt x="656" y="3204"/>
                              <a:pt x="661" y="3207"/>
                              <a:pt x="660" y="3202"/>
                            </a:cubicBezTo>
                            <a:cubicBezTo>
                              <a:pt x="658" y="3197"/>
                              <a:pt x="658" y="3194"/>
                              <a:pt x="658" y="3193"/>
                            </a:cubicBezTo>
                            <a:cubicBezTo>
                              <a:pt x="658" y="3191"/>
                              <a:pt x="653" y="3188"/>
                              <a:pt x="650" y="3192"/>
                            </a:cubicBezTo>
                            <a:close/>
                            <a:moveTo>
                              <a:pt x="531" y="3317"/>
                            </a:moveTo>
                            <a:cubicBezTo>
                              <a:pt x="524" y="3316"/>
                              <a:pt x="524" y="3320"/>
                              <a:pt x="526" y="3323"/>
                            </a:cubicBezTo>
                            <a:cubicBezTo>
                              <a:pt x="527" y="3326"/>
                              <a:pt x="532" y="3325"/>
                              <a:pt x="535" y="3325"/>
                            </a:cubicBezTo>
                            <a:cubicBezTo>
                              <a:pt x="538" y="3324"/>
                              <a:pt x="541" y="3325"/>
                              <a:pt x="542" y="3329"/>
                            </a:cubicBezTo>
                            <a:cubicBezTo>
                              <a:pt x="543" y="3333"/>
                              <a:pt x="537" y="3333"/>
                              <a:pt x="537" y="3339"/>
                            </a:cubicBezTo>
                            <a:cubicBezTo>
                              <a:pt x="537" y="3345"/>
                              <a:pt x="543" y="3344"/>
                              <a:pt x="547" y="3343"/>
                            </a:cubicBezTo>
                            <a:cubicBezTo>
                              <a:pt x="550" y="3343"/>
                              <a:pt x="553" y="3339"/>
                              <a:pt x="554" y="3335"/>
                            </a:cubicBezTo>
                            <a:cubicBezTo>
                              <a:pt x="555" y="3330"/>
                              <a:pt x="556" y="3326"/>
                              <a:pt x="559" y="3322"/>
                            </a:cubicBezTo>
                            <a:cubicBezTo>
                              <a:pt x="561" y="3317"/>
                              <a:pt x="562" y="3318"/>
                              <a:pt x="564" y="3314"/>
                            </a:cubicBezTo>
                            <a:cubicBezTo>
                              <a:pt x="567" y="3310"/>
                              <a:pt x="559" y="3308"/>
                              <a:pt x="554" y="3311"/>
                            </a:cubicBezTo>
                            <a:cubicBezTo>
                              <a:pt x="550" y="3315"/>
                              <a:pt x="550" y="3314"/>
                              <a:pt x="542" y="3317"/>
                            </a:cubicBezTo>
                            <a:cubicBezTo>
                              <a:pt x="534" y="3320"/>
                              <a:pt x="534" y="3317"/>
                              <a:pt x="531" y="3317"/>
                            </a:cubicBezTo>
                            <a:close/>
                            <a:moveTo>
                              <a:pt x="561" y="3345"/>
                            </a:moveTo>
                            <a:cubicBezTo>
                              <a:pt x="557" y="3346"/>
                              <a:pt x="553" y="3347"/>
                              <a:pt x="553" y="3352"/>
                            </a:cubicBezTo>
                            <a:cubicBezTo>
                              <a:pt x="553" y="3357"/>
                              <a:pt x="556" y="3360"/>
                              <a:pt x="562" y="3363"/>
                            </a:cubicBezTo>
                            <a:cubicBezTo>
                              <a:pt x="568" y="3367"/>
                              <a:pt x="570" y="3366"/>
                              <a:pt x="573" y="3373"/>
                            </a:cubicBezTo>
                            <a:cubicBezTo>
                              <a:pt x="577" y="3379"/>
                              <a:pt x="580" y="3381"/>
                              <a:pt x="584" y="3387"/>
                            </a:cubicBezTo>
                            <a:cubicBezTo>
                              <a:pt x="589" y="3392"/>
                              <a:pt x="591" y="3397"/>
                              <a:pt x="597" y="3395"/>
                            </a:cubicBezTo>
                            <a:cubicBezTo>
                              <a:pt x="603" y="3393"/>
                              <a:pt x="607" y="3394"/>
                              <a:pt x="604" y="3390"/>
                            </a:cubicBezTo>
                            <a:cubicBezTo>
                              <a:pt x="601" y="3386"/>
                              <a:pt x="599" y="3384"/>
                              <a:pt x="594" y="3381"/>
                            </a:cubicBezTo>
                            <a:cubicBezTo>
                              <a:pt x="590" y="3377"/>
                              <a:pt x="589" y="3373"/>
                              <a:pt x="587" y="3371"/>
                            </a:cubicBezTo>
                            <a:cubicBezTo>
                              <a:pt x="585" y="3369"/>
                              <a:pt x="581" y="3367"/>
                              <a:pt x="581" y="3364"/>
                            </a:cubicBezTo>
                            <a:cubicBezTo>
                              <a:pt x="581" y="3361"/>
                              <a:pt x="572" y="3358"/>
                              <a:pt x="569" y="3355"/>
                            </a:cubicBezTo>
                            <a:cubicBezTo>
                              <a:pt x="566" y="3352"/>
                              <a:pt x="566" y="3344"/>
                              <a:pt x="561" y="3345"/>
                            </a:cubicBezTo>
                            <a:close/>
                            <a:moveTo>
                              <a:pt x="731" y="3318"/>
                            </a:moveTo>
                            <a:cubicBezTo>
                              <a:pt x="730" y="3322"/>
                              <a:pt x="726" y="3326"/>
                              <a:pt x="727" y="3329"/>
                            </a:cubicBezTo>
                            <a:cubicBezTo>
                              <a:pt x="728" y="3332"/>
                              <a:pt x="727" y="3336"/>
                              <a:pt x="732" y="3333"/>
                            </a:cubicBezTo>
                            <a:cubicBezTo>
                              <a:pt x="737" y="3330"/>
                              <a:pt x="742" y="3330"/>
                              <a:pt x="741" y="3326"/>
                            </a:cubicBezTo>
                            <a:cubicBezTo>
                              <a:pt x="740" y="3321"/>
                              <a:pt x="736" y="3318"/>
                              <a:pt x="740" y="3317"/>
                            </a:cubicBezTo>
                            <a:cubicBezTo>
                              <a:pt x="744" y="3317"/>
                              <a:pt x="746" y="3319"/>
                              <a:pt x="747" y="3322"/>
                            </a:cubicBezTo>
                            <a:cubicBezTo>
                              <a:pt x="748" y="3325"/>
                              <a:pt x="745" y="3328"/>
                              <a:pt x="744" y="3331"/>
                            </a:cubicBezTo>
                            <a:cubicBezTo>
                              <a:pt x="742" y="3333"/>
                              <a:pt x="738" y="3334"/>
                              <a:pt x="738" y="3338"/>
                            </a:cubicBezTo>
                            <a:cubicBezTo>
                              <a:pt x="737" y="3342"/>
                              <a:pt x="735" y="3344"/>
                              <a:pt x="738" y="3347"/>
                            </a:cubicBezTo>
                            <a:cubicBezTo>
                              <a:pt x="741" y="3350"/>
                              <a:pt x="743" y="3354"/>
                              <a:pt x="748" y="3353"/>
                            </a:cubicBezTo>
                            <a:cubicBezTo>
                              <a:pt x="752" y="3352"/>
                              <a:pt x="757" y="3353"/>
                              <a:pt x="757" y="3344"/>
                            </a:cubicBezTo>
                            <a:cubicBezTo>
                              <a:pt x="757" y="3336"/>
                              <a:pt x="758" y="3336"/>
                              <a:pt x="760" y="3332"/>
                            </a:cubicBezTo>
                            <a:cubicBezTo>
                              <a:pt x="762" y="3328"/>
                              <a:pt x="763" y="3325"/>
                              <a:pt x="761" y="3322"/>
                            </a:cubicBezTo>
                            <a:cubicBezTo>
                              <a:pt x="759" y="3319"/>
                              <a:pt x="759" y="3317"/>
                              <a:pt x="753" y="3314"/>
                            </a:cubicBezTo>
                            <a:cubicBezTo>
                              <a:pt x="748" y="3310"/>
                              <a:pt x="746" y="3307"/>
                              <a:pt x="741" y="3307"/>
                            </a:cubicBezTo>
                            <a:cubicBezTo>
                              <a:pt x="737" y="3308"/>
                              <a:pt x="732" y="3311"/>
                              <a:pt x="731" y="3318"/>
                            </a:cubicBezTo>
                            <a:close/>
                            <a:moveTo>
                              <a:pt x="718" y="3352"/>
                            </a:moveTo>
                            <a:cubicBezTo>
                              <a:pt x="720" y="3356"/>
                              <a:pt x="720" y="3358"/>
                              <a:pt x="725" y="3362"/>
                            </a:cubicBezTo>
                            <a:cubicBezTo>
                              <a:pt x="730" y="3366"/>
                              <a:pt x="728" y="3368"/>
                              <a:pt x="733" y="3368"/>
                            </a:cubicBezTo>
                            <a:cubicBezTo>
                              <a:pt x="738" y="3369"/>
                              <a:pt x="743" y="3369"/>
                              <a:pt x="739" y="3364"/>
                            </a:cubicBezTo>
                            <a:cubicBezTo>
                              <a:pt x="734" y="3360"/>
                              <a:pt x="732" y="3360"/>
                              <a:pt x="731" y="3355"/>
                            </a:cubicBezTo>
                            <a:cubicBezTo>
                              <a:pt x="729" y="3349"/>
                              <a:pt x="717" y="3344"/>
                              <a:pt x="718" y="3352"/>
                            </a:cubicBezTo>
                            <a:close/>
                            <a:moveTo>
                              <a:pt x="760" y="3363"/>
                            </a:moveTo>
                            <a:cubicBezTo>
                              <a:pt x="758" y="3364"/>
                              <a:pt x="754" y="3365"/>
                              <a:pt x="756" y="3368"/>
                            </a:cubicBezTo>
                            <a:cubicBezTo>
                              <a:pt x="758" y="3371"/>
                              <a:pt x="759" y="3372"/>
                              <a:pt x="762" y="3371"/>
                            </a:cubicBezTo>
                            <a:cubicBezTo>
                              <a:pt x="765" y="3371"/>
                              <a:pt x="768" y="3372"/>
                              <a:pt x="769" y="3369"/>
                            </a:cubicBezTo>
                            <a:cubicBezTo>
                              <a:pt x="769" y="3366"/>
                              <a:pt x="766" y="3361"/>
                              <a:pt x="760" y="3363"/>
                            </a:cubicBezTo>
                            <a:close/>
                            <a:moveTo>
                              <a:pt x="816" y="3393"/>
                            </a:moveTo>
                            <a:cubicBezTo>
                              <a:pt x="815" y="3396"/>
                              <a:pt x="813" y="3396"/>
                              <a:pt x="811" y="3400"/>
                            </a:cubicBezTo>
                            <a:cubicBezTo>
                              <a:pt x="809" y="3403"/>
                              <a:pt x="806" y="3410"/>
                              <a:pt x="809" y="3411"/>
                            </a:cubicBezTo>
                            <a:cubicBezTo>
                              <a:pt x="813" y="3411"/>
                              <a:pt x="813" y="3417"/>
                              <a:pt x="816" y="3410"/>
                            </a:cubicBezTo>
                            <a:cubicBezTo>
                              <a:pt x="818" y="3404"/>
                              <a:pt x="816" y="3404"/>
                              <a:pt x="820" y="3401"/>
                            </a:cubicBezTo>
                            <a:cubicBezTo>
                              <a:pt x="824" y="3398"/>
                              <a:pt x="827" y="3396"/>
                              <a:pt x="828" y="3394"/>
                            </a:cubicBezTo>
                            <a:cubicBezTo>
                              <a:pt x="828" y="3391"/>
                              <a:pt x="822" y="3389"/>
                              <a:pt x="816" y="3393"/>
                            </a:cubicBezTo>
                            <a:close/>
                            <a:moveTo>
                              <a:pt x="790" y="3416"/>
                            </a:moveTo>
                            <a:cubicBezTo>
                              <a:pt x="789" y="3420"/>
                              <a:pt x="788" y="3422"/>
                              <a:pt x="790" y="3424"/>
                            </a:cubicBezTo>
                            <a:cubicBezTo>
                              <a:pt x="792" y="3427"/>
                              <a:pt x="790" y="3431"/>
                              <a:pt x="793" y="3430"/>
                            </a:cubicBezTo>
                            <a:cubicBezTo>
                              <a:pt x="797" y="3429"/>
                              <a:pt x="798" y="3429"/>
                              <a:pt x="797" y="3423"/>
                            </a:cubicBezTo>
                            <a:cubicBezTo>
                              <a:pt x="797" y="3417"/>
                              <a:pt x="799" y="3416"/>
                              <a:pt x="798" y="3414"/>
                            </a:cubicBezTo>
                            <a:cubicBezTo>
                              <a:pt x="797" y="3411"/>
                              <a:pt x="792" y="3411"/>
                              <a:pt x="790" y="3416"/>
                            </a:cubicBezTo>
                            <a:close/>
                            <a:moveTo>
                              <a:pt x="670" y="3146"/>
                            </a:moveTo>
                            <a:cubicBezTo>
                              <a:pt x="664" y="3155"/>
                              <a:pt x="656" y="3165"/>
                              <a:pt x="649" y="3174"/>
                            </a:cubicBezTo>
                            <a:cubicBezTo>
                              <a:pt x="653" y="3171"/>
                              <a:pt x="658" y="3166"/>
                              <a:pt x="660" y="3162"/>
                            </a:cubicBezTo>
                            <a:cubicBezTo>
                              <a:pt x="663" y="3157"/>
                              <a:pt x="667" y="3152"/>
                              <a:pt x="670" y="3146"/>
                            </a:cubicBezTo>
                            <a:close/>
                            <a:moveTo>
                              <a:pt x="794" y="3442"/>
                            </a:moveTo>
                            <a:cubicBezTo>
                              <a:pt x="791" y="3444"/>
                              <a:pt x="790" y="3446"/>
                              <a:pt x="792" y="3450"/>
                            </a:cubicBezTo>
                            <a:cubicBezTo>
                              <a:pt x="795" y="3453"/>
                              <a:pt x="797" y="3460"/>
                              <a:pt x="800" y="3458"/>
                            </a:cubicBezTo>
                            <a:cubicBezTo>
                              <a:pt x="802" y="3457"/>
                              <a:pt x="802" y="3438"/>
                              <a:pt x="794" y="3442"/>
                            </a:cubicBezTo>
                            <a:close/>
                            <a:moveTo>
                              <a:pt x="839" y="3490"/>
                            </a:moveTo>
                            <a:cubicBezTo>
                              <a:pt x="831" y="3490"/>
                              <a:pt x="826" y="3490"/>
                              <a:pt x="826" y="3493"/>
                            </a:cubicBezTo>
                            <a:cubicBezTo>
                              <a:pt x="826" y="3495"/>
                              <a:pt x="834" y="3498"/>
                              <a:pt x="839" y="3498"/>
                            </a:cubicBezTo>
                            <a:cubicBezTo>
                              <a:pt x="844" y="3499"/>
                              <a:pt x="851" y="3502"/>
                              <a:pt x="859" y="3503"/>
                            </a:cubicBezTo>
                            <a:cubicBezTo>
                              <a:pt x="866" y="3503"/>
                              <a:pt x="864" y="3499"/>
                              <a:pt x="863" y="3496"/>
                            </a:cubicBezTo>
                            <a:cubicBezTo>
                              <a:pt x="861" y="3493"/>
                              <a:pt x="860" y="3496"/>
                              <a:pt x="854" y="3494"/>
                            </a:cubicBezTo>
                            <a:cubicBezTo>
                              <a:pt x="847" y="3492"/>
                              <a:pt x="846" y="3490"/>
                              <a:pt x="839" y="3490"/>
                            </a:cubicBezTo>
                            <a:close/>
                            <a:moveTo>
                              <a:pt x="798" y="3504"/>
                            </a:moveTo>
                            <a:cubicBezTo>
                              <a:pt x="790" y="3503"/>
                              <a:pt x="786" y="3506"/>
                              <a:pt x="783" y="3507"/>
                            </a:cubicBezTo>
                            <a:cubicBezTo>
                              <a:pt x="780" y="3507"/>
                              <a:pt x="779" y="3509"/>
                              <a:pt x="778" y="3515"/>
                            </a:cubicBezTo>
                            <a:cubicBezTo>
                              <a:pt x="777" y="3520"/>
                              <a:pt x="781" y="3519"/>
                              <a:pt x="784" y="3523"/>
                            </a:cubicBezTo>
                            <a:cubicBezTo>
                              <a:pt x="787" y="3527"/>
                              <a:pt x="784" y="3527"/>
                              <a:pt x="788" y="3532"/>
                            </a:cubicBezTo>
                            <a:cubicBezTo>
                              <a:pt x="792" y="3537"/>
                              <a:pt x="794" y="3534"/>
                              <a:pt x="801" y="3532"/>
                            </a:cubicBezTo>
                            <a:cubicBezTo>
                              <a:pt x="807" y="3530"/>
                              <a:pt x="812" y="3531"/>
                              <a:pt x="817" y="3528"/>
                            </a:cubicBezTo>
                            <a:cubicBezTo>
                              <a:pt x="822" y="3525"/>
                              <a:pt x="825" y="3526"/>
                              <a:pt x="827" y="3525"/>
                            </a:cubicBezTo>
                            <a:cubicBezTo>
                              <a:pt x="829" y="3525"/>
                              <a:pt x="832" y="3527"/>
                              <a:pt x="834" y="3530"/>
                            </a:cubicBezTo>
                            <a:cubicBezTo>
                              <a:pt x="836" y="3534"/>
                              <a:pt x="834" y="3533"/>
                              <a:pt x="832" y="3536"/>
                            </a:cubicBezTo>
                            <a:cubicBezTo>
                              <a:pt x="830" y="3538"/>
                              <a:pt x="832" y="3538"/>
                              <a:pt x="834" y="3541"/>
                            </a:cubicBezTo>
                            <a:cubicBezTo>
                              <a:pt x="837" y="3545"/>
                              <a:pt x="837" y="3546"/>
                              <a:pt x="833" y="3548"/>
                            </a:cubicBezTo>
                            <a:cubicBezTo>
                              <a:pt x="830" y="3550"/>
                              <a:pt x="826" y="3547"/>
                              <a:pt x="822" y="3544"/>
                            </a:cubicBezTo>
                            <a:cubicBezTo>
                              <a:pt x="817" y="3541"/>
                              <a:pt x="818" y="3542"/>
                              <a:pt x="813" y="3541"/>
                            </a:cubicBezTo>
                            <a:cubicBezTo>
                              <a:pt x="807" y="3540"/>
                              <a:pt x="806" y="3542"/>
                              <a:pt x="805" y="3543"/>
                            </a:cubicBezTo>
                            <a:cubicBezTo>
                              <a:pt x="804" y="3545"/>
                              <a:pt x="804" y="3547"/>
                              <a:pt x="806" y="3549"/>
                            </a:cubicBezTo>
                            <a:cubicBezTo>
                              <a:pt x="808" y="3551"/>
                              <a:pt x="811" y="3551"/>
                              <a:pt x="812" y="3554"/>
                            </a:cubicBezTo>
                            <a:cubicBezTo>
                              <a:pt x="813" y="3557"/>
                              <a:pt x="811" y="3559"/>
                              <a:pt x="813" y="3561"/>
                            </a:cubicBezTo>
                            <a:cubicBezTo>
                              <a:pt x="815" y="3563"/>
                              <a:pt x="818" y="3562"/>
                              <a:pt x="821" y="3560"/>
                            </a:cubicBezTo>
                            <a:cubicBezTo>
                              <a:pt x="824" y="3558"/>
                              <a:pt x="826" y="3559"/>
                              <a:pt x="829" y="3558"/>
                            </a:cubicBezTo>
                            <a:cubicBezTo>
                              <a:pt x="832" y="3558"/>
                              <a:pt x="834" y="3561"/>
                              <a:pt x="837" y="3565"/>
                            </a:cubicBezTo>
                            <a:cubicBezTo>
                              <a:pt x="839" y="3569"/>
                              <a:pt x="841" y="3567"/>
                              <a:pt x="843" y="3563"/>
                            </a:cubicBezTo>
                            <a:cubicBezTo>
                              <a:pt x="846" y="3560"/>
                              <a:pt x="845" y="3562"/>
                              <a:pt x="849" y="3561"/>
                            </a:cubicBezTo>
                            <a:cubicBezTo>
                              <a:pt x="853" y="3561"/>
                              <a:pt x="857" y="3561"/>
                              <a:pt x="857" y="3566"/>
                            </a:cubicBezTo>
                            <a:cubicBezTo>
                              <a:pt x="857" y="3571"/>
                              <a:pt x="856" y="3571"/>
                              <a:pt x="851" y="3573"/>
                            </a:cubicBezTo>
                            <a:cubicBezTo>
                              <a:pt x="847" y="3576"/>
                              <a:pt x="849" y="3577"/>
                              <a:pt x="849" y="3579"/>
                            </a:cubicBezTo>
                            <a:cubicBezTo>
                              <a:pt x="849" y="3582"/>
                              <a:pt x="853" y="3583"/>
                              <a:pt x="857" y="3582"/>
                            </a:cubicBezTo>
                            <a:cubicBezTo>
                              <a:pt x="861" y="3582"/>
                              <a:pt x="862" y="3580"/>
                              <a:pt x="864" y="3577"/>
                            </a:cubicBezTo>
                            <a:cubicBezTo>
                              <a:pt x="866" y="3575"/>
                              <a:pt x="872" y="3575"/>
                              <a:pt x="880" y="3578"/>
                            </a:cubicBezTo>
                            <a:cubicBezTo>
                              <a:pt x="888" y="3581"/>
                              <a:pt x="883" y="3581"/>
                              <a:pt x="884" y="3586"/>
                            </a:cubicBezTo>
                            <a:cubicBezTo>
                              <a:pt x="885" y="3592"/>
                              <a:pt x="886" y="3588"/>
                              <a:pt x="892" y="3590"/>
                            </a:cubicBezTo>
                            <a:cubicBezTo>
                              <a:pt x="897" y="3592"/>
                              <a:pt x="897" y="3592"/>
                              <a:pt x="900" y="3596"/>
                            </a:cubicBezTo>
                            <a:cubicBezTo>
                              <a:pt x="903" y="3600"/>
                              <a:pt x="905" y="3598"/>
                              <a:pt x="911" y="3598"/>
                            </a:cubicBezTo>
                            <a:cubicBezTo>
                              <a:pt x="916" y="3599"/>
                              <a:pt x="914" y="3601"/>
                              <a:pt x="912" y="3604"/>
                            </a:cubicBezTo>
                            <a:cubicBezTo>
                              <a:pt x="910" y="3607"/>
                              <a:pt x="907" y="3606"/>
                              <a:pt x="900" y="3607"/>
                            </a:cubicBezTo>
                            <a:cubicBezTo>
                              <a:pt x="894" y="3607"/>
                              <a:pt x="895" y="3609"/>
                              <a:pt x="893" y="3612"/>
                            </a:cubicBezTo>
                            <a:cubicBezTo>
                              <a:pt x="892" y="3614"/>
                              <a:pt x="893" y="3617"/>
                              <a:pt x="895" y="3619"/>
                            </a:cubicBezTo>
                            <a:cubicBezTo>
                              <a:pt x="896" y="3621"/>
                              <a:pt x="909" y="3620"/>
                              <a:pt x="912" y="3620"/>
                            </a:cubicBezTo>
                            <a:cubicBezTo>
                              <a:pt x="915" y="3620"/>
                              <a:pt x="922" y="3620"/>
                              <a:pt x="926" y="3620"/>
                            </a:cubicBezTo>
                            <a:cubicBezTo>
                              <a:pt x="931" y="3620"/>
                              <a:pt x="932" y="3621"/>
                              <a:pt x="935" y="3624"/>
                            </a:cubicBezTo>
                            <a:cubicBezTo>
                              <a:pt x="939" y="3627"/>
                              <a:pt x="937" y="3629"/>
                              <a:pt x="942" y="3635"/>
                            </a:cubicBezTo>
                            <a:cubicBezTo>
                              <a:pt x="946" y="3640"/>
                              <a:pt x="945" y="3638"/>
                              <a:pt x="944" y="3642"/>
                            </a:cubicBezTo>
                            <a:cubicBezTo>
                              <a:pt x="943" y="3646"/>
                              <a:pt x="936" y="3646"/>
                              <a:pt x="936" y="3649"/>
                            </a:cubicBezTo>
                            <a:cubicBezTo>
                              <a:pt x="936" y="3652"/>
                              <a:pt x="946" y="3650"/>
                              <a:pt x="955" y="3650"/>
                            </a:cubicBezTo>
                            <a:cubicBezTo>
                              <a:pt x="964" y="3649"/>
                              <a:pt x="963" y="3650"/>
                              <a:pt x="968" y="3652"/>
                            </a:cubicBezTo>
                            <a:cubicBezTo>
                              <a:pt x="973" y="3654"/>
                              <a:pt x="979" y="3653"/>
                              <a:pt x="983" y="3653"/>
                            </a:cubicBezTo>
                            <a:cubicBezTo>
                              <a:pt x="988" y="3653"/>
                              <a:pt x="990" y="3651"/>
                              <a:pt x="991" y="3648"/>
                            </a:cubicBezTo>
                            <a:cubicBezTo>
                              <a:pt x="991" y="3645"/>
                              <a:pt x="991" y="3638"/>
                              <a:pt x="996" y="3638"/>
                            </a:cubicBezTo>
                            <a:cubicBezTo>
                              <a:pt x="1001" y="3637"/>
                              <a:pt x="998" y="3645"/>
                              <a:pt x="998" y="3652"/>
                            </a:cubicBezTo>
                            <a:cubicBezTo>
                              <a:pt x="998" y="3660"/>
                              <a:pt x="988" y="3662"/>
                              <a:pt x="983" y="3663"/>
                            </a:cubicBezTo>
                            <a:cubicBezTo>
                              <a:pt x="977" y="3663"/>
                              <a:pt x="979" y="3666"/>
                              <a:pt x="978" y="3668"/>
                            </a:cubicBezTo>
                            <a:cubicBezTo>
                              <a:pt x="978" y="3670"/>
                              <a:pt x="982" y="3674"/>
                              <a:pt x="984" y="3675"/>
                            </a:cubicBezTo>
                            <a:cubicBezTo>
                              <a:pt x="987" y="3677"/>
                              <a:pt x="995" y="3680"/>
                              <a:pt x="999" y="3681"/>
                            </a:cubicBezTo>
                            <a:cubicBezTo>
                              <a:pt x="1003" y="3681"/>
                              <a:pt x="1022" y="3687"/>
                              <a:pt x="1030" y="3690"/>
                            </a:cubicBezTo>
                            <a:cubicBezTo>
                              <a:pt x="1038" y="3694"/>
                              <a:pt x="1046" y="3697"/>
                              <a:pt x="1049" y="3699"/>
                            </a:cubicBezTo>
                            <a:cubicBezTo>
                              <a:pt x="1053" y="3700"/>
                              <a:pt x="1064" y="3705"/>
                              <a:pt x="1069" y="3706"/>
                            </a:cubicBezTo>
                            <a:cubicBezTo>
                              <a:pt x="1073" y="3706"/>
                              <a:pt x="1079" y="3704"/>
                              <a:pt x="1083" y="3702"/>
                            </a:cubicBezTo>
                            <a:cubicBezTo>
                              <a:pt x="1087" y="3700"/>
                              <a:pt x="1090" y="3698"/>
                              <a:pt x="1090" y="3694"/>
                            </a:cubicBezTo>
                            <a:cubicBezTo>
                              <a:pt x="1090" y="3691"/>
                              <a:pt x="1088" y="3689"/>
                              <a:pt x="1083" y="3686"/>
                            </a:cubicBezTo>
                            <a:cubicBezTo>
                              <a:pt x="1078" y="3682"/>
                              <a:pt x="1077" y="3683"/>
                              <a:pt x="1073" y="3678"/>
                            </a:cubicBezTo>
                            <a:cubicBezTo>
                              <a:pt x="1068" y="3673"/>
                              <a:pt x="1068" y="3671"/>
                              <a:pt x="1065" y="3663"/>
                            </a:cubicBezTo>
                            <a:cubicBezTo>
                              <a:pt x="1061" y="3656"/>
                              <a:pt x="1064" y="3659"/>
                              <a:pt x="1062" y="3651"/>
                            </a:cubicBezTo>
                            <a:cubicBezTo>
                              <a:pt x="1060" y="3644"/>
                              <a:pt x="1057" y="3641"/>
                              <a:pt x="1053" y="3637"/>
                            </a:cubicBezTo>
                            <a:cubicBezTo>
                              <a:pt x="1049" y="3634"/>
                              <a:pt x="1041" y="3633"/>
                              <a:pt x="1026" y="3629"/>
                            </a:cubicBezTo>
                            <a:cubicBezTo>
                              <a:pt x="1010" y="3626"/>
                              <a:pt x="1013" y="3625"/>
                              <a:pt x="1001" y="3618"/>
                            </a:cubicBezTo>
                            <a:cubicBezTo>
                              <a:pt x="990" y="3612"/>
                              <a:pt x="991" y="3601"/>
                              <a:pt x="983" y="3593"/>
                            </a:cubicBezTo>
                            <a:cubicBezTo>
                              <a:pt x="974" y="3585"/>
                              <a:pt x="974" y="3579"/>
                              <a:pt x="971" y="3571"/>
                            </a:cubicBezTo>
                            <a:cubicBezTo>
                              <a:pt x="968" y="3563"/>
                              <a:pt x="963" y="3557"/>
                              <a:pt x="956" y="3552"/>
                            </a:cubicBezTo>
                            <a:cubicBezTo>
                              <a:pt x="948" y="3546"/>
                              <a:pt x="932" y="3542"/>
                              <a:pt x="924" y="3541"/>
                            </a:cubicBezTo>
                            <a:cubicBezTo>
                              <a:pt x="915" y="3540"/>
                              <a:pt x="907" y="3540"/>
                              <a:pt x="896" y="3538"/>
                            </a:cubicBezTo>
                            <a:cubicBezTo>
                              <a:pt x="884" y="3537"/>
                              <a:pt x="881" y="3535"/>
                              <a:pt x="873" y="3532"/>
                            </a:cubicBezTo>
                            <a:cubicBezTo>
                              <a:pt x="866" y="3530"/>
                              <a:pt x="858" y="3529"/>
                              <a:pt x="852" y="3526"/>
                            </a:cubicBezTo>
                            <a:cubicBezTo>
                              <a:pt x="845" y="3523"/>
                              <a:pt x="843" y="3522"/>
                              <a:pt x="837" y="3518"/>
                            </a:cubicBezTo>
                            <a:cubicBezTo>
                              <a:pt x="831" y="3514"/>
                              <a:pt x="826" y="3512"/>
                              <a:pt x="816" y="3506"/>
                            </a:cubicBezTo>
                            <a:cubicBezTo>
                              <a:pt x="806" y="3500"/>
                              <a:pt x="806" y="3504"/>
                              <a:pt x="798" y="3504"/>
                            </a:cubicBezTo>
                            <a:close/>
                            <a:moveTo>
                              <a:pt x="868" y="3589"/>
                            </a:moveTo>
                            <a:cubicBezTo>
                              <a:pt x="865" y="3591"/>
                              <a:pt x="863" y="3593"/>
                              <a:pt x="867" y="3595"/>
                            </a:cubicBezTo>
                            <a:cubicBezTo>
                              <a:pt x="870" y="3598"/>
                              <a:pt x="869" y="3601"/>
                              <a:pt x="874" y="3600"/>
                            </a:cubicBezTo>
                            <a:cubicBezTo>
                              <a:pt x="878" y="3600"/>
                              <a:pt x="878" y="3597"/>
                              <a:pt x="877" y="3593"/>
                            </a:cubicBezTo>
                            <a:cubicBezTo>
                              <a:pt x="876" y="3589"/>
                              <a:pt x="873" y="3587"/>
                              <a:pt x="868" y="3589"/>
                            </a:cubicBezTo>
                            <a:close/>
                            <a:moveTo>
                              <a:pt x="977" y="3548"/>
                            </a:moveTo>
                            <a:cubicBezTo>
                              <a:pt x="975" y="3552"/>
                              <a:pt x="973" y="3554"/>
                              <a:pt x="977" y="3557"/>
                            </a:cubicBezTo>
                            <a:cubicBezTo>
                              <a:pt x="980" y="3560"/>
                              <a:pt x="984" y="3567"/>
                              <a:pt x="985" y="3563"/>
                            </a:cubicBezTo>
                            <a:cubicBezTo>
                              <a:pt x="987" y="3559"/>
                              <a:pt x="986" y="3561"/>
                              <a:pt x="985" y="3555"/>
                            </a:cubicBezTo>
                            <a:cubicBezTo>
                              <a:pt x="985" y="3549"/>
                              <a:pt x="979" y="3543"/>
                              <a:pt x="977" y="3548"/>
                            </a:cubicBezTo>
                            <a:close/>
                            <a:moveTo>
                              <a:pt x="1009" y="3594"/>
                            </a:moveTo>
                            <a:cubicBezTo>
                              <a:pt x="1011" y="3599"/>
                              <a:pt x="1012" y="3600"/>
                              <a:pt x="1018" y="3601"/>
                            </a:cubicBezTo>
                            <a:cubicBezTo>
                              <a:pt x="1024" y="3603"/>
                              <a:pt x="1026" y="3604"/>
                              <a:pt x="1031" y="3608"/>
                            </a:cubicBezTo>
                            <a:cubicBezTo>
                              <a:pt x="1036" y="3612"/>
                              <a:pt x="1039" y="3618"/>
                              <a:pt x="1040" y="3613"/>
                            </a:cubicBezTo>
                            <a:cubicBezTo>
                              <a:pt x="1042" y="3608"/>
                              <a:pt x="1034" y="3608"/>
                              <a:pt x="1031" y="3603"/>
                            </a:cubicBezTo>
                            <a:cubicBezTo>
                              <a:pt x="1028" y="3598"/>
                              <a:pt x="1021" y="3598"/>
                              <a:pt x="1018" y="3594"/>
                            </a:cubicBezTo>
                            <a:cubicBezTo>
                              <a:pt x="1015" y="3590"/>
                              <a:pt x="1007" y="3588"/>
                              <a:pt x="1009" y="3594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569" name="Freeform 138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1383619" y="3097503"/>
                        <a:ext cx="670322" cy="498872"/>
                      </a:xfrm>
                      <a:custGeom>
                        <a:avLst/>
                        <a:gdLst>
                          <a:gd name="T0" fmla="*/ 2122 w 2335"/>
                          <a:gd name="T1" fmla="*/ 1308 h 1738"/>
                          <a:gd name="T2" fmla="*/ 1930 w 2335"/>
                          <a:gd name="T3" fmla="*/ 1242 h 1738"/>
                          <a:gd name="T4" fmla="*/ 1718 w 2335"/>
                          <a:gd name="T5" fmla="*/ 1148 h 1738"/>
                          <a:gd name="T6" fmla="*/ 1211 w 2335"/>
                          <a:gd name="T7" fmla="*/ 126 h 1738"/>
                          <a:gd name="T8" fmla="*/ 841 w 2335"/>
                          <a:gd name="T9" fmla="*/ 66 h 1738"/>
                          <a:gd name="T10" fmla="*/ 722 w 2335"/>
                          <a:gd name="T11" fmla="*/ 21 h 1738"/>
                          <a:gd name="T12" fmla="*/ 497 w 2335"/>
                          <a:gd name="T13" fmla="*/ 131 h 1738"/>
                          <a:gd name="T14" fmla="*/ 254 w 2335"/>
                          <a:gd name="T15" fmla="*/ 258 h 1738"/>
                          <a:gd name="T16" fmla="*/ 286 w 2335"/>
                          <a:gd name="T17" fmla="*/ 470 h 1738"/>
                          <a:gd name="T18" fmla="*/ 471 w 2335"/>
                          <a:gd name="T19" fmla="*/ 517 h 1738"/>
                          <a:gd name="T20" fmla="*/ 372 w 2335"/>
                          <a:gd name="T21" fmla="*/ 583 h 1738"/>
                          <a:gd name="T22" fmla="*/ 150 w 2335"/>
                          <a:gd name="T23" fmla="*/ 543 h 1738"/>
                          <a:gd name="T24" fmla="*/ 81 w 2335"/>
                          <a:gd name="T25" fmla="*/ 648 h 1738"/>
                          <a:gd name="T26" fmla="*/ 291 w 2335"/>
                          <a:gd name="T27" fmla="*/ 717 h 1738"/>
                          <a:gd name="T28" fmla="*/ 422 w 2335"/>
                          <a:gd name="T29" fmla="*/ 757 h 1738"/>
                          <a:gd name="T30" fmla="*/ 210 w 2335"/>
                          <a:gd name="T31" fmla="*/ 878 h 1738"/>
                          <a:gd name="T32" fmla="*/ 120 w 2335"/>
                          <a:gd name="T33" fmla="*/ 1002 h 1738"/>
                          <a:gd name="T34" fmla="*/ 177 w 2335"/>
                          <a:gd name="T35" fmla="*/ 1025 h 1738"/>
                          <a:gd name="T36" fmla="*/ 267 w 2335"/>
                          <a:gd name="T37" fmla="*/ 1095 h 1738"/>
                          <a:gd name="T38" fmla="*/ 198 w 2335"/>
                          <a:gd name="T39" fmla="*/ 1130 h 1738"/>
                          <a:gd name="T40" fmla="*/ 351 w 2335"/>
                          <a:gd name="T41" fmla="*/ 1140 h 1738"/>
                          <a:gd name="T42" fmla="*/ 400 w 2335"/>
                          <a:gd name="T43" fmla="*/ 1281 h 1738"/>
                          <a:gd name="T44" fmla="*/ 583 w 2335"/>
                          <a:gd name="T45" fmla="*/ 1255 h 1738"/>
                          <a:gd name="T46" fmla="*/ 633 w 2335"/>
                          <a:gd name="T47" fmla="*/ 1392 h 1738"/>
                          <a:gd name="T48" fmla="*/ 421 w 2335"/>
                          <a:gd name="T49" fmla="*/ 1535 h 1738"/>
                          <a:gd name="T50" fmla="*/ 330 w 2335"/>
                          <a:gd name="T51" fmla="*/ 1594 h 1738"/>
                          <a:gd name="T52" fmla="*/ 490 w 2335"/>
                          <a:gd name="T53" fmla="*/ 1543 h 1738"/>
                          <a:gd name="T54" fmla="*/ 777 w 2335"/>
                          <a:gd name="T55" fmla="*/ 1357 h 1738"/>
                          <a:gd name="T56" fmla="*/ 865 w 2335"/>
                          <a:gd name="T57" fmla="*/ 1214 h 1738"/>
                          <a:gd name="T58" fmla="*/ 962 w 2335"/>
                          <a:gd name="T59" fmla="*/ 1112 h 1738"/>
                          <a:gd name="T60" fmla="*/ 1117 w 2335"/>
                          <a:gd name="T61" fmla="*/ 1062 h 1738"/>
                          <a:gd name="T62" fmla="*/ 1024 w 2335"/>
                          <a:gd name="T63" fmla="*/ 1191 h 1738"/>
                          <a:gd name="T64" fmla="*/ 1090 w 2335"/>
                          <a:gd name="T65" fmla="*/ 1201 h 1738"/>
                          <a:gd name="T66" fmla="*/ 1204 w 2335"/>
                          <a:gd name="T67" fmla="*/ 1134 h 1738"/>
                          <a:gd name="T68" fmla="*/ 1233 w 2335"/>
                          <a:gd name="T69" fmla="*/ 1047 h 1738"/>
                          <a:gd name="T70" fmla="*/ 1327 w 2335"/>
                          <a:gd name="T71" fmla="*/ 1091 h 1738"/>
                          <a:gd name="T72" fmla="*/ 1516 w 2335"/>
                          <a:gd name="T73" fmla="*/ 1161 h 1738"/>
                          <a:gd name="T74" fmla="*/ 1763 w 2335"/>
                          <a:gd name="T75" fmla="*/ 1190 h 1738"/>
                          <a:gd name="T76" fmla="*/ 1946 w 2335"/>
                          <a:gd name="T77" fmla="*/ 1310 h 1738"/>
                          <a:gd name="T78" fmla="*/ 1979 w 2335"/>
                          <a:gd name="T79" fmla="*/ 1263 h 1738"/>
                          <a:gd name="T80" fmla="*/ 1996 w 2335"/>
                          <a:gd name="T81" fmla="*/ 1231 h 1738"/>
                          <a:gd name="T82" fmla="*/ 2099 w 2335"/>
                          <a:gd name="T83" fmla="*/ 1338 h 1738"/>
                          <a:gd name="T84" fmla="*/ 2149 w 2335"/>
                          <a:gd name="T85" fmla="*/ 1424 h 1738"/>
                          <a:gd name="T86" fmla="*/ 2278 w 2335"/>
                          <a:gd name="T87" fmla="*/ 1537 h 1738"/>
                          <a:gd name="T88" fmla="*/ 2281 w 2335"/>
                          <a:gd name="T89" fmla="*/ 1627 h 1738"/>
                          <a:gd name="T90" fmla="*/ 109 w 2335"/>
                          <a:gd name="T91" fmla="*/ 1685 h 1738"/>
                          <a:gd name="T92" fmla="*/ 314 w 2335"/>
                          <a:gd name="T93" fmla="*/ 1661 h 1738"/>
                          <a:gd name="T94" fmla="*/ 579 w 2335"/>
                          <a:gd name="T95" fmla="*/ 1511 h 1738"/>
                          <a:gd name="T96" fmla="*/ 934 w 2335"/>
                          <a:gd name="T97" fmla="*/ 1357 h 1738"/>
                          <a:gd name="T98" fmla="*/ 808 w 2335"/>
                          <a:gd name="T99" fmla="*/ 1396 h 1738"/>
                          <a:gd name="T100" fmla="*/ 857 w 2335"/>
                          <a:gd name="T101" fmla="*/ 1457 h 1738"/>
                          <a:gd name="T102" fmla="*/ 1997 w 2335"/>
                          <a:gd name="T103" fmla="*/ 1346 h 1738"/>
                          <a:gd name="T104" fmla="*/ 2019 w 2335"/>
                          <a:gd name="T105" fmla="*/ 1382 h 1738"/>
                          <a:gd name="T106" fmla="*/ 2043 w 2335"/>
                          <a:gd name="T107" fmla="*/ 1486 h 1738"/>
                          <a:gd name="T108" fmla="*/ 2057 w 2335"/>
                          <a:gd name="T109" fmla="*/ 1384 h 1738"/>
                          <a:gd name="T110" fmla="*/ 2140 w 2335"/>
                          <a:gd name="T111" fmla="*/ 1550 h 1738"/>
                          <a:gd name="T112" fmla="*/ 2179 w 2335"/>
                          <a:gd name="T113" fmla="*/ 1568 h 1738"/>
                          <a:gd name="T114" fmla="*/ 2242 w 2335"/>
                          <a:gd name="T115" fmla="*/ 1590 h 1738"/>
                          <a:gd name="T116" fmla="*/ 2099 w 2335"/>
                          <a:gd name="T117" fmla="*/ 1468 h 1738"/>
                          <a:gd name="T118" fmla="*/ 2075 w 2335"/>
                          <a:gd name="T119" fmla="*/ 1514 h 1738"/>
                          <a:gd name="T120" fmla="*/ 2212 w 2335"/>
                          <a:gd name="T121" fmla="*/ 1505 h 1738"/>
                          <a:gd name="T122" fmla="*/ 2208 w 2335"/>
                          <a:gd name="T123" fmla="*/ 1542 h 173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  <a:cxn ang="0">
                            <a:pos x="T94" y="T95"/>
                          </a:cxn>
                          <a:cxn ang="0">
                            <a:pos x="T96" y="T97"/>
                          </a:cxn>
                          <a:cxn ang="0">
                            <a:pos x="T98" y="T99"/>
                          </a:cxn>
                          <a:cxn ang="0">
                            <a:pos x="T100" y="T101"/>
                          </a:cxn>
                          <a:cxn ang="0">
                            <a:pos x="T102" y="T103"/>
                          </a:cxn>
                          <a:cxn ang="0">
                            <a:pos x="T104" y="T105"/>
                          </a:cxn>
                          <a:cxn ang="0">
                            <a:pos x="T106" y="T107"/>
                          </a:cxn>
                          <a:cxn ang="0">
                            <a:pos x="T108" y="T109"/>
                          </a:cxn>
                          <a:cxn ang="0">
                            <a:pos x="T110" y="T111"/>
                          </a:cxn>
                          <a:cxn ang="0">
                            <a:pos x="T112" y="T113"/>
                          </a:cxn>
                          <a:cxn ang="0">
                            <a:pos x="T114" y="T115"/>
                          </a:cxn>
                          <a:cxn ang="0">
                            <a:pos x="T116" y="T117"/>
                          </a:cxn>
                          <a:cxn ang="0">
                            <a:pos x="T118" y="T119"/>
                          </a:cxn>
                          <a:cxn ang="0">
                            <a:pos x="T120" y="T121"/>
                          </a:cxn>
                          <a:cxn ang="0">
                            <a:pos x="T122" y="T123"/>
                          </a:cxn>
                        </a:cxnLst>
                        <a:rect l="0" t="0" r="r" b="b"/>
                        <a:pathLst>
                          <a:path w="2335" h="1738">
                            <a:moveTo>
                              <a:pt x="2295" y="1633"/>
                            </a:moveTo>
                            <a:cubicBezTo>
                              <a:pt x="2311" y="1613"/>
                              <a:pt x="2334" y="1583"/>
                              <a:pt x="2334" y="1580"/>
                            </a:cubicBezTo>
                            <a:cubicBezTo>
                              <a:pt x="2335" y="1576"/>
                              <a:pt x="2332" y="1566"/>
                              <a:pt x="2330" y="1557"/>
                            </a:cubicBezTo>
                            <a:cubicBezTo>
                              <a:pt x="2328" y="1550"/>
                              <a:pt x="2327" y="1544"/>
                              <a:pt x="2327" y="1541"/>
                            </a:cubicBezTo>
                            <a:cubicBezTo>
                              <a:pt x="2327" y="1538"/>
                              <a:pt x="2327" y="1535"/>
                              <a:pt x="2328" y="1532"/>
                            </a:cubicBezTo>
                            <a:cubicBezTo>
                              <a:pt x="2329" y="1529"/>
                              <a:pt x="2330" y="1525"/>
                              <a:pt x="2330" y="1520"/>
                            </a:cubicBezTo>
                            <a:cubicBezTo>
                              <a:pt x="2330" y="1514"/>
                              <a:pt x="2325" y="1512"/>
                              <a:pt x="2319" y="1509"/>
                            </a:cubicBezTo>
                            <a:cubicBezTo>
                              <a:pt x="2317" y="1508"/>
                              <a:pt x="2315" y="1506"/>
                              <a:pt x="2313" y="1505"/>
                            </a:cubicBezTo>
                            <a:cubicBezTo>
                              <a:pt x="2307" y="1502"/>
                              <a:pt x="2284" y="1493"/>
                              <a:pt x="2262" y="1485"/>
                            </a:cubicBezTo>
                            <a:cubicBezTo>
                              <a:pt x="2242" y="1478"/>
                              <a:pt x="2224" y="1471"/>
                              <a:pt x="2221" y="1469"/>
                            </a:cubicBezTo>
                            <a:cubicBezTo>
                              <a:pt x="2219" y="1467"/>
                              <a:pt x="2214" y="1462"/>
                              <a:pt x="2210" y="1455"/>
                            </a:cubicBezTo>
                            <a:cubicBezTo>
                              <a:pt x="2204" y="1447"/>
                              <a:pt x="2198" y="1436"/>
                              <a:pt x="2197" y="1433"/>
                            </a:cubicBezTo>
                            <a:cubicBezTo>
                              <a:pt x="2194" y="1427"/>
                              <a:pt x="2194" y="1423"/>
                              <a:pt x="2194" y="1417"/>
                            </a:cubicBezTo>
                            <a:cubicBezTo>
                              <a:pt x="2194" y="1417"/>
                              <a:pt x="2194" y="1417"/>
                              <a:pt x="2194" y="1417"/>
                            </a:cubicBezTo>
                            <a:cubicBezTo>
                              <a:pt x="2194" y="1415"/>
                              <a:pt x="2193" y="1412"/>
                              <a:pt x="2192" y="1409"/>
                            </a:cubicBezTo>
                            <a:cubicBezTo>
                              <a:pt x="2190" y="1405"/>
                              <a:pt x="2188" y="1401"/>
                              <a:pt x="2185" y="1397"/>
                            </a:cubicBezTo>
                            <a:cubicBezTo>
                              <a:pt x="2181" y="1392"/>
                              <a:pt x="2171" y="1376"/>
                              <a:pt x="2161" y="1361"/>
                            </a:cubicBezTo>
                            <a:cubicBezTo>
                              <a:pt x="2154" y="1350"/>
                              <a:pt x="2147" y="1339"/>
                              <a:pt x="2145" y="1336"/>
                            </a:cubicBezTo>
                            <a:cubicBezTo>
                              <a:pt x="2142" y="1332"/>
                              <a:pt x="2133" y="1320"/>
                              <a:pt x="2122" y="1308"/>
                            </a:cubicBezTo>
                            <a:cubicBezTo>
                              <a:pt x="2115" y="1301"/>
                              <a:pt x="2108" y="1294"/>
                              <a:pt x="2102" y="1290"/>
                            </a:cubicBezTo>
                            <a:cubicBezTo>
                              <a:pt x="2093" y="1285"/>
                              <a:pt x="2087" y="1281"/>
                              <a:pt x="2082" y="1277"/>
                            </a:cubicBezTo>
                            <a:cubicBezTo>
                              <a:pt x="2077" y="1273"/>
                              <a:pt x="2073" y="1270"/>
                              <a:pt x="2070" y="1267"/>
                            </a:cubicBezTo>
                            <a:cubicBezTo>
                              <a:pt x="2070" y="1267"/>
                              <a:pt x="2070" y="1267"/>
                              <a:pt x="2070" y="1267"/>
                            </a:cubicBezTo>
                            <a:cubicBezTo>
                              <a:pt x="2067" y="1264"/>
                              <a:pt x="2063" y="1258"/>
                              <a:pt x="2060" y="1253"/>
                            </a:cubicBezTo>
                            <a:cubicBezTo>
                              <a:pt x="2057" y="1249"/>
                              <a:pt x="2055" y="1245"/>
                              <a:pt x="2054" y="1244"/>
                            </a:cubicBezTo>
                            <a:cubicBezTo>
                              <a:pt x="2052" y="1243"/>
                              <a:pt x="2041" y="1237"/>
                              <a:pt x="2031" y="1228"/>
                            </a:cubicBezTo>
                            <a:cubicBezTo>
                              <a:pt x="2025" y="1224"/>
                              <a:pt x="2019" y="1218"/>
                              <a:pt x="2015" y="1213"/>
                            </a:cubicBezTo>
                            <a:cubicBezTo>
                              <a:pt x="2011" y="1207"/>
                              <a:pt x="2005" y="1201"/>
                              <a:pt x="2000" y="1197"/>
                            </a:cubicBezTo>
                            <a:cubicBezTo>
                              <a:pt x="1995" y="1193"/>
                              <a:pt x="1990" y="1190"/>
                              <a:pt x="1989" y="1190"/>
                            </a:cubicBezTo>
                            <a:cubicBezTo>
                              <a:pt x="1986" y="1191"/>
                              <a:pt x="1979" y="1193"/>
                              <a:pt x="1972" y="1195"/>
                            </a:cubicBezTo>
                            <a:cubicBezTo>
                              <a:pt x="1968" y="1196"/>
                              <a:pt x="1964" y="1198"/>
                              <a:pt x="1962" y="1199"/>
                            </a:cubicBezTo>
                            <a:cubicBezTo>
                              <a:pt x="1959" y="1200"/>
                              <a:pt x="1955" y="1202"/>
                              <a:pt x="1952" y="1204"/>
                            </a:cubicBezTo>
                            <a:cubicBezTo>
                              <a:pt x="1950" y="1205"/>
                              <a:pt x="1949" y="1207"/>
                              <a:pt x="1949" y="1209"/>
                            </a:cubicBezTo>
                            <a:cubicBezTo>
                              <a:pt x="1949" y="1216"/>
                              <a:pt x="1946" y="1218"/>
                              <a:pt x="1943" y="1221"/>
                            </a:cubicBezTo>
                            <a:cubicBezTo>
                              <a:pt x="1942" y="1221"/>
                              <a:pt x="1942" y="1222"/>
                              <a:pt x="1941" y="1222"/>
                            </a:cubicBezTo>
                            <a:cubicBezTo>
                              <a:pt x="1941" y="1222"/>
                              <a:pt x="1941" y="1222"/>
                              <a:pt x="1941" y="1222"/>
                            </a:cubicBezTo>
                            <a:cubicBezTo>
                              <a:pt x="1941" y="1223"/>
                              <a:pt x="1941" y="1223"/>
                              <a:pt x="1941" y="1223"/>
                            </a:cubicBezTo>
                            <a:cubicBezTo>
                              <a:pt x="1939" y="1227"/>
                              <a:pt x="1936" y="1236"/>
                              <a:pt x="1930" y="1242"/>
                            </a:cubicBezTo>
                            <a:cubicBezTo>
                              <a:pt x="1924" y="1246"/>
                              <a:pt x="1918" y="1246"/>
                              <a:pt x="1913" y="1245"/>
                            </a:cubicBezTo>
                            <a:cubicBezTo>
                              <a:pt x="1910" y="1245"/>
                              <a:pt x="1908" y="1244"/>
                              <a:pt x="1906" y="1245"/>
                            </a:cubicBezTo>
                            <a:cubicBezTo>
                              <a:pt x="1902" y="1245"/>
                              <a:pt x="1899" y="1248"/>
                              <a:pt x="1896" y="1252"/>
                            </a:cubicBezTo>
                            <a:cubicBezTo>
                              <a:pt x="1894" y="1254"/>
                              <a:pt x="1893" y="1255"/>
                              <a:pt x="1891" y="1257"/>
                            </a:cubicBezTo>
                            <a:cubicBezTo>
                              <a:pt x="1888" y="1260"/>
                              <a:pt x="1885" y="1263"/>
                              <a:pt x="1881" y="1264"/>
                            </a:cubicBezTo>
                            <a:cubicBezTo>
                              <a:pt x="1879" y="1265"/>
                              <a:pt x="1876" y="1265"/>
                              <a:pt x="1874" y="1265"/>
                            </a:cubicBezTo>
                            <a:cubicBezTo>
                              <a:pt x="1872" y="1265"/>
                              <a:pt x="1870" y="1264"/>
                              <a:pt x="1868" y="1262"/>
                            </a:cubicBezTo>
                            <a:cubicBezTo>
                              <a:pt x="1867" y="1261"/>
                              <a:pt x="1866" y="1259"/>
                              <a:pt x="1865" y="1258"/>
                            </a:cubicBezTo>
                            <a:cubicBezTo>
                              <a:pt x="1864" y="1254"/>
                              <a:pt x="1863" y="1249"/>
                              <a:pt x="1863" y="1244"/>
                            </a:cubicBezTo>
                            <a:cubicBezTo>
                              <a:pt x="1863" y="1239"/>
                              <a:pt x="1863" y="1233"/>
                              <a:pt x="1861" y="1231"/>
                            </a:cubicBezTo>
                            <a:cubicBezTo>
                              <a:pt x="1858" y="1228"/>
                              <a:pt x="1847" y="1218"/>
                              <a:pt x="1836" y="1208"/>
                            </a:cubicBezTo>
                            <a:cubicBezTo>
                              <a:pt x="1827" y="1201"/>
                              <a:pt x="1818" y="1193"/>
                              <a:pt x="1811" y="1188"/>
                            </a:cubicBezTo>
                            <a:cubicBezTo>
                              <a:pt x="1803" y="1182"/>
                              <a:pt x="1793" y="1174"/>
                              <a:pt x="1785" y="1168"/>
                            </a:cubicBezTo>
                            <a:cubicBezTo>
                              <a:pt x="1777" y="1161"/>
                              <a:pt x="1770" y="1155"/>
                              <a:pt x="1769" y="1153"/>
                            </a:cubicBezTo>
                            <a:cubicBezTo>
                              <a:pt x="1769" y="1151"/>
                              <a:pt x="1769" y="1148"/>
                              <a:pt x="1769" y="1145"/>
                            </a:cubicBezTo>
                            <a:cubicBezTo>
                              <a:pt x="1769" y="1141"/>
                              <a:pt x="1769" y="1135"/>
                              <a:pt x="1768" y="1135"/>
                            </a:cubicBezTo>
                            <a:cubicBezTo>
                              <a:pt x="1764" y="1134"/>
                              <a:pt x="1758" y="1134"/>
                              <a:pt x="1752" y="1135"/>
                            </a:cubicBezTo>
                            <a:cubicBezTo>
                              <a:pt x="1746" y="1135"/>
                              <a:pt x="1740" y="1136"/>
                              <a:pt x="1738" y="1137"/>
                            </a:cubicBezTo>
                            <a:cubicBezTo>
                              <a:pt x="1733" y="1139"/>
                              <a:pt x="1718" y="1148"/>
                              <a:pt x="1718" y="1148"/>
                            </a:cubicBezTo>
                            <a:cubicBezTo>
                              <a:pt x="1717" y="1149"/>
                              <a:pt x="1717" y="1149"/>
                              <a:pt x="1717" y="1149"/>
                            </a:cubicBezTo>
                            <a:cubicBezTo>
                              <a:pt x="1715" y="1149"/>
                              <a:pt x="1715" y="1149"/>
                              <a:pt x="1715" y="1149"/>
                            </a:cubicBezTo>
                            <a:cubicBezTo>
                              <a:pt x="1658" y="1136"/>
                              <a:pt x="1658" y="1136"/>
                              <a:pt x="1658" y="1136"/>
                            </a:cubicBezTo>
                            <a:cubicBezTo>
                              <a:pt x="1655" y="1135"/>
                              <a:pt x="1655" y="1135"/>
                              <a:pt x="1655" y="1135"/>
                            </a:cubicBezTo>
                            <a:cubicBezTo>
                              <a:pt x="1655" y="1132"/>
                              <a:pt x="1655" y="1132"/>
                              <a:pt x="1655" y="1132"/>
                            </a:cubicBezTo>
                            <a:cubicBezTo>
                              <a:pt x="1654" y="193"/>
                              <a:pt x="1654" y="193"/>
                              <a:pt x="1654" y="193"/>
                            </a:cubicBezTo>
                            <a:cubicBezTo>
                              <a:pt x="1654" y="192"/>
                              <a:pt x="1653" y="192"/>
                              <a:pt x="1653" y="192"/>
                            </a:cubicBezTo>
                            <a:cubicBezTo>
                              <a:pt x="1643" y="187"/>
                              <a:pt x="1604" y="176"/>
                              <a:pt x="1601" y="175"/>
                            </a:cubicBezTo>
                            <a:cubicBezTo>
                              <a:pt x="1599" y="173"/>
                              <a:pt x="1590" y="170"/>
                              <a:pt x="1574" y="164"/>
                            </a:cubicBezTo>
                            <a:cubicBezTo>
                              <a:pt x="1557" y="158"/>
                              <a:pt x="1547" y="156"/>
                              <a:pt x="1538" y="153"/>
                            </a:cubicBezTo>
                            <a:cubicBezTo>
                              <a:pt x="1528" y="150"/>
                              <a:pt x="1508" y="151"/>
                              <a:pt x="1486" y="151"/>
                            </a:cubicBezTo>
                            <a:cubicBezTo>
                              <a:pt x="1463" y="152"/>
                              <a:pt x="1463" y="156"/>
                              <a:pt x="1448" y="158"/>
                            </a:cubicBezTo>
                            <a:cubicBezTo>
                              <a:pt x="1433" y="159"/>
                              <a:pt x="1431" y="160"/>
                              <a:pt x="1420" y="160"/>
                            </a:cubicBezTo>
                            <a:cubicBezTo>
                              <a:pt x="1409" y="160"/>
                              <a:pt x="1403" y="156"/>
                              <a:pt x="1389" y="150"/>
                            </a:cubicBezTo>
                            <a:cubicBezTo>
                              <a:pt x="1375" y="144"/>
                              <a:pt x="1373" y="142"/>
                              <a:pt x="1363" y="138"/>
                            </a:cubicBezTo>
                            <a:cubicBezTo>
                              <a:pt x="1354" y="135"/>
                              <a:pt x="1335" y="137"/>
                              <a:pt x="1318" y="136"/>
                            </a:cubicBezTo>
                            <a:cubicBezTo>
                              <a:pt x="1301" y="135"/>
                              <a:pt x="1292" y="135"/>
                              <a:pt x="1281" y="135"/>
                            </a:cubicBezTo>
                            <a:cubicBezTo>
                              <a:pt x="1270" y="135"/>
                              <a:pt x="1263" y="134"/>
                              <a:pt x="1242" y="131"/>
                            </a:cubicBezTo>
                            <a:cubicBezTo>
                              <a:pt x="1221" y="128"/>
                              <a:pt x="1224" y="129"/>
                              <a:pt x="1211" y="126"/>
                            </a:cubicBezTo>
                            <a:cubicBezTo>
                              <a:pt x="1197" y="124"/>
                              <a:pt x="1185" y="122"/>
                              <a:pt x="1172" y="119"/>
                            </a:cubicBezTo>
                            <a:cubicBezTo>
                              <a:pt x="1160" y="116"/>
                              <a:pt x="1144" y="112"/>
                              <a:pt x="1125" y="108"/>
                            </a:cubicBezTo>
                            <a:cubicBezTo>
                              <a:pt x="1107" y="104"/>
                              <a:pt x="1108" y="105"/>
                              <a:pt x="1088" y="104"/>
                            </a:cubicBezTo>
                            <a:cubicBezTo>
                              <a:pt x="1068" y="102"/>
                              <a:pt x="1062" y="104"/>
                              <a:pt x="1057" y="104"/>
                            </a:cubicBezTo>
                            <a:cubicBezTo>
                              <a:pt x="1051" y="105"/>
                              <a:pt x="1046" y="105"/>
                              <a:pt x="1038" y="107"/>
                            </a:cubicBezTo>
                            <a:cubicBezTo>
                              <a:pt x="1031" y="109"/>
                              <a:pt x="1029" y="110"/>
                              <a:pt x="1024" y="111"/>
                            </a:cubicBezTo>
                            <a:cubicBezTo>
                              <a:pt x="1019" y="113"/>
                              <a:pt x="1019" y="111"/>
                              <a:pt x="1012" y="110"/>
                            </a:cubicBezTo>
                            <a:cubicBezTo>
                              <a:pt x="1004" y="108"/>
                              <a:pt x="1001" y="107"/>
                              <a:pt x="996" y="104"/>
                            </a:cubicBezTo>
                            <a:cubicBezTo>
                              <a:pt x="992" y="101"/>
                              <a:pt x="992" y="98"/>
                              <a:pt x="985" y="93"/>
                            </a:cubicBezTo>
                            <a:cubicBezTo>
                              <a:pt x="978" y="89"/>
                              <a:pt x="977" y="93"/>
                              <a:pt x="972" y="92"/>
                            </a:cubicBezTo>
                            <a:cubicBezTo>
                              <a:pt x="966" y="91"/>
                              <a:pt x="967" y="90"/>
                              <a:pt x="964" y="84"/>
                            </a:cubicBezTo>
                            <a:cubicBezTo>
                              <a:pt x="960" y="77"/>
                              <a:pt x="960" y="82"/>
                              <a:pt x="956" y="79"/>
                            </a:cubicBezTo>
                            <a:cubicBezTo>
                              <a:pt x="951" y="76"/>
                              <a:pt x="954" y="74"/>
                              <a:pt x="957" y="70"/>
                            </a:cubicBezTo>
                            <a:cubicBezTo>
                              <a:pt x="960" y="66"/>
                              <a:pt x="963" y="65"/>
                              <a:pt x="963" y="63"/>
                            </a:cubicBezTo>
                            <a:cubicBezTo>
                              <a:pt x="963" y="61"/>
                              <a:pt x="958" y="58"/>
                              <a:pt x="951" y="58"/>
                            </a:cubicBezTo>
                            <a:cubicBezTo>
                              <a:pt x="944" y="58"/>
                              <a:pt x="935" y="59"/>
                              <a:pt x="926" y="59"/>
                            </a:cubicBezTo>
                            <a:cubicBezTo>
                              <a:pt x="917" y="59"/>
                              <a:pt x="911" y="58"/>
                              <a:pt x="903" y="58"/>
                            </a:cubicBezTo>
                            <a:cubicBezTo>
                              <a:pt x="895" y="58"/>
                              <a:pt x="866" y="55"/>
                              <a:pt x="861" y="58"/>
                            </a:cubicBezTo>
                            <a:cubicBezTo>
                              <a:pt x="855" y="61"/>
                              <a:pt x="847" y="64"/>
                              <a:pt x="841" y="66"/>
                            </a:cubicBezTo>
                            <a:cubicBezTo>
                              <a:pt x="836" y="69"/>
                              <a:pt x="834" y="66"/>
                              <a:pt x="829" y="64"/>
                            </a:cubicBezTo>
                            <a:cubicBezTo>
                              <a:pt x="823" y="63"/>
                              <a:pt x="820" y="62"/>
                              <a:pt x="817" y="54"/>
                            </a:cubicBezTo>
                            <a:cubicBezTo>
                              <a:pt x="814" y="47"/>
                              <a:pt x="817" y="47"/>
                              <a:pt x="813" y="42"/>
                            </a:cubicBezTo>
                            <a:cubicBezTo>
                              <a:pt x="810" y="37"/>
                              <a:pt x="807" y="38"/>
                              <a:pt x="800" y="38"/>
                            </a:cubicBezTo>
                            <a:cubicBezTo>
                              <a:pt x="794" y="37"/>
                              <a:pt x="794" y="40"/>
                              <a:pt x="790" y="39"/>
                            </a:cubicBezTo>
                            <a:cubicBezTo>
                              <a:pt x="787" y="38"/>
                              <a:pt x="789" y="35"/>
                              <a:pt x="787" y="31"/>
                            </a:cubicBezTo>
                            <a:cubicBezTo>
                              <a:pt x="784" y="27"/>
                              <a:pt x="782" y="31"/>
                              <a:pt x="780" y="34"/>
                            </a:cubicBezTo>
                            <a:cubicBezTo>
                              <a:pt x="778" y="36"/>
                              <a:pt x="778" y="38"/>
                              <a:pt x="775" y="43"/>
                            </a:cubicBezTo>
                            <a:cubicBezTo>
                              <a:pt x="773" y="47"/>
                              <a:pt x="772" y="44"/>
                              <a:pt x="767" y="45"/>
                            </a:cubicBezTo>
                            <a:cubicBezTo>
                              <a:pt x="763" y="45"/>
                              <a:pt x="762" y="48"/>
                              <a:pt x="759" y="52"/>
                            </a:cubicBezTo>
                            <a:cubicBezTo>
                              <a:pt x="757" y="56"/>
                              <a:pt x="755" y="58"/>
                              <a:pt x="752" y="59"/>
                            </a:cubicBezTo>
                            <a:cubicBezTo>
                              <a:pt x="749" y="60"/>
                              <a:pt x="745" y="60"/>
                              <a:pt x="742" y="62"/>
                            </a:cubicBezTo>
                            <a:cubicBezTo>
                              <a:pt x="739" y="63"/>
                              <a:pt x="739" y="67"/>
                              <a:pt x="735" y="68"/>
                            </a:cubicBezTo>
                            <a:cubicBezTo>
                              <a:pt x="731" y="69"/>
                              <a:pt x="733" y="66"/>
                              <a:pt x="733" y="60"/>
                            </a:cubicBezTo>
                            <a:cubicBezTo>
                              <a:pt x="732" y="53"/>
                              <a:pt x="733" y="46"/>
                              <a:pt x="735" y="43"/>
                            </a:cubicBezTo>
                            <a:cubicBezTo>
                              <a:pt x="736" y="39"/>
                              <a:pt x="742" y="39"/>
                              <a:pt x="747" y="36"/>
                            </a:cubicBezTo>
                            <a:cubicBezTo>
                              <a:pt x="753" y="33"/>
                              <a:pt x="754" y="32"/>
                              <a:pt x="753" y="30"/>
                            </a:cubicBezTo>
                            <a:cubicBezTo>
                              <a:pt x="752" y="27"/>
                              <a:pt x="747" y="27"/>
                              <a:pt x="741" y="26"/>
                            </a:cubicBezTo>
                            <a:cubicBezTo>
                              <a:pt x="735" y="25"/>
                              <a:pt x="730" y="23"/>
                              <a:pt x="722" y="21"/>
                            </a:cubicBezTo>
                            <a:cubicBezTo>
                              <a:pt x="714" y="19"/>
                              <a:pt x="711" y="16"/>
                              <a:pt x="706" y="13"/>
                            </a:cubicBezTo>
                            <a:cubicBezTo>
                              <a:pt x="701" y="10"/>
                              <a:pt x="703" y="9"/>
                              <a:pt x="705" y="6"/>
                            </a:cubicBezTo>
                            <a:cubicBezTo>
                              <a:pt x="708" y="3"/>
                              <a:pt x="706" y="0"/>
                              <a:pt x="702" y="0"/>
                            </a:cubicBezTo>
                            <a:cubicBezTo>
                              <a:pt x="699" y="0"/>
                              <a:pt x="696" y="4"/>
                              <a:pt x="687" y="10"/>
                            </a:cubicBezTo>
                            <a:cubicBezTo>
                              <a:pt x="678" y="15"/>
                              <a:pt x="667" y="24"/>
                              <a:pt x="659" y="31"/>
                            </a:cubicBezTo>
                            <a:cubicBezTo>
                              <a:pt x="651" y="38"/>
                              <a:pt x="640" y="46"/>
                              <a:pt x="627" y="54"/>
                            </a:cubicBezTo>
                            <a:cubicBezTo>
                              <a:pt x="613" y="62"/>
                              <a:pt x="611" y="60"/>
                              <a:pt x="596" y="62"/>
                            </a:cubicBezTo>
                            <a:cubicBezTo>
                              <a:pt x="581" y="65"/>
                              <a:pt x="553" y="69"/>
                              <a:pt x="549" y="70"/>
                            </a:cubicBezTo>
                            <a:cubicBezTo>
                              <a:pt x="545" y="70"/>
                              <a:pt x="528" y="71"/>
                              <a:pt x="522" y="71"/>
                            </a:cubicBezTo>
                            <a:cubicBezTo>
                              <a:pt x="516" y="71"/>
                              <a:pt x="513" y="71"/>
                              <a:pt x="507" y="71"/>
                            </a:cubicBezTo>
                            <a:cubicBezTo>
                              <a:pt x="501" y="71"/>
                              <a:pt x="490" y="75"/>
                              <a:pt x="487" y="79"/>
                            </a:cubicBezTo>
                            <a:cubicBezTo>
                              <a:pt x="484" y="83"/>
                              <a:pt x="492" y="87"/>
                              <a:pt x="495" y="91"/>
                            </a:cubicBezTo>
                            <a:cubicBezTo>
                              <a:pt x="497" y="95"/>
                              <a:pt x="503" y="96"/>
                              <a:pt x="510" y="95"/>
                            </a:cubicBezTo>
                            <a:cubicBezTo>
                              <a:pt x="516" y="95"/>
                              <a:pt x="524" y="94"/>
                              <a:pt x="527" y="97"/>
                            </a:cubicBezTo>
                            <a:cubicBezTo>
                              <a:pt x="529" y="99"/>
                              <a:pt x="525" y="102"/>
                              <a:pt x="519" y="104"/>
                            </a:cubicBezTo>
                            <a:cubicBezTo>
                              <a:pt x="513" y="106"/>
                              <a:pt x="509" y="104"/>
                              <a:pt x="503" y="104"/>
                            </a:cubicBezTo>
                            <a:cubicBezTo>
                              <a:pt x="496" y="105"/>
                              <a:pt x="497" y="109"/>
                              <a:pt x="497" y="115"/>
                            </a:cubicBezTo>
                            <a:cubicBezTo>
                              <a:pt x="496" y="120"/>
                              <a:pt x="498" y="121"/>
                              <a:pt x="500" y="126"/>
                            </a:cubicBezTo>
                            <a:cubicBezTo>
                              <a:pt x="503" y="130"/>
                              <a:pt x="501" y="132"/>
                              <a:pt x="497" y="131"/>
                            </a:cubicBezTo>
                            <a:cubicBezTo>
                              <a:pt x="492" y="130"/>
                              <a:pt x="491" y="126"/>
                              <a:pt x="489" y="122"/>
                            </a:cubicBezTo>
                            <a:cubicBezTo>
                              <a:pt x="486" y="117"/>
                              <a:pt x="481" y="123"/>
                              <a:pt x="475" y="117"/>
                            </a:cubicBezTo>
                            <a:cubicBezTo>
                              <a:pt x="470" y="112"/>
                              <a:pt x="477" y="114"/>
                              <a:pt x="479" y="111"/>
                            </a:cubicBezTo>
                            <a:cubicBezTo>
                              <a:pt x="482" y="107"/>
                              <a:pt x="476" y="107"/>
                              <a:pt x="473" y="102"/>
                            </a:cubicBezTo>
                            <a:cubicBezTo>
                              <a:pt x="469" y="97"/>
                              <a:pt x="477" y="98"/>
                              <a:pt x="480" y="95"/>
                            </a:cubicBezTo>
                            <a:cubicBezTo>
                              <a:pt x="484" y="92"/>
                              <a:pt x="479" y="91"/>
                              <a:pt x="475" y="89"/>
                            </a:cubicBezTo>
                            <a:cubicBezTo>
                              <a:pt x="471" y="87"/>
                              <a:pt x="464" y="94"/>
                              <a:pt x="454" y="99"/>
                            </a:cubicBezTo>
                            <a:cubicBezTo>
                              <a:pt x="444" y="104"/>
                              <a:pt x="433" y="114"/>
                              <a:pt x="423" y="121"/>
                            </a:cubicBezTo>
                            <a:cubicBezTo>
                              <a:pt x="413" y="129"/>
                              <a:pt x="415" y="125"/>
                              <a:pt x="404" y="126"/>
                            </a:cubicBezTo>
                            <a:cubicBezTo>
                              <a:pt x="393" y="127"/>
                              <a:pt x="389" y="133"/>
                              <a:pt x="380" y="137"/>
                            </a:cubicBezTo>
                            <a:cubicBezTo>
                              <a:pt x="371" y="141"/>
                              <a:pt x="371" y="138"/>
                              <a:pt x="366" y="136"/>
                            </a:cubicBezTo>
                            <a:cubicBezTo>
                              <a:pt x="362" y="134"/>
                              <a:pt x="371" y="132"/>
                              <a:pt x="373" y="130"/>
                            </a:cubicBezTo>
                            <a:cubicBezTo>
                              <a:pt x="375" y="128"/>
                              <a:pt x="375" y="125"/>
                              <a:pt x="371" y="124"/>
                            </a:cubicBezTo>
                            <a:cubicBezTo>
                              <a:pt x="367" y="123"/>
                              <a:pt x="362" y="125"/>
                              <a:pt x="357" y="129"/>
                            </a:cubicBezTo>
                            <a:cubicBezTo>
                              <a:pt x="352" y="134"/>
                              <a:pt x="346" y="141"/>
                              <a:pt x="338" y="147"/>
                            </a:cubicBezTo>
                            <a:cubicBezTo>
                              <a:pt x="330" y="152"/>
                              <a:pt x="317" y="166"/>
                              <a:pt x="312" y="172"/>
                            </a:cubicBezTo>
                            <a:cubicBezTo>
                              <a:pt x="306" y="177"/>
                              <a:pt x="299" y="190"/>
                              <a:pt x="295" y="198"/>
                            </a:cubicBezTo>
                            <a:cubicBezTo>
                              <a:pt x="292" y="206"/>
                              <a:pt x="283" y="225"/>
                              <a:pt x="279" y="231"/>
                            </a:cubicBezTo>
                            <a:cubicBezTo>
                              <a:pt x="274" y="237"/>
                              <a:pt x="261" y="252"/>
                              <a:pt x="254" y="258"/>
                            </a:cubicBezTo>
                            <a:cubicBezTo>
                              <a:pt x="248" y="264"/>
                              <a:pt x="240" y="265"/>
                              <a:pt x="232" y="268"/>
                            </a:cubicBezTo>
                            <a:cubicBezTo>
                              <a:pt x="225" y="272"/>
                              <a:pt x="216" y="271"/>
                              <a:pt x="205" y="272"/>
                            </a:cubicBezTo>
                            <a:cubicBezTo>
                              <a:pt x="194" y="273"/>
                              <a:pt x="188" y="274"/>
                              <a:pt x="175" y="278"/>
                            </a:cubicBezTo>
                            <a:cubicBezTo>
                              <a:pt x="162" y="282"/>
                              <a:pt x="155" y="280"/>
                              <a:pt x="144" y="281"/>
                            </a:cubicBezTo>
                            <a:cubicBezTo>
                              <a:pt x="133" y="281"/>
                              <a:pt x="129" y="280"/>
                              <a:pt x="118" y="279"/>
                            </a:cubicBezTo>
                            <a:cubicBezTo>
                              <a:pt x="106" y="278"/>
                              <a:pt x="106" y="278"/>
                              <a:pt x="103" y="281"/>
                            </a:cubicBezTo>
                            <a:cubicBezTo>
                              <a:pt x="101" y="284"/>
                              <a:pt x="101" y="303"/>
                              <a:pt x="99" y="309"/>
                            </a:cubicBezTo>
                            <a:cubicBezTo>
                              <a:pt x="96" y="315"/>
                              <a:pt x="94" y="320"/>
                              <a:pt x="88" y="325"/>
                            </a:cubicBezTo>
                            <a:cubicBezTo>
                              <a:pt x="81" y="330"/>
                              <a:pt x="76" y="331"/>
                              <a:pt x="77" y="334"/>
                            </a:cubicBezTo>
                            <a:cubicBezTo>
                              <a:pt x="78" y="337"/>
                              <a:pt x="84" y="334"/>
                              <a:pt x="91" y="338"/>
                            </a:cubicBezTo>
                            <a:cubicBezTo>
                              <a:pt x="98" y="341"/>
                              <a:pt x="105" y="344"/>
                              <a:pt x="109" y="348"/>
                            </a:cubicBezTo>
                            <a:cubicBezTo>
                              <a:pt x="114" y="353"/>
                              <a:pt x="118" y="355"/>
                              <a:pt x="123" y="358"/>
                            </a:cubicBezTo>
                            <a:cubicBezTo>
                              <a:pt x="129" y="361"/>
                              <a:pt x="146" y="362"/>
                              <a:pt x="155" y="367"/>
                            </a:cubicBezTo>
                            <a:cubicBezTo>
                              <a:pt x="164" y="373"/>
                              <a:pt x="175" y="377"/>
                              <a:pt x="186" y="384"/>
                            </a:cubicBezTo>
                            <a:cubicBezTo>
                              <a:pt x="196" y="392"/>
                              <a:pt x="224" y="412"/>
                              <a:pt x="231" y="420"/>
                            </a:cubicBezTo>
                            <a:cubicBezTo>
                              <a:pt x="239" y="427"/>
                              <a:pt x="244" y="429"/>
                              <a:pt x="247" y="433"/>
                            </a:cubicBezTo>
                            <a:cubicBezTo>
                              <a:pt x="251" y="437"/>
                              <a:pt x="250" y="455"/>
                              <a:pt x="251" y="460"/>
                            </a:cubicBezTo>
                            <a:cubicBezTo>
                              <a:pt x="253" y="465"/>
                              <a:pt x="261" y="465"/>
                              <a:pt x="271" y="466"/>
                            </a:cubicBezTo>
                            <a:cubicBezTo>
                              <a:pt x="281" y="466"/>
                              <a:pt x="279" y="466"/>
                              <a:pt x="286" y="470"/>
                            </a:cubicBezTo>
                            <a:cubicBezTo>
                              <a:pt x="293" y="473"/>
                              <a:pt x="302" y="474"/>
                              <a:pt x="305" y="472"/>
                            </a:cubicBezTo>
                            <a:cubicBezTo>
                              <a:pt x="307" y="469"/>
                              <a:pt x="308" y="467"/>
                              <a:pt x="314" y="468"/>
                            </a:cubicBezTo>
                            <a:cubicBezTo>
                              <a:pt x="321" y="468"/>
                              <a:pt x="322" y="474"/>
                              <a:pt x="325" y="468"/>
                            </a:cubicBezTo>
                            <a:cubicBezTo>
                              <a:pt x="329" y="461"/>
                              <a:pt x="335" y="455"/>
                              <a:pt x="339" y="458"/>
                            </a:cubicBezTo>
                            <a:cubicBezTo>
                              <a:pt x="344" y="461"/>
                              <a:pt x="340" y="467"/>
                              <a:pt x="343" y="469"/>
                            </a:cubicBezTo>
                            <a:cubicBezTo>
                              <a:pt x="345" y="472"/>
                              <a:pt x="354" y="468"/>
                              <a:pt x="363" y="469"/>
                            </a:cubicBezTo>
                            <a:cubicBezTo>
                              <a:pt x="373" y="469"/>
                              <a:pt x="371" y="469"/>
                              <a:pt x="381" y="474"/>
                            </a:cubicBezTo>
                            <a:cubicBezTo>
                              <a:pt x="391" y="479"/>
                              <a:pt x="390" y="480"/>
                              <a:pt x="387" y="483"/>
                            </a:cubicBezTo>
                            <a:cubicBezTo>
                              <a:pt x="383" y="487"/>
                              <a:pt x="375" y="493"/>
                              <a:pt x="372" y="497"/>
                            </a:cubicBezTo>
                            <a:cubicBezTo>
                              <a:pt x="370" y="501"/>
                              <a:pt x="372" y="501"/>
                              <a:pt x="373" y="505"/>
                            </a:cubicBezTo>
                            <a:cubicBezTo>
                              <a:pt x="375" y="508"/>
                              <a:pt x="380" y="513"/>
                              <a:pt x="383" y="515"/>
                            </a:cubicBezTo>
                            <a:cubicBezTo>
                              <a:pt x="385" y="518"/>
                              <a:pt x="390" y="519"/>
                              <a:pt x="397" y="519"/>
                            </a:cubicBezTo>
                            <a:cubicBezTo>
                              <a:pt x="403" y="518"/>
                              <a:pt x="400" y="518"/>
                              <a:pt x="404" y="518"/>
                            </a:cubicBezTo>
                            <a:cubicBezTo>
                              <a:pt x="409" y="518"/>
                              <a:pt x="410" y="518"/>
                              <a:pt x="418" y="515"/>
                            </a:cubicBezTo>
                            <a:cubicBezTo>
                              <a:pt x="426" y="511"/>
                              <a:pt x="423" y="512"/>
                              <a:pt x="428" y="509"/>
                            </a:cubicBezTo>
                            <a:cubicBezTo>
                              <a:pt x="433" y="506"/>
                              <a:pt x="437" y="509"/>
                              <a:pt x="439" y="511"/>
                            </a:cubicBezTo>
                            <a:cubicBezTo>
                              <a:pt x="442" y="513"/>
                              <a:pt x="449" y="517"/>
                              <a:pt x="454" y="517"/>
                            </a:cubicBezTo>
                            <a:cubicBezTo>
                              <a:pt x="459" y="516"/>
                              <a:pt x="458" y="513"/>
                              <a:pt x="462" y="512"/>
                            </a:cubicBezTo>
                            <a:cubicBezTo>
                              <a:pt x="466" y="510"/>
                              <a:pt x="469" y="513"/>
                              <a:pt x="471" y="517"/>
                            </a:cubicBezTo>
                            <a:cubicBezTo>
                              <a:pt x="473" y="521"/>
                              <a:pt x="473" y="526"/>
                              <a:pt x="473" y="531"/>
                            </a:cubicBezTo>
                            <a:cubicBezTo>
                              <a:pt x="472" y="535"/>
                              <a:pt x="470" y="536"/>
                              <a:pt x="465" y="540"/>
                            </a:cubicBezTo>
                            <a:cubicBezTo>
                              <a:pt x="460" y="544"/>
                              <a:pt x="457" y="543"/>
                              <a:pt x="452" y="543"/>
                            </a:cubicBezTo>
                            <a:cubicBezTo>
                              <a:pt x="447" y="544"/>
                              <a:pt x="444" y="543"/>
                              <a:pt x="436" y="542"/>
                            </a:cubicBezTo>
                            <a:cubicBezTo>
                              <a:pt x="428" y="541"/>
                              <a:pt x="428" y="538"/>
                              <a:pt x="420" y="535"/>
                            </a:cubicBezTo>
                            <a:cubicBezTo>
                              <a:pt x="412" y="531"/>
                              <a:pt x="409" y="531"/>
                              <a:pt x="405" y="529"/>
                            </a:cubicBezTo>
                            <a:cubicBezTo>
                              <a:pt x="400" y="528"/>
                              <a:pt x="389" y="527"/>
                              <a:pt x="382" y="527"/>
                            </a:cubicBezTo>
                            <a:cubicBezTo>
                              <a:pt x="376" y="527"/>
                              <a:pt x="372" y="528"/>
                              <a:pt x="370" y="530"/>
                            </a:cubicBezTo>
                            <a:cubicBezTo>
                              <a:pt x="367" y="532"/>
                              <a:pt x="368" y="537"/>
                              <a:pt x="369" y="541"/>
                            </a:cubicBezTo>
                            <a:cubicBezTo>
                              <a:pt x="369" y="546"/>
                              <a:pt x="374" y="541"/>
                              <a:pt x="379" y="538"/>
                            </a:cubicBezTo>
                            <a:cubicBezTo>
                              <a:pt x="384" y="536"/>
                              <a:pt x="388" y="538"/>
                              <a:pt x="393" y="538"/>
                            </a:cubicBezTo>
                            <a:cubicBezTo>
                              <a:pt x="397" y="538"/>
                              <a:pt x="403" y="540"/>
                              <a:pt x="407" y="541"/>
                            </a:cubicBezTo>
                            <a:cubicBezTo>
                              <a:pt x="412" y="542"/>
                              <a:pt x="418" y="547"/>
                              <a:pt x="419" y="549"/>
                            </a:cubicBezTo>
                            <a:cubicBezTo>
                              <a:pt x="420" y="551"/>
                              <a:pt x="421" y="556"/>
                              <a:pt x="421" y="559"/>
                            </a:cubicBezTo>
                            <a:cubicBezTo>
                              <a:pt x="421" y="562"/>
                              <a:pt x="419" y="568"/>
                              <a:pt x="413" y="570"/>
                            </a:cubicBezTo>
                            <a:cubicBezTo>
                              <a:pt x="408" y="573"/>
                              <a:pt x="412" y="566"/>
                              <a:pt x="409" y="563"/>
                            </a:cubicBezTo>
                            <a:cubicBezTo>
                              <a:pt x="406" y="559"/>
                              <a:pt x="400" y="560"/>
                              <a:pt x="393" y="562"/>
                            </a:cubicBezTo>
                            <a:cubicBezTo>
                              <a:pt x="387" y="564"/>
                              <a:pt x="383" y="565"/>
                              <a:pt x="379" y="570"/>
                            </a:cubicBezTo>
                            <a:cubicBezTo>
                              <a:pt x="376" y="574"/>
                              <a:pt x="375" y="580"/>
                              <a:pt x="372" y="583"/>
                            </a:cubicBezTo>
                            <a:cubicBezTo>
                              <a:pt x="369" y="586"/>
                              <a:pt x="362" y="586"/>
                              <a:pt x="356" y="586"/>
                            </a:cubicBezTo>
                            <a:cubicBezTo>
                              <a:pt x="350" y="586"/>
                              <a:pt x="345" y="587"/>
                              <a:pt x="340" y="585"/>
                            </a:cubicBezTo>
                            <a:cubicBezTo>
                              <a:pt x="335" y="582"/>
                              <a:pt x="326" y="583"/>
                              <a:pt x="321" y="584"/>
                            </a:cubicBezTo>
                            <a:cubicBezTo>
                              <a:pt x="315" y="584"/>
                              <a:pt x="308" y="585"/>
                              <a:pt x="301" y="583"/>
                            </a:cubicBezTo>
                            <a:cubicBezTo>
                              <a:pt x="295" y="582"/>
                              <a:pt x="290" y="579"/>
                              <a:pt x="284" y="577"/>
                            </a:cubicBezTo>
                            <a:cubicBezTo>
                              <a:pt x="277" y="575"/>
                              <a:pt x="272" y="576"/>
                              <a:pt x="263" y="576"/>
                            </a:cubicBezTo>
                            <a:cubicBezTo>
                              <a:pt x="254" y="577"/>
                              <a:pt x="256" y="577"/>
                              <a:pt x="250" y="572"/>
                            </a:cubicBezTo>
                            <a:cubicBezTo>
                              <a:pt x="244" y="567"/>
                              <a:pt x="242" y="566"/>
                              <a:pt x="236" y="564"/>
                            </a:cubicBezTo>
                            <a:cubicBezTo>
                              <a:pt x="231" y="562"/>
                              <a:pt x="232" y="560"/>
                              <a:pt x="232" y="555"/>
                            </a:cubicBezTo>
                            <a:cubicBezTo>
                              <a:pt x="233" y="550"/>
                              <a:pt x="239" y="550"/>
                              <a:pt x="238" y="543"/>
                            </a:cubicBezTo>
                            <a:cubicBezTo>
                              <a:pt x="237" y="537"/>
                              <a:pt x="239" y="538"/>
                              <a:pt x="241" y="534"/>
                            </a:cubicBezTo>
                            <a:cubicBezTo>
                              <a:pt x="244" y="531"/>
                              <a:pt x="246" y="528"/>
                              <a:pt x="243" y="526"/>
                            </a:cubicBezTo>
                            <a:cubicBezTo>
                              <a:pt x="239" y="524"/>
                              <a:pt x="236" y="526"/>
                              <a:pt x="228" y="526"/>
                            </a:cubicBezTo>
                            <a:cubicBezTo>
                              <a:pt x="221" y="526"/>
                              <a:pt x="224" y="526"/>
                              <a:pt x="217" y="526"/>
                            </a:cubicBezTo>
                            <a:cubicBezTo>
                              <a:pt x="209" y="525"/>
                              <a:pt x="201" y="526"/>
                              <a:pt x="195" y="526"/>
                            </a:cubicBezTo>
                            <a:cubicBezTo>
                              <a:pt x="189" y="526"/>
                              <a:pt x="188" y="529"/>
                              <a:pt x="184" y="533"/>
                            </a:cubicBezTo>
                            <a:cubicBezTo>
                              <a:pt x="180" y="538"/>
                              <a:pt x="176" y="538"/>
                              <a:pt x="171" y="538"/>
                            </a:cubicBezTo>
                            <a:cubicBezTo>
                              <a:pt x="166" y="539"/>
                              <a:pt x="165" y="537"/>
                              <a:pt x="160" y="537"/>
                            </a:cubicBezTo>
                            <a:cubicBezTo>
                              <a:pt x="155" y="537"/>
                              <a:pt x="153" y="538"/>
                              <a:pt x="150" y="543"/>
                            </a:cubicBezTo>
                            <a:cubicBezTo>
                              <a:pt x="146" y="547"/>
                              <a:pt x="144" y="547"/>
                              <a:pt x="135" y="550"/>
                            </a:cubicBezTo>
                            <a:cubicBezTo>
                              <a:pt x="127" y="553"/>
                              <a:pt x="130" y="553"/>
                              <a:pt x="130" y="558"/>
                            </a:cubicBezTo>
                            <a:cubicBezTo>
                              <a:pt x="130" y="562"/>
                              <a:pt x="139" y="562"/>
                              <a:pt x="140" y="565"/>
                            </a:cubicBezTo>
                            <a:cubicBezTo>
                              <a:pt x="141" y="568"/>
                              <a:pt x="136" y="568"/>
                              <a:pt x="130" y="571"/>
                            </a:cubicBezTo>
                            <a:cubicBezTo>
                              <a:pt x="125" y="574"/>
                              <a:pt x="122" y="573"/>
                              <a:pt x="115" y="572"/>
                            </a:cubicBezTo>
                            <a:cubicBezTo>
                              <a:pt x="107" y="571"/>
                              <a:pt x="107" y="568"/>
                              <a:pt x="100" y="567"/>
                            </a:cubicBezTo>
                            <a:cubicBezTo>
                              <a:pt x="92" y="565"/>
                              <a:pt x="92" y="566"/>
                              <a:pt x="87" y="568"/>
                            </a:cubicBezTo>
                            <a:cubicBezTo>
                              <a:pt x="83" y="571"/>
                              <a:pt x="81" y="572"/>
                              <a:pt x="74" y="575"/>
                            </a:cubicBezTo>
                            <a:cubicBezTo>
                              <a:pt x="67" y="578"/>
                              <a:pt x="61" y="580"/>
                              <a:pt x="57" y="585"/>
                            </a:cubicBezTo>
                            <a:cubicBezTo>
                              <a:pt x="53" y="590"/>
                              <a:pt x="46" y="595"/>
                              <a:pt x="43" y="595"/>
                            </a:cubicBezTo>
                            <a:cubicBezTo>
                              <a:pt x="40" y="595"/>
                              <a:pt x="34" y="595"/>
                              <a:pt x="29" y="596"/>
                            </a:cubicBezTo>
                            <a:cubicBezTo>
                              <a:pt x="25" y="597"/>
                              <a:pt x="21" y="605"/>
                              <a:pt x="17" y="609"/>
                            </a:cubicBezTo>
                            <a:cubicBezTo>
                              <a:pt x="13" y="612"/>
                              <a:pt x="6" y="615"/>
                              <a:pt x="4" y="617"/>
                            </a:cubicBezTo>
                            <a:cubicBezTo>
                              <a:pt x="1" y="619"/>
                              <a:pt x="0" y="621"/>
                              <a:pt x="3" y="623"/>
                            </a:cubicBezTo>
                            <a:cubicBezTo>
                              <a:pt x="6" y="625"/>
                              <a:pt x="5" y="627"/>
                              <a:pt x="9" y="629"/>
                            </a:cubicBezTo>
                            <a:cubicBezTo>
                              <a:pt x="13" y="630"/>
                              <a:pt x="18" y="632"/>
                              <a:pt x="21" y="635"/>
                            </a:cubicBezTo>
                            <a:cubicBezTo>
                              <a:pt x="24" y="637"/>
                              <a:pt x="29" y="638"/>
                              <a:pt x="40" y="639"/>
                            </a:cubicBezTo>
                            <a:cubicBezTo>
                              <a:pt x="51" y="639"/>
                              <a:pt x="52" y="642"/>
                              <a:pt x="57" y="643"/>
                            </a:cubicBezTo>
                            <a:cubicBezTo>
                              <a:pt x="63" y="645"/>
                              <a:pt x="73" y="645"/>
                              <a:pt x="81" y="648"/>
                            </a:cubicBezTo>
                            <a:cubicBezTo>
                              <a:pt x="90" y="651"/>
                              <a:pt x="97" y="650"/>
                              <a:pt x="100" y="650"/>
                            </a:cubicBezTo>
                            <a:cubicBezTo>
                              <a:pt x="102" y="650"/>
                              <a:pt x="107" y="653"/>
                              <a:pt x="105" y="655"/>
                            </a:cubicBezTo>
                            <a:cubicBezTo>
                              <a:pt x="103" y="658"/>
                              <a:pt x="100" y="657"/>
                              <a:pt x="95" y="657"/>
                            </a:cubicBezTo>
                            <a:cubicBezTo>
                              <a:pt x="91" y="657"/>
                              <a:pt x="89" y="658"/>
                              <a:pt x="85" y="660"/>
                            </a:cubicBezTo>
                            <a:cubicBezTo>
                              <a:pt x="82" y="662"/>
                              <a:pt x="82" y="664"/>
                              <a:pt x="79" y="666"/>
                            </a:cubicBezTo>
                            <a:cubicBezTo>
                              <a:pt x="76" y="669"/>
                              <a:pt x="70" y="669"/>
                              <a:pt x="67" y="671"/>
                            </a:cubicBezTo>
                            <a:cubicBezTo>
                              <a:pt x="65" y="673"/>
                              <a:pt x="73" y="679"/>
                              <a:pt x="77" y="683"/>
                            </a:cubicBezTo>
                            <a:cubicBezTo>
                              <a:pt x="82" y="687"/>
                              <a:pt x="82" y="686"/>
                              <a:pt x="85" y="690"/>
                            </a:cubicBezTo>
                            <a:cubicBezTo>
                              <a:pt x="89" y="695"/>
                              <a:pt x="85" y="696"/>
                              <a:pt x="85" y="700"/>
                            </a:cubicBezTo>
                            <a:cubicBezTo>
                              <a:pt x="84" y="704"/>
                              <a:pt x="85" y="707"/>
                              <a:pt x="87" y="711"/>
                            </a:cubicBezTo>
                            <a:cubicBezTo>
                              <a:pt x="89" y="715"/>
                              <a:pt x="100" y="721"/>
                              <a:pt x="106" y="723"/>
                            </a:cubicBezTo>
                            <a:cubicBezTo>
                              <a:pt x="112" y="724"/>
                              <a:pt x="130" y="724"/>
                              <a:pt x="140" y="726"/>
                            </a:cubicBezTo>
                            <a:cubicBezTo>
                              <a:pt x="150" y="728"/>
                              <a:pt x="155" y="731"/>
                              <a:pt x="163" y="733"/>
                            </a:cubicBezTo>
                            <a:cubicBezTo>
                              <a:pt x="171" y="735"/>
                              <a:pt x="177" y="731"/>
                              <a:pt x="188" y="727"/>
                            </a:cubicBezTo>
                            <a:cubicBezTo>
                              <a:pt x="200" y="723"/>
                              <a:pt x="218" y="719"/>
                              <a:pt x="219" y="719"/>
                            </a:cubicBezTo>
                            <a:cubicBezTo>
                              <a:pt x="221" y="718"/>
                              <a:pt x="238" y="718"/>
                              <a:pt x="245" y="718"/>
                            </a:cubicBezTo>
                            <a:cubicBezTo>
                              <a:pt x="252" y="719"/>
                              <a:pt x="260" y="723"/>
                              <a:pt x="265" y="724"/>
                            </a:cubicBezTo>
                            <a:cubicBezTo>
                              <a:pt x="270" y="724"/>
                              <a:pt x="276" y="721"/>
                              <a:pt x="278" y="718"/>
                            </a:cubicBezTo>
                            <a:cubicBezTo>
                              <a:pt x="281" y="716"/>
                              <a:pt x="287" y="711"/>
                              <a:pt x="291" y="717"/>
                            </a:cubicBezTo>
                            <a:cubicBezTo>
                              <a:pt x="295" y="723"/>
                              <a:pt x="299" y="725"/>
                              <a:pt x="303" y="728"/>
                            </a:cubicBezTo>
                            <a:cubicBezTo>
                              <a:pt x="308" y="731"/>
                              <a:pt x="306" y="732"/>
                              <a:pt x="307" y="739"/>
                            </a:cubicBezTo>
                            <a:cubicBezTo>
                              <a:pt x="309" y="745"/>
                              <a:pt x="316" y="748"/>
                              <a:pt x="317" y="744"/>
                            </a:cubicBezTo>
                            <a:cubicBezTo>
                              <a:pt x="318" y="740"/>
                              <a:pt x="319" y="730"/>
                              <a:pt x="322" y="726"/>
                            </a:cubicBezTo>
                            <a:cubicBezTo>
                              <a:pt x="324" y="722"/>
                              <a:pt x="332" y="721"/>
                              <a:pt x="339" y="716"/>
                            </a:cubicBezTo>
                            <a:cubicBezTo>
                              <a:pt x="346" y="711"/>
                              <a:pt x="345" y="713"/>
                              <a:pt x="349" y="712"/>
                            </a:cubicBezTo>
                            <a:cubicBezTo>
                              <a:pt x="353" y="711"/>
                              <a:pt x="360" y="712"/>
                              <a:pt x="364" y="711"/>
                            </a:cubicBezTo>
                            <a:cubicBezTo>
                              <a:pt x="368" y="709"/>
                              <a:pt x="367" y="704"/>
                              <a:pt x="370" y="699"/>
                            </a:cubicBezTo>
                            <a:cubicBezTo>
                              <a:pt x="374" y="695"/>
                              <a:pt x="379" y="696"/>
                              <a:pt x="383" y="700"/>
                            </a:cubicBezTo>
                            <a:cubicBezTo>
                              <a:pt x="387" y="703"/>
                              <a:pt x="391" y="703"/>
                              <a:pt x="394" y="703"/>
                            </a:cubicBezTo>
                            <a:cubicBezTo>
                              <a:pt x="398" y="703"/>
                              <a:pt x="399" y="701"/>
                              <a:pt x="402" y="694"/>
                            </a:cubicBezTo>
                            <a:cubicBezTo>
                              <a:pt x="406" y="688"/>
                              <a:pt x="408" y="688"/>
                              <a:pt x="414" y="687"/>
                            </a:cubicBezTo>
                            <a:cubicBezTo>
                              <a:pt x="419" y="686"/>
                              <a:pt x="422" y="689"/>
                              <a:pt x="424" y="694"/>
                            </a:cubicBezTo>
                            <a:cubicBezTo>
                              <a:pt x="426" y="699"/>
                              <a:pt x="428" y="699"/>
                              <a:pt x="431" y="701"/>
                            </a:cubicBezTo>
                            <a:cubicBezTo>
                              <a:pt x="434" y="704"/>
                              <a:pt x="432" y="711"/>
                              <a:pt x="428" y="717"/>
                            </a:cubicBezTo>
                            <a:cubicBezTo>
                              <a:pt x="424" y="723"/>
                              <a:pt x="424" y="722"/>
                              <a:pt x="418" y="726"/>
                            </a:cubicBezTo>
                            <a:cubicBezTo>
                              <a:pt x="413" y="730"/>
                              <a:pt x="414" y="729"/>
                              <a:pt x="406" y="731"/>
                            </a:cubicBezTo>
                            <a:cubicBezTo>
                              <a:pt x="398" y="733"/>
                              <a:pt x="398" y="732"/>
                              <a:pt x="399" y="737"/>
                            </a:cubicBezTo>
                            <a:cubicBezTo>
                              <a:pt x="399" y="741"/>
                              <a:pt x="417" y="751"/>
                              <a:pt x="422" y="757"/>
                            </a:cubicBezTo>
                            <a:cubicBezTo>
                              <a:pt x="427" y="764"/>
                              <a:pt x="430" y="767"/>
                              <a:pt x="433" y="777"/>
                            </a:cubicBezTo>
                            <a:cubicBezTo>
                              <a:pt x="435" y="787"/>
                              <a:pt x="436" y="798"/>
                              <a:pt x="434" y="805"/>
                            </a:cubicBezTo>
                            <a:cubicBezTo>
                              <a:pt x="431" y="812"/>
                              <a:pt x="427" y="817"/>
                              <a:pt x="419" y="824"/>
                            </a:cubicBezTo>
                            <a:cubicBezTo>
                              <a:pt x="410" y="830"/>
                              <a:pt x="411" y="828"/>
                              <a:pt x="400" y="830"/>
                            </a:cubicBezTo>
                            <a:cubicBezTo>
                              <a:pt x="389" y="832"/>
                              <a:pt x="392" y="830"/>
                              <a:pt x="377" y="829"/>
                            </a:cubicBezTo>
                            <a:cubicBezTo>
                              <a:pt x="362" y="829"/>
                              <a:pt x="367" y="828"/>
                              <a:pt x="356" y="829"/>
                            </a:cubicBezTo>
                            <a:cubicBezTo>
                              <a:pt x="346" y="829"/>
                              <a:pt x="341" y="831"/>
                              <a:pt x="337" y="833"/>
                            </a:cubicBezTo>
                            <a:cubicBezTo>
                              <a:pt x="333" y="836"/>
                              <a:pt x="326" y="849"/>
                              <a:pt x="322" y="853"/>
                            </a:cubicBezTo>
                            <a:cubicBezTo>
                              <a:pt x="318" y="857"/>
                              <a:pt x="316" y="858"/>
                              <a:pt x="309" y="861"/>
                            </a:cubicBezTo>
                            <a:cubicBezTo>
                              <a:pt x="302" y="865"/>
                              <a:pt x="302" y="867"/>
                              <a:pt x="296" y="871"/>
                            </a:cubicBezTo>
                            <a:cubicBezTo>
                              <a:pt x="290" y="875"/>
                              <a:pt x="285" y="875"/>
                              <a:pt x="279" y="874"/>
                            </a:cubicBezTo>
                            <a:cubicBezTo>
                              <a:pt x="272" y="873"/>
                              <a:pt x="271" y="873"/>
                              <a:pt x="264" y="869"/>
                            </a:cubicBezTo>
                            <a:cubicBezTo>
                              <a:pt x="258" y="864"/>
                              <a:pt x="255" y="864"/>
                              <a:pt x="250" y="861"/>
                            </a:cubicBezTo>
                            <a:cubicBezTo>
                              <a:pt x="245" y="858"/>
                              <a:pt x="242" y="858"/>
                              <a:pt x="236" y="858"/>
                            </a:cubicBezTo>
                            <a:cubicBezTo>
                              <a:pt x="230" y="858"/>
                              <a:pt x="231" y="859"/>
                              <a:pt x="226" y="861"/>
                            </a:cubicBezTo>
                            <a:cubicBezTo>
                              <a:pt x="222" y="863"/>
                              <a:pt x="220" y="863"/>
                              <a:pt x="215" y="864"/>
                            </a:cubicBezTo>
                            <a:cubicBezTo>
                              <a:pt x="210" y="864"/>
                              <a:pt x="209" y="868"/>
                              <a:pt x="210" y="871"/>
                            </a:cubicBezTo>
                            <a:cubicBezTo>
                              <a:pt x="210" y="874"/>
                              <a:pt x="214" y="874"/>
                              <a:pt x="216" y="875"/>
                            </a:cubicBezTo>
                            <a:cubicBezTo>
                              <a:pt x="217" y="875"/>
                              <a:pt x="216" y="878"/>
                              <a:pt x="210" y="878"/>
                            </a:cubicBezTo>
                            <a:cubicBezTo>
                              <a:pt x="205" y="878"/>
                              <a:pt x="201" y="878"/>
                              <a:pt x="194" y="881"/>
                            </a:cubicBezTo>
                            <a:cubicBezTo>
                              <a:pt x="187" y="884"/>
                              <a:pt x="189" y="887"/>
                              <a:pt x="185" y="893"/>
                            </a:cubicBezTo>
                            <a:cubicBezTo>
                              <a:pt x="181" y="900"/>
                              <a:pt x="182" y="904"/>
                              <a:pt x="183" y="908"/>
                            </a:cubicBezTo>
                            <a:cubicBezTo>
                              <a:pt x="183" y="913"/>
                              <a:pt x="188" y="912"/>
                              <a:pt x="194" y="908"/>
                            </a:cubicBezTo>
                            <a:cubicBezTo>
                              <a:pt x="200" y="905"/>
                              <a:pt x="201" y="904"/>
                              <a:pt x="204" y="905"/>
                            </a:cubicBezTo>
                            <a:cubicBezTo>
                              <a:pt x="208" y="905"/>
                              <a:pt x="204" y="911"/>
                              <a:pt x="199" y="914"/>
                            </a:cubicBezTo>
                            <a:cubicBezTo>
                              <a:pt x="195" y="918"/>
                              <a:pt x="195" y="920"/>
                              <a:pt x="196" y="926"/>
                            </a:cubicBezTo>
                            <a:cubicBezTo>
                              <a:pt x="196" y="931"/>
                              <a:pt x="199" y="930"/>
                              <a:pt x="199" y="932"/>
                            </a:cubicBezTo>
                            <a:cubicBezTo>
                              <a:pt x="199" y="934"/>
                              <a:pt x="197" y="934"/>
                              <a:pt x="191" y="933"/>
                            </a:cubicBezTo>
                            <a:cubicBezTo>
                              <a:pt x="185" y="931"/>
                              <a:pt x="184" y="929"/>
                              <a:pt x="176" y="927"/>
                            </a:cubicBezTo>
                            <a:cubicBezTo>
                              <a:pt x="168" y="926"/>
                              <a:pt x="170" y="926"/>
                              <a:pt x="164" y="930"/>
                            </a:cubicBezTo>
                            <a:cubicBezTo>
                              <a:pt x="158" y="934"/>
                              <a:pt x="145" y="947"/>
                              <a:pt x="143" y="950"/>
                            </a:cubicBezTo>
                            <a:cubicBezTo>
                              <a:pt x="141" y="952"/>
                              <a:pt x="137" y="958"/>
                              <a:pt x="134" y="961"/>
                            </a:cubicBezTo>
                            <a:cubicBezTo>
                              <a:pt x="130" y="964"/>
                              <a:pt x="127" y="968"/>
                              <a:pt x="127" y="972"/>
                            </a:cubicBezTo>
                            <a:cubicBezTo>
                              <a:pt x="127" y="976"/>
                              <a:pt x="129" y="978"/>
                              <a:pt x="132" y="984"/>
                            </a:cubicBezTo>
                            <a:cubicBezTo>
                              <a:pt x="135" y="990"/>
                              <a:pt x="132" y="987"/>
                              <a:pt x="130" y="991"/>
                            </a:cubicBezTo>
                            <a:cubicBezTo>
                              <a:pt x="129" y="994"/>
                              <a:pt x="126" y="991"/>
                              <a:pt x="122" y="991"/>
                            </a:cubicBezTo>
                            <a:cubicBezTo>
                              <a:pt x="118" y="991"/>
                              <a:pt x="117" y="991"/>
                              <a:pt x="114" y="995"/>
                            </a:cubicBezTo>
                            <a:cubicBezTo>
                              <a:pt x="111" y="999"/>
                              <a:pt x="116" y="1000"/>
                              <a:pt x="120" y="1002"/>
                            </a:cubicBezTo>
                            <a:cubicBezTo>
                              <a:pt x="124" y="1004"/>
                              <a:pt x="123" y="1004"/>
                              <a:pt x="122" y="1007"/>
                            </a:cubicBezTo>
                            <a:cubicBezTo>
                              <a:pt x="121" y="1010"/>
                              <a:pt x="115" y="1007"/>
                              <a:pt x="110" y="1007"/>
                            </a:cubicBezTo>
                            <a:cubicBezTo>
                              <a:pt x="105" y="1007"/>
                              <a:pt x="100" y="1009"/>
                              <a:pt x="98" y="1013"/>
                            </a:cubicBezTo>
                            <a:cubicBezTo>
                              <a:pt x="97" y="1017"/>
                              <a:pt x="100" y="1017"/>
                              <a:pt x="106" y="1017"/>
                            </a:cubicBezTo>
                            <a:cubicBezTo>
                              <a:pt x="112" y="1016"/>
                              <a:pt x="113" y="1016"/>
                              <a:pt x="119" y="1017"/>
                            </a:cubicBezTo>
                            <a:cubicBezTo>
                              <a:pt x="124" y="1017"/>
                              <a:pt x="124" y="1022"/>
                              <a:pt x="122" y="1024"/>
                            </a:cubicBezTo>
                            <a:cubicBezTo>
                              <a:pt x="120" y="1027"/>
                              <a:pt x="117" y="1028"/>
                              <a:pt x="116" y="1034"/>
                            </a:cubicBezTo>
                            <a:cubicBezTo>
                              <a:pt x="115" y="1039"/>
                              <a:pt x="120" y="1039"/>
                              <a:pt x="127" y="1041"/>
                            </a:cubicBezTo>
                            <a:cubicBezTo>
                              <a:pt x="134" y="1042"/>
                              <a:pt x="133" y="1042"/>
                              <a:pt x="136" y="1045"/>
                            </a:cubicBezTo>
                            <a:cubicBezTo>
                              <a:pt x="139" y="1048"/>
                              <a:pt x="136" y="1051"/>
                              <a:pt x="136" y="1058"/>
                            </a:cubicBezTo>
                            <a:cubicBezTo>
                              <a:pt x="137" y="1065"/>
                              <a:pt x="140" y="1061"/>
                              <a:pt x="143" y="1061"/>
                            </a:cubicBezTo>
                            <a:cubicBezTo>
                              <a:pt x="146" y="1060"/>
                              <a:pt x="146" y="1059"/>
                              <a:pt x="147" y="1053"/>
                            </a:cubicBezTo>
                            <a:cubicBezTo>
                              <a:pt x="147" y="1047"/>
                              <a:pt x="147" y="1047"/>
                              <a:pt x="148" y="1046"/>
                            </a:cubicBezTo>
                            <a:cubicBezTo>
                              <a:pt x="150" y="1045"/>
                              <a:pt x="154" y="1046"/>
                              <a:pt x="155" y="1042"/>
                            </a:cubicBezTo>
                            <a:cubicBezTo>
                              <a:pt x="156" y="1037"/>
                              <a:pt x="156" y="1033"/>
                              <a:pt x="160" y="1030"/>
                            </a:cubicBezTo>
                            <a:cubicBezTo>
                              <a:pt x="164" y="1026"/>
                              <a:pt x="168" y="1025"/>
                              <a:pt x="174" y="1021"/>
                            </a:cubicBezTo>
                            <a:cubicBezTo>
                              <a:pt x="179" y="1017"/>
                              <a:pt x="185" y="1013"/>
                              <a:pt x="188" y="1013"/>
                            </a:cubicBezTo>
                            <a:cubicBezTo>
                              <a:pt x="191" y="1013"/>
                              <a:pt x="187" y="1018"/>
                              <a:pt x="185" y="1020"/>
                            </a:cubicBezTo>
                            <a:cubicBezTo>
                              <a:pt x="183" y="1021"/>
                              <a:pt x="181" y="1023"/>
                              <a:pt x="177" y="1025"/>
                            </a:cubicBezTo>
                            <a:cubicBezTo>
                              <a:pt x="173" y="1027"/>
                              <a:pt x="172" y="1028"/>
                              <a:pt x="168" y="1030"/>
                            </a:cubicBezTo>
                            <a:cubicBezTo>
                              <a:pt x="165" y="1032"/>
                              <a:pt x="166" y="1034"/>
                              <a:pt x="163" y="1037"/>
                            </a:cubicBezTo>
                            <a:cubicBezTo>
                              <a:pt x="160" y="1041"/>
                              <a:pt x="162" y="1045"/>
                              <a:pt x="163" y="1048"/>
                            </a:cubicBezTo>
                            <a:cubicBezTo>
                              <a:pt x="164" y="1050"/>
                              <a:pt x="171" y="1049"/>
                              <a:pt x="171" y="1049"/>
                            </a:cubicBezTo>
                            <a:cubicBezTo>
                              <a:pt x="171" y="1049"/>
                              <a:pt x="171" y="1053"/>
                              <a:pt x="175" y="1056"/>
                            </a:cubicBezTo>
                            <a:cubicBezTo>
                              <a:pt x="180" y="1059"/>
                              <a:pt x="184" y="1057"/>
                              <a:pt x="186" y="1059"/>
                            </a:cubicBezTo>
                            <a:cubicBezTo>
                              <a:pt x="188" y="1061"/>
                              <a:pt x="184" y="1064"/>
                              <a:pt x="180" y="1064"/>
                            </a:cubicBezTo>
                            <a:cubicBezTo>
                              <a:pt x="177" y="1065"/>
                              <a:pt x="171" y="1068"/>
                              <a:pt x="170" y="1072"/>
                            </a:cubicBezTo>
                            <a:cubicBezTo>
                              <a:pt x="169" y="1076"/>
                              <a:pt x="178" y="1075"/>
                              <a:pt x="182" y="1076"/>
                            </a:cubicBezTo>
                            <a:cubicBezTo>
                              <a:pt x="186" y="1076"/>
                              <a:pt x="193" y="1078"/>
                              <a:pt x="200" y="1078"/>
                            </a:cubicBezTo>
                            <a:cubicBezTo>
                              <a:pt x="207" y="1078"/>
                              <a:pt x="205" y="1080"/>
                              <a:pt x="208" y="1080"/>
                            </a:cubicBezTo>
                            <a:cubicBezTo>
                              <a:pt x="211" y="1081"/>
                              <a:pt x="220" y="1082"/>
                              <a:pt x="226" y="1082"/>
                            </a:cubicBezTo>
                            <a:cubicBezTo>
                              <a:pt x="233" y="1082"/>
                              <a:pt x="237" y="1082"/>
                              <a:pt x="239" y="1082"/>
                            </a:cubicBezTo>
                            <a:cubicBezTo>
                              <a:pt x="242" y="1081"/>
                              <a:pt x="243" y="1077"/>
                              <a:pt x="245" y="1073"/>
                            </a:cubicBezTo>
                            <a:cubicBezTo>
                              <a:pt x="247" y="1068"/>
                              <a:pt x="254" y="1073"/>
                              <a:pt x="254" y="1073"/>
                            </a:cubicBezTo>
                            <a:cubicBezTo>
                              <a:pt x="254" y="1073"/>
                              <a:pt x="260" y="1076"/>
                              <a:pt x="260" y="1079"/>
                            </a:cubicBezTo>
                            <a:cubicBezTo>
                              <a:pt x="261" y="1081"/>
                              <a:pt x="257" y="1081"/>
                              <a:pt x="256" y="1083"/>
                            </a:cubicBezTo>
                            <a:cubicBezTo>
                              <a:pt x="255" y="1085"/>
                              <a:pt x="257" y="1088"/>
                              <a:pt x="260" y="1089"/>
                            </a:cubicBezTo>
                            <a:cubicBezTo>
                              <a:pt x="263" y="1090"/>
                              <a:pt x="267" y="1092"/>
                              <a:pt x="267" y="1095"/>
                            </a:cubicBezTo>
                            <a:cubicBezTo>
                              <a:pt x="267" y="1099"/>
                              <a:pt x="262" y="1098"/>
                              <a:pt x="260" y="1102"/>
                            </a:cubicBezTo>
                            <a:cubicBezTo>
                              <a:pt x="257" y="1106"/>
                              <a:pt x="254" y="1107"/>
                              <a:pt x="251" y="1110"/>
                            </a:cubicBezTo>
                            <a:cubicBezTo>
                              <a:pt x="247" y="1112"/>
                              <a:pt x="245" y="1107"/>
                              <a:pt x="242" y="1103"/>
                            </a:cubicBezTo>
                            <a:cubicBezTo>
                              <a:pt x="239" y="1100"/>
                              <a:pt x="242" y="1099"/>
                              <a:pt x="242" y="1095"/>
                            </a:cubicBezTo>
                            <a:cubicBezTo>
                              <a:pt x="241" y="1091"/>
                              <a:pt x="235" y="1092"/>
                              <a:pt x="231" y="1094"/>
                            </a:cubicBezTo>
                            <a:cubicBezTo>
                              <a:pt x="227" y="1096"/>
                              <a:pt x="226" y="1099"/>
                              <a:pt x="222" y="1102"/>
                            </a:cubicBezTo>
                            <a:cubicBezTo>
                              <a:pt x="217" y="1106"/>
                              <a:pt x="218" y="1107"/>
                              <a:pt x="215" y="1110"/>
                            </a:cubicBezTo>
                            <a:cubicBezTo>
                              <a:pt x="212" y="1114"/>
                              <a:pt x="211" y="1111"/>
                              <a:pt x="209" y="1107"/>
                            </a:cubicBezTo>
                            <a:cubicBezTo>
                              <a:pt x="207" y="1103"/>
                              <a:pt x="211" y="1103"/>
                              <a:pt x="215" y="1101"/>
                            </a:cubicBezTo>
                            <a:cubicBezTo>
                              <a:pt x="219" y="1098"/>
                              <a:pt x="218" y="1096"/>
                              <a:pt x="216" y="1092"/>
                            </a:cubicBezTo>
                            <a:cubicBezTo>
                              <a:pt x="214" y="1088"/>
                              <a:pt x="213" y="1091"/>
                              <a:pt x="209" y="1089"/>
                            </a:cubicBezTo>
                            <a:cubicBezTo>
                              <a:pt x="206" y="1088"/>
                              <a:pt x="204" y="1089"/>
                              <a:pt x="196" y="1088"/>
                            </a:cubicBezTo>
                            <a:cubicBezTo>
                              <a:pt x="189" y="1086"/>
                              <a:pt x="191" y="1083"/>
                              <a:pt x="186" y="1082"/>
                            </a:cubicBezTo>
                            <a:cubicBezTo>
                              <a:pt x="180" y="1082"/>
                              <a:pt x="181" y="1085"/>
                              <a:pt x="177" y="1089"/>
                            </a:cubicBezTo>
                            <a:cubicBezTo>
                              <a:pt x="174" y="1093"/>
                              <a:pt x="174" y="1098"/>
                              <a:pt x="171" y="1101"/>
                            </a:cubicBezTo>
                            <a:cubicBezTo>
                              <a:pt x="167" y="1104"/>
                              <a:pt x="160" y="1104"/>
                              <a:pt x="159" y="1111"/>
                            </a:cubicBezTo>
                            <a:cubicBezTo>
                              <a:pt x="158" y="1118"/>
                              <a:pt x="171" y="1114"/>
                              <a:pt x="172" y="1118"/>
                            </a:cubicBezTo>
                            <a:cubicBezTo>
                              <a:pt x="173" y="1122"/>
                              <a:pt x="175" y="1125"/>
                              <a:pt x="181" y="1125"/>
                            </a:cubicBezTo>
                            <a:cubicBezTo>
                              <a:pt x="187" y="1126"/>
                              <a:pt x="195" y="1127"/>
                              <a:pt x="198" y="1130"/>
                            </a:cubicBezTo>
                            <a:cubicBezTo>
                              <a:pt x="200" y="1134"/>
                              <a:pt x="210" y="1158"/>
                              <a:pt x="214" y="1163"/>
                            </a:cubicBezTo>
                            <a:cubicBezTo>
                              <a:pt x="218" y="1168"/>
                              <a:pt x="232" y="1174"/>
                              <a:pt x="244" y="1178"/>
                            </a:cubicBezTo>
                            <a:cubicBezTo>
                              <a:pt x="255" y="1183"/>
                              <a:pt x="259" y="1179"/>
                              <a:pt x="267" y="1177"/>
                            </a:cubicBezTo>
                            <a:cubicBezTo>
                              <a:pt x="275" y="1176"/>
                              <a:pt x="282" y="1176"/>
                              <a:pt x="286" y="1174"/>
                            </a:cubicBezTo>
                            <a:cubicBezTo>
                              <a:pt x="290" y="1172"/>
                              <a:pt x="294" y="1169"/>
                              <a:pt x="301" y="1163"/>
                            </a:cubicBezTo>
                            <a:cubicBezTo>
                              <a:pt x="309" y="1157"/>
                              <a:pt x="314" y="1161"/>
                              <a:pt x="320" y="1160"/>
                            </a:cubicBezTo>
                            <a:cubicBezTo>
                              <a:pt x="326" y="1158"/>
                              <a:pt x="328" y="1153"/>
                              <a:pt x="325" y="1148"/>
                            </a:cubicBezTo>
                            <a:cubicBezTo>
                              <a:pt x="323" y="1143"/>
                              <a:pt x="321" y="1142"/>
                              <a:pt x="316" y="1137"/>
                            </a:cubicBezTo>
                            <a:cubicBezTo>
                              <a:pt x="311" y="1132"/>
                              <a:pt x="319" y="1133"/>
                              <a:pt x="323" y="1130"/>
                            </a:cubicBezTo>
                            <a:cubicBezTo>
                              <a:pt x="327" y="1127"/>
                              <a:pt x="332" y="1125"/>
                              <a:pt x="336" y="1120"/>
                            </a:cubicBezTo>
                            <a:cubicBezTo>
                              <a:pt x="339" y="1115"/>
                              <a:pt x="344" y="1113"/>
                              <a:pt x="347" y="1107"/>
                            </a:cubicBezTo>
                            <a:cubicBezTo>
                              <a:pt x="350" y="1102"/>
                              <a:pt x="350" y="1099"/>
                              <a:pt x="352" y="1096"/>
                            </a:cubicBezTo>
                            <a:cubicBezTo>
                              <a:pt x="355" y="1093"/>
                              <a:pt x="366" y="1094"/>
                              <a:pt x="368" y="1096"/>
                            </a:cubicBezTo>
                            <a:cubicBezTo>
                              <a:pt x="371" y="1098"/>
                              <a:pt x="367" y="1102"/>
                              <a:pt x="359" y="1105"/>
                            </a:cubicBezTo>
                            <a:cubicBezTo>
                              <a:pt x="351" y="1108"/>
                              <a:pt x="354" y="1110"/>
                              <a:pt x="351" y="1115"/>
                            </a:cubicBezTo>
                            <a:cubicBezTo>
                              <a:pt x="348" y="1120"/>
                              <a:pt x="348" y="1123"/>
                              <a:pt x="344" y="1126"/>
                            </a:cubicBezTo>
                            <a:cubicBezTo>
                              <a:pt x="340" y="1129"/>
                              <a:pt x="337" y="1134"/>
                              <a:pt x="337" y="1137"/>
                            </a:cubicBezTo>
                            <a:cubicBezTo>
                              <a:pt x="337" y="1140"/>
                              <a:pt x="343" y="1142"/>
                              <a:pt x="346" y="1142"/>
                            </a:cubicBezTo>
                            <a:cubicBezTo>
                              <a:pt x="349" y="1141"/>
                              <a:pt x="349" y="1139"/>
                              <a:pt x="351" y="1140"/>
                            </a:cubicBezTo>
                            <a:cubicBezTo>
                              <a:pt x="354" y="1140"/>
                              <a:pt x="352" y="1148"/>
                              <a:pt x="352" y="1148"/>
                            </a:cubicBezTo>
                            <a:cubicBezTo>
                              <a:pt x="352" y="1148"/>
                              <a:pt x="352" y="1153"/>
                              <a:pt x="352" y="1163"/>
                            </a:cubicBezTo>
                            <a:cubicBezTo>
                              <a:pt x="352" y="1172"/>
                              <a:pt x="353" y="1172"/>
                              <a:pt x="356" y="1177"/>
                            </a:cubicBezTo>
                            <a:cubicBezTo>
                              <a:pt x="359" y="1181"/>
                              <a:pt x="367" y="1191"/>
                              <a:pt x="369" y="1194"/>
                            </a:cubicBezTo>
                            <a:cubicBezTo>
                              <a:pt x="371" y="1197"/>
                              <a:pt x="374" y="1203"/>
                              <a:pt x="374" y="1209"/>
                            </a:cubicBezTo>
                            <a:cubicBezTo>
                              <a:pt x="374" y="1216"/>
                              <a:pt x="372" y="1214"/>
                              <a:pt x="369" y="1216"/>
                            </a:cubicBezTo>
                            <a:cubicBezTo>
                              <a:pt x="366" y="1218"/>
                              <a:pt x="361" y="1223"/>
                              <a:pt x="360" y="1227"/>
                            </a:cubicBezTo>
                            <a:cubicBezTo>
                              <a:pt x="359" y="1231"/>
                              <a:pt x="361" y="1235"/>
                              <a:pt x="362" y="1237"/>
                            </a:cubicBezTo>
                            <a:cubicBezTo>
                              <a:pt x="363" y="1239"/>
                              <a:pt x="368" y="1242"/>
                              <a:pt x="371" y="1242"/>
                            </a:cubicBezTo>
                            <a:cubicBezTo>
                              <a:pt x="374" y="1242"/>
                              <a:pt x="378" y="1242"/>
                              <a:pt x="383" y="1242"/>
                            </a:cubicBezTo>
                            <a:cubicBezTo>
                              <a:pt x="389" y="1242"/>
                              <a:pt x="385" y="1246"/>
                              <a:pt x="383" y="1248"/>
                            </a:cubicBezTo>
                            <a:cubicBezTo>
                              <a:pt x="381" y="1249"/>
                              <a:pt x="375" y="1253"/>
                              <a:pt x="373" y="1254"/>
                            </a:cubicBezTo>
                            <a:cubicBezTo>
                              <a:pt x="371" y="1256"/>
                              <a:pt x="372" y="1261"/>
                              <a:pt x="372" y="1264"/>
                            </a:cubicBezTo>
                            <a:cubicBezTo>
                              <a:pt x="373" y="1267"/>
                              <a:pt x="376" y="1272"/>
                              <a:pt x="376" y="1274"/>
                            </a:cubicBezTo>
                            <a:cubicBezTo>
                              <a:pt x="376" y="1277"/>
                              <a:pt x="374" y="1279"/>
                              <a:pt x="371" y="1279"/>
                            </a:cubicBezTo>
                            <a:cubicBezTo>
                              <a:pt x="368" y="1279"/>
                              <a:pt x="360" y="1281"/>
                              <a:pt x="359" y="1287"/>
                            </a:cubicBezTo>
                            <a:cubicBezTo>
                              <a:pt x="358" y="1292"/>
                              <a:pt x="369" y="1289"/>
                              <a:pt x="373" y="1289"/>
                            </a:cubicBezTo>
                            <a:cubicBezTo>
                              <a:pt x="377" y="1289"/>
                              <a:pt x="382" y="1292"/>
                              <a:pt x="386" y="1292"/>
                            </a:cubicBezTo>
                            <a:cubicBezTo>
                              <a:pt x="390" y="1292"/>
                              <a:pt x="395" y="1289"/>
                              <a:pt x="400" y="1281"/>
                            </a:cubicBezTo>
                            <a:cubicBezTo>
                              <a:pt x="404" y="1274"/>
                              <a:pt x="404" y="1272"/>
                              <a:pt x="406" y="1271"/>
                            </a:cubicBezTo>
                            <a:cubicBezTo>
                              <a:pt x="408" y="1270"/>
                              <a:pt x="418" y="1269"/>
                              <a:pt x="424" y="1269"/>
                            </a:cubicBezTo>
                            <a:cubicBezTo>
                              <a:pt x="429" y="1269"/>
                              <a:pt x="434" y="1264"/>
                              <a:pt x="439" y="1259"/>
                            </a:cubicBezTo>
                            <a:cubicBezTo>
                              <a:pt x="445" y="1254"/>
                              <a:pt x="449" y="1252"/>
                              <a:pt x="457" y="1250"/>
                            </a:cubicBezTo>
                            <a:cubicBezTo>
                              <a:pt x="464" y="1248"/>
                              <a:pt x="463" y="1256"/>
                              <a:pt x="465" y="1261"/>
                            </a:cubicBezTo>
                            <a:cubicBezTo>
                              <a:pt x="467" y="1266"/>
                              <a:pt x="472" y="1265"/>
                              <a:pt x="475" y="1267"/>
                            </a:cubicBezTo>
                            <a:cubicBezTo>
                              <a:pt x="478" y="1269"/>
                              <a:pt x="485" y="1272"/>
                              <a:pt x="491" y="1272"/>
                            </a:cubicBezTo>
                            <a:cubicBezTo>
                              <a:pt x="497" y="1271"/>
                              <a:pt x="497" y="1263"/>
                              <a:pt x="502" y="1262"/>
                            </a:cubicBezTo>
                            <a:cubicBezTo>
                              <a:pt x="507" y="1261"/>
                              <a:pt x="518" y="1276"/>
                              <a:pt x="524" y="1281"/>
                            </a:cubicBezTo>
                            <a:cubicBezTo>
                              <a:pt x="530" y="1287"/>
                              <a:pt x="538" y="1297"/>
                              <a:pt x="540" y="1303"/>
                            </a:cubicBezTo>
                            <a:cubicBezTo>
                              <a:pt x="543" y="1310"/>
                              <a:pt x="554" y="1304"/>
                              <a:pt x="557" y="1301"/>
                            </a:cubicBezTo>
                            <a:cubicBezTo>
                              <a:pt x="560" y="1298"/>
                              <a:pt x="555" y="1293"/>
                              <a:pt x="552" y="1289"/>
                            </a:cubicBezTo>
                            <a:cubicBezTo>
                              <a:pt x="549" y="1285"/>
                              <a:pt x="550" y="1278"/>
                              <a:pt x="550" y="1272"/>
                            </a:cubicBezTo>
                            <a:cubicBezTo>
                              <a:pt x="551" y="1267"/>
                              <a:pt x="551" y="1260"/>
                              <a:pt x="554" y="1257"/>
                            </a:cubicBezTo>
                            <a:cubicBezTo>
                              <a:pt x="556" y="1253"/>
                              <a:pt x="567" y="1258"/>
                              <a:pt x="569" y="1253"/>
                            </a:cubicBezTo>
                            <a:cubicBezTo>
                              <a:pt x="572" y="1249"/>
                              <a:pt x="571" y="1241"/>
                              <a:pt x="576" y="1239"/>
                            </a:cubicBezTo>
                            <a:cubicBezTo>
                              <a:pt x="581" y="1236"/>
                              <a:pt x="589" y="1246"/>
                              <a:pt x="596" y="1250"/>
                            </a:cubicBezTo>
                            <a:cubicBezTo>
                              <a:pt x="604" y="1253"/>
                              <a:pt x="605" y="1259"/>
                              <a:pt x="600" y="1261"/>
                            </a:cubicBezTo>
                            <a:cubicBezTo>
                              <a:pt x="595" y="1263"/>
                              <a:pt x="590" y="1257"/>
                              <a:pt x="583" y="1255"/>
                            </a:cubicBezTo>
                            <a:cubicBezTo>
                              <a:pt x="576" y="1253"/>
                              <a:pt x="575" y="1261"/>
                              <a:pt x="575" y="1268"/>
                            </a:cubicBezTo>
                            <a:cubicBezTo>
                              <a:pt x="574" y="1275"/>
                              <a:pt x="579" y="1281"/>
                              <a:pt x="586" y="1287"/>
                            </a:cubicBezTo>
                            <a:cubicBezTo>
                              <a:pt x="593" y="1292"/>
                              <a:pt x="604" y="1285"/>
                              <a:pt x="615" y="1280"/>
                            </a:cubicBezTo>
                            <a:cubicBezTo>
                              <a:pt x="626" y="1274"/>
                              <a:pt x="639" y="1272"/>
                              <a:pt x="647" y="1268"/>
                            </a:cubicBezTo>
                            <a:cubicBezTo>
                              <a:pt x="656" y="1264"/>
                              <a:pt x="662" y="1261"/>
                              <a:pt x="665" y="1253"/>
                            </a:cubicBezTo>
                            <a:cubicBezTo>
                              <a:pt x="669" y="1244"/>
                              <a:pt x="683" y="1238"/>
                              <a:pt x="683" y="1242"/>
                            </a:cubicBezTo>
                            <a:cubicBezTo>
                              <a:pt x="683" y="1246"/>
                              <a:pt x="670" y="1259"/>
                              <a:pt x="670" y="1268"/>
                            </a:cubicBezTo>
                            <a:cubicBezTo>
                              <a:pt x="670" y="1277"/>
                              <a:pt x="674" y="1283"/>
                              <a:pt x="667" y="1289"/>
                            </a:cubicBezTo>
                            <a:cubicBezTo>
                              <a:pt x="659" y="1296"/>
                              <a:pt x="648" y="1308"/>
                              <a:pt x="646" y="1311"/>
                            </a:cubicBezTo>
                            <a:cubicBezTo>
                              <a:pt x="643" y="1313"/>
                              <a:pt x="642" y="1317"/>
                              <a:pt x="642" y="1320"/>
                            </a:cubicBezTo>
                            <a:cubicBezTo>
                              <a:pt x="642" y="1322"/>
                              <a:pt x="648" y="1326"/>
                              <a:pt x="651" y="1326"/>
                            </a:cubicBezTo>
                            <a:cubicBezTo>
                              <a:pt x="655" y="1327"/>
                              <a:pt x="659" y="1330"/>
                              <a:pt x="658" y="1333"/>
                            </a:cubicBezTo>
                            <a:cubicBezTo>
                              <a:pt x="658" y="1336"/>
                              <a:pt x="655" y="1335"/>
                              <a:pt x="651" y="1335"/>
                            </a:cubicBezTo>
                            <a:cubicBezTo>
                              <a:pt x="648" y="1335"/>
                              <a:pt x="644" y="1336"/>
                              <a:pt x="639" y="1337"/>
                            </a:cubicBezTo>
                            <a:cubicBezTo>
                              <a:pt x="635" y="1338"/>
                              <a:pt x="634" y="1343"/>
                              <a:pt x="632" y="1345"/>
                            </a:cubicBezTo>
                            <a:cubicBezTo>
                              <a:pt x="631" y="1348"/>
                              <a:pt x="632" y="1363"/>
                              <a:pt x="632" y="1367"/>
                            </a:cubicBezTo>
                            <a:cubicBezTo>
                              <a:pt x="632" y="1370"/>
                              <a:pt x="634" y="1377"/>
                              <a:pt x="637" y="1382"/>
                            </a:cubicBezTo>
                            <a:cubicBezTo>
                              <a:pt x="640" y="1388"/>
                              <a:pt x="644" y="1386"/>
                              <a:pt x="643" y="1391"/>
                            </a:cubicBezTo>
                            <a:cubicBezTo>
                              <a:pt x="642" y="1395"/>
                              <a:pt x="639" y="1393"/>
                              <a:pt x="633" y="1392"/>
                            </a:cubicBezTo>
                            <a:cubicBezTo>
                              <a:pt x="627" y="1391"/>
                              <a:pt x="623" y="1389"/>
                              <a:pt x="618" y="1392"/>
                            </a:cubicBezTo>
                            <a:cubicBezTo>
                              <a:pt x="613" y="1394"/>
                              <a:pt x="608" y="1398"/>
                              <a:pt x="602" y="1402"/>
                            </a:cubicBezTo>
                            <a:cubicBezTo>
                              <a:pt x="597" y="1405"/>
                              <a:pt x="596" y="1410"/>
                              <a:pt x="590" y="1414"/>
                            </a:cubicBezTo>
                            <a:cubicBezTo>
                              <a:pt x="584" y="1418"/>
                              <a:pt x="582" y="1420"/>
                              <a:pt x="576" y="1424"/>
                            </a:cubicBezTo>
                            <a:cubicBezTo>
                              <a:pt x="571" y="1428"/>
                              <a:pt x="571" y="1431"/>
                              <a:pt x="569" y="1435"/>
                            </a:cubicBezTo>
                            <a:cubicBezTo>
                              <a:pt x="568" y="1439"/>
                              <a:pt x="571" y="1451"/>
                              <a:pt x="566" y="1455"/>
                            </a:cubicBezTo>
                            <a:cubicBezTo>
                              <a:pt x="562" y="1459"/>
                              <a:pt x="562" y="1456"/>
                              <a:pt x="554" y="1453"/>
                            </a:cubicBezTo>
                            <a:cubicBezTo>
                              <a:pt x="545" y="1449"/>
                              <a:pt x="546" y="1449"/>
                              <a:pt x="541" y="1451"/>
                            </a:cubicBezTo>
                            <a:cubicBezTo>
                              <a:pt x="536" y="1453"/>
                              <a:pt x="523" y="1462"/>
                              <a:pt x="517" y="1465"/>
                            </a:cubicBezTo>
                            <a:cubicBezTo>
                              <a:pt x="511" y="1469"/>
                              <a:pt x="503" y="1478"/>
                              <a:pt x="498" y="1482"/>
                            </a:cubicBezTo>
                            <a:cubicBezTo>
                              <a:pt x="492" y="1486"/>
                              <a:pt x="482" y="1489"/>
                              <a:pt x="473" y="1493"/>
                            </a:cubicBezTo>
                            <a:cubicBezTo>
                              <a:pt x="465" y="1497"/>
                              <a:pt x="462" y="1502"/>
                              <a:pt x="459" y="1506"/>
                            </a:cubicBezTo>
                            <a:cubicBezTo>
                              <a:pt x="456" y="1509"/>
                              <a:pt x="456" y="1516"/>
                              <a:pt x="457" y="1521"/>
                            </a:cubicBezTo>
                            <a:cubicBezTo>
                              <a:pt x="457" y="1527"/>
                              <a:pt x="465" y="1532"/>
                              <a:pt x="464" y="1536"/>
                            </a:cubicBezTo>
                            <a:cubicBezTo>
                              <a:pt x="463" y="1540"/>
                              <a:pt x="459" y="1539"/>
                              <a:pt x="455" y="1539"/>
                            </a:cubicBezTo>
                            <a:cubicBezTo>
                              <a:pt x="451" y="1539"/>
                              <a:pt x="447" y="1537"/>
                              <a:pt x="443" y="1538"/>
                            </a:cubicBezTo>
                            <a:cubicBezTo>
                              <a:pt x="439" y="1540"/>
                              <a:pt x="442" y="1544"/>
                              <a:pt x="441" y="1547"/>
                            </a:cubicBezTo>
                            <a:cubicBezTo>
                              <a:pt x="439" y="1550"/>
                              <a:pt x="434" y="1548"/>
                              <a:pt x="431" y="1546"/>
                            </a:cubicBezTo>
                            <a:cubicBezTo>
                              <a:pt x="427" y="1544"/>
                              <a:pt x="423" y="1539"/>
                              <a:pt x="421" y="1535"/>
                            </a:cubicBezTo>
                            <a:cubicBezTo>
                              <a:pt x="418" y="1531"/>
                              <a:pt x="420" y="1527"/>
                              <a:pt x="415" y="1526"/>
                            </a:cubicBezTo>
                            <a:cubicBezTo>
                              <a:pt x="410" y="1524"/>
                              <a:pt x="404" y="1527"/>
                              <a:pt x="397" y="1528"/>
                            </a:cubicBezTo>
                            <a:cubicBezTo>
                              <a:pt x="389" y="1529"/>
                              <a:pt x="379" y="1533"/>
                              <a:pt x="368" y="1538"/>
                            </a:cubicBezTo>
                            <a:cubicBezTo>
                              <a:pt x="358" y="1542"/>
                              <a:pt x="357" y="1545"/>
                              <a:pt x="350" y="1549"/>
                            </a:cubicBezTo>
                            <a:cubicBezTo>
                              <a:pt x="343" y="1553"/>
                              <a:pt x="337" y="1557"/>
                              <a:pt x="331" y="1561"/>
                            </a:cubicBezTo>
                            <a:cubicBezTo>
                              <a:pt x="326" y="1566"/>
                              <a:pt x="326" y="1570"/>
                              <a:pt x="321" y="1575"/>
                            </a:cubicBezTo>
                            <a:cubicBezTo>
                              <a:pt x="316" y="1580"/>
                              <a:pt x="314" y="1581"/>
                              <a:pt x="309" y="1581"/>
                            </a:cubicBezTo>
                            <a:cubicBezTo>
                              <a:pt x="304" y="1581"/>
                              <a:pt x="305" y="1585"/>
                              <a:pt x="303" y="1587"/>
                            </a:cubicBezTo>
                            <a:cubicBezTo>
                              <a:pt x="300" y="1590"/>
                              <a:pt x="298" y="1592"/>
                              <a:pt x="293" y="1596"/>
                            </a:cubicBezTo>
                            <a:cubicBezTo>
                              <a:pt x="289" y="1599"/>
                              <a:pt x="288" y="1596"/>
                              <a:pt x="285" y="1596"/>
                            </a:cubicBezTo>
                            <a:cubicBezTo>
                              <a:pt x="282" y="1597"/>
                              <a:pt x="281" y="1602"/>
                              <a:pt x="280" y="1606"/>
                            </a:cubicBezTo>
                            <a:cubicBezTo>
                              <a:pt x="280" y="1610"/>
                              <a:pt x="279" y="1616"/>
                              <a:pt x="280" y="1617"/>
                            </a:cubicBezTo>
                            <a:cubicBezTo>
                              <a:pt x="281" y="1617"/>
                              <a:pt x="286" y="1612"/>
                              <a:pt x="287" y="1611"/>
                            </a:cubicBezTo>
                            <a:cubicBezTo>
                              <a:pt x="288" y="1610"/>
                              <a:pt x="289" y="1605"/>
                              <a:pt x="290" y="1603"/>
                            </a:cubicBezTo>
                            <a:cubicBezTo>
                              <a:pt x="291" y="1601"/>
                              <a:pt x="299" y="1607"/>
                              <a:pt x="302" y="1611"/>
                            </a:cubicBezTo>
                            <a:cubicBezTo>
                              <a:pt x="305" y="1614"/>
                              <a:pt x="312" y="1613"/>
                              <a:pt x="315" y="1611"/>
                            </a:cubicBezTo>
                            <a:cubicBezTo>
                              <a:pt x="319" y="1610"/>
                              <a:pt x="318" y="1605"/>
                              <a:pt x="316" y="1600"/>
                            </a:cubicBezTo>
                            <a:cubicBezTo>
                              <a:pt x="314" y="1596"/>
                              <a:pt x="315" y="1589"/>
                              <a:pt x="318" y="1585"/>
                            </a:cubicBezTo>
                            <a:cubicBezTo>
                              <a:pt x="321" y="1582"/>
                              <a:pt x="327" y="1590"/>
                              <a:pt x="330" y="1594"/>
                            </a:cubicBezTo>
                            <a:cubicBezTo>
                              <a:pt x="333" y="1598"/>
                              <a:pt x="340" y="1604"/>
                              <a:pt x="343" y="1600"/>
                            </a:cubicBezTo>
                            <a:cubicBezTo>
                              <a:pt x="345" y="1596"/>
                              <a:pt x="351" y="1600"/>
                              <a:pt x="355" y="1598"/>
                            </a:cubicBezTo>
                            <a:cubicBezTo>
                              <a:pt x="358" y="1595"/>
                              <a:pt x="356" y="1591"/>
                              <a:pt x="358" y="1586"/>
                            </a:cubicBezTo>
                            <a:cubicBezTo>
                              <a:pt x="360" y="1581"/>
                              <a:pt x="373" y="1578"/>
                              <a:pt x="377" y="1575"/>
                            </a:cubicBezTo>
                            <a:cubicBezTo>
                              <a:pt x="381" y="1572"/>
                              <a:pt x="381" y="1568"/>
                              <a:pt x="380" y="1561"/>
                            </a:cubicBezTo>
                            <a:cubicBezTo>
                              <a:pt x="380" y="1555"/>
                              <a:pt x="383" y="1554"/>
                              <a:pt x="387" y="1554"/>
                            </a:cubicBezTo>
                            <a:cubicBezTo>
                              <a:pt x="391" y="1554"/>
                              <a:pt x="395" y="1558"/>
                              <a:pt x="399" y="1557"/>
                            </a:cubicBezTo>
                            <a:cubicBezTo>
                              <a:pt x="403" y="1556"/>
                              <a:pt x="412" y="1558"/>
                              <a:pt x="410" y="1561"/>
                            </a:cubicBezTo>
                            <a:cubicBezTo>
                              <a:pt x="409" y="1565"/>
                              <a:pt x="405" y="1561"/>
                              <a:pt x="401" y="1564"/>
                            </a:cubicBezTo>
                            <a:cubicBezTo>
                              <a:pt x="397" y="1568"/>
                              <a:pt x="398" y="1567"/>
                              <a:pt x="393" y="1570"/>
                            </a:cubicBezTo>
                            <a:cubicBezTo>
                              <a:pt x="388" y="1572"/>
                              <a:pt x="391" y="1574"/>
                              <a:pt x="394" y="1576"/>
                            </a:cubicBezTo>
                            <a:cubicBezTo>
                              <a:pt x="398" y="1579"/>
                              <a:pt x="403" y="1576"/>
                              <a:pt x="410" y="1575"/>
                            </a:cubicBezTo>
                            <a:cubicBezTo>
                              <a:pt x="417" y="1574"/>
                              <a:pt x="417" y="1573"/>
                              <a:pt x="422" y="1573"/>
                            </a:cubicBezTo>
                            <a:cubicBezTo>
                              <a:pt x="426" y="1572"/>
                              <a:pt x="432" y="1570"/>
                              <a:pt x="433" y="1565"/>
                            </a:cubicBezTo>
                            <a:cubicBezTo>
                              <a:pt x="433" y="1560"/>
                              <a:pt x="440" y="1558"/>
                              <a:pt x="442" y="1560"/>
                            </a:cubicBezTo>
                            <a:cubicBezTo>
                              <a:pt x="444" y="1561"/>
                              <a:pt x="450" y="1565"/>
                              <a:pt x="452" y="1562"/>
                            </a:cubicBezTo>
                            <a:cubicBezTo>
                              <a:pt x="453" y="1558"/>
                              <a:pt x="456" y="1553"/>
                              <a:pt x="461" y="1549"/>
                            </a:cubicBezTo>
                            <a:cubicBezTo>
                              <a:pt x="466" y="1545"/>
                              <a:pt x="469" y="1548"/>
                              <a:pt x="473" y="1546"/>
                            </a:cubicBezTo>
                            <a:cubicBezTo>
                              <a:pt x="478" y="1544"/>
                              <a:pt x="484" y="1545"/>
                              <a:pt x="490" y="1543"/>
                            </a:cubicBezTo>
                            <a:cubicBezTo>
                              <a:pt x="497" y="1542"/>
                              <a:pt x="500" y="1540"/>
                              <a:pt x="506" y="1536"/>
                            </a:cubicBezTo>
                            <a:cubicBezTo>
                              <a:pt x="512" y="1532"/>
                              <a:pt x="513" y="1534"/>
                              <a:pt x="517" y="1537"/>
                            </a:cubicBezTo>
                            <a:cubicBezTo>
                              <a:pt x="520" y="1539"/>
                              <a:pt x="534" y="1536"/>
                              <a:pt x="537" y="1534"/>
                            </a:cubicBezTo>
                            <a:cubicBezTo>
                              <a:pt x="540" y="1532"/>
                              <a:pt x="552" y="1531"/>
                              <a:pt x="556" y="1529"/>
                            </a:cubicBezTo>
                            <a:cubicBezTo>
                              <a:pt x="561" y="1528"/>
                              <a:pt x="563" y="1523"/>
                              <a:pt x="564" y="1520"/>
                            </a:cubicBezTo>
                            <a:cubicBezTo>
                              <a:pt x="564" y="1517"/>
                              <a:pt x="565" y="1513"/>
                              <a:pt x="565" y="1508"/>
                            </a:cubicBezTo>
                            <a:cubicBezTo>
                              <a:pt x="565" y="1503"/>
                              <a:pt x="567" y="1498"/>
                              <a:pt x="569" y="1495"/>
                            </a:cubicBezTo>
                            <a:cubicBezTo>
                              <a:pt x="572" y="1491"/>
                              <a:pt x="580" y="1485"/>
                              <a:pt x="583" y="1482"/>
                            </a:cubicBezTo>
                            <a:cubicBezTo>
                              <a:pt x="586" y="1479"/>
                              <a:pt x="605" y="1471"/>
                              <a:pt x="615" y="1467"/>
                            </a:cubicBezTo>
                            <a:cubicBezTo>
                              <a:pt x="625" y="1463"/>
                              <a:pt x="623" y="1467"/>
                              <a:pt x="627" y="1466"/>
                            </a:cubicBezTo>
                            <a:cubicBezTo>
                              <a:pt x="631" y="1465"/>
                              <a:pt x="629" y="1461"/>
                              <a:pt x="640" y="1455"/>
                            </a:cubicBezTo>
                            <a:cubicBezTo>
                              <a:pt x="651" y="1450"/>
                              <a:pt x="658" y="1454"/>
                              <a:pt x="664" y="1450"/>
                            </a:cubicBezTo>
                            <a:cubicBezTo>
                              <a:pt x="670" y="1446"/>
                              <a:pt x="678" y="1445"/>
                              <a:pt x="686" y="1437"/>
                            </a:cubicBezTo>
                            <a:cubicBezTo>
                              <a:pt x="694" y="1430"/>
                              <a:pt x="694" y="1427"/>
                              <a:pt x="698" y="1423"/>
                            </a:cubicBezTo>
                            <a:cubicBezTo>
                              <a:pt x="703" y="1420"/>
                              <a:pt x="701" y="1412"/>
                              <a:pt x="701" y="1405"/>
                            </a:cubicBezTo>
                            <a:cubicBezTo>
                              <a:pt x="701" y="1397"/>
                              <a:pt x="709" y="1398"/>
                              <a:pt x="717" y="1393"/>
                            </a:cubicBezTo>
                            <a:cubicBezTo>
                              <a:pt x="726" y="1388"/>
                              <a:pt x="737" y="1389"/>
                              <a:pt x="745" y="1382"/>
                            </a:cubicBezTo>
                            <a:cubicBezTo>
                              <a:pt x="754" y="1375"/>
                              <a:pt x="753" y="1366"/>
                              <a:pt x="758" y="1365"/>
                            </a:cubicBezTo>
                            <a:cubicBezTo>
                              <a:pt x="763" y="1363"/>
                              <a:pt x="772" y="1361"/>
                              <a:pt x="777" y="1357"/>
                            </a:cubicBezTo>
                            <a:cubicBezTo>
                              <a:pt x="781" y="1353"/>
                              <a:pt x="785" y="1348"/>
                              <a:pt x="792" y="1344"/>
                            </a:cubicBezTo>
                            <a:cubicBezTo>
                              <a:pt x="798" y="1340"/>
                              <a:pt x="800" y="1342"/>
                              <a:pt x="805" y="1340"/>
                            </a:cubicBezTo>
                            <a:cubicBezTo>
                              <a:pt x="810" y="1337"/>
                              <a:pt x="815" y="1333"/>
                              <a:pt x="819" y="1333"/>
                            </a:cubicBezTo>
                            <a:cubicBezTo>
                              <a:pt x="823" y="1333"/>
                              <a:pt x="832" y="1336"/>
                              <a:pt x="835" y="1335"/>
                            </a:cubicBezTo>
                            <a:cubicBezTo>
                              <a:pt x="838" y="1334"/>
                              <a:pt x="840" y="1329"/>
                              <a:pt x="839" y="1325"/>
                            </a:cubicBezTo>
                            <a:cubicBezTo>
                              <a:pt x="838" y="1320"/>
                              <a:pt x="840" y="1316"/>
                              <a:pt x="841" y="1315"/>
                            </a:cubicBezTo>
                            <a:cubicBezTo>
                              <a:pt x="843" y="1314"/>
                              <a:pt x="849" y="1313"/>
                              <a:pt x="851" y="1309"/>
                            </a:cubicBezTo>
                            <a:cubicBezTo>
                              <a:pt x="853" y="1305"/>
                              <a:pt x="847" y="1301"/>
                              <a:pt x="854" y="1298"/>
                            </a:cubicBezTo>
                            <a:cubicBezTo>
                              <a:pt x="862" y="1294"/>
                              <a:pt x="876" y="1287"/>
                              <a:pt x="884" y="1280"/>
                            </a:cubicBezTo>
                            <a:cubicBezTo>
                              <a:pt x="892" y="1272"/>
                              <a:pt x="894" y="1275"/>
                              <a:pt x="893" y="1270"/>
                            </a:cubicBezTo>
                            <a:cubicBezTo>
                              <a:pt x="892" y="1265"/>
                              <a:pt x="891" y="1266"/>
                              <a:pt x="887" y="1264"/>
                            </a:cubicBezTo>
                            <a:cubicBezTo>
                              <a:pt x="883" y="1261"/>
                              <a:pt x="884" y="1259"/>
                              <a:pt x="879" y="1255"/>
                            </a:cubicBezTo>
                            <a:cubicBezTo>
                              <a:pt x="875" y="1251"/>
                              <a:pt x="874" y="1251"/>
                              <a:pt x="869" y="1249"/>
                            </a:cubicBezTo>
                            <a:cubicBezTo>
                              <a:pt x="865" y="1248"/>
                              <a:pt x="858" y="1249"/>
                              <a:pt x="852" y="1249"/>
                            </a:cubicBezTo>
                            <a:cubicBezTo>
                              <a:pt x="847" y="1248"/>
                              <a:pt x="843" y="1247"/>
                              <a:pt x="842" y="1245"/>
                            </a:cubicBezTo>
                            <a:cubicBezTo>
                              <a:pt x="840" y="1244"/>
                              <a:pt x="843" y="1240"/>
                              <a:pt x="844" y="1238"/>
                            </a:cubicBezTo>
                            <a:cubicBezTo>
                              <a:pt x="845" y="1236"/>
                              <a:pt x="849" y="1232"/>
                              <a:pt x="846" y="1229"/>
                            </a:cubicBezTo>
                            <a:cubicBezTo>
                              <a:pt x="842" y="1225"/>
                              <a:pt x="845" y="1220"/>
                              <a:pt x="849" y="1218"/>
                            </a:cubicBezTo>
                            <a:cubicBezTo>
                              <a:pt x="853" y="1215"/>
                              <a:pt x="862" y="1218"/>
                              <a:pt x="865" y="1214"/>
                            </a:cubicBezTo>
                            <a:cubicBezTo>
                              <a:pt x="869" y="1210"/>
                              <a:pt x="866" y="1207"/>
                              <a:pt x="866" y="1202"/>
                            </a:cubicBezTo>
                            <a:cubicBezTo>
                              <a:pt x="866" y="1198"/>
                              <a:pt x="872" y="1197"/>
                              <a:pt x="879" y="1191"/>
                            </a:cubicBezTo>
                            <a:cubicBezTo>
                              <a:pt x="885" y="1185"/>
                              <a:pt x="884" y="1187"/>
                              <a:pt x="888" y="1188"/>
                            </a:cubicBezTo>
                            <a:cubicBezTo>
                              <a:pt x="892" y="1188"/>
                              <a:pt x="890" y="1191"/>
                              <a:pt x="893" y="1194"/>
                            </a:cubicBezTo>
                            <a:cubicBezTo>
                              <a:pt x="896" y="1196"/>
                              <a:pt x="900" y="1193"/>
                              <a:pt x="901" y="1192"/>
                            </a:cubicBezTo>
                            <a:cubicBezTo>
                              <a:pt x="902" y="1190"/>
                              <a:pt x="907" y="1188"/>
                              <a:pt x="909" y="1186"/>
                            </a:cubicBezTo>
                            <a:cubicBezTo>
                              <a:pt x="911" y="1185"/>
                              <a:pt x="910" y="1180"/>
                              <a:pt x="909" y="1179"/>
                            </a:cubicBezTo>
                            <a:cubicBezTo>
                              <a:pt x="908" y="1177"/>
                              <a:pt x="909" y="1172"/>
                              <a:pt x="910" y="1171"/>
                            </a:cubicBezTo>
                            <a:cubicBezTo>
                              <a:pt x="911" y="1170"/>
                              <a:pt x="917" y="1167"/>
                              <a:pt x="920" y="1166"/>
                            </a:cubicBezTo>
                            <a:cubicBezTo>
                              <a:pt x="924" y="1166"/>
                              <a:pt x="930" y="1165"/>
                              <a:pt x="933" y="1164"/>
                            </a:cubicBezTo>
                            <a:cubicBezTo>
                              <a:pt x="935" y="1163"/>
                              <a:pt x="937" y="1162"/>
                              <a:pt x="936" y="1158"/>
                            </a:cubicBezTo>
                            <a:cubicBezTo>
                              <a:pt x="934" y="1154"/>
                              <a:pt x="932" y="1153"/>
                              <a:pt x="931" y="1150"/>
                            </a:cubicBezTo>
                            <a:cubicBezTo>
                              <a:pt x="930" y="1147"/>
                              <a:pt x="923" y="1144"/>
                              <a:pt x="919" y="1142"/>
                            </a:cubicBezTo>
                            <a:cubicBezTo>
                              <a:pt x="916" y="1141"/>
                              <a:pt x="914" y="1139"/>
                              <a:pt x="913" y="1137"/>
                            </a:cubicBezTo>
                            <a:cubicBezTo>
                              <a:pt x="913" y="1135"/>
                              <a:pt x="917" y="1133"/>
                              <a:pt x="920" y="1132"/>
                            </a:cubicBezTo>
                            <a:cubicBezTo>
                              <a:pt x="923" y="1131"/>
                              <a:pt x="932" y="1132"/>
                              <a:pt x="936" y="1132"/>
                            </a:cubicBezTo>
                            <a:cubicBezTo>
                              <a:pt x="939" y="1132"/>
                              <a:pt x="949" y="1132"/>
                              <a:pt x="953" y="1132"/>
                            </a:cubicBezTo>
                            <a:cubicBezTo>
                              <a:pt x="957" y="1131"/>
                              <a:pt x="958" y="1128"/>
                              <a:pt x="960" y="1126"/>
                            </a:cubicBezTo>
                            <a:cubicBezTo>
                              <a:pt x="961" y="1124"/>
                              <a:pt x="961" y="1117"/>
                              <a:pt x="962" y="1112"/>
                            </a:cubicBezTo>
                            <a:cubicBezTo>
                              <a:pt x="964" y="1108"/>
                              <a:pt x="969" y="1105"/>
                              <a:pt x="973" y="1102"/>
                            </a:cubicBezTo>
                            <a:cubicBezTo>
                              <a:pt x="977" y="1099"/>
                              <a:pt x="984" y="1097"/>
                              <a:pt x="987" y="1095"/>
                            </a:cubicBezTo>
                            <a:cubicBezTo>
                              <a:pt x="991" y="1092"/>
                              <a:pt x="992" y="1090"/>
                              <a:pt x="992" y="1086"/>
                            </a:cubicBezTo>
                            <a:cubicBezTo>
                              <a:pt x="992" y="1083"/>
                              <a:pt x="996" y="1076"/>
                              <a:pt x="1000" y="1073"/>
                            </a:cubicBezTo>
                            <a:cubicBezTo>
                              <a:pt x="1004" y="1069"/>
                              <a:pt x="1009" y="1070"/>
                              <a:pt x="1018" y="1067"/>
                            </a:cubicBezTo>
                            <a:cubicBezTo>
                              <a:pt x="1026" y="1065"/>
                              <a:pt x="1027" y="1065"/>
                              <a:pt x="1032" y="1062"/>
                            </a:cubicBezTo>
                            <a:cubicBezTo>
                              <a:pt x="1036" y="1059"/>
                              <a:pt x="1041" y="1055"/>
                              <a:pt x="1045" y="1050"/>
                            </a:cubicBezTo>
                            <a:cubicBezTo>
                              <a:pt x="1048" y="1046"/>
                              <a:pt x="1053" y="1042"/>
                              <a:pt x="1059" y="1038"/>
                            </a:cubicBezTo>
                            <a:cubicBezTo>
                              <a:pt x="1065" y="1035"/>
                              <a:pt x="1072" y="1037"/>
                              <a:pt x="1080" y="1037"/>
                            </a:cubicBezTo>
                            <a:cubicBezTo>
                              <a:pt x="1087" y="1037"/>
                              <a:pt x="1086" y="1037"/>
                              <a:pt x="1090" y="1037"/>
                            </a:cubicBezTo>
                            <a:cubicBezTo>
                              <a:pt x="1094" y="1037"/>
                              <a:pt x="1101" y="1037"/>
                              <a:pt x="1105" y="1035"/>
                            </a:cubicBezTo>
                            <a:cubicBezTo>
                              <a:pt x="1109" y="1034"/>
                              <a:pt x="1113" y="1032"/>
                              <a:pt x="1116" y="1027"/>
                            </a:cubicBezTo>
                            <a:cubicBezTo>
                              <a:pt x="1120" y="1023"/>
                              <a:pt x="1120" y="1019"/>
                              <a:pt x="1124" y="1017"/>
                            </a:cubicBezTo>
                            <a:cubicBezTo>
                              <a:pt x="1129" y="1014"/>
                              <a:pt x="1132" y="1019"/>
                              <a:pt x="1138" y="1019"/>
                            </a:cubicBezTo>
                            <a:cubicBezTo>
                              <a:pt x="1144" y="1020"/>
                              <a:pt x="1144" y="1022"/>
                              <a:pt x="1143" y="1024"/>
                            </a:cubicBezTo>
                            <a:cubicBezTo>
                              <a:pt x="1142" y="1027"/>
                              <a:pt x="1136" y="1031"/>
                              <a:pt x="1132" y="1033"/>
                            </a:cubicBezTo>
                            <a:cubicBezTo>
                              <a:pt x="1129" y="1035"/>
                              <a:pt x="1127" y="1037"/>
                              <a:pt x="1122" y="1040"/>
                            </a:cubicBezTo>
                            <a:cubicBezTo>
                              <a:pt x="1117" y="1043"/>
                              <a:pt x="1117" y="1046"/>
                              <a:pt x="1117" y="1051"/>
                            </a:cubicBezTo>
                            <a:cubicBezTo>
                              <a:pt x="1116" y="1057"/>
                              <a:pt x="1117" y="1059"/>
                              <a:pt x="1117" y="1062"/>
                            </a:cubicBezTo>
                            <a:cubicBezTo>
                              <a:pt x="1118" y="1066"/>
                              <a:pt x="1130" y="1072"/>
                              <a:pt x="1136" y="1075"/>
                            </a:cubicBezTo>
                            <a:cubicBezTo>
                              <a:pt x="1143" y="1079"/>
                              <a:pt x="1147" y="1078"/>
                              <a:pt x="1147" y="1081"/>
                            </a:cubicBezTo>
                            <a:cubicBezTo>
                              <a:pt x="1147" y="1084"/>
                              <a:pt x="1144" y="1082"/>
                              <a:pt x="1137" y="1081"/>
                            </a:cubicBezTo>
                            <a:cubicBezTo>
                              <a:pt x="1130" y="1080"/>
                              <a:pt x="1124" y="1076"/>
                              <a:pt x="1115" y="1074"/>
                            </a:cubicBezTo>
                            <a:cubicBezTo>
                              <a:pt x="1105" y="1072"/>
                              <a:pt x="1107" y="1075"/>
                              <a:pt x="1101" y="1077"/>
                            </a:cubicBezTo>
                            <a:cubicBezTo>
                              <a:pt x="1096" y="1079"/>
                              <a:pt x="1094" y="1077"/>
                              <a:pt x="1084" y="1073"/>
                            </a:cubicBezTo>
                            <a:cubicBezTo>
                              <a:pt x="1074" y="1070"/>
                              <a:pt x="1074" y="1071"/>
                              <a:pt x="1066" y="1071"/>
                            </a:cubicBezTo>
                            <a:cubicBezTo>
                              <a:pt x="1059" y="1071"/>
                              <a:pt x="1057" y="1074"/>
                              <a:pt x="1053" y="1078"/>
                            </a:cubicBezTo>
                            <a:cubicBezTo>
                              <a:pt x="1048" y="1081"/>
                              <a:pt x="1046" y="1083"/>
                              <a:pt x="1040" y="1087"/>
                            </a:cubicBezTo>
                            <a:cubicBezTo>
                              <a:pt x="1035" y="1091"/>
                              <a:pt x="1033" y="1092"/>
                              <a:pt x="1026" y="1094"/>
                            </a:cubicBezTo>
                            <a:cubicBezTo>
                              <a:pt x="1019" y="1095"/>
                              <a:pt x="1018" y="1097"/>
                              <a:pt x="1021" y="1103"/>
                            </a:cubicBezTo>
                            <a:cubicBezTo>
                              <a:pt x="1023" y="1108"/>
                              <a:pt x="1023" y="1116"/>
                              <a:pt x="1023" y="1121"/>
                            </a:cubicBezTo>
                            <a:cubicBezTo>
                              <a:pt x="1023" y="1125"/>
                              <a:pt x="1020" y="1131"/>
                              <a:pt x="1013" y="1137"/>
                            </a:cubicBezTo>
                            <a:cubicBezTo>
                              <a:pt x="1006" y="1142"/>
                              <a:pt x="1001" y="1149"/>
                              <a:pt x="999" y="1155"/>
                            </a:cubicBezTo>
                            <a:cubicBezTo>
                              <a:pt x="997" y="1161"/>
                              <a:pt x="996" y="1166"/>
                              <a:pt x="993" y="1170"/>
                            </a:cubicBezTo>
                            <a:cubicBezTo>
                              <a:pt x="990" y="1174"/>
                              <a:pt x="986" y="1178"/>
                              <a:pt x="986" y="1183"/>
                            </a:cubicBezTo>
                            <a:cubicBezTo>
                              <a:pt x="986" y="1189"/>
                              <a:pt x="991" y="1188"/>
                              <a:pt x="997" y="1190"/>
                            </a:cubicBezTo>
                            <a:cubicBezTo>
                              <a:pt x="1003" y="1193"/>
                              <a:pt x="1005" y="1194"/>
                              <a:pt x="1008" y="1194"/>
                            </a:cubicBezTo>
                            <a:cubicBezTo>
                              <a:pt x="1012" y="1195"/>
                              <a:pt x="1020" y="1194"/>
                              <a:pt x="1024" y="1191"/>
                            </a:cubicBezTo>
                            <a:cubicBezTo>
                              <a:pt x="1028" y="1188"/>
                              <a:pt x="1032" y="1184"/>
                              <a:pt x="1035" y="1183"/>
                            </a:cubicBezTo>
                            <a:cubicBezTo>
                              <a:pt x="1038" y="1182"/>
                              <a:pt x="1035" y="1187"/>
                              <a:pt x="1035" y="1191"/>
                            </a:cubicBezTo>
                            <a:cubicBezTo>
                              <a:pt x="1034" y="1195"/>
                              <a:pt x="1031" y="1199"/>
                              <a:pt x="1027" y="1202"/>
                            </a:cubicBezTo>
                            <a:cubicBezTo>
                              <a:pt x="1023" y="1205"/>
                              <a:pt x="1021" y="1204"/>
                              <a:pt x="1018" y="1206"/>
                            </a:cubicBezTo>
                            <a:cubicBezTo>
                              <a:pt x="1014" y="1207"/>
                              <a:pt x="1016" y="1211"/>
                              <a:pt x="1012" y="1214"/>
                            </a:cubicBezTo>
                            <a:cubicBezTo>
                              <a:pt x="1007" y="1217"/>
                              <a:pt x="1008" y="1214"/>
                              <a:pt x="1000" y="1212"/>
                            </a:cubicBezTo>
                            <a:cubicBezTo>
                              <a:pt x="992" y="1209"/>
                              <a:pt x="994" y="1215"/>
                              <a:pt x="988" y="1217"/>
                            </a:cubicBezTo>
                            <a:cubicBezTo>
                              <a:pt x="982" y="1219"/>
                              <a:pt x="982" y="1227"/>
                              <a:pt x="984" y="1233"/>
                            </a:cubicBezTo>
                            <a:cubicBezTo>
                              <a:pt x="985" y="1238"/>
                              <a:pt x="991" y="1240"/>
                              <a:pt x="995" y="1240"/>
                            </a:cubicBezTo>
                            <a:cubicBezTo>
                              <a:pt x="998" y="1240"/>
                              <a:pt x="1007" y="1238"/>
                              <a:pt x="1012" y="1234"/>
                            </a:cubicBezTo>
                            <a:cubicBezTo>
                              <a:pt x="1017" y="1230"/>
                              <a:pt x="1020" y="1233"/>
                              <a:pt x="1024" y="1230"/>
                            </a:cubicBezTo>
                            <a:cubicBezTo>
                              <a:pt x="1029" y="1227"/>
                              <a:pt x="1035" y="1226"/>
                              <a:pt x="1040" y="1224"/>
                            </a:cubicBezTo>
                            <a:cubicBezTo>
                              <a:pt x="1045" y="1222"/>
                              <a:pt x="1052" y="1221"/>
                              <a:pt x="1055" y="1217"/>
                            </a:cubicBezTo>
                            <a:cubicBezTo>
                              <a:pt x="1057" y="1213"/>
                              <a:pt x="1061" y="1208"/>
                              <a:pt x="1063" y="1206"/>
                            </a:cubicBezTo>
                            <a:cubicBezTo>
                              <a:pt x="1065" y="1204"/>
                              <a:pt x="1067" y="1202"/>
                              <a:pt x="1068" y="1202"/>
                            </a:cubicBezTo>
                            <a:cubicBezTo>
                              <a:pt x="1069" y="1202"/>
                              <a:pt x="1073" y="1202"/>
                              <a:pt x="1075" y="1201"/>
                            </a:cubicBezTo>
                            <a:cubicBezTo>
                              <a:pt x="1077" y="1199"/>
                              <a:pt x="1081" y="1198"/>
                              <a:pt x="1082" y="1198"/>
                            </a:cubicBezTo>
                            <a:cubicBezTo>
                              <a:pt x="1084" y="1199"/>
                              <a:pt x="1085" y="1201"/>
                              <a:pt x="1086" y="1202"/>
                            </a:cubicBezTo>
                            <a:cubicBezTo>
                              <a:pt x="1088" y="1203"/>
                              <a:pt x="1090" y="1202"/>
                              <a:pt x="1090" y="1201"/>
                            </a:cubicBezTo>
                            <a:cubicBezTo>
                              <a:pt x="1091" y="1199"/>
                              <a:pt x="1091" y="1197"/>
                              <a:pt x="1092" y="1194"/>
                            </a:cubicBezTo>
                            <a:cubicBezTo>
                              <a:pt x="1093" y="1191"/>
                              <a:pt x="1096" y="1192"/>
                              <a:pt x="1097" y="1190"/>
                            </a:cubicBezTo>
                            <a:cubicBezTo>
                              <a:pt x="1099" y="1189"/>
                              <a:pt x="1099" y="1186"/>
                              <a:pt x="1101" y="1185"/>
                            </a:cubicBezTo>
                            <a:cubicBezTo>
                              <a:pt x="1104" y="1184"/>
                              <a:pt x="1106" y="1186"/>
                              <a:pt x="1109" y="1184"/>
                            </a:cubicBezTo>
                            <a:cubicBezTo>
                              <a:pt x="1112" y="1182"/>
                              <a:pt x="1108" y="1178"/>
                              <a:pt x="1108" y="1176"/>
                            </a:cubicBezTo>
                            <a:cubicBezTo>
                              <a:pt x="1109" y="1173"/>
                              <a:pt x="1114" y="1172"/>
                              <a:pt x="1119" y="1172"/>
                            </a:cubicBezTo>
                            <a:cubicBezTo>
                              <a:pt x="1124" y="1172"/>
                              <a:pt x="1121" y="1175"/>
                              <a:pt x="1123" y="1177"/>
                            </a:cubicBezTo>
                            <a:cubicBezTo>
                              <a:pt x="1126" y="1179"/>
                              <a:pt x="1127" y="1176"/>
                              <a:pt x="1130" y="1174"/>
                            </a:cubicBezTo>
                            <a:cubicBezTo>
                              <a:pt x="1132" y="1171"/>
                              <a:pt x="1131" y="1170"/>
                              <a:pt x="1133" y="1167"/>
                            </a:cubicBezTo>
                            <a:cubicBezTo>
                              <a:pt x="1134" y="1164"/>
                              <a:pt x="1134" y="1159"/>
                              <a:pt x="1138" y="1158"/>
                            </a:cubicBezTo>
                            <a:cubicBezTo>
                              <a:pt x="1142" y="1157"/>
                              <a:pt x="1145" y="1167"/>
                              <a:pt x="1149" y="1168"/>
                            </a:cubicBezTo>
                            <a:cubicBezTo>
                              <a:pt x="1153" y="1169"/>
                              <a:pt x="1153" y="1163"/>
                              <a:pt x="1157" y="1159"/>
                            </a:cubicBezTo>
                            <a:cubicBezTo>
                              <a:pt x="1160" y="1155"/>
                              <a:pt x="1164" y="1159"/>
                              <a:pt x="1168" y="1164"/>
                            </a:cubicBezTo>
                            <a:cubicBezTo>
                              <a:pt x="1172" y="1169"/>
                              <a:pt x="1180" y="1169"/>
                              <a:pt x="1184" y="1170"/>
                            </a:cubicBezTo>
                            <a:cubicBezTo>
                              <a:pt x="1189" y="1170"/>
                              <a:pt x="1192" y="1167"/>
                              <a:pt x="1195" y="1166"/>
                            </a:cubicBezTo>
                            <a:cubicBezTo>
                              <a:pt x="1198" y="1164"/>
                              <a:pt x="1200" y="1160"/>
                              <a:pt x="1201" y="1156"/>
                            </a:cubicBezTo>
                            <a:cubicBezTo>
                              <a:pt x="1201" y="1152"/>
                              <a:pt x="1205" y="1151"/>
                              <a:pt x="1209" y="1149"/>
                            </a:cubicBezTo>
                            <a:cubicBezTo>
                              <a:pt x="1212" y="1148"/>
                              <a:pt x="1210" y="1144"/>
                              <a:pt x="1207" y="1143"/>
                            </a:cubicBezTo>
                            <a:cubicBezTo>
                              <a:pt x="1204" y="1141"/>
                              <a:pt x="1203" y="1138"/>
                              <a:pt x="1204" y="1134"/>
                            </a:cubicBezTo>
                            <a:cubicBezTo>
                              <a:pt x="1204" y="1130"/>
                              <a:pt x="1210" y="1131"/>
                              <a:pt x="1215" y="1129"/>
                            </a:cubicBezTo>
                            <a:cubicBezTo>
                              <a:pt x="1219" y="1127"/>
                              <a:pt x="1221" y="1126"/>
                              <a:pt x="1224" y="1123"/>
                            </a:cubicBezTo>
                            <a:cubicBezTo>
                              <a:pt x="1227" y="1120"/>
                              <a:pt x="1225" y="1117"/>
                              <a:pt x="1222" y="1114"/>
                            </a:cubicBezTo>
                            <a:cubicBezTo>
                              <a:pt x="1219" y="1110"/>
                              <a:pt x="1216" y="1113"/>
                              <a:pt x="1213" y="1117"/>
                            </a:cubicBezTo>
                            <a:cubicBezTo>
                              <a:pt x="1210" y="1122"/>
                              <a:pt x="1210" y="1120"/>
                              <a:pt x="1204" y="1121"/>
                            </a:cubicBezTo>
                            <a:cubicBezTo>
                              <a:pt x="1198" y="1122"/>
                              <a:pt x="1195" y="1124"/>
                              <a:pt x="1191" y="1124"/>
                            </a:cubicBezTo>
                            <a:cubicBezTo>
                              <a:pt x="1187" y="1123"/>
                              <a:pt x="1189" y="1119"/>
                              <a:pt x="1191" y="1116"/>
                            </a:cubicBezTo>
                            <a:cubicBezTo>
                              <a:pt x="1194" y="1112"/>
                              <a:pt x="1197" y="1109"/>
                              <a:pt x="1197" y="1108"/>
                            </a:cubicBezTo>
                            <a:cubicBezTo>
                              <a:pt x="1197" y="1107"/>
                              <a:pt x="1196" y="1103"/>
                              <a:pt x="1193" y="1100"/>
                            </a:cubicBezTo>
                            <a:cubicBezTo>
                              <a:pt x="1190" y="1098"/>
                              <a:pt x="1189" y="1101"/>
                              <a:pt x="1186" y="1100"/>
                            </a:cubicBezTo>
                            <a:cubicBezTo>
                              <a:pt x="1184" y="1099"/>
                              <a:pt x="1186" y="1096"/>
                              <a:pt x="1185" y="1094"/>
                            </a:cubicBezTo>
                            <a:cubicBezTo>
                              <a:pt x="1184" y="1091"/>
                              <a:pt x="1183" y="1093"/>
                              <a:pt x="1181" y="1091"/>
                            </a:cubicBezTo>
                            <a:cubicBezTo>
                              <a:pt x="1180" y="1089"/>
                              <a:pt x="1184" y="1086"/>
                              <a:pt x="1189" y="1084"/>
                            </a:cubicBezTo>
                            <a:cubicBezTo>
                              <a:pt x="1194" y="1082"/>
                              <a:pt x="1197" y="1083"/>
                              <a:pt x="1201" y="1081"/>
                            </a:cubicBezTo>
                            <a:cubicBezTo>
                              <a:pt x="1205" y="1080"/>
                              <a:pt x="1203" y="1077"/>
                              <a:pt x="1202" y="1075"/>
                            </a:cubicBezTo>
                            <a:cubicBezTo>
                              <a:pt x="1201" y="1072"/>
                              <a:pt x="1200" y="1068"/>
                              <a:pt x="1201" y="1064"/>
                            </a:cubicBezTo>
                            <a:cubicBezTo>
                              <a:pt x="1202" y="1059"/>
                              <a:pt x="1209" y="1060"/>
                              <a:pt x="1212" y="1059"/>
                            </a:cubicBezTo>
                            <a:cubicBezTo>
                              <a:pt x="1215" y="1057"/>
                              <a:pt x="1222" y="1058"/>
                              <a:pt x="1226" y="1055"/>
                            </a:cubicBezTo>
                            <a:cubicBezTo>
                              <a:pt x="1229" y="1053"/>
                              <a:pt x="1228" y="1052"/>
                              <a:pt x="1233" y="1047"/>
                            </a:cubicBezTo>
                            <a:cubicBezTo>
                              <a:pt x="1238" y="1042"/>
                              <a:pt x="1240" y="1045"/>
                              <a:pt x="1240" y="1049"/>
                            </a:cubicBezTo>
                            <a:cubicBezTo>
                              <a:pt x="1240" y="1052"/>
                              <a:pt x="1237" y="1054"/>
                              <a:pt x="1235" y="1059"/>
                            </a:cubicBezTo>
                            <a:cubicBezTo>
                              <a:pt x="1233" y="1063"/>
                              <a:pt x="1232" y="1063"/>
                              <a:pt x="1229" y="1066"/>
                            </a:cubicBezTo>
                            <a:cubicBezTo>
                              <a:pt x="1226" y="1069"/>
                              <a:pt x="1225" y="1070"/>
                              <a:pt x="1224" y="1074"/>
                            </a:cubicBezTo>
                            <a:cubicBezTo>
                              <a:pt x="1222" y="1078"/>
                              <a:pt x="1226" y="1078"/>
                              <a:pt x="1227" y="1080"/>
                            </a:cubicBezTo>
                            <a:cubicBezTo>
                              <a:pt x="1229" y="1081"/>
                              <a:pt x="1235" y="1080"/>
                              <a:pt x="1237" y="1078"/>
                            </a:cubicBezTo>
                            <a:cubicBezTo>
                              <a:pt x="1239" y="1077"/>
                              <a:pt x="1242" y="1074"/>
                              <a:pt x="1243" y="1070"/>
                            </a:cubicBezTo>
                            <a:cubicBezTo>
                              <a:pt x="1243" y="1065"/>
                              <a:pt x="1246" y="1059"/>
                              <a:pt x="1251" y="1056"/>
                            </a:cubicBezTo>
                            <a:cubicBezTo>
                              <a:pt x="1256" y="1053"/>
                              <a:pt x="1254" y="1063"/>
                              <a:pt x="1255" y="1065"/>
                            </a:cubicBezTo>
                            <a:cubicBezTo>
                              <a:pt x="1255" y="1067"/>
                              <a:pt x="1268" y="1069"/>
                              <a:pt x="1274" y="1069"/>
                            </a:cubicBezTo>
                            <a:cubicBezTo>
                              <a:pt x="1280" y="1069"/>
                              <a:pt x="1287" y="1070"/>
                              <a:pt x="1293" y="1068"/>
                            </a:cubicBezTo>
                            <a:cubicBezTo>
                              <a:pt x="1299" y="1065"/>
                              <a:pt x="1300" y="1060"/>
                              <a:pt x="1306" y="1058"/>
                            </a:cubicBezTo>
                            <a:cubicBezTo>
                              <a:pt x="1313" y="1056"/>
                              <a:pt x="1323" y="1055"/>
                              <a:pt x="1326" y="1056"/>
                            </a:cubicBezTo>
                            <a:cubicBezTo>
                              <a:pt x="1329" y="1058"/>
                              <a:pt x="1325" y="1059"/>
                              <a:pt x="1320" y="1063"/>
                            </a:cubicBezTo>
                            <a:cubicBezTo>
                              <a:pt x="1315" y="1066"/>
                              <a:pt x="1314" y="1067"/>
                              <a:pt x="1313" y="1071"/>
                            </a:cubicBezTo>
                            <a:cubicBezTo>
                              <a:pt x="1312" y="1075"/>
                              <a:pt x="1311" y="1077"/>
                              <a:pt x="1314" y="1079"/>
                            </a:cubicBezTo>
                            <a:cubicBezTo>
                              <a:pt x="1318" y="1080"/>
                              <a:pt x="1320" y="1079"/>
                              <a:pt x="1324" y="1080"/>
                            </a:cubicBezTo>
                            <a:cubicBezTo>
                              <a:pt x="1328" y="1082"/>
                              <a:pt x="1322" y="1084"/>
                              <a:pt x="1321" y="1085"/>
                            </a:cubicBezTo>
                            <a:cubicBezTo>
                              <a:pt x="1319" y="1085"/>
                              <a:pt x="1318" y="1089"/>
                              <a:pt x="1327" y="1091"/>
                            </a:cubicBezTo>
                            <a:cubicBezTo>
                              <a:pt x="1336" y="1092"/>
                              <a:pt x="1334" y="1088"/>
                              <a:pt x="1339" y="1088"/>
                            </a:cubicBezTo>
                            <a:cubicBezTo>
                              <a:pt x="1343" y="1089"/>
                              <a:pt x="1344" y="1092"/>
                              <a:pt x="1341" y="1094"/>
                            </a:cubicBezTo>
                            <a:cubicBezTo>
                              <a:pt x="1338" y="1096"/>
                              <a:pt x="1336" y="1100"/>
                              <a:pt x="1337" y="1103"/>
                            </a:cubicBezTo>
                            <a:cubicBezTo>
                              <a:pt x="1338" y="1106"/>
                              <a:pt x="1350" y="1103"/>
                              <a:pt x="1357" y="1101"/>
                            </a:cubicBezTo>
                            <a:cubicBezTo>
                              <a:pt x="1363" y="1100"/>
                              <a:pt x="1368" y="1102"/>
                              <a:pt x="1367" y="1104"/>
                            </a:cubicBezTo>
                            <a:cubicBezTo>
                              <a:pt x="1366" y="1107"/>
                              <a:pt x="1359" y="1111"/>
                              <a:pt x="1356" y="1114"/>
                            </a:cubicBezTo>
                            <a:cubicBezTo>
                              <a:pt x="1354" y="1118"/>
                              <a:pt x="1354" y="1123"/>
                              <a:pt x="1356" y="1123"/>
                            </a:cubicBezTo>
                            <a:cubicBezTo>
                              <a:pt x="1358" y="1123"/>
                              <a:pt x="1370" y="1123"/>
                              <a:pt x="1378" y="1123"/>
                            </a:cubicBezTo>
                            <a:cubicBezTo>
                              <a:pt x="1385" y="1123"/>
                              <a:pt x="1395" y="1124"/>
                              <a:pt x="1399" y="1123"/>
                            </a:cubicBezTo>
                            <a:cubicBezTo>
                              <a:pt x="1404" y="1122"/>
                              <a:pt x="1411" y="1113"/>
                              <a:pt x="1414" y="1109"/>
                            </a:cubicBezTo>
                            <a:cubicBezTo>
                              <a:pt x="1417" y="1105"/>
                              <a:pt x="1428" y="1097"/>
                              <a:pt x="1433" y="1098"/>
                            </a:cubicBezTo>
                            <a:cubicBezTo>
                              <a:pt x="1438" y="1098"/>
                              <a:pt x="1432" y="1102"/>
                              <a:pt x="1428" y="1107"/>
                            </a:cubicBezTo>
                            <a:cubicBezTo>
                              <a:pt x="1423" y="1111"/>
                              <a:pt x="1423" y="1113"/>
                              <a:pt x="1421" y="1116"/>
                            </a:cubicBezTo>
                            <a:cubicBezTo>
                              <a:pt x="1419" y="1119"/>
                              <a:pt x="1416" y="1123"/>
                              <a:pt x="1416" y="1128"/>
                            </a:cubicBezTo>
                            <a:cubicBezTo>
                              <a:pt x="1416" y="1133"/>
                              <a:pt x="1417" y="1138"/>
                              <a:pt x="1423" y="1139"/>
                            </a:cubicBezTo>
                            <a:cubicBezTo>
                              <a:pt x="1430" y="1141"/>
                              <a:pt x="1437" y="1150"/>
                              <a:pt x="1443" y="1152"/>
                            </a:cubicBezTo>
                            <a:cubicBezTo>
                              <a:pt x="1449" y="1154"/>
                              <a:pt x="1459" y="1155"/>
                              <a:pt x="1464" y="1159"/>
                            </a:cubicBezTo>
                            <a:cubicBezTo>
                              <a:pt x="1468" y="1163"/>
                              <a:pt x="1475" y="1163"/>
                              <a:pt x="1488" y="1163"/>
                            </a:cubicBezTo>
                            <a:cubicBezTo>
                              <a:pt x="1501" y="1163"/>
                              <a:pt x="1512" y="1162"/>
                              <a:pt x="1516" y="1161"/>
                            </a:cubicBezTo>
                            <a:cubicBezTo>
                              <a:pt x="1520" y="1161"/>
                              <a:pt x="1542" y="1159"/>
                              <a:pt x="1555" y="1158"/>
                            </a:cubicBezTo>
                            <a:cubicBezTo>
                              <a:pt x="1569" y="1157"/>
                              <a:pt x="1574" y="1158"/>
                              <a:pt x="1591" y="1164"/>
                            </a:cubicBezTo>
                            <a:cubicBezTo>
                              <a:pt x="1608" y="1170"/>
                              <a:pt x="1620" y="1171"/>
                              <a:pt x="1623" y="1166"/>
                            </a:cubicBezTo>
                            <a:cubicBezTo>
                              <a:pt x="1627" y="1161"/>
                              <a:pt x="1623" y="1155"/>
                              <a:pt x="1629" y="1153"/>
                            </a:cubicBezTo>
                            <a:cubicBezTo>
                              <a:pt x="1635" y="1152"/>
                              <a:pt x="1634" y="1156"/>
                              <a:pt x="1636" y="1159"/>
                            </a:cubicBezTo>
                            <a:cubicBezTo>
                              <a:pt x="1638" y="1162"/>
                              <a:pt x="1638" y="1167"/>
                              <a:pt x="1636" y="1172"/>
                            </a:cubicBezTo>
                            <a:cubicBezTo>
                              <a:pt x="1635" y="1178"/>
                              <a:pt x="1639" y="1177"/>
                              <a:pt x="1648" y="1178"/>
                            </a:cubicBezTo>
                            <a:cubicBezTo>
                              <a:pt x="1657" y="1179"/>
                              <a:pt x="1662" y="1180"/>
                              <a:pt x="1669" y="1183"/>
                            </a:cubicBezTo>
                            <a:cubicBezTo>
                              <a:pt x="1675" y="1186"/>
                              <a:pt x="1681" y="1187"/>
                              <a:pt x="1689" y="1188"/>
                            </a:cubicBezTo>
                            <a:cubicBezTo>
                              <a:pt x="1697" y="1189"/>
                              <a:pt x="1704" y="1188"/>
                              <a:pt x="1717" y="1184"/>
                            </a:cubicBezTo>
                            <a:cubicBezTo>
                              <a:pt x="1730" y="1180"/>
                              <a:pt x="1726" y="1178"/>
                              <a:pt x="1732" y="1175"/>
                            </a:cubicBezTo>
                            <a:cubicBezTo>
                              <a:pt x="1738" y="1173"/>
                              <a:pt x="1739" y="1172"/>
                              <a:pt x="1742" y="1169"/>
                            </a:cubicBezTo>
                            <a:cubicBezTo>
                              <a:pt x="1745" y="1165"/>
                              <a:pt x="1749" y="1162"/>
                              <a:pt x="1754" y="1162"/>
                            </a:cubicBezTo>
                            <a:cubicBezTo>
                              <a:pt x="1758" y="1161"/>
                              <a:pt x="1758" y="1164"/>
                              <a:pt x="1764" y="1165"/>
                            </a:cubicBezTo>
                            <a:cubicBezTo>
                              <a:pt x="1770" y="1166"/>
                              <a:pt x="1775" y="1167"/>
                              <a:pt x="1778" y="1170"/>
                            </a:cubicBezTo>
                            <a:cubicBezTo>
                              <a:pt x="1780" y="1173"/>
                              <a:pt x="1784" y="1175"/>
                              <a:pt x="1785" y="1180"/>
                            </a:cubicBezTo>
                            <a:cubicBezTo>
                              <a:pt x="1787" y="1184"/>
                              <a:pt x="1785" y="1182"/>
                              <a:pt x="1780" y="1183"/>
                            </a:cubicBezTo>
                            <a:cubicBezTo>
                              <a:pt x="1775" y="1184"/>
                              <a:pt x="1773" y="1184"/>
                              <a:pt x="1770" y="1184"/>
                            </a:cubicBezTo>
                            <a:cubicBezTo>
                              <a:pt x="1768" y="1184"/>
                              <a:pt x="1765" y="1186"/>
                              <a:pt x="1763" y="1190"/>
                            </a:cubicBezTo>
                            <a:cubicBezTo>
                              <a:pt x="1762" y="1194"/>
                              <a:pt x="1763" y="1199"/>
                              <a:pt x="1762" y="1203"/>
                            </a:cubicBezTo>
                            <a:cubicBezTo>
                              <a:pt x="1761" y="1206"/>
                              <a:pt x="1757" y="1192"/>
                              <a:pt x="1759" y="1187"/>
                            </a:cubicBezTo>
                            <a:cubicBezTo>
                              <a:pt x="1761" y="1182"/>
                              <a:pt x="1760" y="1179"/>
                              <a:pt x="1759" y="1176"/>
                            </a:cubicBezTo>
                            <a:cubicBezTo>
                              <a:pt x="1758" y="1173"/>
                              <a:pt x="1752" y="1172"/>
                              <a:pt x="1749" y="1174"/>
                            </a:cubicBezTo>
                            <a:cubicBezTo>
                              <a:pt x="1745" y="1176"/>
                              <a:pt x="1747" y="1179"/>
                              <a:pt x="1749" y="1183"/>
                            </a:cubicBezTo>
                            <a:cubicBezTo>
                              <a:pt x="1750" y="1186"/>
                              <a:pt x="1750" y="1191"/>
                              <a:pt x="1750" y="1196"/>
                            </a:cubicBezTo>
                            <a:cubicBezTo>
                              <a:pt x="1750" y="1201"/>
                              <a:pt x="1742" y="1201"/>
                              <a:pt x="1740" y="1205"/>
                            </a:cubicBezTo>
                            <a:cubicBezTo>
                              <a:pt x="1738" y="1208"/>
                              <a:pt x="1742" y="1206"/>
                              <a:pt x="1749" y="1211"/>
                            </a:cubicBezTo>
                            <a:cubicBezTo>
                              <a:pt x="1755" y="1215"/>
                              <a:pt x="1762" y="1219"/>
                              <a:pt x="1771" y="1223"/>
                            </a:cubicBezTo>
                            <a:cubicBezTo>
                              <a:pt x="1780" y="1228"/>
                              <a:pt x="1781" y="1228"/>
                              <a:pt x="1789" y="1234"/>
                            </a:cubicBezTo>
                            <a:cubicBezTo>
                              <a:pt x="1797" y="1240"/>
                              <a:pt x="1802" y="1241"/>
                              <a:pt x="1807" y="1242"/>
                            </a:cubicBezTo>
                            <a:cubicBezTo>
                              <a:pt x="1812" y="1242"/>
                              <a:pt x="1813" y="1237"/>
                              <a:pt x="1816" y="1239"/>
                            </a:cubicBezTo>
                            <a:cubicBezTo>
                              <a:pt x="1818" y="1240"/>
                              <a:pt x="1810" y="1243"/>
                              <a:pt x="1811" y="1246"/>
                            </a:cubicBezTo>
                            <a:cubicBezTo>
                              <a:pt x="1812" y="1250"/>
                              <a:pt x="1828" y="1259"/>
                              <a:pt x="1842" y="1266"/>
                            </a:cubicBezTo>
                            <a:cubicBezTo>
                              <a:pt x="1855" y="1274"/>
                              <a:pt x="1872" y="1289"/>
                              <a:pt x="1878" y="1293"/>
                            </a:cubicBezTo>
                            <a:cubicBezTo>
                              <a:pt x="1883" y="1297"/>
                              <a:pt x="1912" y="1316"/>
                              <a:pt x="1917" y="1318"/>
                            </a:cubicBezTo>
                            <a:cubicBezTo>
                              <a:pt x="1923" y="1321"/>
                              <a:pt x="1927" y="1320"/>
                              <a:pt x="1931" y="1318"/>
                            </a:cubicBezTo>
                            <a:cubicBezTo>
                              <a:pt x="1935" y="1315"/>
                              <a:pt x="1935" y="1313"/>
                              <a:pt x="1937" y="1310"/>
                            </a:cubicBezTo>
                            <a:cubicBezTo>
                              <a:pt x="1939" y="1306"/>
                              <a:pt x="1943" y="1310"/>
                              <a:pt x="1946" y="1310"/>
                            </a:cubicBezTo>
                            <a:cubicBezTo>
                              <a:pt x="1949" y="1310"/>
                              <a:pt x="1957" y="1311"/>
                              <a:pt x="1959" y="1309"/>
                            </a:cubicBezTo>
                            <a:cubicBezTo>
                              <a:pt x="1962" y="1306"/>
                              <a:pt x="1959" y="1299"/>
                              <a:pt x="1957" y="1296"/>
                            </a:cubicBezTo>
                            <a:cubicBezTo>
                              <a:pt x="1956" y="1293"/>
                              <a:pt x="1951" y="1293"/>
                              <a:pt x="1949" y="1294"/>
                            </a:cubicBezTo>
                            <a:cubicBezTo>
                              <a:pt x="1947" y="1294"/>
                              <a:pt x="1940" y="1293"/>
                              <a:pt x="1938" y="1290"/>
                            </a:cubicBezTo>
                            <a:cubicBezTo>
                              <a:pt x="1935" y="1288"/>
                              <a:pt x="1942" y="1286"/>
                              <a:pt x="1941" y="1283"/>
                            </a:cubicBezTo>
                            <a:cubicBezTo>
                              <a:pt x="1941" y="1279"/>
                              <a:pt x="1935" y="1280"/>
                              <a:pt x="1931" y="1276"/>
                            </a:cubicBezTo>
                            <a:cubicBezTo>
                              <a:pt x="1928" y="1271"/>
                              <a:pt x="1927" y="1272"/>
                              <a:pt x="1923" y="1270"/>
                            </a:cubicBezTo>
                            <a:cubicBezTo>
                              <a:pt x="1919" y="1267"/>
                              <a:pt x="1913" y="1269"/>
                              <a:pt x="1908" y="1271"/>
                            </a:cubicBezTo>
                            <a:cubicBezTo>
                              <a:pt x="1903" y="1274"/>
                              <a:pt x="1900" y="1273"/>
                              <a:pt x="1897" y="1272"/>
                            </a:cubicBezTo>
                            <a:cubicBezTo>
                              <a:pt x="1894" y="1272"/>
                              <a:pt x="1898" y="1267"/>
                              <a:pt x="1902" y="1266"/>
                            </a:cubicBezTo>
                            <a:cubicBezTo>
                              <a:pt x="1905" y="1264"/>
                              <a:pt x="1908" y="1263"/>
                              <a:pt x="1910" y="1259"/>
                            </a:cubicBezTo>
                            <a:cubicBezTo>
                              <a:pt x="1912" y="1256"/>
                              <a:pt x="1915" y="1257"/>
                              <a:pt x="1922" y="1255"/>
                            </a:cubicBezTo>
                            <a:cubicBezTo>
                              <a:pt x="1929" y="1253"/>
                              <a:pt x="1929" y="1254"/>
                              <a:pt x="1934" y="1257"/>
                            </a:cubicBezTo>
                            <a:cubicBezTo>
                              <a:pt x="1939" y="1260"/>
                              <a:pt x="1939" y="1267"/>
                              <a:pt x="1942" y="1270"/>
                            </a:cubicBezTo>
                            <a:cubicBezTo>
                              <a:pt x="1946" y="1272"/>
                              <a:pt x="1954" y="1272"/>
                              <a:pt x="1955" y="1269"/>
                            </a:cubicBezTo>
                            <a:cubicBezTo>
                              <a:pt x="1955" y="1266"/>
                              <a:pt x="1956" y="1264"/>
                              <a:pt x="1956" y="1255"/>
                            </a:cubicBezTo>
                            <a:cubicBezTo>
                              <a:pt x="1957" y="1247"/>
                              <a:pt x="1959" y="1251"/>
                              <a:pt x="1959" y="1251"/>
                            </a:cubicBezTo>
                            <a:cubicBezTo>
                              <a:pt x="1959" y="1251"/>
                              <a:pt x="1968" y="1261"/>
                              <a:pt x="1971" y="1262"/>
                            </a:cubicBezTo>
                            <a:cubicBezTo>
                              <a:pt x="1973" y="1262"/>
                              <a:pt x="1977" y="1261"/>
                              <a:pt x="1979" y="1263"/>
                            </a:cubicBezTo>
                            <a:cubicBezTo>
                              <a:pt x="1982" y="1264"/>
                              <a:pt x="1978" y="1266"/>
                              <a:pt x="1977" y="1268"/>
                            </a:cubicBezTo>
                            <a:cubicBezTo>
                              <a:pt x="1976" y="1269"/>
                              <a:pt x="1972" y="1270"/>
                              <a:pt x="1971" y="1271"/>
                            </a:cubicBezTo>
                            <a:cubicBezTo>
                              <a:pt x="1970" y="1271"/>
                              <a:pt x="1968" y="1280"/>
                              <a:pt x="1968" y="1280"/>
                            </a:cubicBezTo>
                            <a:cubicBezTo>
                              <a:pt x="1968" y="1280"/>
                              <a:pt x="1975" y="1287"/>
                              <a:pt x="1976" y="1288"/>
                            </a:cubicBezTo>
                            <a:cubicBezTo>
                              <a:pt x="1977" y="1289"/>
                              <a:pt x="1975" y="1294"/>
                              <a:pt x="1975" y="1298"/>
                            </a:cubicBezTo>
                            <a:cubicBezTo>
                              <a:pt x="1975" y="1301"/>
                              <a:pt x="1977" y="1307"/>
                              <a:pt x="1977" y="1307"/>
                            </a:cubicBezTo>
                            <a:cubicBezTo>
                              <a:pt x="1977" y="1307"/>
                              <a:pt x="1982" y="1307"/>
                              <a:pt x="1989" y="1306"/>
                            </a:cubicBezTo>
                            <a:cubicBezTo>
                              <a:pt x="1996" y="1305"/>
                              <a:pt x="1994" y="1304"/>
                              <a:pt x="1999" y="1304"/>
                            </a:cubicBezTo>
                            <a:cubicBezTo>
                              <a:pt x="2003" y="1304"/>
                              <a:pt x="2002" y="1310"/>
                              <a:pt x="2003" y="1313"/>
                            </a:cubicBezTo>
                            <a:cubicBezTo>
                              <a:pt x="2005" y="1316"/>
                              <a:pt x="2008" y="1318"/>
                              <a:pt x="2013" y="1319"/>
                            </a:cubicBezTo>
                            <a:cubicBezTo>
                              <a:pt x="2018" y="1320"/>
                              <a:pt x="2019" y="1317"/>
                              <a:pt x="2021" y="1314"/>
                            </a:cubicBezTo>
                            <a:cubicBezTo>
                              <a:pt x="2023" y="1311"/>
                              <a:pt x="2020" y="1308"/>
                              <a:pt x="2017" y="1302"/>
                            </a:cubicBezTo>
                            <a:cubicBezTo>
                              <a:pt x="2014" y="1296"/>
                              <a:pt x="2013" y="1295"/>
                              <a:pt x="2015" y="1290"/>
                            </a:cubicBezTo>
                            <a:cubicBezTo>
                              <a:pt x="2017" y="1286"/>
                              <a:pt x="2017" y="1284"/>
                              <a:pt x="2017" y="1280"/>
                            </a:cubicBezTo>
                            <a:cubicBezTo>
                              <a:pt x="2017" y="1275"/>
                              <a:pt x="2014" y="1275"/>
                              <a:pt x="2010" y="1272"/>
                            </a:cubicBezTo>
                            <a:cubicBezTo>
                              <a:pt x="2005" y="1269"/>
                              <a:pt x="2005" y="1268"/>
                              <a:pt x="2002" y="1262"/>
                            </a:cubicBezTo>
                            <a:cubicBezTo>
                              <a:pt x="1999" y="1255"/>
                              <a:pt x="2002" y="1256"/>
                              <a:pt x="2002" y="1249"/>
                            </a:cubicBezTo>
                            <a:cubicBezTo>
                              <a:pt x="2001" y="1242"/>
                              <a:pt x="1999" y="1246"/>
                              <a:pt x="1995" y="1241"/>
                            </a:cubicBezTo>
                            <a:cubicBezTo>
                              <a:pt x="1991" y="1236"/>
                              <a:pt x="1994" y="1236"/>
                              <a:pt x="1996" y="1231"/>
                            </a:cubicBezTo>
                            <a:cubicBezTo>
                              <a:pt x="1999" y="1226"/>
                              <a:pt x="1999" y="1227"/>
                              <a:pt x="2001" y="1223"/>
                            </a:cubicBezTo>
                            <a:cubicBezTo>
                              <a:pt x="2004" y="1218"/>
                              <a:pt x="2003" y="1216"/>
                              <a:pt x="2008" y="1218"/>
                            </a:cubicBezTo>
                            <a:cubicBezTo>
                              <a:pt x="2012" y="1220"/>
                              <a:pt x="2008" y="1225"/>
                              <a:pt x="2008" y="1230"/>
                            </a:cubicBezTo>
                            <a:cubicBezTo>
                              <a:pt x="2007" y="1235"/>
                              <a:pt x="2008" y="1238"/>
                              <a:pt x="2009" y="1241"/>
                            </a:cubicBezTo>
                            <a:cubicBezTo>
                              <a:pt x="2011" y="1245"/>
                              <a:pt x="2015" y="1249"/>
                              <a:pt x="2016" y="1256"/>
                            </a:cubicBezTo>
                            <a:cubicBezTo>
                              <a:pt x="2017" y="1262"/>
                              <a:pt x="2020" y="1265"/>
                              <a:pt x="2023" y="1268"/>
                            </a:cubicBezTo>
                            <a:cubicBezTo>
                              <a:pt x="2026" y="1271"/>
                              <a:pt x="2030" y="1274"/>
                              <a:pt x="2033" y="1276"/>
                            </a:cubicBezTo>
                            <a:cubicBezTo>
                              <a:pt x="2036" y="1277"/>
                              <a:pt x="2038" y="1283"/>
                              <a:pt x="2038" y="1288"/>
                            </a:cubicBezTo>
                            <a:cubicBezTo>
                              <a:pt x="2037" y="1293"/>
                              <a:pt x="2037" y="1296"/>
                              <a:pt x="2037" y="1302"/>
                            </a:cubicBezTo>
                            <a:cubicBezTo>
                              <a:pt x="2037" y="1307"/>
                              <a:pt x="2050" y="1310"/>
                              <a:pt x="2054" y="1313"/>
                            </a:cubicBezTo>
                            <a:cubicBezTo>
                              <a:pt x="2058" y="1315"/>
                              <a:pt x="2069" y="1320"/>
                              <a:pt x="2073" y="1321"/>
                            </a:cubicBezTo>
                            <a:cubicBezTo>
                              <a:pt x="2076" y="1322"/>
                              <a:pt x="2079" y="1319"/>
                              <a:pt x="2082" y="1314"/>
                            </a:cubicBezTo>
                            <a:cubicBezTo>
                              <a:pt x="2086" y="1310"/>
                              <a:pt x="2088" y="1306"/>
                              <a:pt x="2090" y="1301"/>
                            </a:cubicBezTo>
                            <a:cubicBezTo>
                              <a:pt x="2091" y="1296"/>
                              <a:pt x="2097" y="1300"/>
                              <a:pt x="2098" y="1302"/>
                            </a:cubicBezTo>
                            <a:cubicBezTo>
                              <a:pt x="2099" y="1305"/>
                              <a:pt x="2095" y="1307"/>
                              <a:pt x="2094" y="1309"/>
                            </a:cubicBezTo>
                            <a:cubicBezTo>
                              <a:pt x="2092" y="1310"/>
                              <a:pt x="2091" y="1315"/>
                              <a:pt x="2091" y="1318"/>
                            </a:cubicBezTo>
                            <a:cubicBezTo>
                              <a:pt x="2090" y="1320"/>
                              <a:pt x="2088" y="1323"/>
                              <a:pt x="2087" y="1328"/>
                            </a:cubicBezTo>
                            <a:cubicBezTo>
                              <a:pt x="2086" y="1332"/>
                              <a:pt x="2088" y="1336"/>
                              <a:pt x="2090" y="1338"/>
                            </a:cubicBezTo>
                            <a:cubicBezTo>
                              <a:pt x="2091" y="1341"/>
                              <a:pt x="2093" y="1339"/>
                              <a:pt x="2099" y="1338"/>
                            </a:cubicBezTo>
                            <a:cubicBezTo>
                              <a:pt x="2105" y="1336"/>
                              <a:pt x="2105" y="1332"/>
                              <a:pt x="2109" y="1332"/>
                            </a:cubicBezTo>
                            <a:cubicBezTo>
                              <a:pt x="2113" y="1332"/>
                              <a:pt x="2111" y="1334"/>
                              <a:pt x="2112" y="1337"/>
                            </a:cubicBezTo>
                            <a:cubicBezTo>
                              <a:pt x="2114" y="1341"/>
                              <a:pt x="2111" y="1341"/>
                              <a:pt x="2111" y="1345"/>
                            </a:cubicBezTo>
                            <a:cubicBezTo>
                              <a:pt x="2111" y="1349"/>
                              <a:pt x="2112" y="1348"/>
                              <a:pt x="2115" y="1351"/>
                            </a:cubicBezTo>
                            <a:cubicBezTo>
                              <a:pt x="2118" y="1354"/>
                              <a:pt x="2123" y="1351"/>
                              <a:pt x="2130" y="1351"/>
                            </a:cubicBezTo>
                            <a:cubicBezTo>
                              <a:pt x="2136" y="1351"/>
                              <a:pt x="2139" y="1352"/>
                              <a:pt x="2139" y="1354"/>
                            </a:cubicBezTo>
                            <a:cubicBezTo>
                              <a:pt x="2140" y="1356"/>
                              <a:pt x="2137" y="1357"/>
                              <a:pt x="2133" y="1357"/>
                            </a:cubicBezTo>
                            <a:cubicBezTo>
                              <a:pt x="2129" y="1357"/>
                              <a:pt x="2124" y="1356"/>
                              <a:pt x="2122" y="1357"/>
                            </a:cubicBezTo>
                            <a:cubicBezTo>
                              <a:pt x="2120" y="1358"/>
                              <a:pt x="2118" y="1364"/>
                              <a:pt x="2121" y="1370"/>
                            </a:cubicBezTo>
                            <a:cubicBezTo>
                              <a:pt x="2124" y="1376"/>
                              <a:pt x="2132" y="1377"/>
                              <a:pt x="2133" y="1382"/>
                            </a:cubicBezTo>
                            <a:cubicBezTo>
                              <a:pt x="2134" y="1386"/>
                              <a:pt x="2133" y="1386"/>
                              <a:pt x="2129" y="1389"/>
                            </a:cubicBezTo>
                            <a:cubicBezTo>
                              <a:pt x="2126" y="1392"/>
                              <a:pt x="2127" y="1393"/>
                              <a:pt x="2128" y="1397"/>
                            </a:cubicBezTo>
                            <a:cubicBezTo>
                              <a:pt x="2130" y="1401"/>
                              <a:pt x="2131" y="1400"/>
                              <a:pt x="2137" y="1401"/>
                            </a:cubicBezTo>
                            <a:cubicBezTo>
                              <a:pt x="2143" y="1402"/>
                              <a:pt x="2152" y="1399"/>
                              <a:pt x="2151" y="1404"/>
                            </a:cubicBezTo>
                            <a:cubicBezTo>
                              <a:pt x="2150" y="1409"/>
                              <a:pt x="2146" y="1407"/>
                              <a:pt x="2138" y="1409"/>
                            </a:cubicBezTo>
                            <a:cubicBezTo>
                              <a:pt x="2130" y="1412"/>
                              <a:pt x="2133" y="1410"/>
                              <a:pt x="2128" y="1411"/>
                            </a:cubicBezTo>
                            <a:cubicBezTo>
                              <a:pt x="2124" y="1412"/>
                              <a:pt x="2121" y="1418"/>
                              <a:pt x="2126" y="1419"/>
                            </a:cubicBezTo>
                            <a:cubicBezTo>
                              <a:pt x="2131" y="1420"/>
                              <a:pt x="2134" y="1420"/>
                              <a:pt x="2137" y="1421"/>
                            </a:cubicBezTo>
                            <a:cubicBezTo>
                              <a:pt x="2141" y="1422"/>
                              <a:pt x="2143" y="1423"/>
                              <a:pt x="2149" y="1424"/>
                            </a:cubicBezTo>
                            <a:cubicBezTo>
                              <a:pt x="2155" y="1424"/>
                              <a:pt x="2160" y="1424"/>
                              <a:pt x="2164" y="1427"/>
                            </a:cubicBezTo>
                            <a:cubicBezTo>
                              <a:pt x="2167" y="1430"/>
                              <a:pt x="2167" y="1431"/>
                              <a:pt x="2165" y="1436"/>
                            </a:cubicBezTo>
                            <a:cubicBezTo>
                              <a:pt x="2162" y="1441"/>
                              <a:pt x="2165" y="1443"/>
                              <a:pt x="2166" y="1447"/>
                            </a:cubicBezTo>
                            <a:cubicBezTo>
                              <a:pt x="2167" y="1451"/>
                              <a:pt x="2175" y="1449"/>
                              <a:pt x="2179" y="1448"/>
                            </a:cubicBezTo>
                            <a:cubicBezTo>
                              <a:pt x="2184" y="1448"/>
                              <a:pt x="2189" y="1448"/>
                              <a:pt x="2191" y="1449"/>
                            </a:cubicBezTo>
                            <a:cubicBezTo>
                              <a:pt x="2194" y="1450"/>
                              <a:pt x="2191" y="1453"/>
                              <a:pt x="2188" y="1457"/>
                            </a:cubicBezTo>
                            <a:cubicBezTo>
                              <a:pt x="2185" y="1461"/>
                              <a:pt x="2185" y="1464"/>
                              <a:pt x="2186" y="1468"/>
                            </a:cubicBezTo>
                            <a:cubicBezTo>
                              <a:pt x="2188" y="1473"/>
                              <a:pt x="2195" y="1477"/>
                              <a:pt x="2202" y="1481"/>
                            </a:cubicBezTo>
                            <a:cubicBezTo>
                              <a:pt x="2209" y="1485"/>
                              <a:pt x="2215" y="1493"/>
                              <a:pt x="2220" y="1496"/>
                            </a:cubicBezTo>
                            <a:cubicBezTo>
                              <a:pt x="2225" y="1498"/>
                              <a:pt x="2229" y="1502"/>
                              <a:pt x="2228" y="1507"/>
                            </a:cubicBezTo>
                            <a:cubicBezTo>
                              <a:pt x="2227" y="1511"/>
                              <a:pt x="2222" y="1510"/>
                              <a:pt x="2219" y="1515"/>
                            </a:cubicBezTo>
                            <a:cubicBezTo>
                              <a:pt x="2215" y="1520"/>
                              <a:pt x="2218" y="1524"/>
                              <a:pt x="2219" y="1528"/>
                            </a:cubicBezTo>
                            <a:cubicBezTo>
                              <a:pt x="2220" y="1531"/>
                              <a:pt x="2223" y="1529"/>
                              <a:pt x="2230" y="1527"/>
                            </a:cubicBezTo>
                            <a:cubicBezTo>
                              <a:pt x="2238" y="1525"/>
                              <a:pt x="2238" y="1525"/>
                              <a:pt x="2247" y="1523"/>
                            </a:cubicBezTo>
                            <a:cubicBezTo>
                              <a:pt x="2255" y="1520"/>
                              <a:pt x="2251" y="1522"/>
                              <a:pt x="2257" y="1517"/>
                            </a:cubicBezTo>
                            <a:cubicBezTo>
                              <a:pt x="2264" y="1513"/>
                              <a:pt x="2272" y="1511"/>
                              <a:pt x="2273" y="1511"/>
                            </a:cubicBezTo>
                            <a:cubicBezTo>
                              <a:pt x="2274" y="1511"/>
                              <a:pt x="2277" y="1517"/>
                              <a:pt x="2275" y="1520"/>
                            </a:cubicBezTo>
                            <a:cubicBezTo>
                              <a:pt x="2273" y="1522"/>
                              <a:pt x="2268" y="1526"/>
                              <a:pt x="2269" y="1530"/>
                            </a:cubicBezTo>
                            <a:cubicBezTo>
                              <a:pt x="2269" y="1534"/>
                              <a:pt x="2275" y="1536"/>
                              <a:pt x="2278" y="1537"/>
                            </a:cubicBezTo>
                            <a:cubicBezTo>
                              <a:pt x="2281" y="1538"/>
                              <a:pt x="2287" y="1549"/>
                              <a:pt x="2287" y="1549"/>
                            </a:cubicBezTo>
                            <a:cubicBezTo>
                              <a:pt x="2287" y="1549"/>
                              <a:pt x="2287" y="1557"/>
                              <a:pt x="2287" y="1558"/>
                            </a:cubicBezTo>
                            <a:cubicBezTo>
                              <a:pt x="2287" y="1559"/>
                              <a:pt x="2286" y="1563"/>
                              <a:pt x="2285" y="1567"/>
                            </a:cubicBezTo>
                            <a:cubicBezTo>
                              <a:pt x="2284" y="1570"/>
                              <a:pt x="2285" y="1573"/>
                              <a:pt x="2285" y="1574"/>
                            </a:cubicBezTo>
                            <a:cubicBezTo>
                              <a:pt x="2285" y="1575"/>
                              <a:pt x="2286" y="1577"/>
                              <a:pt x="2287" y="1580"/>
                            </a:cubicBezTo>
                            <a:cubicBezTo>
                              <a:pt x="2288" y="1582"/>
                              <a:pt x="2289" y="1581"/>
                              <a:pt x="2291" y="1581"/>
                            </a:cubicBezTo>
                            <a:cubicBezTo>
                              <a:pt x="2292" y="1581"/>
                              <a:pt x="2293" y="1581"/>
                              <a:pt x="2295" y="1581"/>
                            </a:cubicBezTo>
                            <a:cubicBezTo>
                              <a:pt x="2297" y="1580"/>
                              <a:pt x="2300" y="1582"/>
                              <a:pt x="2300" y="1582"/>
                            </a:cubicBezTo>
                            <a:cubicBezTo>
                              <a:pt x="2300" y="1582"/>
                              <a:pt x="2300" y="1583"/>
                              <a:pt x="2299" y="1585"/>
                            </a:cubicBezTo>
                            <a:cubicBezTo>
                              <a:pt x="2298" y="1586"/>
                              <a:pt x="2294" y="1585"/>
                              <a:pt x="2293" y="1585"/>
                            </a:cubicBezTo>
                            <a:cubicBezTo>
                              <a:pt x="2292" y="1585"/>
                              <a:pt x="2288" y="1586"/>
                              <a:pt x="2286" y="1586"/>
                            </a:cubicBezTo>
                            <a:cubicBezTo>
                              <a:pt x="2284" y="1586"/>
                              <a:pt x="2282" y="1588"/>
                              <a:pt x="2280" y="1589"/>
                            </a:cubicBezTo>
                            <a:cubicBezTo>
                              <a:pt x="2279" y="1591"/>
                              <a:pt x="2280" y="1593"/>
                              <a:pt x="2280" y="1595"/>
                            </a:cubicBezTo>
                            <a:cubicBezTo>
                              <a:pt x="2280" y="1597"/>
                              <a:pt x="2284" y="1600"/>
                              <a:pt x="2286" y="1600"/>
                            </a:cubicBezTo>
                            <a:cubicBezTo>
                              <a:pt x="2289" y="1600"/>
                              <a:pt x="2291" y="1600"/>
                              <a:pt x="2294" y="1600"/>
                            </a:cubicBezTo>
                            <a:cubicBezTo>
                              <a:pt x="2297" y="1600"/>
                              <a:pt x="2295" y="1602"/>
                              <a:pt x="2294" y="1604"/>
                            </a:cubicBezTo>
                            <a:cubicBezTo>
                              <a:pt x="2293" y="1605"/>
                              <a:pt x="2286" y="1607"/>
                              <a:pt x="2283" y="1608"/>
                            </a:cubicBezTo>
                            <a:cubicBezTo>
                              <a:pt x="2280" y="1609"/>
                              <a:pt x="2277" y="1614"/>
                              <a:pt x="2277" y="1619"/>
                            </a:cubicBezTo>
                            <a:cubicBezTo>
                              <a:pt x="2277" y="1623"/>
                              <a:pt x="2279" y="1624"/>
                              <a:pt x="2281" y="1627"/>
                            </a:cubicBezTo>
                            <a:cubicBezTo>
                              <a:pt x="2282" y="1630"/>
                              <a:pt x="2290" y="1633"/>
                              <a:pt x="2295" y="1633"/>
                            </a:cubicBezTo>
                            <a:cubicBezTo>
                              <a:pt x="2295" y="1633"/>
                              <a:pt x="2295" y="1633"/>
                              <a:pt x="2295" y="1633"/>
                            </a:cubicBezTo>
                            <a:close/>
                            <a:moveTo>
                              <a:pt x="219" y="1612"/>
                            </a:moveTo>
                            <a:cubicBezTo>
                              <a:pt x="229" y="1609"/>
                              <a:pt x="234" y="1608"/>
                              <a:pt x="241" y="1608"/>
                            </a:cubicBezTo>
                            <a:cubicBezTo>
                              <a:pt x="247" y="1607"/>
                              <a:pt x="256" y="1601"/>
                              <a:pt x="262" y="1608"/>
                            </a:cubicBezTo>
                            <a:cubicBezTo>
                              <a:pt x="268" y="1616"/>
                              <a:pt x="269" y="1619"/>
                              <a:pt x="272" y="1624"/>
                            </a:cubicBezTo>
                            <a:cubicBezTo>
                              <a:pt x="275" y="1630"/>
                              <a:pt x="283" y="1632"/>
                              <a:pt x="270" y="1636"/>
                            </a:cubicBezTo>
                            <a:cubicBezTo>
                              <a:pt x="256" y="1639"/>
                              <a:pt x="246" y="1640"/>
                              <a:pt x="238" y="1641"/>
                            </a:cubicBezTo>
                            <a:cubicBezTo>
                              <a:pt x="231" y="1641"/>
                              <a:pt x="218" y="1641"/>
                              <a:pt x="215" y="1647"/>
                            </a:cubicBezTo>
                            <a:cubicBezTo>
                              <a:pt x="211" y="1653"/>
                              <a:pt x="204" y="1658"/>
                              <a:pt x="197" y="1657"/>
                            </a:cubicBezTo>
                            <a:cubicBezTo>
                              <a:pt x="189" y="1657"/>
                              <a:pt x="185" y="1653"/>
                              <a:pt x="185" y="1647"/>
                            </a:cubicBezTo>
                            <a:cubicBezTo>
                              <a:pt x="185" y="1642"/>
                              <a:pt x="186" y="1635"/>
                              <a:pt x="191" y="1632"/>
                            </a:cubicBezTo>
                            <a:cubicBezTo>
                              <a:pt x="196" y="1629"/>
                              <a:pt x="207" y="1613"/>
                              <a:pt x="219" y="1612"/>
                            </a:cubicBezTo>
                            <a:close/>
                            <a:moveTo>
                              <a:pt x="137" y="1669"/>
                            </a:moveTo>
                            <a:cubicBezTo>
                              <a:pt x="137" y="1677"/>
                              <a:pt x="130" y="1687"/>
                              <a:pt x="139" y="1684"/>
                            </a:cubicBezTo>
                            <a:cubicBezTo>
                              <a:pt x="149" y="1682"/>
                              <a:pt x="156" y="1681"/>
                              <a:pt x="156" y="1677"/>
                            </a:cubicBezTo>
                            <a:cubicBezTo>
                              <a:pt x="156" y="1674"/>
                              <a:pt x="139" y="1662"/>
                              <a:pt x="137" y="1669"/>
                            </a:cubicBezTo>
                            <a:close/>
                            <a:moveTo>
                              <a:pt x="109" y="1676"/>
                            </a:moveTo>
                            <a:cubicBezTo>
                              <a:pt x="105" y="1680"/>
                              <a:pt x="106" y="1683"/>
                              <a:pt x="109" y="1685"/>
                            </a:cubicBezTo>
                            <a:cubicBezTo>
                              <a:pt x="112" y="1688"/>
                              <a:pt x="117" y="1691"/>
                              <a:pt x="119" y="1688"/>
                            </a:cubicBezTo>
                            <a:cubicBezTo>
                              <a:pt x="121" y="1686"/>
                              <a:pt x="121" y="1681"/>
                              <a:pt x="121" y="1679"/>
                            </a:cubicBezTo>
                            <a:cubicBezTo>
                              <a:pt x="122" y="1677"/>
                              <a:pt x="114" y="1668"/>
                              <a:pt x="109" y="1676"/>
                            </a:cubicBezTo>
                            <a:close/>
                            <a:moveTo>
                              <a:pt x="51" y="1695"/>
                            </a:moveTo>
                            <a:cubicBezTo>
                              <a:pt x="61" y="1692"/>
                              <a:pt x="66" y="1689"/>
                              <a:pt x="68" y="1693"/>
                            </a:cubicBezTo>
                            <a:cubicBezTo>
                              <a:pt x="70" y="1698"/>
                              <a:pt x="68" y="1702"/>
                              <a:pt x="71" y="1702"/>
                            </a:cubicBezTo>
                            <a:cubicBezTo>
                              <a:pt x="74" y="1702"/>
                              <a:pt x="79" y="1694"/>
                              <a:pt x="84" y="1694"/>
                            </a:cubicBezTo>
                            <a:cubicBezTo>
                              <a:pt x="89" y="1695"/>
                              <a:pt x="94" y="1696"/>
                              <a:pt x="93" y="1701"/>
                            </a:cubicBezTo>
                            <a:cubicBezTo>
                              <a:pt x="93" y="1705"/>
                              <a:pt x="84" y="1703"/>
                              <a:pt x="82" y="1708"/>
                            </a:cubicBezTo>
                            <a:cubicBezTo>
                              <a:pt x="81" y="1713"/>
                              <a:pt x="85" y="1711"/>
                              <a:pt x="87" y="1717"/>
                            </a:cubicBezTo>
                            <a:cubicBezTo>
                              <a:pt x="90" y="1722"/>
                              <a:pt x="82" y="1725"/>
                              <a:pt x="76" y="1728"/>
                            </a:cubicBezTo>
                            <a:cubicBezTo>
                              <a:pt x="70" y="1730"/>
                              <a:pt x="70" y="1735"/>
                              <a:pt x="64" y="1737"/>
                            </a:cubicBezTo>
                            <a:cubicBezTo>
                              <a:pt x="59" y="1738"/>
                              <a:pt x="48" y="1731"/>
                              <a:pt x="47" y="1728"/>
                            </a:cubicBezTo>
                            <a:cubicBezTo>
                              <a:pt x="46" y="1725"/>
                              <a:pt x="55" y="1719"/>
                              <a:pt x="59" y="1720"/>
                            </a:cubicBezTo>
                            <a:cubicBezTo>
                              <a:pt x="62" y="1720"/>
                              <a:pt x="69" y="1719"/>
                              <a:pt x="65" y="1715"/>
                            </a:cubicBezTo>
                            <a:cubicBezTo>
                              <a:pt x="61" y="1711"/>
                              <a:pt x="51" y="1714"/>
                              <a:pt x="48" y="1709"/>
                            </a:cubicBezTo>
                            <a:cubicBezTo>
                              <a:pt x="44" y="1704"/>
                              <a:pt x="43" y="1696"/>
                              <a:pt x="51" y="1695"/>
                            </a:cubicBezTo>
                            <a:close/>
                            <a:moveTo>
                              <a:pt x="313" y="1652"/>
                            </a:moveTo>
                            <a:cubicBezTo>
                              <a:pt x="310" y="1654"/>
                              <a:pt x="311" y="1660"/>
                              <a:pt x="314" y="1661"/>
                            </a:cubicBezTo>
                            <a:cubicBezTo>
                              <a:pt x="317" y="1662"/>
                              <a:pt x="324" y="1668"/>
                              <a:pt x="327" y="1663"/>
                            </a:cubicBezTo>
                            <a:cubicBezTo>
                              <a:pt x="330" y="1658"/>
                              <a:pt x="324" y="1656"/>
                              <a:pt x="322" y="1653"/>
                            </a:cubicBezTo>
                            <a:cubicBezTo>
                              <a:pt x="321" y="1650"/>
                              <a:pt x="316" y="1646"/>
                              <a:pt x="313" y="1652"/>
                            </a:cubicBezTo>
                            <a:close/>
                            <a:moveTo>
                              <a:pt x="434" y="1578"/>
                            </a:moveTo>
                            <a:cubicBezTo>
                              <a:pt x="429" y="1587"/>
                              <a:pt x="432" y="1593"/>
                              <a:pt x="433" y="1596"/>
                            </a:cubicBezTo>
                            <a:cubicBezTo>
                              <a:pt x="435" y="1599"/>
                              <a:pt x="440" y="1599"/>
                              <a:pt x="445" y="1596"/>
                            </a:cubicBezTo>
                            <a:cubicBezTo>
                              <a:pt x="451" y="1594"/>
                              <a:pt x="454" y="1594"/>
                              <a:pt x="450" y="1588"/>
                            </a:cubicBezTo>
                            <a:cubicBezTo>
                              <a:pt x="446" y="1582"/>
                              <a:pt x="435" y="1576"/>
                              <a:pt x="434" y="1578"/>
                            </a:cubicBezTo>
                            <a:close/>
                            <a:moveTo>
                              <a:pt x="481" y="1593"/>
                            </a:moveTo>
                            <a:cubicBezTo>
                              <a:pt x="472" y="1600"/>
                              <a:pt x="463" y="1605"/>
                              <a:pt x="467" y="1614"/>
                            </a:cubicBezTo>
                            <a:cubicBezTo>
                              <a:pt x="471" y="1622"/>
                              <a:pt x="475" y="1620"/>
                              <a:pt x="480" y="1610"/>
                            </a:cubicBezTo>
                            <a:cubicBezTo>
                              <a:pt x="484" y="1601"/>
                              <a:pt x="489" y="1597"/>
                              <a:pt x="490" y="1593"/>
                            </a:cubicBezTo>
                            <a:cubicBezTo>
                              <a:pt x="491" y="1590"/>
                              <a:pt x="485" y="1590"/>
                              <a:pt x="481" y="1593"/>
                            </a:cubicBezTo>
                            <a:close/>
                            <a:moveTo>
                              <a:pt x="510" y="1592"/>
                            </a:moveTo>
                            <a:cubicBezTo>
                              <a:pt x="505" y="1599"/>
                              <a:pt x="500" y="1605"/>
                              <a:pt x="507" y="1605"/>
                            </a:cubicBezTo>
                            <a:cubicBezTo>
                              <a:pt x="513" y="1605"/>
                              <a:pt x="520" y="1606"/>
                              <a:pt x="520" y="1601"/>
                            </a:cubicBezTo>
                            <a:cubicBezTo>
                              <a:pt x="520" y="1596"/>
                              <a:pt x="513" y="1589"/>
                              <a:pt x="510" y="1592"/>
                            </a:cubicBezTo>
                            <a:close/>
                            <a:moveTo>
                              <a:pt x="581" y="1500"/>
                            </a:moveTo>
                            <a:cubicBezTo>
                              <a:pt x="580" y="1502"/>
                              <a:pt x="577" y="1509"/>
                              <a:pt x="579" y="1511"/>
                            </a:cubicBezTo>
                            <a:cubicBezTo>
                              <a:pt x="581" y="1513"/>
                              <a:pt x="587" y="1519"/>
                              <a:pt x="588" y="1512"/>
                            </a:cubicBezTo>
                            <a:cubicBezTo>
                              <a:pt x="589" y="1505"/>
                              <a:pt x="586" y="1493"/>
                              <a:pt x="581" y="1500"/>
                            </a:cubicBezTo>
                            <a:close/>
                            <a:moveTo>
                              <a:pt x="821" y="1385"/>
                            </a:moveTo>
                            <a:cubicBezTo>
                              <a:pt x="832" y="1376"/>
                              <a:pt x="836" y="1375"/>
                              <a:pt x="844" y="1376"/>
                            </a:cubicBezTo>
                            <a:cubicBezTo>
                              <a:pt x="852" y="1376"/>
                              <a:pt x="843" y="1378"/>
                              <a:pt x="844" y="1383"/>
                            </a:cubicBezTo>
                            <a:cubicBezTo>
                              <a:pt x="844" y="1388"/>
                              <a:pt x="852" y="1387"/>
                              <a:pt x="854" y="1386"/>
                            </a:cubicBezTo>
                            <a:cubicBezTo>
                              <a:pt x="857" y="1385"/>
                              <a:pt x="863" y="1387"/>
                              <a:pt x="869" y="1387"/>
                            </a:cubicBezTo>
                            <a:cubicBezTo>
                              <a:pt x="875" y="1387"/>
                              <a:pt x="875" y="1386"/>
                              <a:pt x="877" y="1383"/>
                            </a:cubicBezTo>
                            <a:cubicBezTo>
                              <a:pt x="879" y="1381"/>
                              <a:pt x="876" y="1379"/>
                              <a:pt x="872" y="1377"/>
                            </a:cubicBezTo>
                            <a:cubicBezTo>
                              <a:pt x="869" y="1375"/>
                              <a:pt x="866" y="1376"/>
                              <a:pt x="860" y="1373"/>
                            </a:cubicBezTo>
                            <a:cubicBezTo>
                              <a:pt x="854" y="1370"/>
                              <a:pt x="855" y="1368"/>
                              <a:pt x="857" y="1363"/>
                            </a:cubicBezTo>
                            <a:cubicBezTo>
                              <a:pt x="859" y="1359"/>
                              <a:pt x="867" y="1357"/>
                              <a:pt x="872" y="1357"/>
                            </a:cubicBezTo>
                            <a:cubicBezTo>
                              <a:pt x="877" y="1357"/>
                              <a:pt x="881" y="1366"/>
                              <a:pt x="884" y="1369"/>
                            </a:cubicBezTo>
                            <a:cubicBezTo>
                              <a:pt x="886" y="1373"/>
                              <a:pt x="891" y="1372"/>
                              <a:pt x="894" y="1366"/>
                            </a:cubicBezTo>
                            <a:cubicBezTo>
                              <a:pt x="897" y="1360"/>
                              <a:pt x="898" y="1363"/>
                              <a:pt x="904" y="1363"/>
                            </a:cubicBezTo>
                            <a:cubicBezTo>
                              <a:pt x="910" y="1363"/>
                              <a:pt x="909" y="1362"/>
                              <a:pt x="910" y="1357"/>
                            </a:cubicBezTo>
                            <a:cubicBezTo>
                              <a:pt x="910" y="1353"/>
                              <a:pt x="912" y="1352"/>
                              <a:pt x="916" y="1352"/>
                            </a:cubicBezTo>
                            <a:cubicBezTo>
                              <a:pt x="919" y="1352"/>
                              <a:pt x="923" y="1358"/>
                              <a:pt x="926" y="1362"/>
                            </a:cubicBezTo>
                            <a:cubicBezTo>
                              <a:pt x="930" y="1365"/>
                              <a:pt x="932" y="1361"/>
                              <a:pt x="934" y="1357"/>
                            </a:cubicBezTo>
                            <a:cubicBezTo>
                              <a:pt x="935" y="1353"/>
                              <a:pt x="944" y="1355"/>
                              <a:pt x="947" y="1355"/>
                            </a:cubicBezTo>
                            <a:cubicBezTo>
                              <a:pt x="950" y="1355"/>
                              <a:pt x="952" y="1362"/>
                              <a:pt x="949" y="1365"/>
                            </a:cubicBezTo>
                            <a:cubicBezTo>
                              <a:pt x="945" y="1368"/>
                              <a:pt x="949" y="1375"/>
                              <a:pt x="955" y="1376"/>
                            </a:cubicBezTo>
                            <a:cubicBezTo>
                              <a:pt x="960" y="1378"/>
                              <a:pt x="963" y="1378"/>
                              <a:pt x="965" y="1382"/>
                            </a:cubicBezTo>
                            <a:cubicBezTo>
                              <a:pt x="967" y="1387"/>
                              <a:pt x="961" y="1388"/>
                              <a:pt x="957" y="1391"/>
                            </a:cubicBezTo>
                            <a:cubicBezTo>
                              <a:pt x="953" y="1394"/>
                              <a:pt x="946" y="1393"/>
                              <a:pt x="938" y="1390"/>
                            </a:cubicBezTo>
                            <a:cubicBezTo>
                              <a:pt x="930" y="1388"/>
                              <a:pt x="931" y="1387"/>
                              <a:pt x="925" y="1386"/>
                            </a:cubicBezTo>
                            <a:cubicBezTo>
                              <a:pt x="918" y="1386"/>
                              <a:pt x="923" y="1392"/>
                              <a:pt x="928" y="1395"/>
                            </a:cubicBezTo>
                            <a:cubicBezTo>
                              <a:pt x="932" y="1399"/>
                              <a:pt x="936" y="1398"/>
                              <a:pt x="937" y="1402"/>
                            </a:cubicBezTo>
                            <a:cubicBezTo>
                              <a:pt x="937" y="1407"/>
                              <a:pt x="928" y="1405"/>
                              <a:pt x="922" y="1404"/>
                            </a:cubicBezTo>
                            <a:cubicBezTo>
                              <a:pt x="916" y="1403"/>
                              <a:pt x="909" y="1412"/>
                              <a:pt x="907" y="1417"/>
                            </a:cubicBezTo>
                            <a:cubicBezTo>
                              <a:pt x="906" y="1421"/>
                              <a:pt x="897" y="1418"/>
                              <a:pt x="891" y="1419"/>
                            </a:cubicBezTo>
                            <a:cubicBezTo>
                              <a:pt x="886" y="1419"/>
                              <a:pt x="885" y="1423"/>
                              <a:pt x="879" y="1426"/>
                            </a:cubicBezTo>
                            <a:cubicBezTo>
                              <a:pt x="872" y="1429"/>
                              <a:pt x="874" y="1421"/>
                              <a:pt x="868" y="1424"/>
                            </a:cubicBezTo>
                            <a:cubicBezTo>
                              <a:pt x="861" y="1426"/>
                              <a:pt x="859" y="1427"/>
                              <a:pt x="856" y="1422"/>
                            </a:cubicBezTo>
                            <a:cubicBezTo>
                              <a:pt x="854" y="1418"/>
                              <a:pt x="850" y="1420"/>
                              <a:pt x="841" y="1420"/>
                            </a:cubicBezTo>
                            <a:cubicBezTo>
                              <a:pt x="832" y="1420"/>
                              <a:pt x="828" y="1422"/>
                              <a:pt x="824" y="1418"/>
                            </a:cubicBezTo>
                            <a:cubicBezTo>
                              <a:pt x="820" y="1413"/>
                              <a:pt x="820" y="1409"/>
                              <a:pt x="811" y="1409"/>
                            </a:cubicBezTo>
                            <a:cubicBezTo>
                              <a:pt x="803" y="1409"/>
                              <a:pt x="804" y="1403"/>
                              <a:pt x="808" y="1396"/>
                            </a:cubicBezTo>
                            <a:cubicBezTo>
                              <a:pt x="811" y="1389"/>
                              <a:pt x="816" y="1392"/>
                              <a:pt x="821" y="1385"/>
                            </a:cubicBezTo>
                            <a:close/>
                            <a:moveTo>
                              <a:pt x="916" y="1320"/>
                            </a:moveTo>
                            <a:cubicBezTo>
                              <a:pt x="911" y="1325"/>
                              <a:pt x="917" y="1328"/>
                              <a:pt x="917" y="1331"/>
                            </a:cubicBezTo>
                            <a:cubicBezTo>
                              <a:pt x="918" y="1335"/>
                              <a:pt x="914" y="1338"/>
                              <a:pt x="917" y="1340"/>
                            </a:cubicBezTo>
                            <a:cubicBezTo>
                              <a:pt x="921" y="1343"/>
                              <a:pt x="925" y="1348"/>
                              <a:pt x="929" y="1343"/>
                            </a:cubicBezTo>
                            <a:cubicBezTo>
                              <a:pt x="933" y="1337"/>
                              <a:pt x="934" y="1335"/>
                              <a:pt x="938" y="1331"/>
                            </a:cubicBezTo>
                            <a:cubicBezTo>
                              <a:pt x="942" y="1328"/>
                              <a:pt x="943" y="1325"/>
                              <a:pt x="949" y="1328"/>
                            </a:cubicBezTo>
                            <a:cubicBezTo>
                              <a:pt x="955" y="1330"/>
                              <a:pt x="959" y="1331"/>
                              <a:pt x="962" y="1328"/>
                            </a:cubicBezTo>
                            <a:cubicBezTo>
                              <a:pt x="966" y="1325"/>
                              <a:pt x="973" y="1325"/>
                              <a:pt x="973" y="1322"/>
                            </a:cubicBezTo>
                            <a:cubicBezTo>
                              <a:pt x="973" y="1319"/>
                              <a:pt x="974" y="1315"/>
                              <a:pt x="968" y="1313"/>
                            </a:cubicBezTo>
                            <a:cubicBezTo>
                              <a:pt x="962" y="1312"/>
                              <a:pt x="956" y="1314"/>
                              <a:pt x="953" y="1313"/>
                            </a:cubicBezTo>
                            <a:cubicBezTo>
                              <a:pt x="949" y="1313"/>
                              <a:pt x="949" y="1305"/>
                              <a:pt x="942" y="1305"/>
                            </a:cubicBezTo>
                            <a:cubicBezTo>
                              <a:pt x="935" y="1305"/>
                              <a:pt x="927" y="1305"/>
                              <a:pt x="928" y="1310"/>
                            </a:cubicBezTo>
                            <a:cubicBezTo>
                              <a:pt x="928" y="1316"/>
                              <a:pt x="933" y="1321"/>
                              <a:pt x="929" y="1321"/>
                            </a:cubicBezTo>
                            <a:cubicBezTo>
                              <a:pt x="925" y="1321"/>
                              <a:pt x="920" y="1314"/>
                              <a:pt x="916" y="1320"/>
                            </a:cubicBezTo>
                            <a:close/>
                            <a:moveTo>
                              <a:pt x="860" y="1437"/>
                            </a:moveTo>
                            <a:cubicBezTo>
                              <a:pt x="854" y="1440"/>
                              <a:pt x="854" y="1443"/>
                              <a:pt x="852" y="1447"/>
                            </a:cubicBezTo>
                            <a:cubicBezTo>
                              <a:pt x="850" y="1452"/>
                              <a:pt x="844" y="1453"/>
                              <a:pt x="846" y="1456"/>
                            </a:cubicBezTo>
                            <a:cubicBezTo>
                              <a:pt x="847" y="1460"/>
                              <a:pt x="853" y="1462"/>
                              <a:pt x="857" y="1457"/>
                            </a:cubicBezTo>
                            <a:cubicBezTo>
                              <a:pt x="861" y="1453"/>
                              <a:pt x="865" y="1449"/>
                              <a:pt x="870" y="1447"/>
                            </a:cubicBezTo>
                            <a:cubicBezTo>
                              <a:pt x="875" y="1444"/>
                              <a:pt x="880" y="1442"/>
                              <a:pt x="878" y="1439"/>
                            </a:cubicBezTo>
                            <a:cubicBezTo>
                              <a:pt x="877" y="1435"/>
                              <a:pt x="864" y="1434"/>
                              <a:pt x="860" y="1437"/>
                            </a:cubicBezTo>
                            <a:close/>
                            <a:moveTo>
                              <a:pt x="821" y="1426"/>
                            </a:moveTo>
                            <a:cubicBezTo>
                              <a:pt x="820" y="1429"/>
                              <a:pt x="820" y="1432"/>
                              <a:pt x="824" y="1435"/>
                            </a:cubicBezTo>
                            <a:cubicBezTo>
                              <a:pt x="827" y="1439"/>
                              <a:pt x="826" y="1445"/>
                              <a:pt x="831" y="1444"/>
                            </a:cubicBezTo>
                            <a:cubicBezTo>
                              <a:pt x="836" y="1443"/>
                              <a:pt x="838" y="1441"/>
                              <a:pt x="837" y="1438"/>
                            </a:cubicBezTo>
                            <a:cubicBezTo>
                              <a:pt x="835" y="1435"/>
                              <a:pt x="832" y="1433"/>
                              <a:pt x="832" y="1431"/>
                            </a:cubicBezTo>
                            <a:cubicBezTo>
                              <a:pt x="831" y="1430"/>
                              <a:pt x="822" y="1423"/>
                              <a:pt x="821" y="1426"/>
                            </a:cubicBezTo>
                            <a:close/>
                            <a:moveTo>
                              <a:pt x="1262" y="1143"/>
                            </a:moveTo>
                            <a:cubicBezTo>
                              <a:pt x="1258" y="1148"/>
                              <a:pt x="1261" y="1145"/>
                              <a:pt x="1252" y="1155"/>
                            </a:cubicBezTo>
                            <a:cubicBezTo>
                              <a:pt x="1243" y="1166"/>
                              <a:pt x="1235" y="1171"/>
                              <a:pt x="1235" y="1175"/>
                            </a:cubicBezTo>
                            <a:cubicBezTo>
                              <a:pt x="1235" y="1179"/>
                              <a:pt x="1236" y="1179"/>
                              <a:pt x="1243" y="1175"/>
                            </a:cubicBezTo>
                            <a:cubicBezTo>
                              <a:pt x="1251" y="1171"/>
                              <a:pt x="1257" y="1167"/>
                              <a:pt x="1267" y="1158"/>
                            </a:cubicBezTo>
                            <a:cubicBezTo>
                              <a:pt x="1278" y="1149"/>
                              <a:pt x="1286" y="1145"/>
                              <a:pt x="1288" y="1141"/>
                            </a:cubicBezTo>
                            <a:cubicBezTo>
                              <a:pt x="1289" y="1136"/>
                              <a:pt x="1287" y="1133"/>
                              <a:pt x="1281" y="1132"/>
                            </a:cubicBezTo>
                            <a:cubicBezTo>
                              <a:pt x="1275" y="1132"/>
                              <a:pt x="1271" y="1130"/>
                              <a:pt x="1262" y="1143"/>
                            </a:cubicBezTo>
                            <a:close/>
                            <a:moveTo>
                              <a:pt x="2000" y="1335"/>
                            </a:moveTo>
                            <a:cubicBezTo>
                              <a:pt x="2000" y="1342"/>
                              <a:pt x="1994" y="1340"/>
                              <a:pt x="1997" y="1346"/>
                            </a:cubicBezTo>
                            <a:cubicBezTo>
                              <a:pt x="2000" y="1352"/>
                              <a:pt x="2005" y="1354"/>
                              <a:pt x="2012" y="1358"/>
                            </a:cubicBezTo>
                            <a:cubicBezTo>
                              <a:pt x="2019" y="1363"/>
                              <a:pt x="2024" y="1365"/>
                              <a:pt x="2024" y="1360"/>
                            </a:cubicBezTo>
                            <a:cubicBezTo>
                              <a:pt x="2023" y="1354"/>
                              <a:pt x="2018" y="1351"/>
                              <a:pt x="2022" y="1348"/>
                            </a:cubicBezTo>
                            <a:cubicBezTo>
                              <a:pt x="2025" y="1345"/>
                              <a:pt x="2026" y="1342"/>
                              <a:pt x="2022" y="1340"/>
                            </a:cubicBezTo>
                            <a:cubicBezTo>
                              <a:pt x="2019" y="1337"/>
                              <a:pt x="2002" y="1326"/>
                              <a:pt x="2000" y="1335"/>
                            </a:cubicBezTo>
                            <a:close/>
                            <a:moveTo>
                              <a:pt x="1968" y="1325"/>
                            </a:moveTo>
                            <a:cubicBezTo>
                              <a:pt x="1963" y="1330"/>
                              <a:pt x="1958" y="1328"/>
                              <a:pt x="1954" y="1330"/>
                            </a:cubicBezTo>
                            <a:cubicBezTo>
                              <a:pt x="1950" y="1332"/>
                              <a:pt x="1945" y="1333"/>
                              <a:pt x="1950" y="1339"/>
                            </a:cubicBezTo>
                            <a:cubicBezTo>
                              <a:pt x="1955" y="1344"/>
                              <a:pt x="1959" y="1346"/>
                              <a:pt x="1961" y="1349"/>
                            </a:cubicBezTo>
                            <a:cubicBezTo>
                              <a:pt x="1963" y="1353"/>
                              <a:pt x="1967" y="1356"/>
                              <a:pt x="1964" y="1358"/>
                            </a:cubicBezTo>
                            <a:cubicBezTo>
                              <a:pt x="1961" y="1359"/>
                              <a:pt x="1959" y="1355"/>
                              <a:pt x="1953" y="1354"/>
                            </a:cubicBezTo>
                            <a:cubicBezTo>
                              <a:pt x="1947" y="1352"/>
                              <a:pt x="1943" y="1348"/>
                              <a:pt x="1946" y="1357"/>
                            </a:cubicBezTo>
                            <a:cubicBezTo>
                              <a:pt x="1949" y="1365"/>
                              <a:pt x="1955" y="1361"/>
                              <a:pt x="1957" y="1369"/>
                            </a:cubicBezTo>
                            <a:cubicBezTo>
                              <a:pt x="1959" y="1376"/>
                              <a:pt x="1955" y="1382"/>
                              <a:pt x="1962" y="1384"/>
                            </a:cubicBezTo>
                            <a:cubicBezTo>
                              <a:pt x="1969" y="1387"/>
                              <a:pt x="1975" y="1389"/>
                              <a:pt x="1980" y="1387"/>
                            </a:cubicBezTo>
                            <a:cubicBezTo>
                              <a:pt x="1986" y="1385"/>
                              <a:pt x="1989" y="1382"/>
                              <a:pt x="1985" y="1378"/>
                            </a:cubicBezTo>
                            <a:cubicBezTo>
                              <a:pt x="1982" y="1373"/>
                              <a:pt x="1977" y="1366"/>
                              <a:pt x="1984" y="1369"/>
                            </a:cubicBezTo>
                            <a:cubicBezTo>
                              <a:pt x="1991" y="1372"/>
                              <a:pt x="1995" y="1374"/>
                              <a:pt x="2000" y="1378"/>
                            </a:cubicBezTo>
                            <a:cubicBezTo>
                              <a:pt x="2005" y="1382"/>
                              <a:pt x="2014" y="1381"/>
                              <a:pt x="2019" y="1382"/>
                            </a:cubicBezTo>
                            <a:cubicBezTo>
                              <a:pt x="2024" y="1383"/>
                              <a:pt x="2031" y="1387"/>
                              <a:pt x="2028" y="1381"/>
                            </a:cubicBezTo>
                            <a:cubicBezTo>
                              <a:pt x="2025" y="1375"/>
                              <a:pt x="2016" y="1375"/>
                              <a:pt x="2009" y="1372"/>
                            </a:cubicBezTo>
                            <a:cubicBezTo>
                              <a:pt x="2002" y="1369"/>
                              <a:pt x="1997" y="1365"/>
                              <a:pt x="1992" y="1361"/>
                            </a:cubicBezTo>
                            <a:cubicBezTo>
                              <a:pt x="1988" y="1358"/>
                              <a:pt x="1978" y="1354"/>
                              <a:pt x="1977" y="1349"/>
                            </a:cubicBezTo>
                            <a:cubicBezTo>
                              <a:pt x="1976" y="1343"/>
                              <a:pt x="1972" y="1342"/>
                              <a:pt x="1979" y="1339"/>
                            </a:cubicBezTo>
                            <a:cubicBezTo>
                              <a:pt x="1987" y="1336"/>
                              <a:pt x="1991" y="1337"/>
                              <a:pt x="1988" y="1330"/>
                            </a:cubicBezTo>
                            <a:cubicBezTo>
                              <a:pt x="1986" y="1324"/>
                              <a:pt x="1976" y="1322"/>
                              <a:pt x="1968" y="1325"/>
                            </a:cubicBezTo>
                            <a:close/>
                            <a:moveTo>
                              <a:pt x="2005" y="1394"/>
                            </a:moveTo>
                            <a:cubicBezTo>
                              <a:pt x="2003" y="1403"/>
                              <a:pt x="2004" y="1401"/>
                              <a:pt x="1999" y="1404"/>
                            </a:cubicBezTo>
                            <a:cubicBezTo>
                              <a:pt x="1995" y="1407"/>
                              <a:pt x="1996" y="1410"/>
                              <a:pt x="2000" y="1414"/>
                            </a:cubicBezTo>
                            <a:cubicBezTo>
                              <a:pt x="2004" y="1418"/>
                              <a:pt x="2013" y="1416"/>
                              <a:pt x="2014" y="1422"/>
                            </a:cubicBezTo>
                            <a:cubicBezTo>
                              <a:pt x="2014" y="1429"/>
                              <a:pt x="2017" y="1429"/>
                              <a:pt x="2020" y="1432"/>
                            </a:cubicBezTo>
                            <a:cubicBezTo>
                              <a:pt x="2022" y="1436"/>
                              <a:pt x="2016" y="1437"/>
                              <a:pt x="2012" y="1440"/>
                            </a:cubicBezTo>
                            <a:cubicBezTo>
                              <a:pt x="2008" y="1443"/>
                              <a:pt x="2005" y="1445"/>
                              <a:pt x="2009" y="1446"/>
                            </a:cubicBezTo>
                            <a:cubicBezTo>
                              <a:pt x="2015" y="1449"/>
                              <a:pt x="2018" y="1453"/>
                              <a:pt x="2022" y="1457"/>
                            </a:cubicBezTo>
                            <a:cubicBezTo>
                              <a:pt x="2025" y="1461"/>
                              <a:pt x="2030" y="1461"/>
                              <a:pt x="2032" y="1461"/>
                            </a:cubicBezTo>
                            <a:cubicBezTo>
                              <a:pt x="2034" y="1462"/>
                              <a:pt x="2038" y="1456"/>
                              <a:pt x="2037" y="1464"/>
                            </a:cubicBezTo>
                            <a:cubicBezTo>
                              <a:pt x="2036" y="1472"/>
                              <a:pt x="2034" y="1472"/>
                              <a:pt x="2036" y="1477"/>
                            </a:cubicBezTo>
                            <a:cubicBezTo>
                              <a:pt x="2038" y="1481"/>
                              <a:pt x="2040" y="1477"/>
                              <a:pt x="2043" y="1486"/>
                            </a:cubicBezTo>
                            <a:cubicBezTo>
                              <a:pt x="2046" y="1494"/>
                              <a:pt x="2047" y="1504"/>
                              <a:pt x="2049" y="1499"/>
                            </a:cubicBezTo>
                            <a:cubicBezTo>
                              <a:pt x="2051" y="1495"/>
                              <a:pt x="2056" y="1489"/>
                              <a:pt x="2050" y="1479"/>
                            </a:cubicBezTo>
                            <a:cubicBezTo>
                              <a:pt x="2044" y="1469"/>
                              <a:pt x="2041" y="1465"/>
                              <a:pt x="2043" y="1457"/>
                            </a:cubicBezTo>
                            <a:cubicBezTo>
                              <a:pt x="2045" y="1449"/>
                              <a:pt x="2048" y="1448"/>
                              <a:pt x="2045" y="1439"/>
                            </a:cubicBezTo>
                            <a:cubicBezTo>
                              <a:pt x="2041" y="1430"/>
                              <a:pt x="2040" y="1428"/>
                              <a:pt x="2037" y="1424"/>
                            </a:cubicBezTo>
                            <a:cubicBezTo>
                              <a:pt x="2034" y="1420"/>
                              <a:pt x="2037" y="1421"/>
                              <a:pt x="2032" y="1414"/>
                            </a:cubicBezTo>
                            <a:cubicBezTo>
                              <a:pt x="2027" y="1407"/>
                              <a:pt x="2024" y="1408"/>
                              <a:pt x="2021" y="1401"/>
                            </a:cubicBezTo>
                            <a:cubicBezTo>
                              <a:pt x="2017" y="1393"/>
                              <a:pt x="2003" y="1389"/>
                              <a:pt x="2005" y="1394"/>
                            </a:cubicBezTo>
                            <a:close/>
                            <a:moveTo>
                              <a:pt x="1981" y="1412"/>
                            </a:moveTo>
                            <a:cubicBezTo>
                              <a:pt x="1978" y="1417"/>
                              <a:pt x="1987" y="1418"/>
                              <a:pt x="1983" y="1424"/>
                            </a:cubicBezTo>
                            <a:cubicBezTo>
                              <a:pt x="1978" y="1431"/>
                              <a:pt x="1975" y="1438"/>
                              <a:pt x="1983" y="1435"/>
                            </a:cubicBezTo>
                            <a:cubicBezTo>
                              <a:pt x="1991" y="1431"/>
                              <a:pt x="1995" y="1427"/>
                              <a:pt x="1994" y="1423"/>
                            </a:cubicBezTo>
                            <a:cubicBezTo>
                              <a:pt x="1993" y="1419"/>
                              <a:pt x="1989" y="1415"/>
                              <a:pt x="1989" y="1415"/>
                            </a:cubicBezTo>
                            <a:cubicBezTo>
                              <a:pt x="1989" y="1415"/>
                              <a:pt x="1986" y="1408"/>
                              <a:pt x="1981" y="1412"/>
                            </a:cubicBezTo>
                            <a:close/>
                            <a:moveTo>
                              <a:pt x="2057" y="1333"/>
                            </a:moveTo>
                            <a:cubicBezTo>
                              <a:pt x="2048" y="1331"/>
                              <a:pt x="2045" y="1331"/>
                              <a:pt x="2044" y="1337"/>
                            </a:cubicBezTo>
                            <a:cubicBezTo>
                              <a:pt x="2043" y="1344"/>
                              <a:pt x="2040" y="1344"/>
                              <a:pt x="2045" y="1352"/>
                            </a:cubicBezTo>
                            <a:cubicBezTo>
                              <a:pt x="2050" y="1360"/>
                              <a:pt x="2050" y="1360"/>
                              <a:pt x="2051" y="1366"/>
                            </a:cubicBezTo>
                            <a:cubicBezTo>
                              <a:pt x="2051" y="1372"/>
                              <a:pt x="2054" y="1379"/>
                              <a:pt x="2057" y="1384"/>
                            </a:cubicBezTo>
                            <a:cubicBezTo>
                              <a:pt x="2060" y="1389"/>
                              <a:pt x="2064" y="1386"/>
                              <a:pt x="2069" y="1388"/>
                            </a:cubicBezTo>
                            <a:cubicBezTo>
                              <a:pt x="2073" y="1390"/>
                              <a:pt x="2072" y="1399"/>
                              <a:pt x="2068" y="1402"/>
                            </a:cubicBezTo>
                            <a:cubicBezTo>
                              <a:pt x="2064" y="1405"/>
                              <a:pt x="2063" y="1407"/>
                              <a:pt x="2057" y="1414"/>
                            </a:cubicBezTo>
                            <a:cubicBezTo>
                              <a:pt x="2051" y="1421"/>
                              <a:pt x="2056" y="1426"/>
                              <a:pt x="2061" y="1425"/>
                            </a:cubicBezTo>
                            <a:cubicBezTo>
                              <a:pt x="2065" y="1424"/>
                              <a:pt x="2072" y="1423"/>
                              <a:pt x="2076" y="1419"/>
                            </a:cubicBezTo>
                            <a:cubicBezTo>
                              <a:pt x="2080" y="1415"/>
                              <a:pt x="2078" y="1411"/>
                              <a:pt x="2081" y="1405"/>
                            </a:cubicBezTo>
                            <a:cubicBezTo>
                              <a:pt x="2084" y="1399"/>
                              <a:pt x="2090" y="1402"/>
                              <a:pt x="2093" y="1394"/>
                            </a:cubicBezTo>
                            <a:cubicBezTo>
                              <a:pt x="2095" y="1386"/>
                              <a:pt x="2094" y="1386"/>
                              <a:pt x="2091" y="1377"/>
                            </a:cubicBezTo>
                            <a:cubicBezTo>
                              <a:pt x="2088" y="1368"/>
                              <a:pt x="2085" y="1373"/>
                              <a:pt x="2075" y="1367"/>
                            </a:cubicBezTo>
                            <a:cubicBezTo>
                              <a:pt x="2066" y="1360"/>
                              <a:pt x="2070" y="1361"/>
                              <a:pt x="2070" y="1354"/>
                            </a:cubicBezTo>
                            <a:cubicBezTo>
                              <a:pt x="2069" y="1347"/>
                              <a:pt x="2073" y="1344"/>
                              <a:pt x="2072" y="1337"/>
                            </a:cubicBezTo>
                            <a:cubicBezTo>
                              <a:pt x="2071" y="1330"/>
                              <a:pt x="2067" y="1333"/>
                              <a:pt x="2057" y="1333"/>
                            </a:cubicBezTo>
                            <a:close/>
                            <a:moveTo>
                              <a:pt x="2131" y="1497"/>
                            </a:moveTo>
                            <a:cubicBezTo>
                              <a:pt x="2119" y="1496"/>
                              <a:pt x="2121" y="1505"/>
                              <a:pt x="2127" y="1507"/>
                            </a:cubicBezTo>
                            <a:cubicBezTo>
                              <a:pt x="2134" y="1509"/>
                              <a:pt x="2128" y="1510"/>
                              <a:pt x="2127" y="1513"/>
                            </a:cubicBezTo>
                            <a:cubicBezTo>
                              <a:pt x="2127" y="1517"/>
                              <a:pt x="2131" y="1521"/>
                              <a:pt x="2140" y="1526"/>
                            </a:cubicBezTo>
                            <a:cubicBezTo>
                              <a:pt x="2148" y="1532"/>
                              <a:pt x="2141" y="1532"/>
                              <a:pt x="2139" y="1537"/>
                            </a:cubicBezTo>
                            <a:cubicBezTo>
                              <a:pt x="2137" y="1542"/>
                              <a:pt x="2134" y="1540"/>
                              <a:pt x="2131" y="1545"/>
                            </a:cubicBezTo>
                            <a:cubicBezTo>
                              <a:pt x="2128" y="1550"/>
                              <a:pt x="2136" y="1550"/>
                              <a:pt x="2140" y="1550"/>
                            </a:cubicBezTo>
                            <a:cubicBezTo>
                              <a:pt x="2145" y="1549"/>
                              <a:pt x="2149" y="1550"/>
                              <a:pt x="2155" y="1556"/>
                            </a:cubicBezTo>
                            <a:cubicBezTo>
                              <a:pt x="2161" y="1562"/>
                              <a:pt x="2153" y="1559"/>
                              <a:pt x="2150" y="1563"/>
                            </a:cubicBezTo>
                            <a:cubicBezTo>
                              <a:pt x="2146" y="1567"/>
                              <a:pt x="2151" y="1571"/>
                              <a:pt x="2155" y="1574"/>
                            </a:cubicBezTo>
                            <a:cubicBezTo>
                              <a:pt x="2158" y="1578"/>
                              <a:pt x="2162" y="1582"/>
                              <a:pt x="2168" y="1585"/>
                            </a:cubicBezTo>
                            <a:cubicBezTo>
                              <a:pt x="2173" y="1589"/>
                              <a:pt x="2175" y="1586"/>
                              <a:pt x="2179" y="1591"/>
                            </a:cubicBezTo>
                            <a:cubicBezTo>
                              <a:pt x="2184" y="1595"/>
                              <a:pt x="2180" y="1599"/>
                              <a:pt x="2180" y="1606"/>
                            </a:cubicBezTo>
                            <a:cubicBezTo>
                              <a:pt x="2180" y="1612"/>
                              <a:pt x="2187" y="1613"/>
                              <a:pt x="2193" y="1616"/>
                            </a:cubicBezTo>
                            <a:cubicBezTo>
                              <a:pt x="2199" y="1619"/>
                              <a:pt x="2194" y="1621"/>
                              <a:pt x="2198" y="1627"/>
                            </a:cubicBezTo>
                            <a:cubicBezTo>
                              <a:pt x="2202" y="1632"/>
                              <a:pt x="2207" y="1630"/>
                              <a:pt x="2213" y="1628"/>
                            </a:cubicBezTo>
                            <a:cubicBezTo>
                              <a:pt x="2219" y="1627"/>
                              <a:pt x="2214" y="1625"/>
                              <a:pt x="2214" y="1620"/>
                            </a:cubicBezTo>
                            <a:cubicBezTo>
                              <a:pt x="2214" y="1616"/>
                              <a:pt x="2209" y="1613"/>
                              <a:pt x="2207" y="1613"/>
                            </a:cubicBezTo>
                            <a:cubicBezTo>
                              <a:pt x="2205" y="1612"/>
                              <a:pt x="2203" y="1612"/>
                              <a:pt x="2200" y="1607"/>
                            </a:cubicBezTo>
                            <a:cubicBezTo>
                              <a:pt x="2196" y="1603"/>
                              <a:pt x="2202" y="1603"/>
                              <a:pt x="2206" y="1601"/>
                            </a:cubicBezTo>
                            <a:cubicBezTo>
                              <a:pt x="2210" y="1599"/>
                              <a:pt x="2213" y="1597"/>
                              <a:pt x="2212" y="1594"/>
                            </a:cubicBezTo>
                            <a:cubicBezTo>
                              <a:pt x="2211" y="1590"/>
                              <a:pt x="2211" y="1589"/>
                              <a:pt x="2208" y="1586"/>
                            </a:cubicBezTo>
                            <a:cubicBezTo>
                              <a:pt x="2205" y="1583"/>
                              <a:pt x="2203" y="1584"/>
                              <a:pt x="2201" y="1582"/>
                            </a:cubicBezTo>
                            <a:cubicBezTo>
                              <a:pt x="2199" y="1581"/>
                              <a:pt x="2200" y="1578"/>
                              <a:pt x="2197" y="1574"/>
                            </a:cubicBezTo>
                            <a:cubicBezTo>
                              <a:pt x="2195" y="1569"/>
                              <a:pt x="2190" y="1571"/>
                              <a:pt x="2187" y="1571"/>
                            </a:cubicBezTo>
                            <a:cubicBezTo>
                              <a:pt x="2183" y="1571"/>
                              <a:pt x="2182" y="1571"/>
                              <a:pt x="2179" y="1568"/>
                            </a:cubicBezTo>
                            <a:cubicBezTo>
                              <a:pt x="2175" y="1566"/>
                              <a:pt x="2173" y="1563"/>
                              <a:pt x="2173" y="1559"/>
                            </a:cubicBezTo>
                            <a:cubicBezTo>
                              <a:pt x="2174" y="1556"/>
                              <a:pt x="2183" y="1555"/>
                              <a:pt x="2187" y="1553"/>
                            </a:cubicBezTo>
                            <a:cubicBezTo>
                              <a:pt x="2192" y="1552"/>
                              <a:pt x="2191" y="1548"/>
                              <a:pt x="2189" y="1545"/>
                            </a:cubicBezTo>
                            <a:cubicBezTo>
                              <a:pt x="2187" y="1542"/>
                              <a:pt x="2179" y="1538"/>
                              <a:pt x="2176" y="1532"/>
                            </a:cubicBezTo>
                            <a:cubicBezTo>
                              <a:pt x="2172" y="1526"/>
                              <a:pt x="2171" y="1526"/>
                              <a:pt x="2168" y="1521"/>
                            </a:cubicBezTo>
                            <a:cubicBezTo>
                              <a:pt x="2165" y="1517"/>
                              <a:pt x="2157" y="1518"/>
                              <a:pt x="2149" y="1514"/>
                            </a:cubicBezTo>
                            <a:cubicBezTo>
                              <a:pt x="2140" y="1511"/>
                              <a:pt x="2142" y="1507"/>
                              <a:pt x="2142" y="1501"/>
                            </a:cubicBezTo>
                            <a:cubicBezTo>
                              <a:pt x="2142" y="1495"/>
                              <a:pt x="2136" y="1497"/>
                              <a:pt x="2131" y="1497"/>
                            </a:cubicBezTo>
                            <a:close/>
                            <a:moveTo>
                              <a:pt x="2129" y="1586"/>
                            </a:moveTo>
                            <a:cubicBezTo>
                              <a:pt x="2128" y="1590"/>
                              <a:pt x="2129" y="1595"/>
                              <a:pt x="2133" y="1595"/>
                            </a:cubicBezTo>
                            <a:cubicBezTo>
                              <a:pt x="2137" y="1596"/>
                              <a:pt x="2140" y="1597"/>
                              <a:pt x="2141" y="1602"/>
                            </a:cubicBezTo>
                            <a:cubicBezTo>
                              <a:pt x="2142" y="1607"/>
                              <a:pt x="2141" y="1608"/>
                              <a:pt x="2146" y="1614"/>
                            </a:cubicBezTo>
                            <a:cubicBezTo>
                              <a:pt x="2152" y="1619"/>
                              <a:pt x="2156" y="1621"/>
                              <a:pt x="2159" y="1626"/>
                            </a:cubicBezTo>
                            <a:cubicBezTo>
                              <a:pt x="2162" y="1631"/>
                              <a:pt x="2165" y="1639"/>
                              <a:pt x="2167" y="1634"/>
                            </a:cubicBezTo>
                            <a:cubicBezTo>
                              <a:pt x="2170" y="1628"/>
                              <a:pt x="2167" y="1624"/>
                              <a:pt x="2161" y="1617"/>
                            </a:cubicBezTo>
                            <a:cubicBezTo>
                              <a:pt x="2156" y="1610"/>
                              <a:pt x="2153" y="1605"/>
                              <a:pt x="2153" y="1600"/>
                            </a:cubicBezTo>
                            <a:cubicBezTo>
                              <a:pt x="2153" y="1596"/>
                              <a:pt x="2152" y="1592"/>
                              <a:pt x="2148" y="1589"/>
                            </a:cubicBezTo>
                            <a:cubicBezTo>
                              <a:pt x="2144" y="1586"/>
                              <a:pt x="2133" y="1578"/>
                              <a:pt x="2129" y="1586"/>
                            </a:cubicBezTo>
                            <a:close/>
                            <a:moveTo>
                              <a:pt x="2242" y="1590"/>
                            </a:moveTo>
                            <a:cubicBezTo>
                              <a:pt x="2238" y="1593"/>
                              <a:pt x="2236" y="1596"/>
                              <a:pt x="2242" y="1603"/>
                            </a:cubicBezTo>
                            <a:cubicBezTo>
                              <a:pt x="2248" y="1610"/>
                              <a:pt x="2246" y="1618"/>
                              <a:pt x="2251" y="1614"/>
                            </a:cubicBezTo>
                            <a:cubicBezTo>
                              <a:pt x="2255" y="1610"/>
                              <a:pt x="2256" y="1611"/>
                              <a:pt x="2253" y="1604"/>
                            </a:cubicBezTo>
                            <a:cubicBezTo>
                              <a:pt x="2251" y="1596"/>
                              <a:pt x="2252" y="1593"/>
                              <a:pt x="2250" y="1591"/>
                            </a:cubicBezTo>
                            <a:cubicBezTo>
                              <a:pt x="2248" y="1589"/>
                              <a:pt x="2245" y="1589"/>
                              <a:pt x="2242" y="1590"/>
                            </a:cubicBezTo>
                            <a:close/>
                            <a:moveTo>
                              <a:pt x="2085" y="1348"/>
                            </a:moveTo>
                            <a:cubicBezTo>
                              <a:pt x="2082" y="1352"/>
                              <a:pt x="2078" y="1354"/>
                              <a:pt x="2086" y="1359"/>
                            </a:cubicBezTo>
                            <a:cubicBezTo>
                              <a:pt x="2094" y="1364"/>
                              <a:pt x="2095" y="1369"/>
                              <a:pt x="2099" y="1371"/>
                            </a:cubicBezTo>
                            <a:cubicBezTo>
                              <a:pt x="2102" y="1373"/>
                              <a:pt x="2109" y="1374"/>
                              <a:pt x="2106" y="1368"/>
                            </a:cubicBezTo>
                            <a:cubicBezTo>
                              <a:pt x="2103" y="1362"/>
                              <a:pt x="2097" y="1359"/>
                              <a:pt x="2097" y="1354"/>
                            </a:cubicBezTo>
                            <a:cubicBezTo>
                              <a:pt x="2096" y="1348"/>
                              <a:pt x="2090" y="1344"/>
                              <a:pt x="2085" y="1348"/>
                            </a:cubicBezTo>
                            <a:close/>
                            <a:moveTo>
                              <a:pt x="2073" y="1447"/>
                            </a:moveTo>
                            <a:cubicBezTo>
                              <a:pt x="2069" y="1449"/>
                              <a:pt x="2063" y="1454"/>
                              <a:pt x="2068" y="1458"/>
                            </a:cubicBezTo>
                            <a:cubicBezTo>
                              <a:pt x="2073" y="1462"/>
                              <a:pt x="2079" y="1462"/>
                              <a:pt x="2081" y="1466"/>
                            </a:cubicBezTo>
                            <a:cubicBezTo>
                              <a:pt x="2084" y="1470"/>
                              <a:pt x="2088" y="1477"/>
                              <a:pt x="2088" y="1477"/>
                            </a:cubicBezTo>
                            <a:cubicBezTo>
                              <a:pt x="2088" y="1488"/>
                              <a:pt x="2088" y="1488"/>
                              <a:pt x="2088" y="1488"/>
                            </a:cubicBezTo>
                            <a:cubicBezTo>
                              <a:pt x="2088" y="1488"/>
                              <a:pt x="2087" y="1500"/>
                              <a:pt x="2090" y="1501"/>
                            </a:cubicBezTo>
                            <a:cubicBezTo>
                              <a:pt x="2093" y="1501"/>
                              <a:pt x="2095" y="1497"/>
                              <a:pt x="2095" y="1490"/>
                            </a:cubicBezTo>
                            <a:cubicBezTo>
                              <a:pt x="2095" y="1483"/>
                              <a:pt x="2091" y="1469"/>
                              <a:pt x="2099" y="1468"/>
                            </a:cubicBezTo>
                            <a:cubicBezTo>
                              <a:pt x="2106" y="1467"/>
                              <a:pt x="2108" y="1458"/>
                              <a:pt x="2104" y="1458"/>
                            </a:cubicBezTo>
                            <a:cubicBezTo>
                              <a:pt x="2100" y="1458"/>
                              <a:pt x="2094" y="1461"/>
                              <a:pt x="2092" y="1457"/>
                            </a:cubicBezTo>
                            <a:cubicBezTo>
                              <a:pt x="2091" y="1453"/>
                              <a:pt x="2077" y="1446"/>
                              <a:pt x="2073" y="1447"/>
                            </a:cubicBezTo>
                            <a:close/>
                            <a:moveTo>
                              <a:pt x="2118" y="1438"/>
                            </a:moveTo>
                            <a:cubicBezTo>
                              <a:pt x="2113" y="1436"/>
                              <a:pt x="2107" y="1433"/>
                              <a:pt x="2106" y="1436"/>
                            </a:cubicBezTo>
                            <a:cubicBezTo>
                              <a:pt x="2105" y="1439"/>
                              <a:pt x="2109" y="1441"/>
                              <a:pt x="2112" y="1446"/>
                            </a:cubicBezTo>
                            <a:cubicBezTo>
                              <a:pt x="2115" y="1450"/>
                              <a:pt x="2117" y="1454"/>
                              <a:pt x="2116" y="1457"/>
                            </a:cubicBezTo>
                            <a:cubicBezTo>
                              <a:pt x="2115" y="1460"/>
                              <a:pt x="2113" y="1460"/>
                              <a:pt x="2114" y="1466"/>
                            </a:cubicBezTo>
                            <a:cubicBezTo>
                              <a:pt x="2115" y="1473"/>
                              <a:pt x="2118" y="1476"/>
                              <a:pt x="2122" y="1477"/>
                            </a:cubicBezTo>
                            <a:cubicBezTo>
                              <a:pt x="2127" y="1477"/>
                              <a:pt x="2132" y="1479"/>
                              <a:pt x="2135" y="1475"/>
                            </a:cubicBezTo>
                            <a:cubicBezTo>
                              <a:pt x="2138" y="1472"/>
                              <a:pt x="2142" y="1470"/>
                              <a:pt x="2140" y="1466"/>
                            </a:cubicBezTo>
                            <a:cubicBezTo>
                              <a:pt x="2137" y="1463"/>
                              <a:pt x="2128" y="1456"/>
                              <a:pt x="2128" y="1454"/>
                            </a:cubicBezTo>
                            <a:cubicBezTo>
                              <a:pt x="2128" y="1451"/>
                              <a:pt x="2132" y="1448"/>
                              <a:pt x="2135" y="1451"/>
                            </a:cubicBezTo>
                            <a:cubicBezTo>
                              <a:pt x="2138" y="1453"/>
                              <a:pt x="2141" y="1460"/>
                              <a:pt x="2144" y="1459"/>
                            </a:cubicBezTo>
                            <a:cubicBezTo>
                              <a:pt x="2147" y="1458"/>
                              <a:pt x="2150" y="1453"/>
                              <a:pt x="2150" y="1453"/>
                            </a:cubicBezTo>
                            <a:cubicBezTo>
                              <a:pt x="2150" y="1453"/>
                              <a:pt x="2146" y="1445"/>
                              <a:pt x="2144" y="1442"/>
                            </a:cubicBezTo>
                            <a:cubicBezTo>
                              <a:pt x="2142" y="1440"/>
                              <a:pt x="2122" y="1438"/>
                              <a:pt x="2118" y="1438"/>
                            </a:cubicBezTo>
                            <a:close/>
                            <a:moveTo>
                              <a:pt x="2073" y="1498"/>
                            </a:moveTo>
                            <a:cubicBezTo>
                              <a:pt x="2074" y="1504"/>
                              <a:pt x="2075" y="1507"/>
                              <a:pt x="2075" y="1514"/>
                            </a:cubicBezTo>
                            <a:cubicBezTo>
                              <a:pt x="2074" y="1522"/>
                              <a:pt x="2077" y="1528"/>
                              <a:pt x="2079" y="1523"/>
                            </a:cubicBezTo>
                            <a:cubicBezTo>
                              <a:pt x="2080" y="1517"/>
                              <a:pt x="2080" y="1516"/>
                              <a:pt x="2079" y="1510"/>
                            </a:cubicBezTo>
                            <a:cubicBezTo>
                              <a:pt x="2078" y="1503"/>
                              <a:pt x="2080" y="1496"/>
                              <a:pt x="2078" y="1492"/>
                            </a:cubicBezTo>
                            <a:cubicBezTo>
                              <a:pt x="2076" y="1488"/>
                              <a:pt x="2070" y="1489"/>
                              <a:pt x="2073" y="1498"/>
                            </a:cubicBezTo>
                            <a:close/>
                            <a:moveTo>
                              <a:pt x="2163" y="1465"/>
                            </a:moveTo>
                            <a:cubicBezTo>
                              <a:pt x="2163" y="1473"/>
                              <a:pt x="2154" y="1471"/>
                              <a:pt x="2159" y="1476"/>
                            </a:cubicBezTo>
                            <a:cubicBezTo>
                              <a:pt x="2164" y="1481"/>
                              <a:pt x="2166" y="1483"/>
                              <a:pt x="2170" y="1479"/>
                            </a:cubicBezTo>
                            <a:cubicBezTo>
                              <a:pt x="2175" y="1475"/>
                              <a:pt x="2179" y="1472"/>
                              <a:pt x="2175" y="1468"/>
                            </a:cubicBezTo>
                            <a:cubicBezTo>
                              <a:pt x="2172" y="1464"/>
                              <a:pt x="2162" y="1456"/>
                              <a:pt x="2163" y="1465"/>
                            </a:cubicBezTo>
                            <a:close/>
                            <a:moveTo>
                              <a:pt x="2184" y="1503"/>
                            </a:moveTo>
                            <a:cubicBezTo>
                              <a:pt x="2179" y="1507"/>
                              <a:pt x="2174" y="1509"/>
                              <a:pt x="2179" y="1513"/>
                            </a:cubicBezTo>
                            <a:cubicBezTo>
                              <a:pt x="2185" y="1517"/>
                              <a:pt x="2196" y="1525"/>
                              <a:pt x="2196" y="1525"/>
                            </a:cubicBezTo>
                            <a:cubicBezTo>
                              <a:pt x="2196" y="1525"/>
                              <a:pt x="2200" y="1528"/>
                              <a:pt x="2200" y="1526"/>
                            </a:cubicBezTo>
                            <a:cubicBezTo>
                              <a:pt x="2201" y="1523"/>
                              <a:pt x="2195" y="1516"/>
                              <a:pt x="2193" y="1513"/>
                            </a:cubicBezTo>
                            <a:cubicBezTo>
                              <a:pt x="2191" y="1510"/>
                              <a:pt x="2187" y="1501"/>
                              <a:pt x="2184" y="1503"/>
                            </a:cubicBezTo>
                            <a:close/>
                            <a:moveTo>
                              <a:pt x="2198" y="1495"/>
                            </a:moveTo>
                            <a:cubicBezTo>
                              <a:pt x="2198" y="1497"/>
                              <a:pt x="2197" y="1498"/>
                              <a:pt x="2200" y="1501"/>
                            </a:cubicBezTo>
                            <a:cubicBezTo>
                              <a:pt x="2204" y="1504"/>
                              <a:pt x="2204" y="1508"/>
                              <a:pt x="2207" y="1507"/>
                            </a:cubicBezTo>
                            <a:cubicBezTo>
                              <a:pt x="2211" y="1506"/>
                              <a:pt x="2212" y="1508"/>
                              <a:pt x="2212" y="1505"/>
                            </a:cubicBezTo>
                            <a:cubicBezTo>
                              <a:pt x="2212" y="1502"/>
                              <a:pt x="2207" y="1503"/>
                              <a:pt x="2206" y="1499"/>
                            </a:cubicBezTo>
                            <a:cubicBezTo>
                              <a:pt x="2205" y="1495"/>
                              <a:pt x="2199" y="1491"/>
                              <a:pt x="2198" y="1495"/>
                            </a:cubicBezTo>
                            <a:close/>
                            <a:moveTo>
                              <a:pt x="2156" y="1491"/>
                            </a:moveTo>
                            <a:cubicBezTo>
                              <a:pt x="2155" y="1492"/>
                              <a:pt x="2152" y="1495"/>
                              <a:pt x="2156" y="1497"/>
                            </a:cubicBezTo>
                            <a:cubicBezTo>
                              <a:pt x="2159" y="1499"/>
                              <a:pt x="2161" y="1505"/>
                              <a:pt x="2165" y="1500"/>
                            </a:cubicBezTo>
                            <a:cubicBezTo>
                              <a:pt x="2168" y="1496"/>
                              <a:pt x="2170" y="1496"/>
                              <a:pt x="2169" y="1494"/>
                            </a:cubicBezTo>
                            <a:cubicBezTo>
                              <a:pt x="2168" y="1492"/>
                              <a:pt x="2159" y="1489"/>
                              <a:pt x="2156" y="1491"/>
                            </a:cubicBezTo>
                            <a:close/>
                            <a:moveTo>
                              <a:pt x="2109" y="1519"/>
                            </a:moveTo>
                            <a:cubicBezTo>
                              <a:pt x="2108" y="1522"/>
                              <a:pt x="2105" y="1520"/>
                              <a:pt x="2104" y="1524"/>
                            </a:cubicBezTo>
                            <a:cubicBezTo>
                              <a:pt x="2102" y="1528"/>
                              <a:pt x="2100" y="1529"/>
                              <a:pt x="2105" y="1530"/>
                            </a:cubicBezTo>
                            <a:cubicBezTo>
                              <a:pt x="2109" y="1530"/>
                              <a:pt x="2108" y="1530"/>
                              <a:pt x="2113" y="1528"/>
                            </a:cubicBezTo>
                            <a:cubicBezTo>
                              <a:pt x="2118" y="1525"/>
                              <a:pt x="2122" y="1525"/>
                              <a:pt x="2120" y="1520"/>
                            </a:cubicBezTo>
                            <a:cubicBezTo>
                              <a:pt x="2117" y="1516"/>
                              <a:pt x="2112" y="1512"/>
                              <a:pt x="2109" y="1519"/>
                            </a:cubicBezTo>
                            <a:close/>
                            <a:moveTo>
                              <a:pt x="2208" y="1542"/>
                            </a:moveTo>
                            <a:cubicBezTo>
                              <a:pt x="2207" y="1544"/>
                              <a:pt x="2204" y="1542"/>
                              <a:pt x="2203" y="1548"/>
                            </a:cubicBezTo>
                            <a:cubicBezTo>
                              <a:pt x="2203" y="1554"/>
                              <a:pt x="2202" y="1560"/>
                              <a:pt x="2207" y="1560"/>
                            </a:cubicBezTo>
                            <a:cubicBezTo>
                              <a:pt x="2211" y="1560"/>
                              <a:pt x="2218" y="1554"/>
                              <a:pt x="2219" y="1551"/>
                            </a:cubicBezTo>
                            <a:cubicBezTo>
                              <a:pt x="2221" y="1548"/>
                              <a:pt x="2222" y="1541"/>
                              <a:pt x="2217" y="1541"/>
                            </a:cubicBezTo>
                            <a:cubicBezTo>
                              <a:pt x="2212" y="1541"/>
                              <a:pt x="2210" y="1539"/>
                              <a:pt x="2208" y="1542"/>
                            </a:cubicBezTo>
                            <a:close/>
                            <a:moveTo>
                              <a:pt x="2248" y="1537"/>
                            </a:moveTo>
                            <a:cubicBezTo>
                              <a:pt x="2241" y="1542"/>
                              <a:pt x="2243" y="1545"/>
                              <a:pt x="2242" y="1549"/>
                            </a:cubicBezTo>
                            <a:cubicBezTo>
                              <a:pt x="2240" y="1553"/>
                              <a:pt x="2239" y="1554"/>
                              <a:pt x="2236" y="1557"/>
                            </a:cubicBezTo>
                            <a:cubicBezTo>
                              <a:pt x="2233" y="1560"/>
                              <a:pt x="2229" y="1565"/>
                              <a:pt x="2229" y="1570"/>
                            </a:cubicBezTo>
                            <a:cubicBezTo>
                              <a:pt x="2230" y="1574"/>
                              <a:pt x="2230" y="1576"/>
                              <a:pt x="2233" y="1576"/>
                            </a:cubicBezTo>
                            <a:cubicBezTo>
                              <a:pt x="2236" y="1576"/>
                              <a:pt x="2238" y="1576"/>
                              <a:pt x="2240" y="1573"/>
                            </a:cubicBezTo>
                            <a:cubicBezTo>
                              <a:pt x="2242" y="1571"/>
                              <a:pt x="2244" y="1571"/>
                              <a:pt x="2245" y="1567"/>
                            </a:cubicBezTo>
                            <a:cubicBezTo>
                              <a:pt x="2246" y="1564"/>
                              <a:pt x="2246" y="1561"/>
                              <a:pt x="2249" y="1560"/>
                            </a:cubicBezTo>
                            <a:cubicBezTo>
                              <a:pt x="2252" y="1560"/>
                              <a:pt x="2255" y="1557"/>
                              <a:pt x="2256" y="1562"/>
                            </a:cubicBezTo>
                            <a:cubicBezTo>
                              <a:pt x="2257" y="1568"/>
                              <a:pt x="2254" y="1568"/>
                              <a:pt x="2257" y="1572"/>
                            </a:cubicBezTo>
                            <a:cubicBezTo>
                              <a:pt x="2261" y="1576"/>
                              <a:pt x="2260" y="1579"/>
                              <a:pt x="2263" y="1579"/>
                            </a:cubicBezTo>
                            <a:cubicBezTo>
                              <a:pt x="2266" y="1579"/>
                              <a:pt x="2268" y="1582"/>
                              <a:pt x="2270" y="1577"/>
                            </a:cubicBezTo>
                            <a:cubicBezTo>
                              <a:pt x="2271" y="1573"/>
                              <a:pt x="2272" y="1572"/>
                              <a:pt x="2271" y="1569"/>
                            </a:cubicBezTo>
                            <a:cubicBezTo>
                              <a:pt x="2270" y="1566"/>
                              <a:pt x="2271" y="1569"/>
                              <a:pt x="2273" y="1562"/>
                            </a:cubicBezTo>
                            <a:cubicBezTo>
                              <a:pt x="2275" y="1556"/>
                              <a:pt x="2276" y="1553"/>
                              <a:pt x="2272" y="1550"/>
                            </a:cubicBezTo>
                            <a:cubicBezTo>
                              <a:pt x="2269" y="1547"/>
                              <a:pt x="2264" y="1547"/>
                              <a:pt x="2263" y="1540"/>
                            </a:cubicBezTo>
                            <a:cubicBezTo>
                              <a:pt x="2262" y="1534"/>
                              <a:pt x="2253" y="1534"/>
                              <a:pt x="2248" y="1537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</p:grpSp>
              </p:grpSp>
            </p:grpSp>
          </p:grpSp>
        </p:grpSp>
        <p:sp>
          <p:nvSpPr>
            <p:cNvPr id="131" name="Freeform 139"/>
            <p:cNvSpPr>
              <a:spLocks noEditPoints="1"/>
            </p:cNvSpPr>
            <p:nvPr/>
          </p:nvSpPr>
          <p:spPr bwMode="auto">
            <a:xfrm>
              <a:off x="3064781" y="2631969"/>
              <a:ext cx="1084659" cy="798909"/>
            </a:xfrm>
            <a:custGeom>
              <a:avLst/>
              <a:gdLst>
                <a:gd name="T0" fmla="*/ 1491 w 3779"/>
                <a:gd name="T1" fmla="*/ 187 h 2786"/>
                <a:gd name="T2" fmla="*/ 1888 w 3779"/>
                <a:gd name="T3" fmla="*/ 131 h 2786"/>
                <a:gd name="T4" fmla="*/ 1740 w 3779"/>
                <a:gd name="T5" fmla="*/ 75 h 2786"/>
                <a:gd name="T6" fmla="*/ 2118 w 3779"/>
                <a:gd name="T7" fmla="*/ 56 h 2786"/>
                <a:gd name="T8" fmla="*/ 2450 w 3779"/>
                <a:gd name="T9" fmla="*/ 94 h 2786"/>
                <a:gd name="T10" fmla="*/ 3156 w 3779"/>
                <a:gd name="T11" fmla="*/ 139 h 2786"/>
                <a:gd name="T12" fmla="*/ 2958 w 3779"/>
                <a:gd name="T13" fmla="*/ 266 h 2786"/>
                <a:gd name="T14" fmla="*/ 3114 w 3779"/>
                <a:gd name="T15" fmla="*/ 388 h 2786"/>
                <a:gd name="T16" fmla="*/ 3590 w 3779"/>
                <a:gd name="T17" fmla="*/ 408 h 2786"/>
                <a:gd name="T18" fmla="*/ 3246 w 3779"/>
                <a:gd name="T19" fmla="*/ 558 h 2786"/>
                <a:gd name="T20" fmla="*/ 3180 w 3779"/>
                <a:gd name="T21" fmla="*/ 809 h 2786"/>
                <a:gd name="T22" fmla="*/ 3396 w 3779"/>
                <a:gd name="T23" fmla="*/ 920 h 2786"/>
                <a:gd name="T24" fmla="*/ 3200 w 3779"/>
                <a:gd name="T25" fmla="*/ 1042 h 2786"/>
                <a:gd name="T26" fmla="*/ 3246 w 3779"/>
                <a:gd name="T27" fmla="*/ 1158 h 2786"/>
                <a:gd name="T28" fmla="*/ 3199 w 3779"/>
                <a:gd name="T29" fmla="*/ 1198 h 2786"/>
                <a:gd name="T30" fmla="*/ 3163 w 3779"/>
                <a:gd name="T31" fmla="*/ 1259 h 2786"/>
                <a:gd name="T32" fmla="*/ 3068 w 3779"/>
                <a:gd name="T33" fmla="*/ 1355 h 2786"/>
                <a:gd name="T34" fmla="*/ 2854 w 3779"/>
                <a:gd name="T35" fmla="*/ 1416 h 2786"/>
                <a:gd name="T36" fmla="*/ 2971 w 3779"/>
                <a:gd name="T37" fmla="*/ 1500 h 2786"/>
                <a:gd name="T38" fmla="*/ 3149 w 3779"/>
                <a:gd name="T39" fmla="*/ 1602 h 2786"/>
                <a:gd name="T40" fmla="*/ 3123 w 3779"/>
                <a:gd name="T41" fmla="*/ 1713 h 2786"/>
                <a:gd name="T42" fmla="*/ 2828 w 3779"/>
                <a:gd name="T43" fmla="*/ 1602 h 2786"/>
                <a:gd name="T44" fmla="*/ 2768 w 3779"/>
                <a:gd name="T45" fmla="*/ 1728 h 2786"/>
                <a:gd name="T46" fmla="*/ 3048 w 3779"/>
                <a:gd name="T47" fmla="*/ 1824 h 2786"/>
                <a:gd name="T48" fmla="*/ 2645 w 3779"/>
                <a:gd name="T49" fmla="*/ 1969 h 2786"/>
                <a:gd name="T50" fmla="*/ 2456 w 3779"/>
                <a:gd name="T51" fmla="*/ 2049 h 2786"/>
                <a:gd name="T52" fmla="*/ 2233 w 3779"/>
                <a:gd name="T53" fmla="*/ 2214 h 2786"/>
                <a:gd name="T54" fmla="*/ 2098 w 3779"/>
                <a:gd name="T55" fmla="*/ 2241 h 2786"/>
                <a:gd name="T56" fmla="*/ 1996 w 3779"/>
                <a:gd name="T57" fmla="*/ 2392 h 2786"/>
                <a:gd name="T58" fmla="*/ 1854 w 3779"/>
                <a:gd name="T59" fmla="*/ 2540 h 2786"/>
                <a:gd name="T60" fmla="*/ 1844 w 3779"/>
                <a:gd name="T61" fmla="*/ 2691 h 2786"/>
                <a:gd name="T62" fmla="*/ 1774 w 3779"/>
                <a:gd name="T63" fmla="*/ 2771 h 2786"/>
                <a:gd name="T64" fmla="*/ 1697 w 3779"/>
                <a:gd name="T65" fmla="*/ 2681 h 2786"/>
                <a:gd name="T66" fmla="*/ 1532 w 3779"/>
                <a:gd name="T67" fmla="*/ 2649 h 2786"/>
                <a:gd name="T68" fmla="*/ 1434 w 3779"/>
                <a:gd name="T69" fmla="*/ 2521 h 2786"/>
                <a:gd name="T70" fmla="*/ 1354 w 3779"/>
                <a:gd name="T71" fmla="*/ 2446 h 2786"/>
                <a:gd name="T72" fmla="*/ 1376 w 3779"/>
                <a:gd name="T73" fmla="*/ 2288 h 2786"/>
                <a:gd name="T74" fmla="*/ 1323 w 3779"/>
                <a:gd name="T75" fmla="*/ 2240 h 2786"/>
                <a:gd name="T76" fmla="*/ 1258 w 3779"/>
                <a:gd name="T77" fmla="*/ 2183 h 2786"/>
                <a:gd name="T78" fmla="*/ 1227 w 3779"/>
                <a:gd name="T79" fmla="*/ 2146 h 2786"/>
                <a:gd name="T80" fmla="*/ 1363 w 3779"/>
                <a:gd name="T81" fmla="*/ 2081 h 2786"/>
                <a:gd name="T82" fmla="*/ 1400 w 3779"/>
                <a:gd name="T83" fmla="*/ 2013 h 2786"/>
                <a:gd name="T84" fmla="*/ 1346 w 3779"/>
                <a:gd name="T85" fmla="*/ 1938 h 2786"/>
                <a:gd name="T86" fmla="*/ 1376 w 3779"/>
                <a:gd name="T87" fmla="*/ 1848 h 2786"/>
                <a:gd name="T88" fmla="*/ 1158 w 3779"/>
                <a:gd name="T89" fmla="*/ 1692 h 2786"/>
                <a:gd name="T90" fmla="*/ 1285 w 3779"/>
                <a:gd name="T91" fmla="*/ 1638 h 2786"/>
                <a:gd name="T92" fmla="*/ 1181 w 3779"/>
                <a:gd name="T93" fmla="*/ 1599 h 2786"/>
                <a:gd name="T94" fmla="*/ 1114 w 3779"/>
                <a:gd name="T95" fmla="*/ 1429 h 2786"/>
                <a:gd name="T96" fmla="*/ 1029 w 3779"/>
                <a:gd name="T97" fmla="*/ 1247 h 2786"/>
                <a:gd name="T98" fmla="*/ 397 w 3779"/>
                <a:gd name="T99" fmla="*/ 1044 h 2786"/>
                <a:gd name="T100" fmla="*/ 231 w 3779"/>
                <a:gd name="T101" fmla="*/ 916 h 2786"/>
                <a:gd name="T102" fmla="*/ 179 w 3779"/>
                <a:gd name="T103" fmla="*/ 835 h 2786"/>
                <a:gd name="T104" fmla="*/ 552 w 3779"/>
                <a:gd name="T105" fmla="*/ 524 h 2786"/>
                <a:gd name="T106" fmla="*/ 746 w 3779"/>
                <a:gd name="T107" fmla="*/ 318 h 2786"/>
                <a:gd name="T108" fmla="*/ 1309 w 3779"/>
                <a:gd name="T109" fmla="*/ 1821 h 2786"/>
                <a:gd name="T110" fmla="*/ 1212 w 3779"/>
                <a:gd name="T111" fmla="*/ 1646 h 2786"/>
                <a:gd name="T112" fmla="*/ 1299 w 3779"/>
                <a:gd name="T113" fmla="*/ 2002 h 2786"/>
                <a:gd name="T114" fmla="*/ 2931 w 3779"/>
                <a:gd name="T115" fmla="*/ 1707 h 2786"/>
                <a:gd name="T116" fmla="*/ 3064 w 3779"/>
                <a:gd name="T117" fmla="*/ 1450 h 2786"/>
                <a:gd name="T118" fmla="*/ 3239 w 3779"/>
                <a:gd name="T119" fmla="*/ 1300 h 2786"/>
                <a:gd name="T120" fmla="*/ 3355 w 3779"/>
                <a:gd name="T121" fmla="*/ 982 h 2786"/>
                <a:gd name="T122" fmla="*/ 3410 w 3779"/>
                <a:gd name="T123" fmla="*/ 659 h 2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79" h="2786">
                  <a:moveTo>
                    <a:pt x="1026" y="207"/>
                  </a:moveTo>
                  <a:cubicBezTo>
                    <a:pt x="1046" y="207"/>
                    <a:pt x="1040" y="203"/>
                    <a:pt x="1071" y="203"/>
                  </a:cubicBezTo>
                  <a:cubicBezTo>
                    <a:pt x="1103" y="203"/>
                    <a:pt x="1132" y="194"/>
                    <a:pt x="1140" y="192"/>
                  </a:cubicBezTo>
                  <a:cubicBezTo>
                    <a:pt x="1147" y="189"/>
                    <a:pt x="1179" y="201"/>
                    <a:pt x="1182" y="208"/>
                  </a:cubicBezTo>
                  <a:cubicBezTo>
                    <a:pt x="1185" y="216"/>
                    <a:pt x="1190" y="222"/>
                    <a:pt x="1196" y="225"/>
                  </a:cubicBezTo>
                  <a:cubicBezTo>
                    <a:pt x="1202" y="227"/>
                    <a:pt x="1206" y="235"/>
                    <a:pt x="1206" y="238"/>
                  </a:cubicBezTo>
                  <a:cubicBezTo>
                    <a:pt x="1206" y="241"/>
                    <a:pt x="1202" y="242"/>
                    <a:pt x="1207" y="249"/>
                  </a:cubicBezTo>
                  <a:cubicBezTo>
                    <a:pt x="1211" y="256"/>
                    <a:pt x="1214" y="257"/>
                    <a:pt x="1213" y="261"/>
                  </a:cubicBezTo>
                  <a:cubicBezTo>
                    <a:pt x="1211" y="266"/>
                    <a:pt x="1209" y="269"/>
                    <a:pt x="1205" y="273"/>
                  </a:cubicBezTo>
                  <a:cubicBezTo>
                    <a:pt x="1202" y="277"/>
                    <a:pt x="1193" y="287"/>
                    <a:pt x="1193" y="289"/>
                  </a:cubicBezTo>
                  <a:cubicBezTo>
                    <a:pt x="1193" y="292"/>
                    <a:pt x="1191" y="300"/>
                    <a:pt x="1193" y="304"/>
                  </a:cubicBezTo>
                  <a:cubicBezTo>
                    <a:pt x="1195" y="308"/>
                    <a:pt x="1204" y="313"/>
                    <a:pt x="1207" y="316"/>
                  </a:cubicBezTo>
                  <a:cubicBezTo>
                    <a:pt x="1210" y="319"/>
                    <a:pt x="1215" y="313"/>
                    <a:pt x="1213" y="310"/>
                  </a:cubicBezTo>
                  <a:cubicBezTo>
                    <a:pt x="1211" y="307"/>
                    <a:pt x="1210" y="304"/>
                    <a:pt x="1211" y="296"/>
                  </a:cubicBezTo>
                  <a:cubicBezTo>
                    <a:pt x="1211" y="288"/>
                    <a:pt x="1209" y="287"/>
                    <a:pt x="1218" y="281"/>
                  </a:cubicBezTo>
                  <a:cubicBezTo>
                    <a:pt x="1227" y="275"/>
                    <a:pt x="1229" y="275"/>
                    <a:pt x="1232" y="268"/>
                  </a:cubicBezTo>
                  <a:cubicBezTo>
                    <a:pt x="1236" y="260"/>
                    <a:pt x="1239" y="256"/>
                    <a:pt x="1241" y="250"/>
                  </a:cubicBezTo>
                  <a:cubicBezTo>
                    <a:pt x="1242" y="245"/>
                    <a:pt x="1248" y="244"/>
                    <a:pt x="1255" y="245"/>
                  </a:cubicBezTo>
                  <a:cubicBezTo>
                    <a:pt x="1262" y="246"/>
                    <a:pt x="1258" y="249"/>
                    <a:pt x="1272" y="250"/>
                  </a:cubicBezTo>
                  <a:cubicBezTo>
                    <a:pt x="1286" y="250"/>
                    <a:pt x="1300" y="249"/>
                    <a:pt x="1310" y="252"/>
                  </a:cubicBezTo>
                  <a:cubicBezTo>
                    <a:pt x="1320" y="255"/>
                    <a:pt x="1333" y="260"/>
                    <a:pt x="1341" y="264"/>
                  </a:cubicBezTo>
                  <a:cubicBezTo>
                    <a:pt x="1348" y="268"/>
                    <a:pt x="1357" y="273"/>
                    <a:pt x="1370" y="275"/>
                  </a:cubicBezTo>
                  <a:cubicBezTo>
                    <a:pt x="1383" y="277"/>
                    <a:pt x="1397" y="279"/>
                    <a:pt x="1401" y="284"/>
                  </a:cubicBezTo>
                  <a:cubicBezTo>
                    <a:pt x="1406" y="288"/>
                    <a:pt x="1406" y="295"/>
                    <a:pt x="1415" y="297"/>
                  </a:cubicBezTo>
                  <a:cubicBezTo>
                    <a:pt x="1424" y="300"/>
                    <a:pt x="1442" y="304"/>
                    <a:pt x="1442" y="299"/>
                  </a:cubicBezTo>
                  <a:cubicBezTo>
                    <a:pt x="1443" y="295"/>
                    <a:pt x="1435" y="291"/>
                    <a:pt x="1430" y="289"/>
                  </a:cubicBezTo>
                  <a:cubicBezTo>
                    <a:pt x="1425" y="287"/>
                    <a:pt x="1420" y="282"/>
                    <a:pt x="1413" y="280"/>
                  </a:cubicBezTo>
                  <a:cubicBezTo>
                    <a:pt x="1406" y="279"/>
                    <a:pt x="1395" y="270"/>
                    <a:pt x="1393" y="269"/>
                  </a:cubicBezTo>
                  <a:cubicBezTo>
                    <a:pt x="1391" y="268"/>
                    <a:pt x="1378" y="266"/>
                    <a:pt x="1385" y="263"/>
                  </a:cubicBezTo>
                  <a:cubicBezTo>
                    <a:pt x="1391" y="260"/>
                    <a:pt x="1398" y="261"/>
                    <a:pt x="1403" y="263"/>
                  </a:cubicBezTo>
                  <a:cubicBezTo>
                    <a:pt x="1408" y="265"/>
                    <a:pt x="1418" y="266"/>
                    <a:pt x="1425" y="265"/>
                  </a:cubicBezTo>
                  <a:cubicBezTo>
                    <a:pt x="1433" y="264"/>
                    <a:pt x="1434" y="268"/>
                    <a:pt x="1445" y="264"/>
                  </a:cubicBezTo>
                  <a:cubicBezTo>
                    <a:pt x="1457" y="261"/>
                    <a:pt x="1464" y="262"/>
                    <a:pt x="1460" y="256"/>
                  </a:cubicBezTo>
                  <a:cubicBezTo>
                    <a:pt x="1457" y="250"/>
                    <a:pt x="1446" y="250"/>
                    <a:pt x="1440" y="249"/>
                  </a:cubicBezTo>
                  <a:cubicBezTo>
                    <a:pt x="1434" y="247"/>
                    <a:pt x="1427" y="243"/>
                    <a:pt x="1422" y="237"/>
                  </a:cubicBezTo>
                  <a:cubicBezTo>
                    <a:pt x="1418" y="232"/>
                    <a:pt x="1409" y="230"/>
                    <a:pt x="1402" y="227"/>
                  </a:cubicBezTo>
                  <a:cubicBezTo>
                    <a:pt x="1395" y="224"/>
                    <a:pt x="1388" y="223"/>
                    <a:pt x="1386" y="215"/>
                  </a:cubicBezTo>
                  <a:cubicBezTo>
                    <a:pt x="1384" y="207"/>
                    <a:pt x="1384" y="202"/>
                    <a:pt x="1377" y="195"/>
                  </a:cubicBezTo>
                  <a:cubicBezTo>
                    <a:pt x="1370" y="189"/>
                    <a:pt x="1374" y="186"/>
                    <a:pt x="1369" y="182"/>
                  </a:cubicBezTo>
                  <a:cubicBezTo>
                    <a:pt x="1364" y="178"/>
                    <a:pt x="1364" y="170"/>
                    <a:pt x="1367" y="170"/>
                  </a:cubicBezTo>
                  <a:cubicBezTo>
                    <a:pt x="1371" y="170"/>
                    <a:pt x="1370" y="171"/>
                    <a:pt x="1382" y="171"/>
                  </a:cubicBezTo>
                  <a:cubicBezTo>
                    <a:pt x="1394" y="172"/>
                    <a:pt x="1408" y="168"/>
                    <a:pt x="1415" y="168"/>
                  </a:cubicBezTo>
                  <a:cubicBezTo>
                    <a:pt x="1422" y="168"/>
                    <a:pt x="1436" y="168"/>
                    <a:pt x="1442" y="169"/>
                  </a:cubicBezTo>
                  <a:cubicBezTo>
                    <a:pt x="1449" y="170"/>
                    <a:pt x="1449" y="170"/>
                    <a:pt x="1456" y="173"/>
                  </a:cubicBezTo>
                  <a:cubicBezTo>
                    <a:pt x="1463" y="176"/>
                    <a:pt x="1472" y="177"/>
                    <a:pt x="1478" y="179"/>
                  </a:cubicBezTo>
                  <a:cubicBezTo>
                    <a:pt x="1484" y="181"/>
                    <a:pt x="1487" y="183"/>
                    <a:pt x="1491" y="187"/>
                  </a:cubicBezTo>
                  <a:cubicBezTo>
                    <a:pt x="1496" y="190"/>
                    <a:pt x="1512" y="195"/>
                    <a:pt x="1520" y="197"/>
                  </a:cubicBezTo>
                  <a:cubicBezTo>
                    <a:pt x="1529" y="200"/>
                    <a:pt x="1540" y="197"/>
                    <a:pt x="1547" y="201"/>
                  </a:cubicBezTo>
                  <a:cubicBezTo>
                    <a:pt x="1554" y="205"/>
                    <a:pt x="1564" y="207"/>
                    <a:pt x="1568" y="209"/>
                  </a:cubicBezTo>
                  <a:cubicBezTo>
                    <a:pt x="1573" y="211"/>
                    <a:pt x="1576" y="214"/>
                    <a:pt x="1579" y="217"/>
                  </a:cubicBezTo>
                  <a:cubicBezTo>
                    <a:pt x="1581" y="220"/>
                    <a:pt x="1590" y="222"/>
                    <a:pt x="1600" y="223"/>
                  </a:cubicBezTo>
                  <a:cubicBezTo>
                    <a:pt x="1609" y="224"/>
                    <a:pt x="1616" y="223"/>
                    <a:pt x="1623" y="224"/>
                  </a:cubicBezTo>
                  <a:cubicBezTo>
                    <a:pt x="1631" y="225"/>
                    <a:pt x="1659" y="232"/>
                    <a:pt x="1663" y="233"/>
                  </a:cubicBezTo>
                  <a:cubicBezTo>
                    <a:pt x="1667" y="235"/>
                    <a:pt x="1674" y="241"/>
                    <a:pt x="1675" y="246"/>
                  </a:cubicBezTo>
                  <a:cubicBezTo>
                    <a:pt x="1676" y="251"/>
                    <a:pt x="1673" y="253"/>
                    <a:pt x="1680" y="256"/>
                  </a:cubicBezTo>
                  <a:cubicBezTo>
                    <a:pt x="1688" y="259"/>
                    <a:pt x="1691" y="255"/>
                    <a:pt x="1699" y="261"/>
                  </a:cubicBezTo>
                  <a:cubicBezTo>
                    <a:pt x="1708" y="266"/>
                    <a:pt x="1718" y="278"/>
                    <a:pt x="1725" y="278"/>
                  </a:cubicBezTo>
                  <a:cubicBezTo>
                    <a:pt x="1733" y="278"/>
                    <a:pt x="1736" y="277"/>
                    <a:pt x="1744" y="278"/>
                  </a:cubicBezTo>
                  <a:cubicBezTo>
                    <a:pt x="1752" y="280"/>
                    <a:pt x="1760" y="278"/>
                    <a:pt x="1765" y="277"/>
                  </a:cubicBezTo>
                  <a:cubicBezTo>
                    <a:pt x="1769" y="276"/>
                    <a:pt x="1777" y="276"/>
                    <a:pt x="1777" y="271"/>
                  </a:cubicBezTo>
                  <a:cubicBezTo>
                    <a:pt x="1778" y="266"/>
                    <a:pt x="1775" y="260"/>
                    <a:pt x="1771" y="256"/>
                  </a:cubicBezTo>
                  <a:cubicBezTo>
                    <a:pt x="1767" y="252"/>
                    <a:pt x="1764" y="245"/>
                    <a:pt x="1765" y="240"/>
                  </a:cubicBezTo>
                  <a:cubicBezTo>
                    <a:pt x="1767" y="235"/>
                    <a:pt x="1771" y="232"/>
                    <a:pt x="1770" y="229"/>
                  </a:cubicBezTo>
                  <a:cubicBezTo>
                    <a:pt x="1770" y="226"/>
                    <a:pt x="1770" y="222"/>
                    <a:pt x="1767" y="218"/>
                  </a:cubicBezTo>
                  <a:cubicBezTo>
                    <a:pt x="1764" y="214"/>
                    <a:pt x="1761" y="212"/>
                    <a:pt x="1764" y="209"/>
                  </a:cubicBezTo>
                  <a:cubicBezTo>
                    <a:pt x="1767" y="206"/>
                    <a:pt x="1775" y="203"/>
                    <a:pt x="1781" y="202"/>
                  </a:cubicBezTo>
                  <a:cubicBezTo>
                    <a:pt x="1787" y="202"/>
                    <a:pt x="1787" y="199"/>
                    <a:pt x="1800" y="202"/>
                  </a:cubicBezTo>
                  <a:cubicBezTo>
                    <a:pt x="1813" y="205"/>
                    <a:pt x="1821" y="206"/>
                    <a:pt x="1828" y="208"/>
                  </a:cubicBezTo>
                  <a:cubicBezTo>
                    <a:pt x="1834" y="210"/>
                    <a:pt x="1838" y="207"/>
                    <a:pt x="1849" y="209"/>
                  </a:cubicBezTo>
                  <a:cubicBezTo>
                    <a:pt x="1859" y="210"/>
                    <a:pt x="1863" y="209"/>
                    <a:pt x="1870" y="212"/>
                  </a:cubicBezTo>
                  <a:cubicBezTo>
                    <a:pt x="1878" y="215"/>
                    <a:pt x="1881" y="216"/>
                    <a:pt x="1890" y="216"/>
                  </a:cubicBezTo>
                  <a:cubicBezTo>
                    <a:pt x="1900" y="216"/>
                    <a:pt x="1904" y="216"/>
                    <a:pt x="1902" y="213"/>
                  </a:cubicBezTo>
                  <a:cubicBezTo>
                    <a:pt x="1901" y="210"/>
                    <a:pt x="1900" y="212"/>
                    <a:pt x="1895" y="212"/>
                  </a:cubicBezTo>
                  <a:cubicBezTo>
                    <a:pt x="1890" y="212"/>
                    <a:pt x="1883" y="212"/>
                    <a:pt x="1879" y="209"/>
                  </a:cubicBezTo>
                  <a:cubicBezTo>
                    <a:pt x="1875" y="207"/>
                    <a:pt x="1872" y="204"/>
                    <a:pt x="1867" y="204"/>
                  </a:cubicBezTo>
                  <a:cubicBezTo>
                    <a:pt x="1863" y="204"/>
                    <a:pt x="1862" y="204"/>
                    <a:pt x="1855" y="203"/>
                  </a:cubicBezTo>
                  <a:cubicBezTo>
                    <a:pt x="1847" y="203"/>
                    <a:pt x="1835" y="201"/>
                    <a:pt x="1832" y="200"/>
                  </a:cubicBezTo>
                  <a:cubicBezTo>
                    <a:pt x="1828" y="198"/>
                    <a:pt x="1824" y="198"/>
                    <a:pt x="1816" y="197"/>
                  </a:cubicBezTo>
                  <a:cubicBezTo>
                    <a:pt x="1808" y="196"/>
                    <a:pt x="1805" y="194"/>
                    <a:pt x="1801" y="190"/>
                  </a:cubicBezTo>
                  <a:cubicBezTo>
                    <a:pt x="1796" y="186"/>
                    <a:pt x="1801" y="185"/>
                    <a:pt x="1789" y="180"/>
                  </a:cubicBezTo>
                  <a:cubicBezTo>
                    <a:pt x="1777" y="175"/>
                    <a:pt x="1772" y="173"/>
                    <a:pt x="1769" y="167"/>
                  </a:cubicBezTo>
                  <a:cubicBezTo>
                    <a:pt x="1766" y="162"/>
                    <a:pt x="1761" y="159"/>
                    <a:pt x="1752" y="155"/>
                  </a:cubicBezTo>
                  <a:cubicBezTo>
                    <a:pt x="1743" y="151"/>
                    <a:pt x="1740" y="153"/>
                    <a:pt x="1734" y="146"/>
                  </a:cubicBezTo>
                  <a:cubicBezTo>
                    <a:pt x="1729" y="139"/>
                    <a:pt x="1726" y="138"/>
                    <a:pt x="1720" y="135"/>
                  </a:cubicBezTo>
                  <a:cubicBezTo>
                    <a:pt x="1715" y="132"/>
                    <a:pt x="1711" y="132"/>
                    <a:pt x="1714" y="129"/>
                  </a:cubicBezTo>
                  <a:cubicBezTo>
                    <a:pt x="1716" y="126"/>
                    <a:pt x="1721" y="125"/>
                    <a:pt x="1728" y="129"/>
                  </a:cubicBezTo>
                  <a:cubicBezTo>
                    <a:pt x="1736" y="133"/>
                    <a:pt x="1739" y="134"/>
                    <a:pt x="1754" y="133"/>
                  </a:cubicBezTo>
                  <a:cubicBezTo>
                    <a:pt x="1768" y="132"/>
                    <a:pt x="1774" y="130"/>
                    <a:pt x="1781" y="130"/>
                  </a:cubicBezTo>
                  <a:cubicBezTo>
                    <a:pt x="1788" y="130"/>
                    <a:pt x="1788" y="130"/>
                    <a:pt x="1798" y="130"/>
                  </a:cubicBezTo>
                  <a:cubicBezTo>
                    <a:pt x="1808" y="130"/>
                    <a:pt x="1817" y="132"/>
                    <a:pt x="1825" y="132"/>
                  </a:cubicBezTo>
                  <a:cubicBezTo>
                    <a:pt x="1833" y="132"/>
                    <a:pt x="1856" y="132"/>
                    <a:pt x="1866" y="132"/>
                  </a:cubicBezTo>
                  <a:cubicBezTo>
                    <a:pt x="1875" y="131"/>
                    <a:pt x="1881" y="130"/>
                    <a:pt x="1888" y="131"/>
                  </a:cubicBezTo>
                  <a:cubicBezTo>
                    <a:pt x="1895" y="132"/>
                    <a:pt x="1902" y="129"/>
                    <a:pt x="1910" y="132"/>
                  </a:cubicBezTo>
                  <a:cubicBezTo>
                    <a:pt x="1919" y="136"/>
                    <a:pt x="1924" y="141"/>
                    <a:pt x="1927" y="143"/>
                  </a:cubicBezTo>
                  <a:cubicBezTo>
                    <a:pt x="1929" y="146"/>
                    <a:pt x="1930" y="148"/>
                    <a:pt x="1930" y="153"/>
                  </a:cubicBezTo>
                  <a:cubicBezTo>
                    <a:pt x="1930" y="158"/>
                    <a:pt x="1925" y="159"/>
                    <a:pt x="1930" y="164"/>
                  </a:cubicBezTo>
                  <a:cubicBezTo>
                    <a:pt x="1935" y="170"/>
                    <a:pt x="1937" y="173"/>
                    <a:pt x="1941" y="170"/>
                  </a:cubicBezTo>
                  <a:cubicBezTo>
                    <a:pt x="1945" y="168"/>
                    <a:pt x="1948" y="165"/>
                    <a:pt x="1948" y="161"/>
                  </a:cubicBezTo>
                  <a:cubicBezTo>
                    <a:pt x="1948" y="157"/>
                    <a:pt x="1949" y="153"/>
                    <a:pt x="1946" y="149"/>
                  </a:cubicBezTo>
                  <a:cubicBezTo>
                    <a:pt x="1944" y="145"/>
                    <a:pt x="1940" y="141"/>
                    <a:pt x="1943" y="138"/>
                  </a:cubicBezTo>
                  <a:cubicBezTo>
                    <a:pt x="1946" y="135"/>
                    <a:pt x="1954" y="134"/>
                    <a:pt x="1960" y="139"/>
                  </a:cubicBezTo>
                  <a:cubicBezTo>
                    <a:pt x="1965" y="144"/>
                    <a:pt x="1963" y="147"/>
                    <a:pt x="1990" y="155"/>
                  </a:cubicBezTo>
                  <a:cubicBezTo>
                    <a:pt x="2017" y="163"/>
                    <a:pt x="2021" y="160"/>
                    <a:pt x="2027" y="162"/>
                  </a:cubicBezTo>
                  <a:cubicBezTo>
                    <a:pt x="2032" y="163"/>
                    <a:pt x="2037" y="167"/>
                    <a:pt x="2038" y="170"/>
                  </a:cubicBezTo>
                  <a:cubicBezTo>
                    <a:pt x="2040" y="172"/>
                    <a:pt x="2039" y="174"/>
                    <a:pt x="2039" y="177"/>
                  </a:cubicBezTo>
                  <a:cubicBezTo>
                    <a:pt x="2040" y="180"/>
                    <a:pt x="2040" y="183"/>
                    <a:pt x="2044" y="185"/>
                  </a:cubicBezTo>
                  <a:cubicBezTo>
                    <a:pt x="2049" y="188"/>
                    <a:pt x="2050" y="191"/>
                    <a:pt x="2054" y="190"/>
                  </a:cubicBezTo>
                  <a:cubicBezTo>
                    <a:pt x="2058" y="188"/>
                    <a:pt x="2060" y="185"/>
                    <a:pt x="2061" y="181"/>
                  </a:cubicBezTo>
                  <a:cubicBezTo>
                    <a:pt x="2062" y="177"/>
                    <a:pt x="2062" y="169"/>
                    <a:pt x="2060" y="167"/>
                  </a:cubicBezTo>
                  <a:cubicBezTo>
                    <a:pt x="2057" y="165"/>
                    <a:pt x="2054" y="164"/>
                    <a:pt x="2053" y="161"/>
                  </a:cubicBezTo>
                  <a:cubicBezTo>
                    <a:pt x="2053" y="158"/>
                    <a:pt x="2054" y="156"/>
                    <a:pt x="2056" y="153"/>
                  </a:cubicBezTo>
                  <a:cubicBezTo>
                    <a:pt x="2058" y="151"/>
                    <a:pt x="2056" y="143"/>
                    <a:pt x="2054" y="142"/>
                  </a:cubicBezTo>
                  <a:cubicBezTo>
                    <a:pt x="2053" y="140"/>
                    <a:pt x="2040" y="134"/>
                    <a:pt x="2036" y="134"/>
                  </a:cubicBezTo>
                  <a:cubicBezTo>
                    <a:pt x="2032" y="134"/>
                    <a:pt x="2029" y="134"/>
                    <a:pt x="2020" y="134"/>
                  </a:cubicBezTo>
                  <a:cubicBezTo>
                    <a:pt x="2012" y="135"/>
                    <a:pt x="2004" y="133"/>
                    <a:pt x="1999" y="132"/>
                  </a:cubicBezTo>
                  <a:cubicBezTo>
                    <a:pt x="1994" y="131"/>
                    <a:pt x="1994" y="133"/>
                    <a:pt x="1983" y="131"/>
                  </a:cubicBezTo>
                  <a:cubicBezTo>
                    <a:pt x="1972" y="130"/>
                    <a:pt x="1972" y="132"/>
                    <a:pt x="1965" y="129"/>
                  </a:cubicBezTo>
                  <a:cubicBezTo>
                    <a:pt x="1958" y="125"/>
                    <a:pt x="1942" y="125"/>
                    <a:pt x="1937" y="125"/>
                  </a:cubicBezTo>
                  <a:cubicBezTo>
                    <a:pt x="1932" y="126"/>
                    <a:pt x="1921" y="128"/>
                    <a:pt x="1916" y="126"/>
                  </a:cubicBezTo>
                  <a:cubicBezTo>
                    <a:pt x="1911" y="124"/>
                    <a:pt x="1885" y="119"/>
                    <a:pt x="1882" y="120"/>
                  </a:cubicBezTo>
                  <a:cubicBezTo>
                    <a:pt x="1878" y="120"/>
                    <a:pt x="1873" y="117"/>
                    <a:pt x="1863" y="119"/>
                  </a:cubicBezTo>
                  <a:cubicBezTo>
                    <a:pt x="1853" y="121"/>
                    <a:pt x="1834" y="117"/>
                    <a:pt x="1829" y="117"/>
                  </a:cubicBezTo>
                  <a:cubicBezTo>
                    <a:pt x="1823" y="116"/>
                    <a:pt x="1810" y="117"/>
                    <a:pt x="1798" y="115"/>
                  </a:cubicBezTo>
                  <a:cubicBezTo>
                    <a:pt x="1787" y="113"/>
                    <a:pt x="1779" y="112"/>
                    <a:pt x="1773" y="113"/>
                  </a:cubicBezTo>
                  <a:cubicBezTo>
                    <a:pt x="1766" y="114"/>
                    <a:pt x="1755" y="114"/>
                    <a:pt x="1757" y="112"/>
                  </a:cubicBezTo>
                  <a:cubicBezTo>
                    <a:pt x="1758" y="109"/>
                    <a:pt x="1760" y="110"/>
                    <a:pt x="1766" y="109"/>
                  </a:cubicBezTo>
                  <a:cubicBezTo>
                    <a:pt x="1773" y="107"/>
                    <a:pt x="1772" y="106"/>
                    <a:pt x="1782" y="107"/>
                  </a:cubicBezTo>
                  <a:cubicBezTo>
                    <a:pt x="1793" y="108"/>
                    <a:pt x="1793" y="109"/>
                    <a:pt x="1801" y="109"/>
                  </a:cubicBezTo>
                  <a:cubicBezTo>
                    <a:pt x="1810" y="109"/>
                    <a:pt x="1810" y="109"/>
                    <a:pt x="1818" y="109"/>
                  </a:cubicBezTo>
                  <a:cubicBezTo>
                    <a:pt x="1827" y="109"/>
                    <a:pt x="1832" y="112"/>
                    <a:pt x="1831" y="107"/>
                  </a:cubicBezTo>
                  <a:cubicBezTo>
                    <a:pt x="1830" y="103"/>
                    <a:pt x="1831" y="101"/>
                    <a:pt x="1821" y="101"/>
                  </a:cubicBezTo>
                  <a:cubicBezTo>
                    <a:pt x="1810" y="101"/>
                    <a:pt x="1810" y="103"/>
                    <a:pt x="1799" y="101"/>
                  </a:cubicBezTo>
                  <a:cubicBezTo>
                    <a:pt x="1787" y="99"/>
                    <a:pt x="1789" y="97"/>
                    <a:pt x="1775" y="96"/>
                  </a:cubicBezTo>
                  <a:cubicBezTo>
                    <a:pt x="1762" y="95"/>
                    <a:pt x="1766" y="99"/>
                    <a:pt x="1753" y="95"/>
                  </a:cubicBezTo>
                  <a:cubicBezTo>
                    <a:pt x="1740" y="91"/>
                    <a:pt x="1741" y="91"/>
                    <a:pt x="1736" y="89"/>
                  </a:cubicBezTo>
                  <a:cubicBezTo>
                    <a:pt x="1730" y="87"/>
                    <a:pt x="1721" y="86"/>
                    <a:pt x="1718" y="81"/>
                  </a:cubicBezTo>
                  <a:cubicBezTo>
                    <a:pt x="1715" y="77"/>
                    <a:pt x="1715" y="74"/>
                    <a:pt x="1720" y="74"/>
                  </a:cubicBezTo>
                  <a:cubicBezTo>
                    <a:pt x="1726" y="75"/>
                    <a:pt x="1722" y="73"/>
                    <a:pt x="1740" y="75"/>
                  </a:cubicBezTo>
                  <a:cubicBezTo>
                    <a:pt x="1758" y="77"/>
                    <a:pt x="1764" y="78"/>
                    <a:pt x="1777" y="77"/>
                  </a:cubicBezTo>
                  <a:cubicBezTo>
                    <a:pt x="1789" y="76"/>
                    <a:pt x="1785" y="75"/>
                    <a:pt x="1799" y="75"/>
                  </a:cubicBezTo>
                  <a:cubicBezTo>
                    <a:pt x="1812" y="75"/>
                    <a:pt x="1818" y="75"/>
                    <a:pt x="1831" y="75"/>
                  </a:cubicBezTo>
                  <a:cubicBezTo>
                    <a:pt x="1844" y="76"/>
                    <a:pt x="1850" y="75"/>
                    <a:pt x="1855" y="78"/>
                  </a:cubicBezTo>
                  <a:cubicBezTo>
                    <a:pt x="1861" y="81"/>
                    <a:pt x="1870" y="85"/>
                    <a:pt x="1871" y="81"/>
                  </a:cubicBezTo>
                  <a:cubicBezTo>
                    <a:pt x="1871" y="78"/>
                    <a:pt x="1867" y="77"/>
                    <a:pt x="1860" y="74"/>
                  </a:cubicBezTo>
                  <a:cubicBezTo>
                    <a:pt x="1853" y="72"/>
                    <a:pt x="1838" y="72"/>
                    <a:pt x="1829" y="71"/>
                  </a:cubicBezTo>
                  <a:cubicBezTo>
                    <a:pt x="1819" y="70"/>
                    <a:pt x="1808" y="70"/>
                    <a:pt x="1809" y="66"/>
                  </a:cubicBezTo>
                  <a:cubicBezTo>
                    <a:pt x="1811" y="62"/>
                    <a:pt x="1814" y="59"/>
                    <a:pt x="1823" y="59"/>
                  </a:cubicBezTo>
                  <a:cubicBezTo>
                    <a:pt x="1833" y="59"/>
                    <a:pt x="1834" y="58"/>
                    <a:pt x="1844" y="56"/>
                  </a:cubicBezTo>
                  <a:cubicBezTo>
                    <a:pt x="1855" y="55"/>
                    <a:pt x="1851" y="52"/>
                    <a:pt x="1866" y="55"/>
                  </a:cubicBezTo>
                  <a:cubicBezTo>
                    <a:pt x="1880" y="58"/>
                    <a:pt x="1885" y="59"/>
                    <a:pt x="1895" y="58"/>
                  </a:cubicBezTo>
                  <a:cubicBezTo>
                    <a:pt x="1906" y="58"/>
                    <a:pt x="1909" y="56"/>
                    <a:pt x="1919" y="58"/>
                  </a:cubicBezTo>
                  <a:cubicBezTo>
                    <a:pt x="1930" y="59"/>
                    <a:pt x="1935" y="58"/>
                    <a:pt x="1937" y="63"/>
                  </a:cubicBezTo>
                  <a:cubicBezTo>
                    <a:pt x="1938" y="67"/>
                    <a:pt x="1934" y="71"/>
                    <a:pt x="1934" y="74"/>
                  </a:cubicBezTo>
                  <a:cubicBezTo>
                    <a:pt x="1935" y="77"/>
                    <a:pt x="1937" y="78"/>
                    <a:pt x="1945" y="78"/>
                  </a:cubicBezTo>
                  <a:cubicBezTo>
                    <a:pt x="1952" y="78"/>
                    <a:pt x="1958" y="75"/>
                    <a:pt x="1966" y="78"/>
                  </a:cubicBezTo>
                  <a:cubicBezTo>
                    <a:pt x="1973" y="80"/>
                    <a:pt x="1974" y="79"/>
                    <a:pt x="1981" y="84"/>
                  </a:cubicBezTo>
                  <a:cubicBezTo>
                    <a:pt x="1988" y="89"/>
                    <a:pt x="1994" y="90"/>
                    <a:pt x="2001" y="93"/>
                  </a:cubicBezTo>
                  <a:cubicBezTo>
                    <a:pt x="2009" y="97"/>
                    <a:pt x="2004" y="94"/>
                    <a:pt x="2028" y="98"/>
                  </a:cubicBezTo>
                  <a:cubicBezTo>
                    <a:pt x="2051" y="103"/>
                    <a:pt x="2045" y="103"/>
                    <a:pt x="2058" y="102"/>
                  </a:cubicBezTo>
                  <a:cubicBezTo>
                    <a:pt x="2072" y="101"/>
                    <a:pt x="2079" y="101"/>
                    <a:pt x="2085" y="103"/>
                  </a:cubicBezTo>
                  <a:cubicBezTo>
                    <a:pt x="2091" y="104"/>
                    <a:pt x="2097" y="108"/>
                    <a:pt x="2100" y="111"/>
                  </a:cubicBezTo>
                  <a:cubicBezTo>
                    <a:pt x="2103" y="115"/>
                    <a:pt x="2101" y="114"/>
                    <a:pt x="2108" y="119"/>
                  </a:cubicBezTo>
                  <a:cubicBezTo>
                    <a:pt x="2114" y="123"/>
                    <a:pt x="2123" y="131"/>
                    <a:pt x="2127" y="134"/>
                  </a:cubicBezTo>
                  <a:cubicBezTo>
                    <a:pt x="2132" y="137"/>
                    <a:pt x="2133" y="127"/>
                    <a:pt x="2130" y="122"/>
                  </a:cubicBezTo>
                  <a:cubicBezTo>
                    <a:pt x="2128" y="117"/>
                    <a:pt x="2128" y="114"/>
                    <a:pt x="2121" y="109"/>
                  </a:cubicBezTo>
                  <a:cubicBezTo>
                    <a:pt x="2113" y="104"/>
                    <a:pt x="2109" y="100"/>
                    <a:pt x="2112" y="98"/>
                  </a:cubicBezTo>
                  <a:cubicBezTo>
                    <a:pt x="2115" y="96"/>
                    <a:pt x="2119" y="95"/>
                    <a:pt x="2126" y="97"/>
                  </a:cubicBezTo>
                  <a:cubicBezTo>
                    <a:pt x="2133" y="99"/>
                    <a:pt x="2142" y="99"/>
                    <a:pt x="2149" y="98"/>
                  </a:cubicBezTo>
                  <a:cubicBezTo>
                    <a:pt x="2156" y="97"/>
                    <a:pt x="2161" y="95"/>
                    <a:pt x="2167" y="95"/>
                  </a:cubicBezTo>
                  <a:cubicBezTo>
                    <a:pt x="2173" y="95"/>
                    <a:pt x="2178" y="94"/>
                    <a:pt x="2183" y="95"/>
                  </a:cubicBezTo>
                  <a:cubicBezTo>
                    <a:pt x="2188" y="96"/>
                    <a:pt x="2205" y="98"/>
                    <a:pt x="2209" y="97"/>
                  </a:cubicBezTo>
                  <a:cubicBezTo>
                    <a:pt x="2213" y="96"/>
                    <a:pt x="2216" y="92"/>
                    <a:pt x="2213" y="92"/>
                  </a:cubicBezTo>
                  <a:cubicBezTo>
                    <a:pt x="2209" y="92"/>
                    <a:pt x="2202" y="92"/>
                    <a:pt x="2193" y="92"/>
                  </a:cubicBezTo>
                  <a:cubicBezTo>
                    <a:pt x="2185" y="92"/>
                    <a:pt x="2173" y="90"/>
                    <a:pt x="2168" y="89"/>
                  </a:cubicBezTo>
                  <a:cubicBezTo>
                    <a:pt x="2162" y="88"/>
                    <a:pt x="2163" y="88"/>
                    <a:pt x="2152" y="87"/>
                  </a:cubicBezTo>
                  <a:cubicBezTo>
                    <a:pt x="2142" y="86"/>
                    <a:pt x="2138" y="83"/>
                    <a:pt x="2141" y="81"/>
                  </a:cubicBezTo>
                  <a:cubicBezTo>
                    <a:pt x="2145" y="79"/>
                    <a:pt x="2147" y="78"/>
                    <a:pt x="2155" y="78"/>
                  </a:cubicBezTo>
                  <a:cubicBezTo>
                    <a:pt x="2164" y="77"/>
                    <a:pt x="2174" y="78"/>
                    <a:pt x="2182" y="76"/>
                  </a:cubicBezTo>
                  <a:cubicBezTo>
                    <a:pt x="2190" y="73"/>
                    <a:pt x="2198" y="72"/>
                    <a:pt x="2206" y="72"/>
                  </a:cubicBezTo>
                  <a:cubicBezTo>
                    <a:pt x="2214" y="73"/>
                    <a:pt x="2221" y="74"/>
                    <a:pt x="2224" y="73"/>
                  </a:cubicBezTo>
                  <a:cubicBezTo>
                    <a:pt x="2227" y="71"/>
                    <a:pt x="2214" y="66"/>
                    <a:pt x="2210" y="68"/>
                  </a:cubicBezTo>
                  <a:cubicBezTo>
                    <a:pt x="2206" y="69"/>
                    <a:pt x="2197" y="68"/>
                    <a:pt x="2187" y="68"/>
                  </a:cubicBezTo>
                  <a:cubicBezTo>
                    <a:pt x="2178" y="68"/>
                    <a:pt x="2167" y="69"/>
                    <a:pt x="2156" y="69"/>
                  </a:cubicBezTo>
                  <a:cubicBezTo>
                    <a:pt x="2144" y="69"/>
                    <a:pt x="2119" y="59"/>
                    <a:pt x="2118" y="56"/>
                  </a:cubicBezTo>
                  <a:cubicBezTo>
                    <a:pt x="2116" y="53"/>
                    <a:pt x="2116" y="45"/>
                    <a:pt x="2117" y="37"/>
                  </a:cubicBezTo>
                  <a:cubicBezTo>
                    <a:pt x="2117" y="30"/>
                    <a:pt x="2123" y="28"/>
                    <a:pt x="2131" y="30"/>
                  </a:cubicBezTo>
                  <a:cubicBezTo>
                    <a:pt x="2139" y="32"/>
                    <a:pt x="2149" y="34"/>
                    <a:pt x="2159" y="35"/>
                  </a:cubicBezTo>
                  <a:cubicBezTo>
                    <a:pt x="2169" y="36"/>
                    <a:pt x="2175" y="36"/>
                    <a:pt x="2177" y="34"/>
                  </a:cubicBezTo>
                  <a:cubicBezTo>
                    <a:pt x="2179" y="31"/>
                    <a:pt x="2175" y="28"/>
                    <a:pt x="2179" y="25"/>
                  </a:cubicBezTo>
                  <a:cubicBezTo>
                    <a:pt x="2184" y="22"/>
                    <a:pt x="2188" y="21"/>
                    <a:pt x="2196" y="21"/>
                  </a:cubicBezTo>
                  <a:cubicBezTo>
                    <a:pt x="2203" y="22"/>
                    <a:pt x="2209" y="21"/>
                    <a:pt x="2212" y="24"/>
                  </a:cubicBezTo>
                  <a:cubicBezTo>
                    <a:pt x="2216" y="26"/>
                    <a:pt x="2230" y="31"/>
                    <a:pt x="2234" y="32"/>
                  </a:cubicBezTo>
                  <a:cubicBezTo>
                    <a:pt x="2239" y="32"/>
                    <a:pt x="2247" y="34"/>
                    <a:pt x="2251" y="37"/>
                  </a:cubicBezTo>
                  <a:cubicBezTo>
                    <a:pt x="2254" y="39"/>
                    <a:pt x="2263" y="40"/>
                    <a:pt x="2263" y="37"/>
                  </a:cubicBezTo>
                  <a:cubicBezTo>
                    <a:pt x="2263" y="35"/>
                    <a:pt x="2261" y="29"/>
                    <a:pt x="2255" y="25"/>
                  </a:cubicBezTo>
                  <a:cubicBezTo>
                    <a:pt x="2248" y="22"/>
                    <a:pt x="2245" y="18"/>
                    <a:pt x="2248" y="16"/>
                  </a:cubicBezTo>
                  <a:cubicBezTo>
                    <a:pt x="2252" y="14"/>
                    <a:pt x="2273" y="10"/>
                    <a:pt x="2281" y="10"/>
                  </a:cubicBezTo>
                  <a:cubicBezTo>
                    <a:pt x="2290" y="11"/>
                    <a:pt x="2302" y="12"/>
                    <a:pt x="2319" y="11"/>
                  </a:cubicBezTo>
                  <a:cubicBezTo>
                    <a:pt x="2335" y="11"/>
                    <a:pt x="2342" y="11"/>
                    <a:pt x="2350" y="9"/>
                  </a:cubicBezTo>
                  <a:cubicBezTo>
                    <a:pt x="2358" y="8"/>
                    <a:pt x="2361" y="2"/>
                    <a:pt x="2370" y="2"/>
                  </a:cubicBezTo>
                  <a:cubicBezTo>
                    <a:pt x="2378" y="1"/>
                    <a:pt x="2391" y="4"/>
                    <a:pt x="2395" y="9"/>
                  </a:cubicBezTo>
                  <a:cubicBezTo>
                    <a:pt x="2399" y="13"/>
                    <a:pt x="2402" y="13"/>
                    <a:pt x="2406" y="18"/>
                  </a:cubicBezTo>
                  <a:cubicBezTo>
                    <a:pt x="2411" y="23"/>
                    <a:pt x="2421" y="27"/>
                    <a:pt x="2423" y="24"/>
                  </a:cubicBezTo>
                  <a:cubicBezTo>
                    <a:pt x="2424" y="20"/>
                    <a:pt x="2419" y="16"/>
                    <a:pt x="2421" y="12"/>
                  </a:cubicBezTo>
                  <a:cubicBezTo>
                    <a:pt x="2422" y="7"/>
                    <a:pt x="2425" y="8"/>
                    <a:pt x="2433" y="6"/>
                  </a:cubicBezTo>
                  <a:cubicBezTo>
                    <a:pt x="2442" y="3"/>
                    <a:pt x="2467" y="1"/>
                    <a:pt x="2488" y="1"/>
                  </a:cubicBezTo>
                  <a:cubicBezTo>
                    <a:pt x="2510" y="2"/>
                    <a:pt x="2520" y="2"/>
                    <a:pt x="2540" y="1"/>
                  </a:cubicBezTo>
                  <a:cubicBezTo>
                    <a:pt x="2559" y="0"/>
                    <a:pt x="2581" y="1"/>
                    <a:pt x="2593" y="1"/>
                  </a:cubicBezTo>
                  <a:cubicBezTo>
                    <a:pt x="2605" y="1"/>
                    <a:pt x="2639" y="4"/>
                    <a:pt x="2658" y="4"/>
                  </a:cubicBezTo>
                  <a:cubicBezTo>
                    <a:pt x="2677" y="5"/>
                    <a:pt x="2699" y="9"/>
                    <a:pt x="2708" y="12"/>
                  </a:cubicBezTo>
                  <a:cubicBezTo>
                    <a:pt x="2718" y="14"/>
                    <a:pt x="2739" y="20"/>
                    <a:pt x="2751" y="20"/>
                  </a:cubicBezTo>
                  <a:cubicBezTo>
                    <a:pt x="2762" y="21"/>
                    <a:pt x="2790" y="20"/>
                    <a:pt x="2799" y="23"/>
                  </a:cubicBezTo>
                  <a:cubicBezTo>
                    <a:pt x="2808" y="27"/>
                    <a:pt x="2825" y="30"/>
                    <a:pt x="2849" y="35"/>
                  </a:cubicBezTo>
                  <a:cubicBezTo>
                    <a:pt x="2873" y="39"/>
                    <a:pt x="2893" y="43"/>
                    <a:pt x="2905" y="43"/>
                  </a:cubicBezTo>
                  <a:cubicBezTo>
                    <a:pt x="2917" y="44"/>
                    <a:pt x="2931" y="44"/>
                    <a:pt x="2931" y="47"/>
                  </a:cubicBezTo>
                  <a:cubicBezTo>
                    <a:pt x="2932" y="50"/>
                    <a:pt x="2928" y="55"/>
                    <a:pt x="2914" y="59"/>
                  </a:cubicBezTo>
                  <a:cubicBezTo>
                    <a:pt x="2901" y="62"/>
                    <a:pt x="2886" y="59"/>
                    <a:pt x="2874" y="63"/>
                  </a:cubicBezTo>
                  <a:cubicBezTo>
                    <a:pt x="2861" y="67"/>
                    <a:pt x="2847" y="72"/>
                    <a:pt x="2838" y="72"/>
                  </a:cubicBezTo>
                  <a:cubicBezTo>
                    <a:pt x="2830" y="72"/>
                    <a:pt x="2802" y="68"/>
                    <a:pt x="2787" y="67"/>
                  </a:cubicBezTo>
                  <a:cubicBezTo>
                    <a:pt x="2773" y="66"/>
                    <a:pt x="2755" y="64"/>
                    <a:pt x="2737" y="65"/>
                  </a:cubicBezTo>
                  <a:cubicBezTo>
                    <a:pt x="2719" y="65"/>
                    <a:pt x="2690" y="66"/>
                    <a:pt x="2679" y="66"/>
                  </a:cubicBezTo>
                  <a:cubicBezTo>
                    <a:pt x="2668" y="66"/>
                    <a:pt x="2660" y="63"/>
                    <a:pt x="2647" y="66"/>
                  </a:cubicBezTo>
                  <a:cubicBezTo>
                    <a:pt x="2633" y="69"/>
                    <a:pt x="2621" y="65"/>
                    <a:pt x="2599" y="73"/>
                  </a:cubicBezTo>
                  <a:cubicBezTo>
                    <a:pt x="2577" y="81"/>
                    <a:pt x="2565" y="81"/>
                    <a:pt x="2556" y="81"/>
                  </a:cubicBezTo>
                  <a:cubicBezTo>
                    <a:pt x="2547" y="81"/>
                    <a:pt x="2531" y="80"/>
                    <a:pt x="2520" y="78"/>
                  </a:cubicBezTo>
                  <a:cubicBezTo>
                    <a:pt x="2508" y="76"/>
                    <a:pt x="2497" y="77"/>
                    <a:pt x="2488" y="74"/>
                  </a:cubicBezTo>
                  <a:cubicBezTo>
                    <a:pt x="2478" y="71"/>
                    <a:pt x="2462" y="64"/>
                    <a:pt x="2460" y="69"/>
                  </a:cubicBezTo>
                  <a:cubicBezTo>
                    <a:pt x="2458" y="75"/>
                    <a:pt x="2467" y="80"/>
                    <a:pt x="2470" y="82"/>
                  </a:cubicBezTo>
                  <a:cubicBezTo>
                    <a:pt x="2472" y="84"/>
                    <a:pt x="2473" y="86"/>
                    <a:pt x="2466" y="88"/>
                  </a:cubicBezTo>
                  <a:cubicBezTo>
                    <a:pt x="2459" y="90"/>
                    <a:pt x="2462" y="94"/>
                    <a:pt x="2450" y="94"/>
                  </a:cubicBezTo>
                  <a:cubicBezTo>
                    <a:pt x="2439" y="94"/>
                    <a:pt x="2442" y="89"/>
                    <a:pt x="2431" y="96"/>
                  </a:cubicBezTo>
                  <a:cubicBezTo>
                    <a:pt x="2421" y="102"/>
                    <a:pt x="2412" y="102"/>
                    <a:pt x="2403" y="103"/>
                  </a:cubicBezTo>
                  <a:cubicBezTo>
                    <a:pt x="2394" y="103"/>
                    <a:pt x="2384" y="99"/>
                    <a:pt x="2373" y="99"/>
                  </a:cubicBezTo>
                  <a:cubicBezTo>
                    <a:pt x="2363" y="100"/>
                    <a:pt x="2352" y="102"/>
                    <a:pt x="2348" y="103"/>
                  </a:cubicBezTo>
                  <a:cubicBezTo>
                    <a:pt x="2345" y="104"/>
                    <a:pt x="2333" y="106"/>
                    <a:pt x="2326" y="106"/>
                  </a:cubicBezTo>
                  <a:cubicBezTo>
                    <a:pt x="2318" y="105"/>
                    <a:pt x="2316" y="108"/>
                    <a:pt x="2319" y="111"/>
                  </a:cubicBezTo>
                  <a:cubicBezTo>
                    <a:pt x="2322" y="115"/>
                    <a:pt x="2325" y="113"/>
                    <a:pt x="2325" y="118"/>
                  </a:cubicBezTo>
                  <a:cubicBezTo>
                    <a:pt x="2325" y="123"/>
                    <a:pt x="2317" y="127"/>
                    <a:pt x="2319" y="131"/>
                  </a:cubicBezTo>
                  <a:cubicBezTo>
                    <a:pt x="2321" y="135"/>
                    <a:pt x="2324" y="137"/>
                    <a:pt x="2328" y="130"/>
                  </a:cubicBezTo>
                  <a:cubicBezTo>
                    <a:pt x="2333" y="122"/>
                    <a:pt x="2342" y="117"/>
                    <a:pt x="2352" y="115"/>
                  </a:cubicBezTo>
                  <a:cubicBezTo>
                    <a:pt x="2361" y="114"/>
                    <a:pt x="2361" y="113"/>
                    <a:pt x="2371" y="113"/>
                  </a:cubicBezTo>
                  <a:cubicBezTo>
                    <a:pt x="2381" y="113"/>
                    <a:pt x="2390" y="110"/>
                    <a:pt x="2398" y="113"/>
                  </a:cubicBezTo>
                  <a:cubicBezTo>
                    <a:pt x="2406" y="117"/>
                    <a:pt x="2405" y="121"/>
                    <a:pt x="2413" y="123"/>
                  </a:cubicBezTo>
                  <a:cubicBezTo>
                    <a:pt x="2421" y="125"/>
                    <a:pt x="2429" y="126"/>
                    <a:pt x="2433" y="120"/>
                  </a:cubicBezTo>
                  <a:cubicBezTo>
                    <a:pt x="2437" y="114"/>
                    <a:pt x="2442" y="109"/>
                    <a:pt x="2449" y="106"/>
                  </a:cubicBezTo>
                  <a:cubicBezTo>
                    <a:pt x="2456" y="104"/>
                    <a:pt x="2466" y="103"/>
                    <a:pt x="2477" y="104"/>
                  </a:cubicBezTo>
                  <a:cubicBezTo>
                    <a:pt x="2488" y="105"/>
                    <a:pt x="2490" y="106"/>
                    <a:pt x="2500" y="103"/>
                  </a:cubicBezTo>
                  <a:cubicBezTo>
                    <a:pt x="2509" y="100"/>
                    <a:pt x="2513" y="97"/>
                    <a:pt x="2529" y="98"/>
                  </a:cubicBezTo>
                  <a:cubicBezTo>
                    <a:pt x="2546" y="98"/>
                    <a:pt x="2546" y="101"/>
                    <a:pt x="2563" y="98"/>
                  </a:cubicBezTo>
                  <a:cubicBezTo>
                    <a:pt x="2580" y="96"/>
                    <a:pt x="2601" y="86"/>
                    <a:pt x="2622" y="83"/>
                  </a:cubicBezTo>
                  <a:cubicBezTo>
                    <a:pt x="2643" y="81"/>
                    <a:pt x="2640" y="80"/>
                    <a:pt x="2671" y="80"/>
                  </a:cubicBezTo>
                  <a:cubicBezTo>
                    <a:pt x="2702" y="80"/>
                    <a:pt x="2709" y="77"/>
                    <a:pt x="2724" y="79"/>
                  </a:cubicBezTo>
                  <a:cubicBezTo>
                    <a:pt x="2739" y="81"/>
                    <a:pt x="2757" y="81"/>
                    <a:pt x="2779" y="81"/>
                  </a:cubicBezTo>
                  <a:cubicBezTo>
                    <a:pt x="2800" y="81"/>
                    <a:pt x="2803" y="78"/>
                    <a:pt x="2823" y="81"/>
                  </a:cubicBezTo>
                  <a:cubicBezTo>
                    <a:pt x="2843" y="84"/>
                    <a:pt x="2856" y="83"/>
                    <a:pt x="2873" y="82"/>
                  </a:cubicBezTo>
                  <a:cubicBezTo>
                    <a:pt x="2890" y="81"/>
                    <a:pt x="2901" y="83"/>
                    <a:pt x="2912" y="79"/>
                  </a:cubicBezTo>
                  <a:cubicBezTo>
                    <a:pt x="2922" y="75"/>
                    <a:pt x="2936" y="71"/>
                    <a:pt x="2944" y="71"/>
                  </a:cubicBezTo>
                  <a:cubicBezTo>
                    <a:pt x="2951" y="70"/>
                    <a:pt x="2962" y="67"/>
                    <a:pt x="2965" y="72"/>
                  </a:cubicBezTo>
                  <a:cubicBezTo>
                    <a:pt x="2969" y="77"/>
                    <a:pt x="2975" y="85"/>
                    <a:pt x="2979" y="89"/>
                  </a:cubicBezTo>
                  <a:cubicBezTo>
                    <a:pt x="2983" y="93"/>
                    <a:pt x="2984" y="93"/>
                    <a:pt x="2985" y="96"/>
                  </a:cubicBezTo>
                  <a:cubicBezTo>
                    <a:pt x="2985" y="99"/>
                    <a:pt x="2981" y="102"/>
                    <a:pt x="2975" y="105"/>
                  </a:cubicBezTo>
                  <a:cubicBezTo>
                    <a:pt x="2970" y="108"/>
                    <a:pt x="2966" y="109"/>
                    <a:pt x="2961" y="112"/>
                  </a:cubicBezTo>
                  <a:cubicBezTo>
                    <a:pt x="2956" y="114"/>
                    <a:pt x="2951" y="114"/>
                    <a:pt x="2942" y="115"/>
                  </a:cubicBezTo>
                  <a:cubicBezTo>
                    <a:pt x="2934" y="117"/>
                    <a:pt x="2914" y="123"/>
                    <a:pt x="2917" y="127"/>
                  </a:cubicBezTo>
                  <a:cubicBezTo>
                    <a:pt x="2920" y="130"/>
                    <a:pt x="2922" y="131"/>
                    <a:pt x="2930" y="128"/>
                  </a:cubicBezTo>
                  <a:cubicBezTo>
                    <a:pt x="2938" y="124"/>
                    <a:pt x="2945" y="122"/>
                    <a:pt x="2957" y="122"/>
                  </a:cubicBezTo>
                  <a:cubicBezTo>
                    <a:pt x="2969" y="122"/>
                    <a:pt x="2976" y="122"/>
                    <a:pt x="2987" y="118"/>
                  </a:cubicBezTo>
                  <a:cubicBezTo>
                    <a:pt x="2998" y="115"/>
                    <a:pt x="2999" y="115"/>
                    <a:pt x="3007" y="112"/>
                  </a:cubicBezTo>
                  <a:cubicBezTo>
                    <a:pt x="3014" y="108"/>
                    <a:pt x="3027" y="105"/>
                    <a:pt x="3033" y="107"/>
                  </a:cubicBezTo>
                  <a:cubicBezTo>
                    <a:pt x="3038" y="108"/>
                    <a:pt x="3041" y="112"/>
                    <a:pt x="3041" y="116"/>
                  </a:cubicBezTo>
                  <a:cubicBezTo>
                    <a:pt x="3042" y="121"/>
                    <a:pt x="3043" y="123"/>
                    <a:pt x="3040" y="126"/>
                  </a:cubicBezTo>
                  <a:cubicBezTo>
                    <a:pt x="3037" y="128"/>
                    <a:pt x="3030" y="132"/>
                    <a:pt x="3035" y="133"/>
                  </a:cubicBezTo>
                  <a:cubicBezTo>
                    <a:pt x="3039" y="134"/>
                    <a:pt x="3045" y="135"/>
                    <a:pt x="3053" y="132"/>
                  </a:cubicBezTo>
                  <a:cubicBezTo>
                    <a:pt x="3061" y="129"/>
                    <a:pt x="3079" y="129"/>
                    <a:pt x="3084" y="129"/>
                  </a:cubicBezTo>
                  <a:cubicBezTo>
                    <a:pt x="3089" y="129"/>
                    <a:pt x="3110" y="130"/>
                    <a:pt x="3126" y="130"/>
                  </a:cubicBezTo>
                  <a:cubicBezTo>
                    <a:pt x="3141" y="129"/>
                    <a:pt x="3147" y="134"/>
                    <a:pt x="3156" y="139"/>
                  </a:cubicBezTo>
                  <a:cubicBezTo>
                    <a:pt x="3165" y="143"/>
                    <a:pt x="3166" y="140"/>
                    <a:pt x="3176" y="144"/>
                  </a:cubicBezTo>
                  <a:cubicBezTo>
                    <a:pt x="3186" y="148"/>
                    <a:pt x="3201" y="152"/>
                    <a:pt x="3202" y="154"/>
                  </a:cubicBezTo>
                  <a:cubicBezTo>
                    <a:pt x="3203" y="157"/>
                    <a:pt x="3188" y="163"/>
                    <a:pt x="3181" y="165"/>
                  </a:cubicBezTo>
                  <a:cubicBezTo>
                    <a:pt x="3174" y="167"/>
                    <a:pt x="3164" y="174"/>
                    <a:pt x="3157" y="179"/>
                  </a:cubicBezTo>
                  <a:cubicBezTo>
                    <a:pt x="3151" y="184"/>
                    <a:pt x="3148" y="189"/>
                    <a:pt x="3140" y="192"/>
                  </a:cubicBezTo>
                  <a:cubicBezTo>
                    <a:pt x="3133" y="194"/>
                    <a:pt x="3129" y="194"/>
                    <a:pt x="3119" y="195"/>
                  </a:cubicBezTo>
                  <a:cubicBezTo>
                    <a:pt x="3109" y="196"/>
                    <a:pt x="3084" y="196"/>
                    <a:pt x="3074" y="196"/>
                  </a:cubicBezTo>
                  <a:cubicBezTo>
                    <a:pt x="3065" y="196"/>
                    <a:pt x="3059" y="193"/>
                    <a:pt x="3047" y="198"/>
                  </a:cubicBezTo>
                  <a:cubicBezTo>
                    <a:pt x="3035" y="203"/>
                    <a:pt x="3012" y="210"/>
                    <a:pt x="3007" y="210"/>
                  </a:cubicBezTo>
                  <a:cubicBezTo>
                    <a:pt x="3002" y="211"/>
                    <a:pt x="2992" y="212"/>
                    <a:pt x="2983" y="215"/>
                  </a:cubicBezTo>
                  <a:cubicBezTo>
                    <a:pt x="2974" y="218"/>
                    <a:pt x="2970" y="221"/>
                    <a:pt x="2953" y="220"/>
                  </a:cubicBezTo>
                  <a:cubicBezTo>
                    <a:pt x="2936" y="218"/>
                    <a:pt x="2924" y="217"/>
                    <a:pt x="2911" y="218"/>
                  </a:cubicBezTo>
                  <a:cubicBezTo>
                    <a:pt x="2898" y="218"/>
                    <a:pt x="2881" y="218"/>
                    <a:pt x="2870" y="218"/>
                  </a:cubicBezTo>
                  <a:cubicBezTo>
                    <a:pt x="2860" y="218"/>
                    <a:pt x="2852" y="219"/>
                    <a:pt x="2838" y="217"/>
                  </a:cubicBezTo>
                  <a:cubicBezTo>
                    <a:pt x="2825" y="214"/>
                    <a:pt x="2771" y="218"/>
                    <a:pt x="2754" y="219"/>
                  </a:cubicBezTo>
                  <a:cubicBezTo>
                    <a:pt x="2737" y="219"/>
                    <a:pt x="2719" y="220"/>
                    <a:pt x="2706" y="222"/>
                  </a:cubicBezTo>
                  <a:cubicBezTo>
                    <a:pt x="2694" y="223"/>
                    <a:pt x="2683" y="226"/>
                    <a:pt x="2675" y="224"/>
                  </a:cubicBezTo>
                  <a:cubicBezTo>
                    <a:pt x="2667" y="221"/>
                    <a:pt x="2662" y="220"/>
                    <a:pt x="2652" y="216"/>
                  </a:cubicBezTo>
                  <a:cubicBezTo>
                    <a:pt x="2643" y="212"/>
                    <a:pt x="2629" y="214"/>
                    <a:pt x="2621" y="214"/>
                  </a:cubicBezTo>
                  <a:cubicBezTo>
                    <a:pt x="2613" y="214"/>
                    <a:pt x="2602" y="215"/>
                    <a:pt x="2594" y="214"/>
                  </a:cubicBezTo>
                  <a:cubicBezTo>
                    <a:pt x="2586" y="212"/>
                    <a:pt x="2572" y="210"/>
                    <a:pt x="2569" y="213"/>
                  </a:cubicBezTo>
                  <a:cubicBezTo>
                    <a:pt x="2566" y="215"/>
                    <a:pt x="2565" y="219"/>
                    <a:pt x="2574" y="219"/>
                  </a:cubicBezTo>
                  <a:cubicBezTo>
                    <a:pt x="2582" y="220"/>
                    <a:pt x="2585" y="218"/>
                    <a:pt x="2597" y="221"/>
                  </a:cubicBezTo>
                  <a:cubicBezTo>
                    <a:pt x="2609" y="224"/>
                    <a:pt x="2612" y="227"/>
                    <a:pt x="2619" y="229"/>
                  </a:cubicBezTo>
                  <a:cubicBezTo>
                    <a:pt x="2626" y="230"/>
                    <a:pt x="2631" y="228"/>
                    <a:pt x="2639" y="231"/>
                  </a:cubicBezTo>
                  <a:cubicBezTo>
                    <a:pt x="2646" y="233"/>
                    <a:pt x="2651" y="235"/>
                    <a:pt x="2646" y="236"/>
                  </a:cubicBezTo>
                  <a:cubicBezTo>
                    <a:pt x="2641" y="238"/>
                    <a:pt x="2625" y="239"/>
                    <a:pt x="2618" y="240"/>
                  </a:cubicBezTo>
                  <a:cubicBezTo>
                    <a:pt x="2610" y="242"/>
                    <a:pt x="2598" y="246"/>
                    <a:pt x="2592" y="246"/>
                  </a:cubicBezTo>
                  <a:cubicBezTo>
                    <a:pt x="2587" y="247"/>
                    <a:pt x="2572" y="250"/>
                    <a:pt x="2561" y="253"/>
                  </a:cubicBezTo>
                  <a:cubicBezTo>
                    <a:pt x="2550" y="257"/>
                    <a:pt x="2547" y="259"/>
                    <a:pt x="2532" y="260"/>
                  </a:cubicBezTo>
                  <a:cubicBezTo>
                    <a:pt x="2518" y="261"/>
                    <a:pt x="2497" y="263"/>
                    <a:pt x="2491" y="266"/>
                  </a:cubicBezTo>
                  <a:cubicBezTo>
                    <a:pt x="2485" y="269"/>
                    <a:pt x="2476" y="269"/>
                    <a:pt x="2478" y="277"/>
                  </a:cubicBezTo>
                  <a:cubicBezTo>
                    <a:pt x="2480" y="285"/>
                    <a:pt x="2475" y="289"/>
                    <a:pt x="2484" y="292"/>
                  </a:cubicBezTo>
                  <a:cubicBezTo>
                    <a:pt x="2493" y="295"/>
                    <a:pt x="2508" y="295"/>
                    <a:pt x="2514" y="290"/>
                  </a:cubicBezTo>
                  <a:cubicBezTo>
                    <a:pt x="2521" y="286"/>
                    <a:pt x="2524" y="278"/>
                    <a:pt x="2537" y="275"/>
                  </a:cubicBezTo>
                  <a:cubicBezTo>
                    <a:pt x="2549" y="272"/>
                    <a:pt x="2556" y="272"/>
                    <a:pt x="2567" y="271"/>
                  </a:cubicBezTo>
                  <a:cubicBezTo>
                    <a:pt x="2578" y="269"/>
                    <a:pt x="2587" y="266"/>
                    <a:pt x="2599" y="265"/>
                  </a:cubicBezTo>
                  <a:cubicBezTo>
                    <a:pt x="2610" y="265"/>
                    <a:pt x="2625" y="267"/>
                    <a:pt x="2641" y="262"/>
                  </a:cubicBezTo>
                  <a:cubicBezTo>
                    <a:pt x="2656" y="258"/>
                    <a:pt x="2667" y="254"/>
                    <a:pt x="2680" y="252"/>
                  </a:cubicBezTo>
                  <a:cubicBezTo>
                    <a:pt x="2692" y="251"/>
                    <a:pt x="2706" y="249"/>
                    <a:pt x="2714" y="247"/>
                  </a:cubicBezTo>
                  <a:cubicBezTo>
                    <a:pt x="2723" y="246"/>
                    <a:pt x="2737" y="243"/>
                    <a:pt x="2755" y="247"/>
                  </a:cubicBezTo>
                  <a:cubicBezTo>
                    <a:pt x="2774" y="250"/>
                    <a:pt x="2779" y="250"/>
                    <a:pt x="2802" y="251"/>
                  </a:cubicBezTo>
                  <a:cubicBezTo>
                    <a:pt x="2826" y="251"/>
                    <a:pt x="2827" y="250"/>
                    <a:pt x="2850" y="251"/>
                  </a:cubicBezTo>
                  <a:cubicBezTo>
                    <a:pt x="2872" y="252"/>
                    <a:pt x="2909" y="253"/>
                    <a:pt x="2924" y="253"/>
                  </a:cubicBezTo>
                  <a:cubicBezTo>
                    <a:pt x="2939" y="253"/>
                    <a:pt x="2945" y="254"/>
                    <a:pt x="2949" y="256"/>
                  </a:cubicBezTo>
                  <a:cubicBezTo>
                    <a:pt x="2954" y="259"/>
                    <a:pt x="2958" y="262"/>
                    <a:pt x="2958" y="266"/>
                  </a:cubicBezTo>
                  <a:cubicBezTo>
                    <a:pt x="2958" y="270"/>
                    <a:pt x="2956" y="275"/>
                    <a:pt x="2954" y="276"/>
                  </a:cubicBezTo>
                  <a:cubicBezTo>
                    <a:pt x="2951" y="278"/>
                    <a:pt x="2945" y="283"/>
                    <a:pt x="2937" y="286"/>
                  </a:cubicBezTo>
                  <a:cubicBezTo>
                    <a:pt x="2929" y="289"/>
                    <a:pt x="2920" y="290"/>
                    <a:pt x="2911" y="292"/>
                  </a:cubicBezTo>
                  <a:cubicBezTo>
                    <a:pt x="2902" y="293"/>
                    <a:pt x="2898" y="294"/>
                    <a:pt x="2888" y="297"/>
                  </a:cubicBezTo>
                  <a:cubicBezTo>
                    <a:pt x="2879" y="301"/>
                    <a:pt x="2876" y="300"/>
                    <a:pt x="2867" y="302"/>
                  </a:cubicBezTo>
                  <a:cubicBezTo>
                    <a:pt x="2859" y="303"/>
                    <a:pt x="2863" y="307"/>
                    <a:pt x="2849" y="310"/>
                  </a:cubicBezTo>
                  <a:cubicBezTo>
                    <a:pt x="2834" y="313"/>
                    <a:pt x="2826" y="309"/>
                    <a:pt x="2821" y="314"/>
                  </a:cubicBezTo>
                  <a:cubicBezTo>
                    <a:pt x="2816" y="319"/>
                    <a:pt x="2818" y="324"/>
                    <a:pt x="2825" y="324"/>
                  </a:cubicBezTo>
                  <a:cubicBezTo>
                    <a:pt x="2833" y="324"/>
                    <a:pt x="2838" y="322"/>
                    <a:pt x="2838" y="326"/>
                  </a:cubicBezTo>
                  <a:cubicBezTo>
                    <a:pt x="2838" y="329"/>
                    <a:pt x="2833" y="332"/>
                    <a:pt x="2833" y="334"/>
                  </a:cubicBezTo>
                  <a:cubicBezTo>
                    <a:pt x="2833" y="336"/>
                    <a:pt x="2835" y="337"/>
                    <a:pt x="2839" y="338"/>
                  </a:cubicBezTo>
                  <a:cubicBezTo>
                    <a:pt x="2843" y="338"/>
                    <a:pt x="2850" y="337"/>
                    <a:pt x="2855" y="336"/>
                  </a:cubicBezTo>
                  <a:cubicBezTo>
                    <a:pt x="2861" y="335"/>
                    <a:pt x="2882" y="326"/>
                    <a:pt x="2889" y="323"/>
                  </a:cubicBezTo>
                  <a:cubicBezTo>
                    <a:pt x="2896" y="320"/>
                    <a:pt x="2899" y="320"/>
                    <a:pt x="2907" y="319"/>
                  </a:cubicBezTo>
                  <a:cubicBezTo>
                    <a:pt x="2915" y="318"/>
                    <a:pt x="2919" y="319"/>
                    <a:pt x="2929" y="314"/>
                  </a:cubicBezTo>
                  <a:cubicBezTo>
                    <a:pt x="2938" y="310"/>
                    <a:pt x="2945" y="305"/>
                    <a:pt x="2953" y="305"/>
                  </a:cubicBezTo>
                  <a:cubicBezTo>
                    <a:pt x="2961" y="305"/>
                    <a:pt x="2959" y="305"/>
                    <a:pt x="2969" y="302"/>
                  </a:cubicBezTo>
                  <a:cubicBezTo>
                    <a:pt x="2979" y="298"/>
                    <a:pt x="2987" y="296"/>
                    <a:pt x="2995" y="294"/>
                  </a:cubicBezTo>
                  <a:cubicBezTo>
                    <a:pt x="3002" y="292"/>
                    <a:pt x="3002" y="292"/>
                    <a:pt x="3010" y="290"/>
                  </a:cubicBezTo>
                  <a:cubicBezTo>
                    <a:pt x="3018" y="288"/>
                    <a:pt x="3017" y="293"/>
                    <a:pt x="3023" y="284"/>
                  </a:cubicBezTo>
                  <a:cubicBezTo>
                    <a:pt x="3028" y="275"/>
                    <a:pt x="3030" y="272"/>
                    <a:pt x="3031" y="266"/>
                  </a:cubicBezTo>
                  <a:cubicBezTo>
                    <a:pt x="3032" y="259"/>
                    <a:pt x="3029" y="254"/>
                    <a:pt x="3036" y="249"/>
                  </a:cubicBezTo>
                  <a:cubicBezTo>
                    <a:pt x="3042" y="243"/>
                    <a:pt x="3049" y="237"/>
                    <a:pt x="3061" y="239"/>
                  </a:cubicBezTo>
                  <a:cubicBezTo>
                    <a:pt x="3074" y="241"/>
                    <a:pt x="3091" y="238"/>
                    <a:pt x="3105" y="237"/>
                  </a:cubicBezTo>
                  <a:cubicBezTo>
                    <a:pt x="3120" y="235"/>
                    <a:pt x="3125" y="234"/>
                    <a:pt x="3132" y="234"/>
                  </a:cubicBezTo>
                  <a:cubicBezTo>
                    <a:pt x="3138" y="234"/>
                    <a:pt x="3143" y="235"/>
                    <a:pt x="3146" y="239"/>
                  </a:cubicBezTo>
                  <a:cubicBezTo>
                    <a:pt x="3148" y="243"/>
                    <a:pt x="3150" y="243"/>
                    <a:pt x="3154" y="251"/>
                  </a:cubicBezTo>
                  <a:cubicBezTo>
                    <a:pt x="3159" y="258"/>
                    <a:pt x="3160" y="262"/>
                    <a:pt x="3160" y="268"/>
                  </a:cubicBezTo>
                  <a:cubicBezTo>
                    <a:pt x="3160" y="275"/>
                    <a:pt x="3161" y="280"/>
                    <a:pt x="3160" y="284"/>
                  </a:cubicBezTo>
                  <a:cubicBezTo>
                    <a:pt x="3160" y="288"/>
                    <a:pt x="3155" y="294"/>
                    <a:pt x="3152" y="298"/>
                  </a:cubicBezTo>
                  <a:cubicBezTo>
                    <a:pt x="3149" y="302"/>
                    <a:pt x="3141" y="309"/>
                    <a:pt x="3141" y="317"/>
                  </a:cubicBezTo>
                  <a:cubicBezTo>
                    <a:pt x="3141" y="325"/>
                    <a:pt x="3138" y="330"/>
                    <a:pt x="3132" y="339"/>
                  </a:cubicBezTo>
                  <a:cubicBezTo>
                    <a:pt x="3125" y="347"/>
                    <a:pt x="3123" y="347"/>
                    <a:pt x="3116" y="348"/>
                  </a:cubicBezTo>
                  <a:cubicBezTo>
                    <a:pt x="3109" y="349"/>
                    <a:pt x="3099" y="347"/>
                    <a:pt x="3098" y="353"/>
                  </a:cubicBezTo>
                  <a:cubicBezTo>
                    <a:pt x="3098" y="358"/>
                    <a:pt x="3098" y="365"/>
                    <a:pt x="3095" y="368"/>
                  </a:cubicBezTo>
                  <a:cubicBezTo>
                    <a:pt x="3091" y="371"/>
                    <a:pt x="3072" y="381"/>
                    <a:pt x="3064" y="389"/>
                  </a:cubicBezTo>
                  <a:cubicBezTo>
                    <a:pt x="3056" y="398"/>
                    <a:pt x="3048" y="402"/>
                    <a:pt x="3045" y="409"/>
                  </a:cubicBezTo>
                  <a:cubicBezTo>
                    <a:pt x="3043" y="415"/>
                    <a:pt x="3043" y="421"/>
                    <a:pt x="3041" y="425"/>
                  </a:cubicBezTo>
                  <a:cubicBezTo>
                    <a:pt x="3038" y="429"/>
                    <a:pt x="3037" y="430"/>
                    <a:pt x="3029" y="431"/>
                  </a:cubicBezTo>
                  <a:cubicBezTo>
                    <a:pt x="3021" y="432"/>
                    <a:pt x="3011" y="435"/>
                    <a:pt x="3010" y="441"/>
                  </a:cubicBezTo>
                  <a:cubicBezTo>
                    <a:pt x="3008" y="448"/>
                    <a:pt x="2998" y="456"/>
                    <a:pt x="3003" y="458"/>
                  </a:cubicBezTo>
                  <a:cubicBezTo>
                    <a:pt x="3008" y="461"/>
                    <a:pt x="3014" y="459"/>
                    <a:pt x="3020" y="452"/>
                  </a:cubicBezTo>
                  <a:cubicBezTo>
                    <a:pt x="3026" y="445"/>
                    <a:pt x="3023" y="446"/>
                    <a:pt x="3032" y="441"/>
                  </a:cubicBezTo>
                  <a:cubicBezTo>
                    <a:pt x="3042" y="436"/>
                    <a:pt x="3052" y="433"/>
                    <a:pt x="3059" y="429"/>
                  </a:cubicBezTo>
                  <a:cubicBezTo>
                    <a:pt x="3067" y="425"/>
                    <a:pt x="3075" y="416"/>
                    <a:pt x="3086" y="408"/>
                  </a:cubicBezTo>
                  <a:cubicBezTo>
                    <a:pt x="3097" y="399"/>
                    <a:pt x="3103" y="391"/>
                    <a:pt x="3114" y="388"/>
                  </a:cubicBezTo>
                  <a:cubicBezTo>
                    <a:pt x="3125" y="385"/>
                    <a:pt x="3121" y="388"/>
                    <a:pt x="3138" y="379"/>
                  </a:cubicBezTo>
                  <a:cubicBezTo>
                    <a:pt x="3156" y="370"/>
                    <a:pt x="3161" y="367"/>
                    <a:pt x="3169" y="360"/>
                  </a:cubicBezTo>
                  <a:cubicBezTo>
                    <a:pt x="3177" y="352"/>
                    <a:pt x="3187" y="348"/>
                    <a:pt x="3193" y="344"/>
                  </a:cubicBezTo>
                  <a:cubicBezTo>
                    <a:pt x="3199" y="340"/>
                    <a:pt x="3201" y="333"/>
                    <a:pt x="3205" y="329"/>
                  </a:cubicBezTo>
                  <a:cubicBezTo>
                    <a:pt x="3209" y="326"/>
                    <a:pt x="3215" y="319"/>
                    <a:pt x="3223" y="318"/>
                  </a:cubicBezTo>
                  <a:cubicBezTo>
                    <a:pt x="3230" y="318"/>
                    <a:pt x="3236" y="308"/>
                    <a:pt x="3244" y="306"/>
                  </a:cubicBezTo>
                  <a:cubicBezTo>
                    <a:pt x="3252" y="303"/>
                    <a:pt x="3256" y="302"/>
                    <a:pt x="3263" y="301"/>
                  </a:cubicBezTo>
                  <a:cubicBezTo>
                    <a:pt x="3270" y="300"/>
                    <a:pt x="3284" y="286"/>
                    <a:pt x="3289" y="291"/>
                  </a:cubicBezTo>
                  <a:cubicBezTo>
                    <a:pt x="3294" y="297"/>
                    <a:pt x="3278" y="298"/>
                    <a:pt x="3276" y="309"/>
                  </a:cubicBezTo>
                  <a:cubicBezTo>
                    <a:pt x="3274" y="321"/>
                    <a:pt x="3269" y="330"/>
                    <a:pt x="3274" y="332"/>
                  </a:cubicBezTo>
                  <a:cubicBezTo>
                    <a:pt x="3278" y="335"/>
                    <a:pt x="3283" y="329"/>
                    <a:pt x="3291" y="323"/>
                  </a:cubicBezTo>
                  <a:cubicBezTo>
                    <a:pt x="3299" y="316"/>
                    <a:pt x="3300" y="313"/>
                    <a:pt x="3311" y="312"/>
                  </a:cubicBezTo>
                  <a:cubicBezTo>
                    <a:pt x="3322" y="310"/>
                    <a:pt x="3326" y="310"/>
                    <a:pt x="3338" y="313"/>
                  </a:cubicBezTo>
                  <a:cubicBezTo>
                    <a:pt x="3351" y="316"/>
                    <a:pt x="3358" y="316"/>
                    <a:pt x="3368" y="321"/>
                  </a:cubicBezTo>
                  <a:cubicBezTo>
                    <a:pt x="3377" y="327"/>
                    <a:pt x="3386" y="328"/>
                    <a:pt x="3394" y="328"/>
                  </a:cubicBezTo>
                  <a:cubicBezTo>
                    <a:pt x="3402" y="328"/>
                    <a:pt x="3404" y="318"/>
                    <a:pt x="3403" y="315"/>
                  </a:cubicBezTo>
                  <a:cubicBezTo>
                    <a:pt x="3403" y="311"/>
                    <a:pt x="3400" y="307"/>
                    <a:pt x="3407" y="306"/>
                  </a:cubicBezTo>
                  <a:cubicBezTo>
                    <a:pt x="3415" y="306"/>
                    <a:pt x="3423" y="308"/>
                    <a:pt x="3426" y="306"/>
                  </a:cubicBezTo>
                  <a:cubicBezTo>
                    <a:pt x="3430" y="304"/>
                    <a:pt x="3436" y="305"/>
                    <a:pt x="3433" y="301"/>
                  </a:cubicBezTo>
                  <a:cubicBezTo>
                    <a:pt x="3429" y="297"/>
                    <a:pt x="3418" y="297"/>
                    <a:pt x="3421" y="293"/>
                  </a:cubicBezTo>
                  <a:cubicBezTo>
                    <a:pt x="3423" y="289"/>
                    <a:pt x="3423" y="284"/>
                    <a:pt x="3430" y="284"/>
                  </a:cubicBezTo>
                  <a:cubicBezTo>
                    <a:pt x="3437" y="284"/>
                    <a:pt x="3444" y="285"/>
                    <a:pt x="3444" y="280"/>
                  </a:cubicBezTo>
                  <a:cubicBezTo>
                    <a:pt x="3445" y="276"/>
                    <a:pt x="3441" y="275"/>
                    <a:pt x="3445" y="270"/>
                  </a:cubicBezTo>
                  <a:cubicBezTo>
                    <a:pt x="3450" y="266"/>
                    <a:pt x="3461" y="261"/>
                    <a:pt x="3467" y="263"/>
                  </a:cubicBezTo>
                  <a:cubicBezTo>
                    <a:pt x="3473" y="264"/>
                    <a:pt x="3476" y="264"/>
                    <a:pt x="3483" y="260"/>
                  </a:cubicBezTo>
                  <a:cubicBezTo>
                    <a:pt x="3489" y="257"/>
                    <a:pt x="3496" y="255"/>
                    <a:pt x="3505" y="255"/>
                  </a:cubicBezTo>
                  <a:cubicBezTo>
                    <a:pt x="3513" y="255"/>
                    <a:pt x="3529" y="254"/>
                    <a:pt x="3549" y="256"/>
                  </a:cubicBezTo>
                  <a:cubicBezTo>
                    <a:pt x="3569" y="257"/>
                    <a:pt x="3576" y="258"/>
                    <a:pt x="3588" y="257"/>
                  </a:cubicBezTo>
                  <a:cubicBezTo>
                    <a:pt x="3601" y="257"/>
                    <a:pt x="3606" y="255"/>
                    <a:pt x="3614" y="256"/>
                  </a:cubicBezTo>
                  <a:cubicBezTo>
                    <a:pt x="3623" y="258"/>
                    <a:pt x="3627" y="260"/>
                    <a:pt x="3636" y="263"/>
                  </a:cubicBezTo>
                  <a:cubicBezTo>
                    <a:pt x="3645" y="266"/>
                    <a:pt x="3653" y="267"/>
                    <a:pt x="3665" y="273"/>
                  </a:cubicBezTo>
                  <a:cubicBezTo>
                    <a:pt x="3677" y="278"/>
                    <a:pt x="3684" y="278"/>
                    <a:pt x="3696" y="282"/>
                  </a:cubicBezTo>
                  <a:cubicBezTo>
                    <a:pt x="3709" y="286"/>
                    <a:pt x="3712" y="287"/>
                    <a:pt x="3730" y="292"/>
                  </a:cubicBezTo>
                  <a:cubicBezTo>
                    <a:pt x="3749" y="297"/>
                    <a:pt x="3749" y="297"/>
                    <a:pt x="3757" y="299"/>
                  </a:cubicBezTo>
                  <a:cubicBezTo>
                    <a:pt x="3765" y="300"/>
                    <a:pt x="3778" y="302"/>
                    <a:pt x="3778" y="304"/>
                  </a:cubicBezTo>
                  <a:cubicBezTo>
                    <a:pt x="3779" y="307"/>
                    <a:pt x="3773" y="310"/>
                    <a:pt x="3770" y="312"/>
                  </a:cubicBezTo>
                  <a:cubicBezTo>
                    <a:pt x="3767" y="314"/>
                    <a:pt x="3766" y="315"/>
                    <a:pt x="3751" y="322"/>
                  </a:cubicBezTo>
                  <a:cubicBezTo>
                    <a:pt x="3736" y="330"/>
                    <a:pt x="3731" y="330"/>
                    <a:pt x="3724" y="336"/>
                  </a:cubicBezTo>
                  <a:cubicBezTo>
                    <a:pt x="3717" y="343"/>
                    <a:pt x="3716" y="343"/>
                    <a:pt x="3703" y="349"/>
                  </a:cubicBezTo>
                  <a:cubicBezTo>
                    <a:pt x="3691" y="354"/>
                    <a:pt x="3699" y="352"/>
                    <a:pt x="3678" y="362"/>
                  </a:cubicBezTo>
                  <a:cubicBezTo>
                    <a:pt x="3657" y="372"/>
                    <a:pt x="3649" y="373"/>
                    <a:pt x="3640" y="381"/>
                  </a:cubicBezTo>
                  <a:cubicBezTo>
                    <a:pt x="3630" y="388"/>
                    <a:pt x="3618" y="390"/>
                    <a:pt x="3618" y="393"/>
                  </a:cubicBezTo>
                  <a:cubicBezTo>
                    <a:pt x="3617" y="395"/>
                    <a:pt x="3617" y="397"/>
                    <a:pt x="3619" y="399"/>
                  </a:cubicBezTo>
                  <a:cubicBezTo>
                    <a:pt x="3622" y="401"/>
                    <a:pt x="3622" y="404"/>
                    <a:pt x="3621" y="405"/>
                  </a:cubicBezTo>
                  <a:cubicBezTo>
                    <a:pt x="3620" y="407"/>
                    <a:pt x="3615" y="410"/>
                    <a:pt x="3610" y="409"/>
                  </a:cubicBezTo>
                  <a:cubicBezTo>
                    <a:pt x="3606" y="409"/>
                    <a:pt x="3596" y="408"/>
                    <a:pt x="3590" y="408"/>
                  </a:cubicBezTo>
                  <a:cubicBezTo>
                    <a:pt x="3583" y="409"/>
                    <a:pt x="3576" y="410"/>
                    <a:pt x="3574" y="410"/>
                  </a:cubicBezTo>
                  <a:cubicBezTo>
                    <a:pt x="3571" y="411"/>
                    <a:pt x="3564" y="412"/>
                    <a:pt x="3555" y="415"/>
                  </a:cubicBezTo>
                  <a:cubicBezTo>
                    <a:pt x="3546" y="417"/>
                    <a:pt x="3552" y="418"/>
                    <a:pt x="3537" y="421"/>
                  </a:cubicBezTo>
                  <a:cubicBezTo>
                    <a:pt x="3523" y="424"/>
                    <a:pt x="3517" y="428"/>
                    <a:pt x="3510" y="430"/>
                  </a:cubicBezTo>
                  <a:cubicBezTo>
                    <a:pt x="3503" y="433"/>
                    <a:pt x="3492" y="435"/>
                    <a:pt x="3482" y="434"/>
                  </a:cubicBezTo>
                  <a:cubicBezTo>
                    <a:pt x="3472" y="432"/>
                    <a:pt x="3470" y="432"/>
                    <a:pt x="3459" y="431"/>
                  </a:cubicBezTo>
                  <a:cubicBezTo>
                    <a:pt x="3448" y="431"/>
                    <a:pt x="3441" y="431"/>
                    <a:pt x="3436" y="429"/>
                  </a:cubicBezTo>
                  <a:cubicBezTo>
                    <a:pt x="3431" y="426"/>
                    <a:pt x="3428" y="425"/>
                    <a:pt x="3425" y="422"/>
                  </a:cubicBezTo>
                  <a:cubicBezTo>
                    <a:pt x="3423" y="420"/>
                    <a:pt x="3418" y="417"/>
                    <a:pt x="3414" y="418"/>
                  </a:cubicBezTo>
                  <a:cubicBezTo>
                    <a:pt x="3410" y="419"/>
                    <a:pt x="3404" y="426"/>
                    <a:pt x="3402" y="428"/>
                  </a:cubicBezTo>
                  <a:cubicBezTo>
                    <a:pt x="3400" y="431"/>
                    <a:pt x="3384" y="438"/>
                    <a:pt x="3373" y="441"/>
                  </a:cubicBezTo>
                  <a:cubicBezTo>
                    <a:pt x="3362" y="445"/>
                    <a:pt x="3357" y="447"/>
                    <a:pt x="3346" y="444"/>
                  </a:cubicBezTo>
                  <a:cubicBezTo>
                    <a:pt x="3335" y="441"/>
                    <a:pt x="3339" y="443"/>
                    <a:pt x="3325" y="439"/>
                  </a:cubicBezTo>
                  <a:cubicBezTo>
                    <a:pt x="3311" y="435"/>
                    <a:pt x="3289" y="436"/>
                    <a:pt x="3280" y="436"/>
                  </a:cubicBezTo>
                  <a:cubicBezTo>
                    <a:pt x="3272" y="437"/>
                    <a:pt x="3259" y="441"/>
                    <a:pt x="3256" y="444"/>
                  </a:cubicBezTo>
                  <a:cubicBezTo>
                    <a:pt x="3252" y="448"/>
                    <a:pt x="3246" y="450"/>
                    <a:pt x="3240" y="450"/>
                  </a:cubicBezTo>
                  <a:cubicBezTo>
                    <a:pt x="3234" y="450"/>
                    <a:pt x="3216" y="447"/>
                    <a:pt x="3215" y="450"/>
                  </a:cubicBezTo>
                  <a:cubicBezTo>
                    <a:pt x="3213" y="453"/>
                    <a:pt x="3217" y="452"/>
                    <a:pt x="3224" y="456"/>
                  </a:cubicBezTo>
                  <a:cubicBezTo>
                    <a:pt x="3230" y="459"/>
                    <a:pt x="3233" y="464"/>
                    <a:pt x="3236" y="465"/>
                  </a:cubicBezTo>
                  <a:cubicBezTo>
                    <a:pt x="3240" y="466"/>
                    <a:pt x="3245" y="468"/>
                    <a:pt x="3250" y="463"/>
                  </a:cubicBezTo>
                  <a:cubicBezTo>
                    <a:pt x="3256" y="459"/>
                    <a:pt x="3259" y="458"/>
                    <a:pt x="3265" y="455"/>
                  </a:cubicBezTo>
                  <a:cubicBezTo>
                    <a:pt x="3272" y="451"/>
                    <a:pt x="3275" y="448"/>
                    <a:pt x="3285" y="449"/>
                  </a:cubicBezTo>
                  <a:cubicBezTo>
                    <a:pt x="3295" y="449"/>
                    <a:pt x="3301" y="448"/>
                    <a:pt x="3311" y="453"/>
                  </a:cubicBezTo>
                  <a:cubicBezTo>
                    <a:pt x="3320" y="457"/>
                    <a:pt x="3336" y="458"/>
                    <a:pt x="3347" y="459"/>
                  </a:cubicBezTo>
                  <a:cubicBezTo>
                    <a:pt x="3357" y="459"/>
                    <a:pt x="3359" y="463"/>
                    <a:pt x="3376" y="460"/>
                  </a:cubicBezTo>
                  <a:cubicBezTo>
                    <a:pt x="3394" y="458"/>
                    <a:pt x="3406" y="453"/>
                    <a:pt x="3416" y="451"/>
                  </a:cubicBezTo>
                  <a:cubicBezTo>
                    <a:pt x="3426" y="449"/>
                    <a:pt x="3433" y="447"/>
                    <a:pt x="3443" y="447"/>
                  </a:cubicBezTo>
                  <a:cubicBezTo>
                    <a:pt x="3452" y="447"/>
                    <a:pt x="3463" y="448"/>
                    <a:pt x="3474" y="452"/>
                  </a:cubicBezTo>
                  <a:cubicBezTo>
                    <a:pt x="3485" y="456"/>
                    <a:pt x="3493" y="457"/>
                    <a:pt x="3503" y="459"/>
                  </a:cubicBezTo>
                  <a:cubicBezTo>
                    <a:pt x="3513" y="461"/>
                    <a:pt x="3521" y="457"/>
                    <a:pt x="3524" y="462"/>
                  </a:cubicBezTo>
                  <a:cubicBezTo>
                    <a:pt x="3526" y="467"/>
                    <a:pt x="3523" y="472"/>
                    <a:pt x="3515" y="476"/>
                  </a:cubicBezTo>
                  <a:cubicBezTo>
                    <a:pt x="3506" y="479"/>
                    <a:pt x="3500" y="483"/>
                    <a:pt x="3499" y="486"/>
                  </a:cubicBezTo>
                  <a:cubicBezTo>
                    <a:pt x="3498" y="489"/>
                    <a:pt x="3497" y="495"/>
                    <a:pt x="3488" y="496"/>
                  </a:cubicBezTo>
                  <a:cubicBezTo>
                    <a:pt x="3478" y="498"/>
                    <a:pt x="3467" y="498"/>
                    <a:pt x="3455" y="498"/>
                  </a:cubicBezTo>
                  <a:cubicBezTo>
                    <a:pt x="3443" y="498"/>
                    <a:pt x="3419" y="496"/>
                    <a:pt x="3414" y="498"/>
                  </a:cubicBezTo>
                  <a:cubicBezTo>
                    <a:pt x="3410" y="501"/>
                    <a:pt x="3397" y="504"/>
                    <a:pt x="3389" y="503"/>
                  </a:cubicBezTo>
                  <a:cubicBezTo>
                    <a:pt x="3380" y="502"/>
                    <a:pt x="3357" y="500"/>
                    <a:pt x="3352" y="499"/>
                  </a:cubicBezTo>
                  <a:cubicBezTo>
                    <a:pt x="3346" y="498"/>
                    <a:pt x="3328" y="495"/>
                    <a:pt x="3322" y="495"/>
                  </a:cubicBezTo>
                  <a:cubicBezTo>
                    <a:pt x="3316" y="496"/>
                    <a:pt x="3306" y="493"/>
                    <a:pt x="3302" y="494"/>
                  </a:cubicBezTo>
                  <a:cubicBezTo>
                    <a:pt x="3298" y="494"/>
                    <a:pt x="3289" y="498"/>
                    <a:pt x="3285" y="501"/>
                  </a:cubicBezTo>
                  <a:cubicBezTo>
                    <a:pt x="3282" y="504"/>
                    <a:pt x="3276" y="507"/>
                    <a:pt x="3271" y="509"/>
                  </a:cubicBezTo>
                  <a:cubicBezTo>
                    <a:pt x="3266" y="510"/>
                    <a:pt x="3258" y="516"/>
                    <a:pt x="3258" y="517"/>
                  </a:cubicBezTo>
                  <a:cubicBezTo>
                    <a:pt x="3257" y="518"/>
                    <a:pt x="3257" y="519"/>
                    <a:pt x="3257" y="524"/>
                  </a:cubicBezTo>
                  <a:cubicBezTo>
                    <a:pt x="3257" y="530"/>
                    <a:pt x="3257" y="530"/>
                    <a:pt x="3254" y="534"/>
                  </a:cubicBezTo>
                  <a:cubicBezTo>
                    <a:pt x="3252" y="537"/>
                    <a:pt x="3244" y="544"/>
                    <a:pt x="3242" y="547"/>
                  </a:cubicBezTo>
                  <a:cubicBezTo>
                    <a:pt x="3241" y="550"/>
                    <a:pt x="3238" y="555"/>
                    <a:pt x="3246" y="558"/>
                  </a:cubicBezTo>
                  <a:cubicBezTo>
                    <a:pt x="3253" y="560"/>
                    <a:pt x="3257" y="559"/>
                    <a:pt x="3261" y="564"/>
                  </a:cubicBezTo>
                  <a:cubicBezTo>
                    <a:pt x="3266" y="570"/>
                    <a:pt x="3275" y="571"/>
                    <a:pt x="3278" y="569"/>
                  </a:cubicBezTo>
                  <a:cubicBezTo>
                    <a:pt x="3281" y="566"/>
                    <a:pt x="3290" y="564"/>
                    <a:pt x="3291" y="561"/>
                  </a:cubicBezTo>
                  <a:cubicBezTo>
                    <a:pt x="3293" y="557"/>
                    <a:pt x="3285" y="553"/>
                    <a:pt x="3280" y="554"/>
                  </a:cubicBezTo>
                  <a:cubicBezTo>
                    <a:pt x="3276" y="554"/>
                    <a:pt x="3277" y="546"/>
                    <a:pt x="3281" y="546"/>
                  </a:cubicBezTo>
                  <a:cubicBezTo>
                    <a:pt x="3284" y="546"/>
                    <a:pt x="3287" y="547"/>
                    <a:pt x="3301" y="549"/>
                  </a:cubicBezTo>
                  <a:cubicBezTo>
                    <a:pt x="3315" y="550"/>
                    <a:pt x="3322" y="553"/>
                    <a:pt x="3334" y="549"/>
                  </a:cubicBezTo>
                  <a:cubicBezTo>
                    <a:pt x="3346" y="545"/>
                    <a:pt x="3353" y="541"/>
                    <a:pt x="3362" y="540"/>
                  </a:cubicBezTo>
                  <a:cubicBezTo>
                    <a:pt x="3370" y="539"/>
                    <a:pt x="3379" y="538"/>
                    <a:pt x="3385" y="538"/>
                  </a:cubicBezTo>
                  <a:cubicBezTo>
                    <a:pt x="3392" y="538"/>
                    <a:pt x="3403" y="533"/>
                    <a:pt x="3411" y="532"/>
                  </a:cubicBezTo>
                  <a:cubicBezTo>
                    <a:pt x="3419" y="532"/>
                    <a:pt x="3438" y="525"/>
                    <a:pt x="3440" y="530"/>
                  </a:cubicBezTo>
                  <a:cubicBezTo>
                    <a:pt x="3441" y="535"/>
                    <a:pt x="3436" y="538"/>
                    <a:pt x="3430" y="543"/>
                  </a:cubicBezTo>
                  <a:cubicBezTo>
                    <a:pt x="3424" y="548"/>
                    <a:pt x="3414" y="548"/>
                    <a:pt x="3411" y="554"/>
                  </a:cubicBezTo>
                  <a:cubicBezTo>
                    <a:pt x="3407" y="559"/>
                    <a:pt x="3405" y="565"/>
                    <a:pt x="3400" y="569"/>
                  </a:cubicBezTo>
                  <a:cubicBezTo>
                    <a:pt x="3395" y="572"/>
                    <a:pt x="3383" y="570"/>
                    <a:pt x="3376" y="568"/>
                  </a:cubicBezTo>
                  <a:cubicBezTo>
                    <a:pt x="3369" y="566"/>
                    <a:pt x="3358" y="566"/>
                    <a:pt x="3349" y="566"/>
                  </a:cubicBezTo>
                  <a:cubicBezTo>
                    <a:pt x="3341" y="566"/>
                    <a:pt x="3338" y="563"/>
                    <a:pt x="3333" y="564"/>
                  </a:cubicBezTo>
                  <a:cubicBezTo>
                    <a:pt x="3328" y="566"/>
                    <a:pt x="3319" y="567"/>
                    <a:pt x="3318" y="574"/>
                  </a:cubicBezTo>
                  <a:cubicBezTo>
                    <a:pt x="3316" y="580"/>
                    <a:pt x="3307" y="584"/>
                    <a:pt x="3306" y="588"/>
                  </a:cubicBezTo>
                  <a:cubicBezTo>
                    <a:pt x="3304" y="591"/>
                    <a:pt x="3301" y="603"/>
                    <a:pt x="3304" y="607"/>
                  </a:cubicBezTo>
                  <a:cubicBezTo>
                    <a:pt x="3307" y="612"/>
                    <a:pt x="3309" y="620"/>
                    <a:pt x="3309" y="623"/>
                  </a:cubicBezTo>
                  <a:cubicBezTo>
                    <a:pt x="3309" y="626"/>
                    <a:pt x="3308" y="627"/>
                    <a:pt x="3304" y="631"/>
                  </a:cubicBezTo>
                  <a:cubicBezTo>
                    <a:pt x="3300" y="636"/>
                    <a:pt x="3294" y="639"/>
                    <a:pt x="3292" y="647"/>
                  </a:cubicBezTo>
                  <a:cubicBezTo>
                    <a:pt x="3290" y="655"/>
                    <a:pt x="3289" y="659"/>
                    <a:pt x="3284" y="663"/>
                  </a:cubicBezTo>
                  <a:cubicBezTo>
                    <a:pt x="3280" y="667"/>
                    <a:pt x="3279" y="676"/>
                    <a:pt x="3281" y="679"/>
                  </a:cubicBezTo>
                  <a:cubicBezTo>
                    <a:pt x="3284" y="682"/>
                    <a:pt x="3288" y="688"/>
                    <a:pt x="3286" y="690"/>
                  </a:cubicBezTo>
                  <a:cubicBezTo>
                    <a:pt x="3284" y="692"/>
                    <a:pt x="3271" y="692"/>
                    <a:pt x="3268" y="691"/>
                  </a:cubicBezTo>
                  <a:cubicBezTo>
                    <a:pt x="3264" y="690"/>
                    <a:pt x="3255" y="686"/>
                    <a:pt x="3247" y="688"/>
                  </a:cubicBezTo>
                  <a:cubicBezTo>
                    <a:pt x="3238" y="690"/>
                    <a:pt x="3233" y="693"/>
                    <a:pt x="3229" y="695"/>
                  </a:cubicBezTo>
                  <a:cubicBezTo>
                    <a:pt x="3225" y="696"/>
                    <a:pt x="3209" y="695"/>
                    <a:pt x="3208" y="697"/>
                  </a:cubicBezTo>
                  <a:cubicBezTo>
                    <a:pt x="3208" y="699"/>
                    <a:pt x="3215" y="698"/>
                    <a:pt x="3216" y="702"/>
                  </a:cubicBezTo>
                  <a:cubicBezTo>
                    <a:pt x="3217" y="707"/>
                    <a:pt x="3209" y="709"/>
                    <a:pt x="3208" y="712"/>
                  </a:cubicBezTo>
                  <a:cubicBezTo>
                    <a:pt x="3206" y="714"/>
                    <a:pt x="3208" y="719"/>
                    <a:pt x="3205" y="720"/>
                  </a:cubicBezTo>
                  <a:cubicBezTo>
                    <a:pt x="3202" y="722"/>
                    <a:pt x="3196" y="723"/>
                    <a:pt x="3195" y="724"/>
                  </a:cubicBezTo>
                  <a:cubicBezTo>
                    <a:pt x="3195" y="725"/>
                    <a:pt x="3197" y="730"/>
                    <a:pt x="3202" y="729"/>
                  </a:cubicBezTo>
                  <a:cubicBezTo>
                    <a:pt x="3208" y="729"/>
                    <a:pt x="3215" y="725"/>
                    <a:pt x="3218" y="728"/>
                  </a:cubicBezTo>
                  <a:cubicBezTo>
                    <a:pt x="3221" y="731"/>
                    <a:pt x="3222" y="733"/>
                    <a:pt x="3219" y="738"/>
                  </a:cubicBezTo>
                  <a:cubicBezTo>
                    <a:pt x="3215" y="743"/>
                    <a:pt x="3215" y="744"/>
                    <a:pt x="3207" y="750"/>
                  </a:cubicBezTo>
                  <a:cubicBezTo>
                    <a:pt x="3199" y="756"/>
                    <a:pt x="3194" y="761"/>
                    <a:pt x="3196" y="767"/>
                  </a:cubicBezTo>
                  <a:cubicBezTo>
                    <a:pt x="3199" y="773"/>
                    <a:pt x="3202" y="773"/>
                    <a:pt x="3201" y="778"/>
                  </a:cubicBezTo>
                  <a:cubicBezTo>
                    <a:pt x="3200" y="783"/>
                    <a:pt x="3199" y="785"/>
                    <a:pt x="3196" y="787"/>
                  </a:cubicBezTo>
                  <a:cubicBezTo>
                    <a:pt x="3192" y="790"/>
                    <a:pt x="3189" y="790"/>
                    <a:pt x="3185" y="790"/>
                  </a:cubicBezTo>
                  <a:cubicBezTo>
                    <a:pt x="3181" y="790"/>
                    <a:pt x="3177" y="790"/>
                    <a:pt x="3177" y="792"/>
                  </a:cubicBezTo>
                  <a:cubicBezTo>
                    <a:pt x="3177" y="794"/>
                    <a:pt x="3175" y="796"/>
                    <a:pt x="3180" y="797"/>
                  </a:cubicBezTo>
                  <a:cubicBezTo>
                    <a:pt x="3185" y="798"/>
                    <a:pt x="3189" y="799"/>
                    <a:pt x="3188" y="802"/>
                  </a:cubicBezTo>
                  <a:cubicBezTo>
                    <a:pt x="3188" y="805"/>
                    <a:pt x="3182" y="807"/>
                    <a:pt x="3180" y="809"/>
                  </a:cubicBezTo>
                  <a:cubicBezTo>
                    <a:pt x="3178" y="810"/>
                    <a:pt x="3170" y="812"/>
                    <a:pt x="3171" y="816"/>
                  </a:cubicBezTo>
                  <a:cubicBezTo>
                    <a:pt x="3171" y="819"/>
                    <a:pt x="3177" y="818"/>
                    <a:pt x="3178" y="822"/>
                  </a:cubicBezTo>
                  <a:cubicBezTo>
                    <a:pt x="3180" y="826"/>
                    <a:pt x="3179" y="828"/>
                    <a:pt x="3174" y="831"/>
                  </a:cubicBezTo>
                  <a:cubicBezTo>
                    <a:pt x="3170" y="833"/>
                    <a:pt x="3166" y="834"/>
                    <a:pt x="3165" y="839"/>
                  </a:cubicBezTo>
                  <a:cubicBezTo>
                    <a:pt x="3163" y="843"/>
                    <a:pt x="3157" y="844"/>
                    <a:pt x="3158" y="848"/>
                  </a:cubicBezTo>
                  <a:cubicBezTo>
                    <a:pt x="3159" y="853"/>
                    <a:pt x="3159" y="854"/>
                    <a:pt x="3164" y="853"/>
                  </a:cubicBezTo>
                  <a:cubicBezTo>
                    <a:pt x="3169" y="853"/>
                    <a:pt x="3170" y="853"/>
                    <a:pt x="3174" y="852"/>
                  </a:cubicBezTo>
                  <a:cubicBezTo>
                    <a:pt x="3178" y="851"/>
                    <a:pt x="3180" y="852"/>
                    <a:pt x="3185" y="853"/>
                  </a:cubicBezTo>
                  <a:cubicBezTo>
                    <a:pt x="3189" y="853"/>
                    <a:pt x="3192" y="856"/>
                    <a:pt x="3189" y="858"/>
                  </a:cubicBezTo>
                  <a:cubicBezTo>
                    <a:pt x="3186" y="860"/>
                    <a:pt x="3183" y="861"/>
                    <a:pt x="3181" y="864"/>
                  </a:cubicBezTo>
                  <a:cubicBezTo>
                    <a:pt x="3178" y="866"/>
                    <a:pt x="3174" y="871"/>
                    <a:pt x="3178" y="873"/>
                  </a:cubicBezTo>
                  <a:cubicBezTo>
                    <a:pt x="3182" y="874"/>
                    <a:pt x="3183" y="871"/>
                    <a:pt x="3187" y="869"/>
                  </a:cubicBezTo>
                  <a:cubicBezTo>
                    <a:pt x="3190" y="866"/>
                    <a:pt x="3191" y="864"/>
                    <a:pt x="3196" y="864"/>
                  </a:cubicBezTo>
                  <a:cubicBezTo>
                    <a:pt x="3201" y="863"/>
                    <a:pt x="3206" y="861"/>
                    <a:pt x="3206" y="859"/>
                  </a:cubicBezTo>
                  <a:cubicBezTo>
                    <a:pt x="3206" y="857"/>
                    <a:pt x="3204" y="853"/>
                    <a:pt x="3203" y="851"/>
                  </a:cubicBezTo>
                  <a:cubicBezTo>
                    <a:pt x="3202" y="848"/>
                    <a:pt x="3198" y="846"/>
                    <a:pt x="3204" y="841"/>
                  </a:cubicBezTo>
                  <a:cubicBezTo>
                    <a:pt x="3209" y="836"/>
                    <a:pt x="3211" y="836"/>
                    <a:pt x="3216" y="833"/>
                  </a:cubicBezTo>
                  <a:cubicBezTo>
                    <a:pt x="3221" y="829"/>
                    <a:pt x="3221" y="828"/>
                    <a:pt x="3223" y="824"/>
                  </a:cubicBezTo>
                  <a:cubicBezTo>
                    <a:pt x="3226" y="820"/>
                    <a:pt x="3227" y="819"/>
                    <a:pt x="3230" y="816"/>
                  </a:cubicBezTo>
                  <a:cubicBezTo>
                    <a:pt x="3233" y="814"/>
                    <a:pt x="3230" y="810"/>
                    <a:pt x="3238" y="813"/>
                  </a:cubicBezTo>
                  <a:cubicBezTo>
                    <a:pt x="3246" y="817"/>
                    <a:pt x="3246" y="819"/>
                    <a:pt x="3252" y="824"/>
                  </a:cubicBezTo>
                  <a:cubicBezTo>
                    <a:pt x="3259" y="829"/>
                    <a:pt x="3259" y="830"/>
                    <a:pt x="3271" y="830"/>
                  </a:cubicBezTo>
                  <a:cubicBezTo>
                    <a:pt x="3283" y="830"/>
                    <a:pt x="3283" y="826"/>
                    <a:pt x="3293" y="831"/>
                  </a:cubicBezTo>
                  <a:cubicBezTo>
                    <a:pt x="3303" y="836"/>
                    <a:pt x="3300" y="837"/>
                    <a:pt x="3308" y="838"/>
                  </a:cubicBezTo>
                  <a:cubicBezTo>
                    <a:pt x="3316" y="839"/>
                    <a:pt x="3323" y="838"/>
                    <a:pt x="3329" y="842"/>
                  </a:cubicBezTo>
                  <a:cubicBezTo>
                    <a:pt x="3335" y="846"/>
                    <a:pt x="3339" y="844"/>
                    <a:pt x="3342" y="851"/>
                  </a:cubicBezTo>
                  <a:cubicBezTo>
                    <a:pt x="3345" y="858"/>
                    <a:pt x="3348" y="859"/>
                    <a:pt x="3340" y="861"/>
                  </a:cubicBezTo>
                  <a:cubicBezTo>
                    <a:pt x="3332" y="864"/>
                    <a:pt x="3322" y="863"/>
                    <a:pt x="3316" y="862"/>
                  </a:cubicBezTo>
                  <a:cubicBezTo>
                    <a:pt x="3310" y="861"/>
                    <a:pt x="3303" y="855"/>
                    <a:pt x="3300" y="853"/>
                  </a:cubicBezTo>
                  <a:cubicBezTo>
                    <a:pt x="3297" y="851"/>
                    <a:pt x="3293" y="849"/>
                    <a:pt x="3286" y="849"/>
                  </a:cubicBezTo>
                  <a:cubicBezTo>
                    <a:pt x="3279" y="848"/>
                    <a:pt x="3278" y="846"/>
                    <a:pt x="3271" y="846"/>
                  </a:cubicBezTo>
                  <a:cubicBezTo>
                    <a:pt x="3265" y="845"/>
                    <a:pt x="3261" y="844"/>
                    <a:pt x="3255" y="846"/>
                  </a:cubicBezTo>
                  <a:cubicBezTo>
                    <a:pt x="3248" y="848"/>
                    <a:pt x="3243" y="847"/>
                    <a:pt x="3240" y="848"/>
                  </a:cubicBezTo>
                  <a:cubicBezTo>
                    <a:pt x="3236" y="849"/>
                    <a:pt x="3229" y="852"/>
                    <a:pt x="3236" y="855"/>
                  </a:cubicBezTo>
                  <a:cubicBezTo>
                    <a:pt x="3243" y="857"/>
                    <a:pt x="3245" y="852"/>
                    <a:pt x="3251" y="858"/>
                  </a:cubicBezTo>
                  <a:cubicBezTo>
                    <a:pt x="3257" y="863"/>
                    <a:pt x="3261" y="865"/>
                    <a:pt x="3261" y="869"/>
                  </a:cubicBezTo>
                  <a:cubicBezTo>
                    <a:pt x="3261" y="873"/>
                    <a:pt x="3255" y="873"/>
                    <a:pt x="3258" y="876"/>
                  </a:cubicBezTo>
                  <a:cubicBezTo>
                    <a:pt x="3261" y="879"/>
                    <a:pt x="3268" y="880"/>
                    <a:pt x="3275" y="884"/>
                  </a:cubicBezTo>
                  <a:cubicBezTo>
                    <a:pt x="3282" y="889"/>
                    <a:pt x="3292" y="894"/>
                    <a:pt x="3300" y="898"/>
                  </a:cubicBezTo>
                  <a:cubicBezTo>
                    <a:pt x="3308" y="902"/>
                    <a:pt x="3313" y="905"/>
                    <a:pt x="3319" y="909"/>
                  </a:cubicBezTo>
                  <a:cubicBezTo>
                    <a:pt x="3326" y="914"/>
                    <a:pt x="3327" y="914"/>
                    <a:pt x="3336" y="914"/>
                  </a:cubicBezTo>
                  <a:cubicBezTo>
                    <a:pt x="3344" y="914"/>
                    <a:pt x="3345" y="914"/>
                    <a:pt x="3350" y="912"/>
                  </a:cubicBezTo>
                  <a:cubicBezTo>
                    <a:pt x="3356" y="910"/>
                    <a:pt x="3354" y="908"/>
                    <a:pt x="3362" y="910"/>
                  </a:cubicBezTo>
                  <a:cubicBezTo>
                    <a:pt x="3370" y="911"/>
                    <a:pt x="3372" y="911"/>
                    <a:pt x="3377" y="909"/>
                  </a:cubicBezTo>
                  <a:cubicBezTo>
                    <a:pt x="3383" y="908"/>
                    <a:pt x="3388" y="906"/>
                    <a:pt x="3391" y="909"/>
                  </a:cubicBezTo>
                  <a:cubicBezTo>
                    <a:pt x="3394" y="912"/>
                    <a:pt x="3396" y="914"/>
                    <a:pt x="3396" y="920"/>
                  </a:cubicBezTo>
                  <a:cubicBezTo>
                    <a:pt x="3395" y="926"/>
                    <a:pt x="3395" y="927"/>
                    <a:pt x="3399" y="931"/>
                  </a:cubicBezTo>
                  <a:cubicBezTo>
                    <a:pt x="3402" y="935"/>
                    <a:pt x="3403" y="943"/>
                    <a:pt x="3401" y="947"/>
                  </a:cubicBezTo>
                  <a:cubicBezTo>
                    <a:pt x="3400" y="950"/>
                    <a:pt x="3397" y="952"/>
                    <a:pt x="3395" y="955"/>
                  </a:cubicBezTo>
                  <a:cubicBezTo>
                    <a:pt x="3393" y="957"/>
                    <a:pt x="3392" y="962"/>
                    <a:pt x="3391" y="965"/>
                  </a:cubicBezTo>
                  <a:cubicBezTo>
                    <a:pt x="3390" y="968"/>
                    <a:pt x="3382" y="971"/>
                    <a:pt x="3379" y="970"/>
                  </a:cubicBezTo>
                  <a:cubicBezTo>
                    <a:pt x="3377" y="969"/>
                    <a:pt x="3373" y="966"/>
                    <a:pt x="3366" y="964"/>
                  </a:cubicBezTo>
                  <a:cubicBezTo>
                    <a:pt x="3360" y="962"/>
                    <a:pt x="3363" y="959"/>
                    <a:pt x="3352" y="959"/>
                  </a:cubicBezTo>
                  <a:cubicBezTo>
                    <a:pt x="3341" y="960"/>
                    <a:pt x="3334" y="962"/>
                    <a:pt x="3328" y="960"/>
                  </a:cubicBezTo>
                  <a:cubicBezTo>
                    <a:pt x="3323" y="958"/>
                    <a:pt x="3318" y="956"/>
                    <a:pt x="3314" y="954"/>
                  </a:cubicBezTo>
                  <a:cubicBezTo>
                    <a:pt x="3311" y="952"/>
                    <a:pt x="3305" y="948"/>
                    <a:pt x="3298" y="948"/>
                  </a:cubicBezTo>
                  <a:cubicBezTo>
                    <a:pt x="3290" y="948"/>
                    <a:pt x="3288" y="947"/>
                    <a:pt x="3284" y="947"/>
                  </a:cubicBezTo>
                  <a:cubicBezTo>
                    <a:pt x="3280" y="948"/>
                    <a:pt x="3274" y="943"/>
                    <a:pt x="3268" y="942"/>
                  </a:cubicBezTo>
                  <a:cubicBezTo>
                    <a:pt x="3262" y="942"/>
                    <a:pt x="3253" y="940"/>
                    <a:pt x="3250" y="942"/>
                  </a:cubicBezTo>
                  <a:cubicBezTo>
                    <a:pt x="3247" y="944"/>
                    <a:pt x="3240" y="944"/>
                    <a:pt x="3235" y="944"/>
                  </a:cubicBezTo>
                  <a:cubicBezTo>
                    <a:pt x="3231" y="944"/>
                    <a:pt x="3225" y="945"/>
                    <a:pt x="3224" y="947"/>
                  </a:cubicBezTo>
                  <a:cubicBezTo>
                    <a:pt x="3223" y="949"/>
                    <a:pt x="3221" y="950"/>
                    <a:pt x="3225" y="950"/>
                  </a:cubicBezTo>
                  <a:cubicBezTo>
                    <a:pt x="3229" y="951"/>
                    <a:pt x="3233" y="950"/>
                    <a:pt x="3234" y="954"/>
                  </a:cubicBezTo>
                  <a:cubicBezTo>
                    <a:pt x="3234" y="957"/>
                    <a:pt x="3232" y="958"/>
                    <a:pt x="3228" y="958"/>
                  </a:cubicBezTo>
                  <a:cubicBezTo>
                    <a:pt x="3223" y="958"/>
                    <a:pt x="3217" y="957"/>
                    <a:pt x="3215" y="957"/>
                  </a:cubicBezTo>
                  <a:cubicBezTo>
                    <a:pt x="3213" y="957"/>
                    <a:pt x="3206" y="958"/>
                    <a:pt x="3202" y="956"/>
                  </a:cubicBezTo>
                  <a:cubicBezTo>
                    <a:pt x="3197" y="954"/>
                    <a:pt x="3178" y="951"/>
                    <a:pt x="3179" y="955"/>
                  </a:cubicBezTo>
                  <a:cubicBezTo>
                    <a:pt x="3179" y="958"/>
                    <a:pt x="3181" y="960"/>
                    <a:pt x="3186" y="961"/>
                  </a:cubicBezTo>
                  <a:cubicBezTo>
                    <a:pt x="3192" y="961"/>
                    <a:pt x="3200" y="959"/>
                    <a:pt x="3204" y="961"/>
                  </a:cubicBezTo>
                  <a:cubicBezTo>
                    <a:pt x="3209" y="964"/>
                    <a:pt x="3216" y="967"/>
                    <a:pt x="3210" y="969"/>
                  </a:cubicBezTo>
                  <a:cubicBezTo>
                    <a:pt x="3205" y="970"/>
                    <a:pt x="3201" y="970"/>
                    <a:pt x="3194" y="976"/>
                  </a:cubicBezTo>
                  <a:cubicBezTo>
                    <a:pt x="3187" y="981"/>
                    <a:pt x="3187" y="986"/>
                    <a:pt x="3183" y="986"/>
                  </a:cubicBezTo>
                  <a:cubicBezTo>
                    <a:pt x="3179" y="986"/>
                    <a:pt x="3168" y="984"/>
                    <a:pt x="3167" y="979"/>
                  </a:cubicBezTo>
                  <a:cubicBezTo>
                    <a:pt x="3166" y="974"/>
                    <a:pt x="3158" y="966"/>
                    <a:pt x="3153" y="965"/>
                  </a:cubicBezTo>
                  <a:cubicBezTo>
                    <a:pt x="3149" y="964"/>
                    <a:pt x="3146" y="960"/>
                    <a:pt x="3141" y="961"/>
                  </a:cubicBezTo>
                  <a:cubicBezTo>
                    <a:pt x="3136" y="962"/>
                    <a:pt x="3132" y="963"/>
                    <a:pt x="3135" y="967"/>
                  </a:cubicBezTo>
                  <a:cubicBezTo>
                    <a:pt x="3137" y="970"/>
                    <a:pt x="3142" y="974"/>
                    <a:pt x="3140" y="976"/>
                  </a:cubicBezTo>
                  <a:cubicBezTo>
                    <a:pt x="3137" y="977"/>
                    <a:pt x="3133" y="977"/>
                    <a:pt x="3130" y="977"/>
                  </a:cubicBezTo>
                  <a:cubicBezTo>
                    <a:pt x="3126" y="977"/>
                    <a:pt x="3121" y="976"/>
                    <a:pt x="3118" y="979"/>
                  </a:cubicBezTo>
                  <a:cubicBezTo>
                    <a:pt x="3114" y="982"/>
                    <a:pt x="3112" y="984"/>
                    <a:pt x="3117" y="987"/>
                  </a:cubicBezTo>
                  <a:cubicBezTo>
                    <a:pt x="3123" y="990"/>
                    <a:pt x="3126" y="990"/>
                    <a:pt x="3128" y="993"/>
                  </a:cubicBezTo>
                  <a:cubicBezTo>
                    <a:pt x="3131" y="996"/>
                    <a:pt x="3132" y="995"/>
                    <a:pt x="3132" y="999"/>
                  </a:cubicBezTo>
                  <a:cubicBezTo>
                    <a:pt x="3132" y="1004"/>
                    <a:pt x="3134" y="1004"/>
                    <a:pt x="3132" y="1007"/>
                  </a:cubicBezTo>
                  <a:cubicBezTo>
                    <a:pt x="3129" y="1010"/>
                    <a:pt x="3126" y="1012"/>
                    <a:pt x="3128" y="1015"/>
                  </a:cubicBezTo>
                  <a:cubicBezTo>
                    <a:pt x="3130" y="1017"/>
                    <a:pt x="3132" y="1021"/>
                    <a:pt x="3138" y="1019"/>
                  </a:cubicBezTo>
                  <a:cubicBezTo>
                    <a:pt x="3144" y="1017"/>
                    <a:pt x="3143" y="1016"/>
                    <a:pt x="3151" y="1016"/>
                  </a:cubicBezTo>
                  <a:cubicBezTo>
                    <a:pt x="3159" y="1017"/>
                    <a:pt x="3161" y="1017"/>
                    <a:pt x="3167" y="1017"/>
                  </a:cubicBezTo>
                  <a:cubicBezTo>
                    <a:pt x="3172" y="1017"/>
                    <a:pt x="3180" y="1014"/>
                    <a:pt x="3183" y="1019"/>
                  </a:cubicBezTo>
                  <a:cubicBezTo>
                    <a:pt x="3187" y="1024"/>
                    <a:pt x="3187" y="1027"/>
                    <a:pt x="3184" y="1029"/>
                  </a:cubicBezTo>
                  <a:cubicBezTo>
                    <a:pt x="3182" y="1031"/>
                    <a:pt x="3177" y="1033"/>
                    <a:pt x="3178" y="1037"/>
                  </a:cubicBezTo>
                  <a:cubicBezTo>
                    <a:pt x="3179" y="1041"/>
                    <a:pt x="3180" y="1042"/>
                    <a:pt x="3184" y="1043"/>
                  </a:cubicBezTo>
                  <a:cubicBezTo>
                    <a:pt x="3188" y="1043"/>
                    <a:pt x="3197" y="1045"/>
                    <a:pt x="3200" y="1042"/>
                  </a:cubicBezTo>
                  <a:cubicBezTo>
                    <a:pt x="3204" y="1039"/>
                    <a:pt x="3207" y="1035"/>
                    <a:pt x="3216" y="1037"/>
                  </a:cubicBezTo>
                  <a:cubicBezTo>
                    <a:pt x="3224" y="1039"/>
                    <a:pt x="3228" y="1044"/>
                    <a:pt x="3232" y="1047"/>
                  </a:cubicBezTo>
                  <a:cubicBezTo>
                    <a:pt x="3235" y="1050"/>
                    <a:pt x="3237" y="1052"/>
                    <a:pt x="3243" y="1053"/>
                  </a:cubicBezTo>
                  <a:cubicBezTo>
                    <a:pt x="3249" y="1053"/>
                    <a:pt x="3253" y="1053"/>
                    <a:pt x="3252" y="1050"/>
                  </a:cubicBezTo>
                  <a:cubicBezTo>
                    <a:pt x="3252" y="1047"/>
                    <a:pt x="3252" y="1047"/>
                    <a:pt x="3247" y="1047"/>
                  </a:cubicBezTo>
                  <a:cubicBezTo>
                    <a:pt x="3243" y="1046"/>
                    <a:pt x="3239" y="1042"/>
                    <a:pt x="3240" y="1040"/>
                  </a:cubicBezTo>
                  <a:cubicBezTo>
                    <a:pt x="3241" y="1038"/>
                    <a:pt x="3250" y="1041"/>
                    <a:pt x="3253" y="1042"/>
                  </a:cubicBezTo>
                  <a:cubicBezTo>
                    <a:pt x="3256" y="1044"/>
                    <a:pt x="3261" y="1042"/>
                    <a:pt x="3267" y="1040"/>
                  </a:cubicBezTo>
                  <a:cubicBezTo>
                    <a:pt x="3273" y="1037"/>
                    <a:pt x="3280" y="1037"/>
                    <a:pt x="3282" y="1040"/>
                  </a:cubicBezTo>
                  <a:cubicBezTo>
                    <a:pt x="3284" y="1042"/>
                    <a:pt x="3285" y="1046"/>
                    <a:pt x="3289" y="1048"/>
                  </a:cubicBezTo>
                  <a:cubicBezTo>
                    <a:pt x="3294" y="1051"/>
                    <a:pt x="3298" y="1050"/>
                    <a:pt x="3300" y="1053"/>
                  </a:cubicBezTo>
                  <a:cubicBezTo>
                    <a:pt x="3303" y="1057"/>
                    <a:pt x="3304" y="1060"/>
                    <a:pt x="3302" y="1062"/>
                  </a:cubicBezTo>
                  <a:cubicBezTo>
                    <a:pt x="3300" y="1064"/>
                    <a:pt x="3295" y="1065"/>
                    <a:pt x="3289" y="1065"/>
                  </a:cubicBezTo>
                  <a:cubicBezTo>
                    <a:pt x="3284" y="1065"/>
                    <a:pt x="3271" y="1067"/>
                    <a:pt x="3268" y="1069"/>
                  </a:cubicBezTo>
                  <a:cubicBezTo>
                    <a:pt x="3265" y="1072"/>
                    <a:pt x="3259" y="1073"/>
                    <a:pt x="3256" y="1073"/>
                  </a:cubicBezTo>
                  <a:cubicBezTo>
                    <a:pt x="3253" y="1073"/>
                    <a:pt x="3244" y="1073"/>
                    <a:pt x="3240" y="1073"/>
                  </a:cubicBezTo>
                  <a:cubicBezTo>
                    <a:pt x="3236" y="1073"/>
                    <a:pt x="3222" y="1072"/>
                    <a:pt x="3218" y="1072"/>
                  </a:cubicBezTo>
                  <a:cubicBezTo>
                    <a:pt x="3214" y="1072"/>
                    <a:pt x="3199" y="1072"/>
                    <a:pt x="3195" y="1072"/>
                  </a:cubicBezTo>
                  <a:cubicBezTo>
                    <a:pt x="3192" y="1072"/>
                    <a:pt x="3180" y="1071"/>
                    <a:pt x="3178" y="1070"/>
                  </a:cubicBezTo>
                  <a:cubicBezTo>
                    <a:pt x="3176" y="1068"/>
                    <a:pt x="3164" y="1064"/>
                    <a:pt x="3163" y="1065"/>
                  </a:cubicBezTo>
                  <a:cubicBezTo>
                    <a:pt x="3161" y="1066"/>
                    <a:pt x="3156" y="1068"/>
                    <a:pt x="3161" y="1070"/>
                  </a:cubicBezTo>
                  <a:cubicBezTo>
                    <a:pt x="3167" y="1073"/>
                    <a:pt x="3168" y="1071"/>
                    <a:pt x="3176" y="1074"/>
                  </a:cubicBezTo>
                  <a:cubicBezTo>
                    <a:pt x="3185" y="1077"/>
                    <a:pt x="3188" y="1079"/>
                    <a:pt x="3195" y="1079"/>
                  </a:cubicBezTo>
                  <a:cubicBezTo>
                    <a:pt x="3202" y="1078"/>
                    <a:pt x="3203" y="1076"/>
                    <a:pt x="3208" y="1077"/>
                  </a:cubicBezTo>
                  <a:cubicBezTo>
                    <a:pt x="3213" y="1077"/>
                    <a:pt x="3226" y="1078"/>
                    <a:pt x="3231" y="1079"/>
                  </a:cubicBezTo>
                  <a:cubicBezTo>
                    <a:pt x="3235" y="1079"/>
                    <a:pt x="3241" y="1082"/>
                    <a:pt x="3249" y="1082"/>
                  </a:cubicBezTo>
                  <a:cubicBezTo>
                    <a:pt x="3256" y="1082"/>
                    <a:pt x="3265" y="1080"/>
                    <a:pt x="3270" y="1080"/>
                  </a:cubicBezTo>
                  <a:cubicBezTo>
                    <a:pt x="3274" y="1080"/>
                    <a:pt x="3284" y="1078"/>
                    <a:pt x="3288" y="1080"/>
                  </a:cubicBezTo>
                  <a:cubicBezTo>
                    <a:pt x="3293" y="1082"/>
                    <a:pt x="3296" y="1086"/>
                    <a:pt x="3299" y="1089"/>
                  </a:cubicBezTo>
                  <a:cubicBezTo>
                    <a:pt x="3302" y="1092"/>
                    <a:pt x="3306" y="1096"/>
                    <a:pt x="3313" y="1100"/>
                  </a:cubicBezTo>
                  <a:cubicBezTo>
                    <a:pt x="3320" y="1104"/>
                    <a:pt x="3322" y="1105"/>
                    <a:pt x="3322" y="1107"/>
                  </a:cubicBezTo>
                  <a:cubicBezTo>
                    <a:pt x="3322" y="1109"/>
                    <a:pt x="3317" y="1111"/>
                    <a:pt x="3314" y="1112"/>
                  </a:cubicBezTo>
                  <a:cubicBezTo>
                    <a:pt x="3312" y="1112"/>
                    <a:pt x="3308" y="1110"/>
                    <a:pt x="3309" y="1115"/>
                  </a:cubicBezTo>
                  <a:cubicBezTo>
                    <a:pt x="3310" y="1119"/>
                    <a:pt x="3310" y="1121"/>
                    <a:pt x="3316" y="1128"/>
                  </a:cubicBezTo>
                  <a:cubicBezTo>
                    <a:pt x="3321" y="1135"/>
                    <a:pt x="3323" y="1136"/>
                    <a:pt x="3324" y="1139"/>
                  </a:cubicBezTo>
                  <a:cubicBezTo>
                    <a:pt x="3325" y="1142"/>
                    <a:pt x="3325" y="1145"/>
                    <a:pt x="3325" y="1147"/>
                  </a:cubicBezTo>
                  <a:cubicBezTo>
                    <a:pt x="3325" y="1149"/>
                    <a:pt x="3322" y="1151"/>
                    <a:pt x="3322" y="1157"/>
                  </a:cubicBezTo>
                  <a:cubicBezTo>
                    <a:pt x="3322" y="1162"/>
                    <a:pt x="3322" y="1163"/>
                    <a:pt x="3321" y="1166"/>
                  </a:cubicBezTo>
                  <a:cubicBezTo>
                    <a:pt x="3319" y="1168"/>
                    <a:pt x="3314" y="1169"/>
                    <a:pt x="3312" y="1172"/>
                  </a:cubicBezTo>
                  <a:cubicBezTo>
                    <a:pt x="3310" y="1174"/>
                    <a:pt x="3307" y="1176"/>
                    <a:pt x="3303" y="1177"/>
                  </a:cubicBezTo>
                  <a:cubicBezTo>
                    <a:pt x="3299" y="1177"/>
                    <a:pt x="3289" y="1175"/>
                    <a:pt x="3288" y="1172"/>
                  </a:cubicBezTo>
                  <a:cubicBezTo>
                    <a:pt x="3288" y="1170"/>
                    <a:pt x="3288" y="1167"/>
                    <a:pt x="3288" y="1164"/>
                  </a:cubicBezTo>
                  <a:cubicBezTo>
                    <a:pt x="3289" y="1160"/>
                    <a:pt x="3292" y="1156"/>
                    <a:pt x="3286" y="1155"/>
                  </a:cubicBezTo>
                  <a:cubicBezTo>
                    <a:pt x="3280" y="1154"/>
                    <a:pt x="3275" y="1155"/>
                    <a:pt x="3272" y="1156"/>
                  </a:cubicBezTo>
                  <a:cubicBezTo>
                    <a:pt x="3268" y="1158"/>
                    <a:pt x="3261" y="1158"/>
                    <a:pt x="3257" y="1157"/>
                  </a:cubicBezTo>
                  <a:cubicBezTo>
                    <a:pt x="3253" y="1155"/>
                    <a:pt x="3253" y="1161"/>
                    <a:pt x="3246" y="1158"/>
                  </a:cubicBezTo>
                  <a:cubicBezTo>
                    <a:pt x="3240" y="1155"/>
                    <a:pt x="3235" y="1156"/>
                    <a:pt x="3230" y="1152"/>
                  </a:cubicBezTo>
                  <a:cubicBezTo>
                    <a:pt x="3225" y="1147"/>
                    <a:pt x="3219" y="1147"/>
                    <a:pt x="3216" y="1146"/>
                  </a:cubicBezTo>
                  <a:cubicBezTo>
                    <a:pt x="3213" y="1145"/>
                    <a:pt x="3215" y="1148"/>
                    <a:pt x="3208" y="1140"/>
                  </a:cubicBezTo>
                  <a:cubicBezTo>
                    <a:pt x="3202" y="1132"/>
                    <a:pt x="3200" y="1130"/>
                    <a:pt x="3192" y="1127"/>
                  </a:cubicBezTo>
                  <a:cubicBezTo>
                    <a:pt x="3184" y="1124"/>
                    <a:pt x="3180" y="1127"/>
                    <a:pt x="3176" y="1123"/>
                  </a:cubicBezTo>
                  <a:cubicBezTo>
                    <a:pt x="3173" y="1120"/>
                    <a:pt x="3167" y="1118"/>
                    <a:pt x="3162" y="1118"/>
                  </a:cubicBezTo>
                  <a:cubicBezTo>
                    <a:pt x="3156" y="1118"/>
                    <a:pt x="3153" y="1116"/>
                    <a:pt x="3150" y="1114"/>
                  </a:cubicBezTo>
                  <a:cubicBezTo>
                    <a:pt x="3147" y="1113"/>
                    <a:pt x="3144" y="1111"/>
                    <a:pt x="3142" y="1112"/>
                  </a:cubicBezTo>
                  <a:cubicBezTo>
                    <a:pt x="3141" y="1113"/>
                    <a:pt x="3140" y="1116"/>
                    <a:pt x="3143" y="1117"/>
                  </a:cubicBezTo>
                  <a:cubicBezTo>
                    <a:pt x="3145" y="1119"/>
                    <a:pt x="3144" y="1116"/>
                    <a:pt x="3148" y="1120"/>
                  </a:cubicBezTo>
                  <a:cubicBezTo>
                    <a:pt x="3153" y="1124"/>
                    <a:pt x="3150" y="1125"/>
                    <a:pt x="3156" y="1127"/>
                  </a:cubicBezTo>
                  <a:cubicBezTo>
                    <a:pt x="3162" y="1128"/>
                    <a:pt x="3165" y="1127"/>
                    <a:pt x="3167" y="1129"/>
                  </a:cubicBezTo>
                  <a:cubicBezTo>
                    <a:pt x="3169" y="1132"/>
                    <a:pt x="3169" y="1133"/>
                    <a:pt x="3166" y="1133"/>
                  </a:cubicBezTo>
                  <a:cubicBezTo>
                    <a:pt x="3164" y="1133"/>
                    <a:pt x="3160" y="1132"/>
                    <a:pt x="3157" y="1131"/>
                  </a:cubicBezTo>
                  <a:cubicBezTo>
                    <a:pt x="3155" y="1130"/>
                    <a:pt x="3154" y="1130"/>
                    <a:pt x="3149" y="1130"/>
                  </a:cubicBezTo>
                  <a:cubicBezTo>
                    <a:pt x="3145" y="1129"/>
                    <a:pt x="3144" y="1129"/>
                    <a:pt x="3140" y="1127"/>
                  </a:cubicBezTo>
                  <a:cubicBezTo>
                    <a:pt x="3136" y="1125"/>
                    <a:pt x="3132" y="1122"/>
                    <a:pt x="3131" y="1125"/>
                  </a:cubicBezTo>
                  <a:cubicBezTo>
                    <a:pt x="3130" y="1128"/>
                    <a:pt x="3131" y="1132"/>
                    <a:pt x="3134" y="1133"/>
                  </a:cubicBezTo>
                  <a:cubicBezTo>
                    <a:pt x="3137" y="1135"/>
                    <a:pt x="3138" y="1137"/>
                    <a:pt x="3145" y="1137"/>
                  </a:cubicBezTo>
                  <a:cubicBezTo>
                    <a:pt x="3152" y="1137"/>
                    <a:pt x="3154" y="1136"/>
                    <a:pt x="3159" y="1139"/>
                  </a:cubicBezTo>
                  <a:cubicBezTo>
                    <a:pt x="3165" y="1142"/>
                    <a:pt x="3174" y="1144"/>
                    <a:pt x="3179" y="1144"/>
                  </a:cubicBezTo>
                  <a:cubicBezTo>
                    <a:pt x="3185" y="1144"/>
                    <a:pt x="3186" y="1142"/>
                    <a:pt x="3192" y="1145"/>
                  </a:cubicBezTo>
                  <a:cubicBezTo>
                    <a:pt x="3198" y="1148"/>
                    <a:pt x="3209" y="1152"/>
                    <a:pt x="3212" y="1155"/>
                  </a:cubicBezTo>
                  <a:cubicBezTo>
                    <a:pt x="3215" y="1158"/>
                    <a:pt x="3220" y="1158"/>
                    <a:pt x="3226" y="1161"/>
                  </a:cubicBezTo>
                  <a:cubicBezTo>
                    <a:pt x="3232" y="1165"/>
                    <a:pt x="3235" y="1169"/>
                    <a:pt x="3238" y="1171"/>
                  </a:cubicBezTo>
                  <a:cubicBezTo>
                    <a:pt x="3241" y="1173"/>
                    <a:pt x="3245" y="1176"/>
                    <a:pt x="3243" y="1178"/>
                  </a:cubicBezTo>
                  <a:cubicBezTo>
                    <a:pt x="3241" y="1181"/>
                    <a:pt x="3236" y="1183"/>
                    <a:pt x="3232" y="1182"/>
                  </a:cubicBezTo>
                  <a:cubicBezTo>
                    <a:pt x="3228" y="1181"/>
                    <a:pt x="3223" y="1183"/>
                    <a:pt x="3219" y="1183"/>
                  </a:cubicBezTo>
                  <a:cubicBezTo>
                    <a:pt x="3216" y="1184"/>
                    <a:pt x="3217" y="1182"/>
                    <a:pt x="3213" y="1184"/>
                  </a:cubicBezTo>
                  <a:cubicBezTo>
                    <a:pt x="3209" y="1186"/>
                    <a:pt x="3202" y="1188"/>
                    <a:pt x="3200" y="1190"/>
                  </a:cubicBezTo>
                  <a:cubicBezTo>
                    <a:pt x="3198" y="1191"/>
                    <a:pt x="3191" y="1191"/>
                    <a:pt x="3186" y="1191"/>
                  </a:cubicBezTo>
                  <a:cubicBezTo>
                    <a:pt x="3182" y="1191"/>
                    <a:pt x="3178" y="1195"/>
                    <a:pt x="3174" y="1192"/>
                  </a:cubicBezTo>
                  <a:cubicBezTo>
                    <a:pt x="3169" y="1189"/>
                    <a:pt x="3167" y="1186"/>
                    <a:pt x="3164" y="1183"/>
                  </a:cubicBezTo>
                  <a:cubicBezTo>
                    <a:pt x="3160" y="1180"/>
                    <a:pt x="3155" y="1180"/>
                    <a:pt x="3151" y="1180"/>
                  </a:cubicBezTo>
                  <a:cubicBezTo>
                    <a:pt x="3146" y="1179"/>
                    <a:pt x="3144" y="1179"/>
                    <a:pt x="3142" y="1177"/>
                  </a:cubicBezTo>
                  <a:cubicBezTo>
                    <a:pt x="3139" y="1175"/>
                    <a:pt x="3138" y="1173"/>
                    <a:pt x="3136" y="1174"/>
                  </a:cubicBezTo>
                  <a:cubicBezTo>
                    <a:pt x="3133" y="1175"/>
                    <a:pt x="3130" y="1178"/>
                    <a:pt x="3133" y="1180"/>
                  </a:cubicBezTo>
                  <a:cubicBezTo>
                    <a:pt x="3137" y="1182"/>
                    <a:pt x="3138" y="1180"/>
                    <a:pt x="3140" y="1183"/>
                  </a:cubicBezTo>
                  <a:cubicBezTo>
                    <a:pt x="3143" y="1186"/>
                    <a:pt x="3142" y="1186"/>
                    <a:pt x="3145" y="1187"/>
                  </a:cubicBezTo>
                  <a:cubicBezTo>
                    <a:pt x="3149" y="1188"/>
                    <a:pt x="3152" y="1189"/>
                    <a:pt x="3152" y="1191"/>
                  </a:cubicBezTo>
                  <a:cubicBezTo>
                    <a:pt x="3152" y="1193"/>
                    <a:pt x="3155" y="1196"/>
                    <a:pt x="3160" y="1197"/>
                  </a:cubicBezTo>
                  <a:cubicBezTo>
                    <a:pt x="3165" y="1198"/>
                    <a:pt x="3166" y="1197"/>
                    <a:pt x="3169" y="1199"/>
                  </a:cubicBezTo>
                  <a:cubicBezTo>
                    <a:pt x="3171" y="1201"/>
                    <a:pt x="3170" y="1203"/>
                    <a:pt x="3174" y="1203"/>
                  </a:cubicBezTo>
                  <a:cubicBezTo>
                    <a:pt x="3177" y="1204"/>
                    <a:pt x="3180" y="1204"/>
                    <a:pt x="3182" y="1202"/>
                  </a:cubicBezTo>
                  <a:cubicBezTo>
                    <a:pt x="3185" y="1200"/>
                    <a:pt x="3185" y="1199"/>
                    <a:pt x="3189" y="1199"/>
                  </a:cubicBezTo>
                  <a:cubicBezTo>
                    <a:pt x="3194" y="1199"/>
                    <a:pt x="3193" y="1199"/>
                    <a:pt x="3199" y="1198"/>
                  </a:cubicBezTo>
                  <a:cubicBezTo>
                    <a:pt x="3204" y="1198"/>
                    <a:pt x="3205" y="1197"/>
                    <a:pt x="3210" y="1196"/>
                  </a:cubicBezTo>
                  <a:cubicBezTo>
                    <a:pt x="3215" y="1196"/>
                    <a:pt x="3217" y="1191"/>
                    <a:pt x="3219" y="1190"/>
                  </a:cubicBezTo>
                  <a:cubicBezTo>
                    <a:pt x="3222" y="1189"/>
                    <a:pt x="3224" y="1189"/>
                    <a:pt x="3227" y="1189"/>
                  </a:cubicBezTo>
                  <a:cubicBezTo>
                    <a:pt x="3231" y="1189"/>
                    <a:pt x="3236" y="1189"/>
                    <a:pt x="3237" y="1191"/>
                  </a:cubicBezTo>
                  <a:cubicBezTo>
                    <a:pt x="3238" y="1194"/>
                    <a:pt x="3238" y="1196"/>
                    <a:pt x="3237" y="1199"/>
                  </a:cubicBezTo>
                  <a:cubicBezTo>
                    <a:pt x="3235" y="1201"/>
                    <a:pt x="3235" y="1201"/>
                    <a:pt x="3235" y="1205"/>
                  </a:cubicBezTo>
                  <a:cubicBezTo>
                    <a:pt x="3236" y="1208"/>
                    <a:pt x="3235" y="1208"/>
                    <a:pt x="3234" y="1211"/>
                  </a:cubicBezTo>
                  <a:cubicBezTo>
                    <a:pt x="3233" y="1214"/>
                    <a:pt x="3232" y="1213"/>
                    <a:pt x="3235" y="1219"/>
                  </a:cubicBezTo>
                  <a:cubicBezTo>
                    <a:pt x="3239" y="1224"/>
                    <a:pt x="3240" y="1227"/>
                    <a:pt x="3239" y="1229"/>
                  </a:cubicBezTo>
                  <a:cubicBezTo>
                    <a:pt x="3238" y="1231"/>
                    <a:pt x="3237" y="1233"/>
                    <a:pt x="3234" y="1234"/>
                  </a:cubicBezTo>
                  <a:cubicBezTo>
                    <a:pt x="3231" y="1235"/>
                    <a:pt x="3226" y="1235"/>
                    <a:pt x="3223" y="1235"/>
                  </a:cubicBezTo>
                  <a:cubicBezTo>
                    <a:pt x="3221" y="1234"/>
                    <a:pt x="3216" y="1234"/>
                    <a:pt x="3216" y="1236"/>
                  </a:cubicBezTo>
                  <a:cubicBezTo>
                    <a:pt x="3216" y="1238"/>
                    <a:pt x="3216" y="1240"/>
                    <a:pt x="3218" y="1240"/>
                  </a:cubicBezTo>
                  <a:cubicBezTo>
                    <a:pt x="3221" y="1241"/>
                    <a:pt x="3224" y="1241"/>
                    <a:pt x="3230" y="1241"/>
                  </a:cubicBezTo>
                  <a:cubicBezTo>
                    <a:pt x="3236" y="1240"/>
                    <a:pt x="3240" y="1239"/>
                    <a:pt x="3243" y="1238"/>
                  </a:cubicBezTo>
                  <a:cubicBezTo>
                    <a:pt x="3245" y="1237"/>
                    <a:pt x="3253" y="1236"/>
                    <a:pt x="3257" y="1237"/>
                  </a:cubicBezTo>
                  <a:cubicBezTo>
                    <a:pt x="3261" y="1238"/>
                    <a:pt x="3270" y="1237"/>
                    <a:pt x="3273" y="1237"/>
                  </a:cubicBezTo>
                  <a:cubicBezTo>
                    <a:pt x="3276" y="1237"/>
                    <a:pt x="3285" y="1242"/>
                    <a:pt x="3287" y="1244"/>
                  </a:cubicBezTo>
                  <a:cubicBezTo>
                    <a:pt x="3288" y="1246"/>
                    <a:pt x="3287" y="1249"/>
                    <a:pt x="3293" y="1249"/>
                  </a:cubicBezTo>
                  <a:cubicBezTo>
                    <a:pt x="3298" y="1250"/>
                    <a:pt x="3301" y="1251"/>
                    <a:pt x="3303" y="1248"/>
                  </a:cubicBezTo>
                  <a:cubicBezTo>
                    <a:pt x="3305" y="1246"/>
                    <a:pt x="3305" y="1244"/>
                    <a:pt x="3308" y="1242"/>
                  </a:cubicBezTo>
                  <a:cubicBezTo>
                    <a:pt x="3311" y="1240"/>
                    <a:pt x="3313" y="1239"/>
                    <a:pt x="3315" y="1239"/>
                  </a:cubicBezTo>
                  <a:cubicBezTo>
                    <a:pt x="3318" y="1239"/>
                    <a:pt x="3321" y="1237"/>
                    <a:pt x="3324" y="1238"/>
                  </a:cubicBezTo>
                  <a:cubicBezTo>
                    <a:pt x="3327" y="1240"/>
                    <a:pt x="3330" y="1240"/>
                    <a:pt x="3329" y="1243"/>
                  </a:cubicBezTo>
                  <a:cubicBezTo>
                    <a:pt x="3328" y="1246"/>
                    <a:pt x="3324" y="1249"/>
                    <a:pt x="3325" y="1251"/>
                  </a:cubicBezTo>
                  <a:cubicBezTo>
                    <a:pt x="3325" y="1253"/>
                    <a:pt x="3325" y="1254"/>
                    <a:pt x="3329" y="1255"/>
                  </a:cubicBezTo>
                  <a:cubicBezTo>
                    <a:pt x="3333" y="1256"/>
                    <a:pt x="3336" y="1254"/>
                    <a:pt x="3339" y="1257"/>
                  </a:cubicBezTo>
                  <a:cubicBezTo>
                    <a:pt x="3341" y="1260"/>
                    <a:pt x="3343" y="1261"/>
                    <a:pt x="3344" y="1263"/>
                  </a:cubicBezTo>
                  <a:cubicBezTo>
                    <a:pt x="3344" y="1266"/>
                    <a:pt x="3343" y="1268"/>
                    <a:pt x="3341" y="1271"/>
                  </a:cubicBezTo>
                  <a:cubicBezTo>
                    <a:pt x="3339" y="1274"/>
                    <a:pt x="3333" y="1276"/>
                    <a:pt x="3330" y="1280"/>
                  </a:cubicBezTo>
                  <a:cubicBezTo>
                    <a:pt x="3328" y="1283"/>
                    <a:pt x="3323" y="1282"/>
                    <a:pt x="3318" y="1287"/>
                  </a:cubicBezTo>
                  <a:cubicBezTo>
                    <a:pt x="3314" y="1292"/>
                    <a:pt x="3311" y="1294"/>
                    <a:pt x="3305" y="1292"/>
                  </a:cubicBezTo>
                  <a:cubicBezTo>
                    <a:pt x="3298" y="1289"/>
                    <a:pt x="3297" y="1287"/>
                    <a:pt x="3292" y="1287"/>
                  </a:cubicBezTo>
                  <a:cubicBezTo>
                    <a:pt x="3287" y="1287"/>
                    <a:pt x="3279" y="1288"/>
                    <a:pt x="3277" y="1287"/>
                  </a:cubicBezTo>
                  <a:cubicBezTo>
                    <a:pt x="3276" y="1286"/>
                    <a:pt x="3270" y="1284"/>
                    <a:pt x="3270" y="1280"/>
                  </a:cubicBezTo>
                  <a:cubicBezTo>
                    <a:pt x="3270" y="1276"/>
                    <a:pt x="3273" y="1273"/>
                    <a:pt x="3268" y="1270"/>
                  </a:cubicBezTo>
                  <a:cubicBezTo>
                    <a:pt x="3263" y="1266"/>
                    <a:pt x="3262" y="1264"/>
                    <a:pt x="3259" y="1263"/>
                  </a:cubicBezTo>
                  <a:cubicBezTo>
                    <a:pt x="3257" y="1262"/>
                    <a:pt x="3246" y="1261"/>
                    <a:pt x="3240" y="1261"/>
                  </a:cubicBezTo>
                  <a:cubicBezTo>
                    <a:pt x="3235" y="1262"/>
                    <a:pt x="3233" y="1264"/>
                    <a:pt x="3228" y="1264"/>
                  </a:cubicBezTo>
                  <a:cubicBezTo>
                    <a:pt x="3222" y="1264"/>
                    <a:pt x="3216" y="1262"/>
                    <a:pt x="3209" y="1262"/>
                  </a:cubicBezTo>
                  <a:cubicBezTo>
                    <a:pt x="3203" y="1262"/>
                    <a:pt x="3193" y="1265"/>
                    <a:pt x="3189" y="1264"/>
                  </a:cubicBezTo>
                  <a:cubicBezTo>
                    <a:pt x="3185" y="1263"/>
                    <a:pt x="3181" y="1265"/>
                    <a:pt x="3178" y="1261"/>
                  </a:cubicBezTo>
                  <a:cubicBezTo>
                    <a:pt x="3175" y="1256"/>
                    <a:pt x="3173" y="1255"/>
                    <a:pt x="3169" y="1252"/>
                  </a:cubicBezTo>
                  <a:cubicBezTo>
                    <a:pt x="3166" y="1249"/>
                    <a:pt x="3159" y="1244"/>
                    <a:pt x="3156" y="1245"/>
                  </a:cubicBezTo>
                  <a:cubicBezTo>
                    <a:pt x="3152" y="1246"/>
                    <a:pt x="3152" y="1250"/>
                    <a:pt x="3155" y="1253"/>
                  </a:cubicBezTo>
                  <a:cubicBezTo>
                    <a:pt x="3158" y="1255"/>
                    <a:pt x="3161" y="1254"/>
                    <a:pt x="3163" y="1259"/>
                  </a:cubicBezTo>
                  <a:cubicBezTo>
                    <a:pt x="3164" y="1265"/>
                    <a:pt x="3166" y="1266"/>
                    <a:pt x="3165" y="1270"/>
                  </a:cubicBezTo>
                  <a:cubicBezTo>
                    <a:pt x="3164" y="1274"/>
                    <a:pt x="3158" y="1275"/>
                    <a:pt x="3155" y="1275"/>
                  </a:cubicBezTo>
                  <a:cubicBezTo>
                    <a:pt x="3153" y="1275"/>
                    <a:pt x="3152" y="1279"/>
                    <a:pt x="3149" y="1279"/>
                  </a:cubicBezTo>
                  <a:cubicBezTo>
                    <a:pt x="3145" y="1279"/>
                    <a:pt x="3136" y="1276"/>
                    <a:pt x="3134" y="1279"/>
                  </a:cubicBezTo>
                  <a:cubicBezTo>
                    <a:pt x="3133" y="1283"/>
                    <a:pt x="3139" y="1283"/>
                    <a:pt x="3144" y="1283"/>
                  </a:cubicBezTo>
                  <a:cubicBezTo>
                    <a:pt x="3149" y="1284"/>
                    <a:pt x="3154" y="1287"/>
                    <a:pt x="3155" y="1289"/>
                  </a:cubicBezTo>
                  <a:cubicBezTo>
                    <a:pt x="3155" y="1291"/>
                    <a:pt x="3150" y="1293"/>
                    <a:pt x="3150" y="1297"/>
                  </a:cubicBezTo>
                  <a:cubicBezTo>
                    <a:pt x="3149" y="1301"/>
                    <a:pt x="3151" y="1304"/>
                    <a:pt x="3149" y="1305"/>
                  </a:cubicBezTo>
                  <a:cubicBezTo>
                    <a:pt x="3147" y="1307"/>
                    <a:pt x="3144" y="1306"/>
                    <a:pt x="3141" y="1306"/>
                  </a:cubicBezTo>
                  <a:cubicBezTo>
                    <a:pt x="3138" y="1306"/>
                    <a:pt x="3134" y="1307"/>
                    <a:pt x="3134" y="1310"/>
                  </a:cubicBezTo>
                  <a:cubicBezTo>
                    <a:pt x="3134" y="1314"/>
                    <a:pt x="3135" y="1317"/>
                    <a:pt x="3141" y="1319"/>
                  </a:cubicBezTo>
                  <a:cubicBezTo>
                    <a:pt x="3147" y="1322"/>
                    <a:pt x="3155" y="1323"/>
                    <a:pt x="3157" y="1326"/>
                  </a:cubicBezTo>
                  <a:cubicBezTo>
                    <a:pt x="3160" y="1330"/>
                    <a:pt x="3161" y="1333"/>
                    <a:pt x="3162" y="1336"/>
                  </a:cubicBezTo>
                  <a:cubicBezTo>
                    <a:pt x="3163" y="1339"/>
                    <a:pt x="3166" y="1336"/>
                    <a:pt x="3167" y="1341"/>
                  </a:cubicBezTo>
                  <a:cubicBezTo>
                    <a:pt x="3169" y="1346"/>
                    <a:pt x="3167" y="1355"/>
                    <a:pt x="3169" y="1357"/>
                  </a:cubicBezTo>
                  <a:cubicBezTo>
                    <a:pt x="3171" y="1360"/>
                    <a:pt x="3176" y="1360"/>
                    <a:pt x="3176" y="1352"/>
                  </a:cubicBezTo>
                  <a:cubicBezTo>
                    <a:pt x="3176" y="1345"/>
                    <a:pt x="3177" y="1339"/>
                    <a:pt x="3175" y="1337"/>
                  </a:cubicBezTo>
                  <a:cubicBezTo>
                    <a:pt x="3173" y="1335"/>
                    <a:pt x="3171" y="1330"/>
                    <a:pt x="3170" y="1326"/>
                  </a:cubicBezTo>
                  <a:cubicBezTo>
                    <a:pt x="3169" y="1321"/>
                    <a:pt x="3167" y="1317"/>
                    <a:pt x="3170" y="1315"/>
                  </a:cubicBezTo>
                  <a:cubicBezTo>
                    <a:pt x="3173" y="1312"/>
                    <a:pt x="3176" y="1310"/>
                    <a:pt x="3181" y="1312"/>
                  </a:cubicBezTo>
                  <a:cubicBezTo>
                    <a:pt x="3186" y="1314"/>
                    <a:pt x="3190" y="1316"/>
                    <a:pt x="3197" y="1318"/>
                  </a:cubicBezTo>
                  <a:cubicBezTo>
                    <a:pt x="3204" y="1320"/>
                    <a:pt x="3206" y="1320"/>
                    <a:pt x="3214" y="1320"/>
                  </a:cubicBezTo>
                  <a:cubicBezTo>
                    <a:pt x="3223" y="1321"/>
                    <a:pt x="3229" y="1323"/>
                    <a:pt x="3232" y="1325"/>
                  </a:cubicBezTo>
                  <a:cubicBezTo>
                    <a:pt x="3236" y="1326"/>
                    <a:pt x="3244" y="1326"/>
                    <a:pt x="3249" y="1327"/>
                  </a:cubicBezTo>
                  <a:cubicBezTo>
                    <a:pt x="3255" y="1327"/>
                    <a:pt x="3266" y="1330"/>
                    <a:pt x="3267" y="1334"/>
                  </a:cubicBezTo>
                  <a:cubicBezTo>
                    <a:pt x="3267" y="1339"/>
                    <a:pt x="3266" y="1343"/>
                    <a:pt x="3261" y="1344"/>
                  </a:cubicBezTo>
                  <a:cubicBezTo>
                    <a:pt x="3256" y="1346"/>
                    <a:pt x="3252" y="1344"/>
                    <a:pt x="3252" y="1351"/>
                  </a:cubicBezTo>
                  <a:cubicBezTo>
                    <a:pt x="3252" y="1357"/>
                    <a:pt x="3253" y="1358"/>
                    <a:pt x="3255" y="1364"/>
                  </a:cubicBezTo>
                  <a:cubicBezTo>
                    <a:pt x="3257" y="1370"/>
                    <a:pt x="3259" y="1374"/>
                    <a:pt x="3256" y="1377"/>
                  </a:cubicBezTo>
                  <a:cubicBezTo>
                    <a:pt x="3253" y="1381"/>
                    <a:pt x="3254" y="1382"/>
                    <a:pt x="3246" y="1383"/>
                  </a:cubicBezTo>
                  <a:cubicBezTo>
                    <a:pt x="3238" y="1383"/>
                    <a:pt x="3232" y="1384"/>
                    <a:pt x="3228" y="1383"/>
                  </a:cubicBezTo>
                  <a:cubicBezTo>
                    <a:pt x="3224" y="1383"/>
                    <a:pt x="3218" y="1382"/>
                    <a:pt x="3215" y="1380"/>
                  </a:cubicBezTo>
                  <a:cubicBezTo>
                    <a:pt x="3211" y="1379"/>
                    <a:pt x="3204" y="1377"/>
                    <a:pt x="3200" y="1379"/>
                  </a:cubicBezTo>
                  <a:cubicBezTo>
                    <a:pt x="3196" y="1380"/>
                    <a:pt x="3190" y="1377"/>
                    <a:pt x="3189" y="1382"/>
                  </a:cubicBezTo>
                  <a:cubicBezTo>
                    <a:pt x="3187" y="1386"/>
                    <a:pt x="3189" y="1392"/>
                    <a:pt x="3186" y="1394"/>
                  </a:cubicBezTo>
                  <a:cubicBezTo>
                    <a:pt x="3183" y="1396"/>
                    <a:pt x="3175" y="1394"/>
                    <a:pt x="3170" y="1397"/>
                  </a:cubicBezTo>
                  <a:cubicBezTo>
                    <a:pt x="3165" y="1399"/>
                    <a:pt x="3157" y="1404"/>
                    <a:pt x="3152" y="1405"/>
                  </a:cubicBezTo>
                  <a:cubicBezTo>
                    <a:pt x="3147" y="1406"/>
                    <a:pt x="3142" y="1408"/>
                    <a:pt x="3136" y="1407"/>
                  </a:cubicBezTo>
                  <a:cubicBezTo>
                    <a:pt x="3130" y="1406"/>
                    <a:pt x="3127" y="1404"/>
                    <a:pt x="3124" y="1402"/>
                  </a:cubicBezTo>
                  <a:cubicBezTo>
                    <a:pt x="3121" y="1401"/>
                    <a:pt x="3110" y="1396"/>
                    <a:pt x="3103" y="1396"/>
                  </a:cubicBezTo>
                  <a:cubicBezTo>
                    <a:pt x="3096" y="1395"/>
                    <a:pt x="3088" y="1391"/>
                    <a:pt x="3083" y="1389"/>
                  </a:cubicBezTo>
                  <a:cubicBezTo>
                    <a:pt x="3078" y="1386"/>
                    <a:pt x="3065" y="1382"/>
                    <a:pt x="3058" y="1378"/>
                  </a:cubicBezTo>
                  <a:cubicBezTo>
                    <a:pt x="3052" y="1374"/>
                    <a:pt x="3046" y="1372"/>
                    <a:pt x="3042" y="1367"/>
                  </a:cubicBezTo>
                  <a:cubicBezTo>
                    <a:pt x="3038" y="1361"/>
                    <a:pt x="3035" y="1357"/>
                    <a:pt x="3037" y="1355"/>
                  </a:cubicBezTo>
                  <a:cubicBezTo>
                    <a:pt x="3038" y="1353"/>
                    <a:pt x="3045" y="1350"/>
                    <a:pt x="3050" y="1352"/>
                  </a:cubicBezTo>
                  <a:cubicBezTo>
                    <a:pt x="3056" y="1354"/>
                    <a:pt x="3062" y="1353"/>
                    <a:pt x="3068" y="1355"/>
                  </a:cubicBezTo>
                  <a:cubicBezTo>
                    <a:pt x="3075" y="1357"/>
                    <a:pt x="3080" y="1359"/>
                    <a:pt x="3086" y="1363"/>
                  </a:cubicBezTo>
                  <a:cubicBezTo>
                    <a:pt x="3091" y="1367"/>
                    <a:pt x="3100" y="1370"/>
                    <a:pt x="3104" y="1372"/>
                  </a:cubicBezTo>
                  <a:cubicBezTo>
                    <a:pt x="3107" y="1373"/>
                    <a:pt x="3114" y="1372"/>
                    <a:pt x="3120" y="1372"/>
                  </a:cubicBezTo>
                  <a:cubicBezTo>
                    <a:pt x="3126" y="1372"/>
                    <a:pt x="3130" y="1371"/>
                    <a:pt x="3134" y="1369"/>
                  </a:cubicBezTo>
                  <a:cubicBezTo>
                    <a:pt x="3137" y="1368"/>
                    <a:pt x="3147" y="1365"/>
                    <a:pt x="3144" y="1364"/>
                  </a:cubicBezTo>
                  <a:cubicBezTo>
                    <a:pt x="3140" y="1363"/>
                    <a:pt x="3135" y="1365"/>
                    <a:pt x="3130" y="1366"/>
                  </a:cubicBezTo>
                  <a:cubicBezTo>
                    <a:pt x="3125" y="1366"/>
                    <a:pt x="3114" y="1366"/>
                    <a:pt x="3109" y="1366"/>
                  </a:cubicBezTo>
                  <a:cubicBezTo>
                    <a:pt x="3104" y="1365"/>
                    <a:pt x="3099" y="1363"/>
                    <a:pt x="3094" y="1360"/>
                  </a:cubicBezTo>
                  <a:cubicBezTo>
                    <a:pt x="3089" y="1358"/>
                    <a:pt x="3082" y="1354"/>
                    <a:pt x="3077" y="1352"/>
                  </a:cubicBezTo>
                  <a:cubicBezTo>
                    <a:pt x="3072" y="1350"/>
                    <a:pt x="3059" y="1347"/>
                    <a:pt x="3055" y="1347"/>
                  </a:cubicBezTo>
                  <a:cubicBezTo>
                    <a:pt x="3051" y="1347"/>
                    <a:pt x="3047" y="1348"/>
                    <a:pt x="3043" y="1347"/>
                  </a:cubicBezTo>
                  <a:cubicBezTo>
                    <a:pt x="3038" y="1345"/>
                    <a:pt x="3034" y="1343"/>
                    <a:pt x="3025" y="1345"/>
                  </a:cubicBezTo>
                  <a:cubicBezTo>
                    <a:pt x="3017" y="1347"/>
                    <a:pt x="3012" y="1346"/>
                    <a:pt x="3011" y="1352"/>
                  </a:cubicBezTo>
                  <a:cubicBezTo>
                    <a:pt x="3009" y="1357"/>
                    <a:pt x="3007" y="1359"/>
                    <a:pt x="3008" y="1366"/>
                  </a:cubicBezTo>
                  <a:cubicBezTo>
                    <a:pt x="3009" y="1373"/>
                    <a:pt x="3008" y="1378"/>
                    <a:pt x="3004" y="1375"/>
                  </a:cubicBezTo>
                  <a:cubicBezTo>
                    <a:pt x="2999" y="1372"/>
                    <a:pt x="2992" y="1370"/>
                    <a:pt x="2987" y="1369"/>
                  </a:cubicBezTo>
                  <a:cubicBezTo>
                    <a:pt x="2983" y="1368"/>
                    <a:pt x="2977" y="1366"/>
                    <a:pt x="2976" y="1362"/>
                  </a:cubicBezTo>
                  <a:cubicBezTo>
                    <a:pt x="2975" y="1357"/>
                    <a:pt x="2975" y="1351"/>
                    <a:pt x="2970" y="1349"/>
                  </a:cubicBezTo>
                  <a:cubicBezTo>
                    <a:pt x="2966" y="1346"/>
                    <a:pt x="2964" y="1347"/>
                    <a:pt x="2960" y="1344"/>
                  </a:cubicBezTo>
                  <a:cubicBezTo>
                    <a:pt x="2957" y="1342"/>
                    <a:pt x="2957" y="1341"/>
                    <a:pt x="2950" y="1337"/>
                  </a:cubicBezTo>
                  <a:cubicBezTo>
                    <a:pt x="2944" y="1333"/>
                    <a:pt x="2941" y="1331"/>
                    <a:pt x="2939" y="1328"/>
                  </a:cubicBezTo>
                  <a:cubicBezTo>
                    <a:pt x="2936" y="1325"/>
                    <a:pt x="2931" y="1319"/>
                    <a:pt x="2931" y="1324"/>
                  </a:cubicBezTo>
                  <a:cubicBezTo>
                    <a:pt x="2931" y="1329"/>
                    <a:pt x="2933" y="1333"/>
                    <a:pt x="2935" y="1338"/>
                  </a:cubicBezTo>
                  <a:cubicBezTo>
                    <a:pt x="2938" y="1342"/>
                    <a:pt x="2940" y="1345"/>
                    <a:pt x="2943" y="1346"/>
                  </a:cubicBezTo>
                  <a:cubicBezTo>
                    <a:pt x="2946" y="1346"/>
                    <a:pt x="2948" y="1345"/>
                    <a:pt x="2951" y="1348"/>
                  </a:cubicBezTo>
                  <a:cubicBezTo>
                    <a:pt x="2955" y="1350"/>
                    <a:pt x="2958" y="1352"/>
                    <a:pt x="2961" y="1353"/>
                  </a:cubicBezTo>
                  <a:cubicBezTo>
                    <a:pt x="2964" y="1354"/>
                    <a:pt x="2968" y="1355"/>
                    <a:pt x="2969" y="1359"/>
                  </a:cubicBezTo>
                  <a:cubicBezTo>
                    <a:pt x="2969" y="1363"/>
                    <a:pt x="2968" y="1369"/>
                    <a:pt x="2966" y="1371"/>
                  </a:cubicBezTo>
                  <a:cubicBezTo>
                    <a:pt x="2964" y="1373"/>
                    <a:pt x="2957" y="1377"/>
                    <a:pt x="2954" y="1379"/>
                  </a:cubicBezTo>
                  <a:cubicBezTo>
                    <a:pt x="2951" y="1380"/>
                    <a:pt x="2948" y="1382"/>
                    <a:pt x="2942" y="1388"/>
                  </a:cubicBezTo>
                  <a:cubicBezTo>
                    <a:pt x="2936" y="1395"/>
                    <a:pt x="2940" y="1398"/>
                    <a:pt x="2933" y="1401"/>
                  </a:cubicBezTo>
                  <a:cubicBezTo>
                    <a:pt x="2926" y="1405"/>
                    <a:pt x="2920" y="1406"/>
                    <a:pt x="2915" y="1406"/>
                  </a:cubicBezTo>
                  <a:cubicBezTo>
                    <a:pt x="2910" y="1406"/>
                    <a:pt x="2906" y="1409"/>
                    <a:pt x="2902" y="1407"/>
                  </a:cubicBezTo>
                  <a:cubicBezTo>
                    <a:pt x="2898" y="1405"/>
                    <a:pt x="2897" y="1402"/>
                    <a:pt x="2891" y="1400"/>
                  </a:cubicBezTo>
                  <a:cubicBezTo>
                    <a:pt x="2885" y="1397"/>
                    <a:pt x="2877" y="1398"/>
                    <a:pt x="2872" y="1397"/>
                  </a:cubicBezTo>
                  <a:cubicBezTo>
                    <a:pt x="2868" y="1397"/>
                    <a:pt x="2861" y="1398"/>
                    <a:pt x="2856" y="1394"/>
                  </a:cubicBezTo>
                  <a:cubicBezTo>
                    <a:pt x="2850" y="1389"/>
                    <a:pt x="2844" y="1389"/>
                    <a:pt x="2838" y="1385"/>
                  </a:cubicBezTo>
                  <a:cubicBezTo>
                    <a:pt x="2832" y="1382"/>
                    <a:pt x="2827" y="1378"/>
                    <a:pt x="2823" y="1380"/>
                  </a:cubicBezTo>
                  <a:cubicBezTo>
                    <a:pt x="2819" y="1382"/>
                    <a:pt x="2816" y="1387"/>
                    <a:pt x="2820" y="1389"/>
                  </a:cubicBezTo>
                  <a:cubicBezTo>
                    <a:pt x="2824" y="1391"/>
                    <a:pt x="2822" y="1389"/>
                    <a:pt x="2831" y="1392"/>
                  </a:cubicBezTo>
                  <a:cubicBezTo>
                    <a:pt x="2840" y="1395"/>
                    <a:pt x="2839" y="1391"/>
                    <a:pt x="2845" y="1396"/>
                  </a:cubicBezTo>
                  <a:cubicBezTo>
                    <a:pt x="2850" y="1400"/>
                    <a:pt x="2850" y="1400"/>
                    <a:pt x="2857" y="1401"/>
                  </a:cubicBezTo>
                  <a:cubicBezTo>
                    <a:pt x="2864" y="1403"/>
                    <a:pt x="2864" y="1401"/>
                    <a:pt x="2870" y="1403"/>
                  </a:cubicBezTo>
                  <a:cubicBezTo>
                    <a:pt x="2876" y="1405"/>
                    <a:pt x="2877" y="1408"/>
                    <a:pt x="2874" y="1411"/>
                  </a:cubicBezTo>
                  <a:cubicBezTo>
                    <a:pt x="2872" y="1414"/>
                    <a:pt x="2872" y="1415"/>
                    <a:pt x="2867" y="1416"/>
                  </a:cubicBezTo>
                  <a:cubicBezTo>
                    <a:pt x="2862" y="1418"/>
                    <a:pt x="2859" y="1418"/>
                    <a:pt x="2854" y="1416"/>
                  </a:cubicBezTo>
                  <a:cubicBezTo>
                    <a:pt x="2850" y="1414"/>
                    <a:pt x="2849" y="1411"/>
                    <a:pt x="2843" y="1415"/>
                  </a:cubicBezTo>
                  <a:cubicBezTo>
                    <a:pt x="2838" y="1419"/>
                    <a:pt x="2836" y="1419"/>
                    <a:pt x="2831" y="1419"/>
                  </a:cubicBezTo>
                  <a:cubicBezTo>
                    <a:pt x="2825" y="1419"/>
                    <a:pt x="2822" y="1418"/>
                    <a:pt x="2818" y="1419"/>
                  </a:cubicBezTo>
                  <a:cubicBezTo>
                    <a:pt x="2814" y="1419"/>
                    <a:pt x="2808" y="1420"/>
                    <a:pt x="2808" y="1423"/>
                  </a:cubicBezTo>
                  <a:cubicBezTo>
                    <a:pt x="2809" y="1427"/>
                    <a:pt x="2811" y="1430"/>
                    <a:pt x="2816" y="1430"/>
                  </a:cubicBezTo>
                  <a:cubicBezTo>
                    <a:pt x="2821" y="1430"/>
                    <a:pt x="2823" y="1432"/>
                    <a:pt x="2822" y="1434"/>
                  </a:cubicBezTo>
                  <a:cubicBezTo>
                    <a:pt x="2821" y="1436"/>
                    <a:pt x="2815" y="1444"/>
                    <a:pt x="2819" y="1446"/>
                  </a:cubicBezTo>
                  <a:cubicBezTo>
                    <a:pt x="2823" y="1448"/>
                    <a:pt x="2830" y="1449"/>
                    <a:pt x="2831" y="1443"/>
                  </a:cubicBezTo>
                  <a:cubicBezTo>
                    <a:pt x="2832" y="1437"/>
                    <a:pt x="2831" y="1429"/>
                    <a:pt x="2835" y="1427"/>
                  </a:cubicBezTo>
                  <a:cubicBezTo>
                    <a:pt x="2838" y="1424"/>
                    <a:pt x="2846" y="1422"/>
                    <a:pt x="2850" y="1425"/>
                  </a:cubicBezTo>
                  <a:cubicBezTo>
                    <a:pt x="2855" y="1429"/>
                    <a:pt x="2864" y="1431"/>
                    <a:pt x="2870" y="1430"/>
                  </a:cubicBezTo>
                  <a:cubicBezTo>
                    <a:pt x="2876" y="1429"/>
                    <a:pt x="2879" y="1419"/>
                    <a:pt x="2883" y="1417"/>
                  </a:cubicBezTo>
                  <a:cubicBezTo>
                    <a:pt x="2888" y="1415"/>
                    <a:pt x="2896" y="1412"/>
                    <a:pt x="2901" y="1414"/>
                  </a:cubicBezTo>
                  <a:cubicBezTo>
                    <a:pt x="2907" y="1416"/>
                    <a:pt x="2913" y="1419"/>
                    <a:pt x="2921" y="1419"/>
                  </a:cubicBezTo>
                  <a:cubicBezTo>
                    <a:pt x="2928" y="1419"/>
                    <a:pt x="2931" y="1419"/>
                    <a:pt x="2937" y="1421"/>
                  </a:cubicBezTo>
                  <a:cubicBezTo>
                    <a:pt x="2943" y="1424"/>
                    <a:pt x="2947" y="1423"/>
                    <a:pt x="2953" y="1424"/>
                  </a:cubicBezTo>
                  <a:cubicBezTo>
                    <a:pt x="2960" y="1425"/>
                    <a:pt x="2968" y="1425"/>
                    <a:pt x="2968" y="1429"/>
                  </a:cubicBezTo>
                  <a:cubicBezTo>
                    <a:pt x="2968" y="1433"/>
                    <a:pt x="2965" y="1434"/>
                    <a:pt x="2963" y="1437"/>
                  </a:cubicBezTo>
                  <a:cubicBezTo>
                    <a:pt x="2961" y="1441"/>
                    <a:pt x="2962" y="1444"/>
                    <a:pt x="2955" y="1444"/>
                  </a:cubicBezTo>
                  <a:cubicBezTo>
                    <a:pt x="2948" y="1445"/>
                    <a:pt x="2941" y="1442"/>
                    <a:pt x="2936" y="1446"/>
                  </a:cubicBezTo>
                  <a:cubicBezTo>
                    <a:pt x="2932" y="1450"/>
                    <a:pt x="2930" y="1450"/>
                    <a:pt x="2924" y="1453"/>
                  </a:cubicBezTo>
                  <a:cubicBezTo>
                    <a:pt x="2918" y="1456"/>
                    <a:pt x="2910" y="1457"/>
                    <a:pt x="2903" y="1458"/>
                  </a:cubicBezTo>
                  <a:cubicBezTo>
                    <a:pt x="2896" y="1460"/>
                    <a:pt x="2890" y="1461"/>
                    <a:pt x="2884" y="1458"/>
                  </a:cubicBezTo>
                  <a:cubicBezTo>
                    <a:pt x="2878" y="1455"/>
                    <a:pt x="2875" y="1451"/>
                    <a:pt x="2869" y="1451"/>
                  </a:cubicBezTo>
                  <a:cubicBezTo>
                    <a:pt x="2864" y="1451"/>
                    <a:pt x="2860" y="1448"/>
                    <a:pt x="2854" y="1451"/>
                  </a:cubicBezTo>
                  <a:cubicBezTo>
                    <a:pt x="2848" y="1454"/>
                    <a:pt x="2845" y="1453"/>
                    <a:pt x="2840" y="1455"/>
                  </a:cubicBezTo>
                  <a:cubicBezTo>
                    <a:pt x="2835" y="1456"/>
                    <a:pt x="2829" y="1455"/>
                    <a:pt x="2831" y="1458"/>
                  </a:cubicBezTo>
                  <a:cubicBezTo>
                    <a:pt x="2832" y="1461"/>
                    <a:pt x="2834" y="1464"/>
                    <a:pt x="2839" y="1462"/>
                  </a:cubicBezTo>
                  <a:cubicBezTo>
                    <a:pt x="2845" y="1460"/>
                    <a:pt x="2852" y="1458"/>
                    <a:pt x="2857" y="1459"/>
                  </a:cubicBezTo>
                  <a:cubicBezTo>
                    <a:pt x="2861" y="1460"/>
                    <a:pt x="2864" y="1458"/>
                    <a:pt x="2865" y="1461"/>
                  </a:cubicBezTo>
                  <a:cubicBezTo>
                    <a:pt x="2866" y="1465"/>
                    <a:pt x="2863" y="1468"/>
                    <a:pt x="2865" y="1470"/>
                  </a:cubicBezTo>
                  <a:cubicBezTo>
                    <a:pt x="2866" y="1472"/>
                    <a:pt x="2870" y="1474"/>
                    <a:pt x="2874" y="1474"/>
                  </a:cubicBezTo>
                  <a:cubicBezTo>
                    <a:pt x="2877" y="1473"/>
                    <a:pt x="2880" y="1471"/>
                    <a:pt x="2883" y="1472"/>
                  </a:cubicBezTo>
                  <a:cubicBezTo>
                    <a:pt x="2886" y="1472"/>
                    <a:pt x="2888" y="1472"/>
                    <a:pt x="2889" y="1474"/>
                  </a:cubicBezTo>
                  <a:cubicBezTo>
                    <a:pt x="2889" y="1477"/>
                    <a:pt x="2886" y="1481"/>
                    <a:pt x="2886" y="1483"/>
                  </a:cubicBezTo>
                  <a:cubicBezTo>
                    <a:pt x="2886" y="1485"/>
                    <a:pt x="2884" y="1487"/>
                    <a:pt x="2888" y="1488"/>
                  </a:cubicBezTo>
                  <a:cubicBezTo>
                    <a:pt x="2892" y="1488"/>
                    <a:pt x="2896" y="1484"/>
                    <a:pt x="2898" y="1480"/>
                  </a:cubicBezTo>
                  <a:cubicBezTo>
                    <a:pt x="2900" y="1476"/>
                    <a:pt x="2900" y="1473"/>
                    <a:pt x="2907" y="1471"/>
                  </a:cubicBezTo>
                  <a:cubicBezTo>
                    <a:pt x="2913" y="1469"/>
                    <a:pt x="2920" y="1463"/>
                    <a:pt x="2923" y="1463"/>
                  </a:cubicBezTo>
                  <a:cubicBezTo>
                    <a:pt x="2925" y="1463"/>
                    <a:pt x="2935" y="1461"/>
                    <a:pt x="2938" y="1459"/>
                  </a:cubicBezTo>
                  <a:cubicBezTo>
                    <a:pt x="2942" y="1458"/>
                    <a:pt x="2947" y="1456"/>
                    <a:pt x="2953" y="1458"/>
                  </a:cubicBezTo>
                  <a:cubicBezTo>
                    <a:pt x="2960" y="1461"/>
                    <a:pt x="2966" y="1463"/>
                    <a:pt x="2970" y="1465"/>
                  </a:cubicBezTo>
                  <a:cubicBezTo>
                    <a:pt x="2974" y="1468"/>
                    <a:pt x="2984" y="1467"/>
                    <a:pt x="2989" y="1474"/>
                  </a:cubicBezTo>
                  <a:cubicBezTo>
                    <a:pt x="2993" y="1481"/>
                    <a:pt x="2995" y="1484"/>
                    <a:pt x="2995" y="1488"/>
                  </a:cubicBezTo>
                  <a:cubicBezTo>
                    <a:pt x="2995" y="1491"/>
                    <a:pt x="2993" y="1495"/>
                    <a:pt x="2987" y="1495"/>
                  </a:cubicBezTo>
                  <a:cubicBezTo>
                    <a:pt x="2981" y="1496"/>
                    <a:pt x="2977" y="1499"/>
                    <a:pt x="2971" y="1500"/>
                  </a:cubicBezTo>
                  <a:cubicBezTo>
                    <a:pt x="2966" y="1502"/>
                    <a:pt x="2969" y="1502"/>
                    <a:pt x="2959" y="1502"/>
                  </a:cubicBezTo>
                  <a:cubicBezTo>
                    <a:pt x="2950" y="1502"/>
                    <a:pt x="2949" y="1500"/>
                    <a:pt x="2942" y="1502"/>
                  </a:cubicBezTo>
                  <a:cubicBezTo>
                    <a:pt x="2936" y="1504"/>
                    <a:pt x="2933" y="1504"/>
                    <a:pt x="2928" y="1504"/>
                  </a:cubicBezTo>
                  <a:cubicBezTo>
                    <a:pt x="2923" y="1504"/>
                    <a:pt x="2918" y="1502"/>
                    <a:pt x="2917" y="1505"/>
                  </a:cubicBezTo>
                  <a:cubicBezTo>
                    <a:pt x="2916" y="1507"/>
                    <a:pt x="2915" y="1510"/>
                    <a:pt x="2920" y="1511"/>
                  </a:cubicBezTo>
                  <a:cubicBezTo>
                    <a:pt x="2926" y="1511"/>
                    <a:pt x="2928" y="1511"/>
                    <a:pt x="2933" y="1511"/>
                  </a:cubicBezTo>
                  <a:cubicBezTo>
                    <a:pt x="2939" y="1511"/>
                    <a:pt x="2943" y="1509"/>
                    <a:pt x="2946" y="1510"/>
                  </a:cubicBezTo>
                  <a:cubicBezTo>
                    <a:pt x="2950" y="1510"/>
                    <a:pt x="2951" y="1513"/>
                    <a:pt x="2949" y="1514"/>
                  </a:cubicBezTo>
                  <a:cubicBezTo>
                    <a:pt x="2946" y="1516"/>
                    <a:pt x="2944" y="1519"/>
                    <a:pt x="2941" y="1521"/>
                  </a:cubicBezTo>
                  <a:cubicBezTo>
                    <a:pt x="2939" y="1523"/>
                    <a:pt x="2936" y="1538"/>
                    <a:pt x="2940" y="1539"/>
                  </a:cubicBezTo>
                  <a:cubicBezTo>
                    <a:pt x="2944" y="1541"/>
                    <a:pt x="2947" y="1536"/>
                    <a:pt x="2949" y="1531"/>
                  </a:cubicBezTo>
                  <a:cubicBezTo>
                    <a:pt x="2951" y="1527"/>
                    <a:pt x="2954" y="1522"/>
                    <a:pt x="2956" y="1520"/>
                  </a:cubicBezTo>
                  <a:cubicBezTo>
                    <a:pt x="2958" y="1518"/>
                    <a:pt x="2957" y="1518"/>
                    <a:pt x="2963" y="1514"/>
                  </a:cubicBezTo>
                  <a:cubicBezTo>
                    <a:pt x="2969" y="1510"/>
                    <a:pt x="2972" y="1509"/>
                    <a:pt x="2979" y="1508"/>
                  </a:cubicBezTo>
                  <a:cubicBezTo>
                    <a:pt x="2987" y="1507"/>
                    <a:pt x="2985" y="1506"/>
                    <a:pt x="2993" y="1505"/>
                  </a:cubicBezTo>
                  <a:cubicBezTo>
                    <a:pt x="3000" y="1504"/>
                    <a:pt x="3008" y="1504"/>
                    <a:pt x="3011" y="1508"/>
                  </a:cubicBezTo>
                  <a:cubicBezTo>
                    <a:pt x="3015" y="1512"/>
                    <a:pt x="3017" y="1513"/>
                    <a:pt x="3024" y="1516"/>
                  </a:cubicBezTo>
                  <a:cubicBezTo>
                    <a:pt x="3030" y="1518"/>
                    <a:pt x="3034" y="1517"/>
                    <a:pt x="3038" y="1520"/>
                  </a:cubicBezTo>
                  <a:cubicBezTo>
                    <a:pt x="3042" y="1524"/>
                    <a:pt x="3044" y="1526"/>
                    <a:pt x="3044" y="1530"/>
                  </a:cubicBezTo>
                  <a:cubicBezTo>
                    <a:pt x="3044" y="1535"/>
                    <a:pt x="3044" y="1539"/>
                    <a:pt x="3048" y="1539"/>
                  </a:cubicBezTo>
                  <a:cubicBezTo>
                    <a:pt x="3053" y="1540"/>
                    <a:pt x="3058" y="1538"/>
                    <a:pt x="3064" y="1540"/>
                  </a:cubicBezTo>
                  <a:cubicBezTo>
                    <a:pt x="3070" y="1541"/>
                    <a:pt x="3077" y="1542"/>
                    <a:pt x="3080" y="1545"/>
                  </a:cubicBezTo>
                  <a:cubicBezTo>
                    <a:pt x="3083" y="1548"/>
                    <a:pt x="3087" y="1550"/>
                    <a:pt x="3091" y="1552"/>
                  </a:cubicBezTo>
                  <a:cubicBezTo>
                    <a:pt x="3095" y="1553"/>
                    <a:pt x="3101" y="1557"/>
                    <a:pt x="3103" y="1558"/>
                  </a:cubicBezTo>
                  <a:cubicBezTo>
                    <a:pt x="3106" y="1559"/>
                    <a:pt x="3109" y="1559"/>
                    <a:pt x="3113" y="1561"/>
                  </a:cubicBezTo>
                  <a:cubicBezTo>
                    <a:pt x="3117" y="1562"/>
                    <a:pt x="3122" y="1562"/>
                    <a:pt x="3123" y="1564"/>
                  </a:cubicBezTo>
                  <a:cubicBezTo>
                    <a:pt x="3124" y="1567"/>
                    <a:pt x="3124" y="1567"/>
                    <a:pt x="3121" y="1569"/>
                  </a:cubicBezTo>
                  <a:cubicBezTo>
                    <a:pt x="3118" y="1570"/>
                    <a:pt x="3117" y="1570"/>
                    <a:pt x="3114" y="1572"/>
                  </a:cubicBezTo>
                  <a:cubicBezTo>
                    <a:pt x="3111" y="1573"/>
                    <a:pt x="3109" y="1574"/>
                    <a:pt x="3107" y="1577"/>
                  </a:cubicBezTo>
                  <a:cubicBezTo>
                    <a:pt x="3105" y="1580"/>
                    <a:pt x="3106" y="1581"/>
                    <a:pt x="3100" y="1584"/>
                  </a:cubicBezTo>
                  <a:cubicBezTo>
                    <a:pt x="3095" y="1586"/>
                    <a:pt x="3093" y="1589"/>
                    <a:pt x="3093" y="1593"/>
                  </a:cubicBezTo>
                  <a:cubicBezTo>
                    <a:pt x="3093" y="1596"/>
                    <a:pt x="3094" y="1599"/>
                    <a:pt x="3099" y="1596"/>
                  </a:cubicBezTo>
                  <a:cubicBezTo>
                    <a:pt x="3104" y="1593"/>
                    <a:pt x="3106" y="1593"/>
                    <a:pt x="3109" y="1591"/>
                  </a:cubicBezTo>
                  <a:cubicBezTo>
                    <a:pt x="3111" y="1588"/>
                    <a:pt x="3114" y="1587"/>
                    <a:pt x="3117" y="1586"/>
                  </a:cubicBezTo>
                  <a:cubicBezTo>
                    <a:pt x="3120" y="1585"/>
                    <a:pt x="3124" y="1581"/>
                    <a:pt x="3126" y="1583"/>
                  </a:cubicBezTo>
                  <a:cubicBezTo>
                    <a:pt x="3128" y="1585"/>
                    <a:pt x="3125" y="1586"/>
                    <a:pt x="3124" y="1589"/>
                  </a:cubicBezTo>
                  <a:cubicBezTo>
                    <a:pt x="3123" y="1591"/>
                    <a:pt x="3122" y="1595"/>
                    <a:pt x="3123" y="1598"/>
                  </a:cubicBezTo>
                  <a:cubicBezTo>
                    <a:pt x="3123" y="1601"/>
                    <a:pt x="3123" y="1602"/>
                    <a:pt x="3125" y="1601"/>
                  </a:cubicBezTo>
                  <a:cubicBezTo>
                    <a:pt x="3127" y="1600"/>
                    <a:pt x="3129" y="1597"/>
                    <a:pt x="3131" y="1594"/>
                  </a:cubicBezTo>
                  <a:cubicBezTo>
                    <a:pt x="3132" y="1592"/>
                    <a:pt x="3135" y="1590"/>
                    <a:pt x="3138" y="1589"/>
                  </a:cubicBezTo>
                  <a:cubicBezTo>
                    <a:pt x="3141" y="1588"/>
                    <a:pt x="3142" y="1585"/>
                    <a:pt x="3144" y="1584"/>
                  </a:cubicBezTo>
                  <a:cubicBezTo>
                    <a:pt x="3147" y="1584"/>
                    <a:pt x="3149" y="1585"/>
                    <a:pt x="3152" y="1585"/>
                  </a:cubicBezTo>
                  <a:cubicBezTo>
                    <a:pt x="3156" y="1585"/>
                    <a:pt x="3158" y="1586"/>
                    <a:pt x="3161" y="1585"/>
                  </a:cubicBezTo>
                  <a:cubicBezTo>
                    <a:pt x="3163" y="1584"/>
                    <a:pt x="3167" y="1587"/>
                    <a:pt x="3165" y="1588"/>
                  </a:cubicBezTo>
                  <a:cubicBezTo>
                    <a:pt x="3164" y="1590"/>
                    <a:pt x="3161" y="1588"/>
                    <a:pt x="3158" y="1593"/>
                  </a:cubicBezTo>
                  <a:cubicBezTo>
                    <a:pt x="3154" y="1597"/>
                    <a:pt x="3149" y="1600"/>
                    <a:pt x="3149" y="1602"/>
                  </a:cubicBezTo>
                  <a:cubicBezTo>
                    <a:pt x="3149" y="1604"/>
                    <a:pt x="3141" y="1605"/>
                    <a:pt x="3138" y="1607"/>
                  </a:cubicBezTo>
                  <a:cubicBezTo>
                    <a:pt x="3136" y="1609"/>
                    <a:pt x="3133" y="1609"/>
                    <a:pt x="3133" y="1612"/>
                  </a:cubicBezTo>
                  <a:cubicBezTo>
                    <a:pt x="3132" y="1615"/>
                    <a:pt x="3130" y="1619"/>
                    <a:pt x="3130" y="1623"/>
                  </a:cubicBezTo>
                  <a:cubicBezTo>
                    <a:pt x="3130" y="1628"/>
                    <a:pt x="3131" y="1633"/>
                    <a:pt x="3132" y="1634"/>
                  </a:cubicBezTo>
                  <a:cubicBezTo>
                    <a:pt x="3134" y="1635"/>
                    <a:pt x="3138" y="1635"/>
                    <a:pt x="3140" y="1633"/>
                  </a:cubicBezTo>
                  <a:cubicBezTo>
                    <a:pt x="3143" y="1631"/>
                    <a:pt x="3144" y="1625"/>
                    <a:pt x="3146" y="1621"/>
                  </a:cubicBezTo>
                  <a:cubicBezTo>
                    <a:pt x="3148" y="1617"/>
                    <a:pt x="3149" y="1615"/>
                    <a:pt x="3154" y="1615"/>
                  </a:cubicBezTo>
                  <a:cubicBezTo>
                    <a:pt x="3159" y="1614"/>
                    <a:pt x="3162" y="1614"/>
                    <a:pt x="3166" y="1613"/>
                  </a:cubicBezTo>
                  <a:cubicBezTo>
                    <a:pt x="3170" y="1613"/>
                    <a:pt x="3169" y="1617"/>
                    <a:pt x="3171" y="1619"/>
                  </a:cubicBezTo>
                  <a:cubicBezTo>
                    <a:pt x="3172" y="1621"/>
                    <a:pt x="3174" y="1624"/>
                    <a:pt x="3174" y="1626"/>
                  </a:cubicBezTo>
                  <a:cubicBezTo>
                    <a:pt x="3173" y="1629"/>
                    <a:pt x="3172" y="1630"/>
                    <a:pt x="3171" y="1632"/>
                  </a:cubicBezTo>
                  <a:cubicBezTo>
                    <a:pt x="3170" y="1633"/>
                    <a:pt x="3171" y="1634"/>
                    <a:pt x="3170" y="1636"/>
                  </a:cubicBezTo>
                  <a:cubicBezTo>
                    <a:pt x="3170" y="1637"/>
                    <a:pt x="3167" y="1637"/>
                    <a:pt x="3165" y="1638"/>
                  </a:cubicBezTo>
                  <a:cubicBezTo>
                    <a:pt x="3163" y="1638"/>
                    <a:pt x="3159" y="1638"/>
                    <a:pt x="3160" y="1640"/>
                  </a:cubicBezTo>
                  <a:cubicBezTo>
                    <a:pt x="3161" y="1642"/>
                    <a:pt x="3163" y="1643"/>
                    <a:pt x="3164" y="1644"/>
                  </a:cubicBezTo>
                  <a:cubicBezTo>
                    <a:pt x="3166" y="1645"/>
                    <a:pt x="3168" y="1647"/>
                    <a:pt x="3169" y="1650"/>
                  </a:cubicBezTo>
                  <a:cubicBezTo>
                    <a:pt x="3170" y="1653"/>
                    <a:pt x="3170" y="1657"/>
                    <a:pt x="3168" y="1658"/>
                  </a:cubicBezTo>
                  <a:cubicBezTo>
                    <a:pt x="3166" y="1659"/>
                    <a:pt x="3164" y="1658"/>
                    <a:pt x="3159" y="1659"/>
                  </a:cubicBezTo>
                  <a:cubicBezTo>
                    <a:pt x="3154" y="1659"/>
                    <a:pt x="3152" y="1661"/>
                    <a:pt x="3149" y="1661"/>
                  </a:cubicBezTo>
                  <a:cubicBezTo>
                    <a:pt x="3145" y="1661"/>
                    <a:pt x="3140" y="1659"/>
                    <a:pt x="3139" y="1661"/>
                  </a:cubicBezTo>
                  <a:cubicBezTo>
                    <a:pt x="3137" y="1664"/>
                    <a:pt x="3134" y="1667"/>
                    <a:pt x="3138" y="1667"/>
                  </a:cubicBezTo>
                  <a:cubicBezTo>
                    <a:pt x="3143" y="1667"/>
                    <a:pt x="3155" y="1667"/>
                    <a:pt x="3157" y="1666"/>
                  </a:cubicBezTo>
                  <a:cubicBezTo>
                    <a:pt x="3159" y="1664"/>
                    <a:pt x="3157" y="1662"/>
                    <a:pt x="3165" y="1664"/>
                  </a:cubicBezTo>
                  <a:cubicBezTo>
                    <a:pt x="3173" y="1665"/>
                    <a:pt x="3176" y="1666"/>
                    <a:pt x="3176" y="1667"/>
                  </a:cubicBezTo>
                  <a:cubicBezTo>
                    <a:pt x="3176" y="1669"/>
                    <a:pt x="3177" y="1670"/>
                    <a:pt x="3171" y="1670"/>
                  </a:cubicBezTo>
                  <a:cubicBezTo>
                    <a:pt x="3166" y="1670"/>
                    <a:pt x="3162" y="1672"/>
                    <a:pt x="3164" y="1674"/>
                  </a:cubicBezTo>
                  <a:cubicBezTo>
                    <a:pt x="3165" y="1677"/>
                    <a:pt x="3170" y="1676"/>
                    <a:pt x="3176" y="1677"/>
                  </a:cubicBezTo>
                  <a:cubicBezTo>
                    <a:pt x="3183" y="1677"/>
                    <a:pt x="3185" y="1678"/>
                    <a:pt x="3185" y="1681"/>
                  </a:cubicBezTo>
                  <a:cubicBezTo>
                    <a:pt x="3184" y="1683"/>
                    <a:pt x="3180" y="1683"/>
                    <a:pt x="3178" y="1686"/>
                  </a:cubicBezTo>
                  <a:cubicBezTo>
                    <a:pt x="3176" y="1689"/>
                    <a:pt x="3176" y="1690"/>
                    <a:pt x="3171" y="1690"/>
                  </a:cubicBezTo>
                  <a:cubicBezTo>
                    <a:pt x="3165" y="1690"/>
                    <a:pt x="3162" y="1688"/>
                    <a:pt x="3163" y="1692"/>
                  </a:cubicBezTo>
                  <a:cubicBezTo>
                    <a:pt x="3165" y="1696"/>
                    <a:pt x="3168" y="1698"/>
                    <a:pt x="3172" y="1699"/>
                  </a:cubicBezTo>
                  <a:cubicBezTo>
                    <a:pt x="3177" y="1700"/>
                    <a:pt x="3180" y="1700"/>
                    <a:pt x="3181" y="1706"/>
                  </a:cubicBezTo>
                  <a:cubicBezTo>
                    <a:pt x="3181" y="1711"/>
                    <a:pt x="3184" y="1712"/>
                    <a:pt x="3185" y="1715"/>
                  </a:cubicBezTo>
                  <a:cubicBezTo>
                    <a:pt x="3186" y="1719"/>
                    <a:pt x="3177" y="1717"/>
                    <a:pt x="3177" y="1721"/>
                  </a:cubicBezTo>
                  <a:cubicBezTo>
                    <a:pt x="3177" y="1724"/>
                    <a:pt x="3181" y="1726"/>
                    <a:pt x="3182" y="1729"/>
                  </a:cubicBezTo>
                  <a:cubicBezTo>
                    <a:pt x="3184" y="1732"/>
                    <a:pt x="3183" y="1735"/>
                    <a:pt x="3177" y="1736"/>
                  </a:cubicBezTo>
                  <a:cubicBezTo>
                    <a:pt x="3171" y="1736"/>
                    <a:pt x="3170" y="1739"/>
                    <a:pt x="3165" y="1739"/>
                  </a:cubicBezTo>
                  <a:cubicBezTo>
                    <a:pt x="3161" y="1739"/>
                    <a:pt x="3160" y="1737"/>
                    <a:pt x="3153" y="1734"/>
                  </a:cubicBezTo>
                  <a:cubicBezTo>
                    <a:pt x="3147" y="1732"/>
                    <a:pt x="3143" y="1734"/>
                    <a:pt x="3141" y="1729"/>
                  </a:cubicBezTo>
                  <a:cubicBezTo>
                    <a:pt x="3139" y="1724"/>
                    <a:pt x="3135" y="1720"/>
                    <a:pt x="3136" y="1714"/>
                  </a:cubicBezTo>
                  <a:cubicBezTo>
                    <a:pt x="3138" y="1709"/>
                    <a:pt x="3136" y="1705"/>
                    <a:pt x="3135" y="1701"/>
                  </a:cubicBezTo>
                  <a:cubicBezTo>
                    <a:pt x="3134" y="1696"/>
                    <a:pt x="3136" y="1694"/>
                    <a:pt x="3134" y="1689"/>
                  </a:cubicBezTo>
                  <a:cubicBezTo>
                    <a:pt x="3131" y="1685"/>
                    <a:pt x="3128" y="1680"/>
                    <a:pt x="3127" y="1685"/>
                  </a:cubicBezTo>
                  <a:cubicBezTo>
                    <a:pt x="3125" y="1691"/>
                    <a:pt x="3123" y="1694"/>
                    <a:pt x="3125" y="1700"/>
                  </a:cubicBezTo>
                  <a:cubicBezTo>
                    <a:pt x="3127" y="1707"/>
                    <a:pt x="3125" y="1709"/>
                    <a:pt x="3123" y="1713"/>
                  </a:cubicBezTo>
                  <a:cubicBezTo>
                    <a:pt x="3121" y="1718"/>
                    <a:pt x="3121" y="1718"/>
                    <a:pt x="3119" y="1723"/>
                  </a:cubicBezTo>
                  <a:cubicBezTo>
                    <a:pt x="3118" y="1728"/>
                    <a:pt x="3114" y="1730"/>
                    <a:pt x="3109" y="1729"/>
                  </a:cubicBezTo>
                  <a:cubicBezTo>
                    <a:pt x="3105" y="1728"/>
                    <a:pt x="3104" y="1726"/>
                    <a:pt x="3095" y="1727"/>
                  </a:cubicBezTo>
                  <a:cubicBezTo>
                    <a:pt x="3087" y="1729"/>
                    <a:pt x="3082" y="1730"/>
                    <a:pt x="3078" y="1729"/>
                  </a:cubicBezTo>
                  <a:cubicBezTo>
                    <a:pt x="3074" y="1728"/>
                    <a:pt x="3074" y="1729"/>
                    <a:pt x="3067" y="1724"/>
                  </a:cubicBezTo>
                  <a:cubicBezTo>
                    <a:pt x="3061" y="1718"/>
                    <a:pt x="3056" y="1717"/>
                    <a:pt x="3051" y="1715"/>
                  </a:cubicBezTo>
                  <a:cubicBezTo>
                    <a:pt x="3046" y="1712"/>
                    <a:pt x="3038" y="1710"/>
                    <a:pt x="3035" y="1703"/>
                  </a:cubicBezTo>
                  <a:cubicBezTo>
                    <a:pt x="3031" y="1697"/>
                    <a:pt x="3027" y="1695"/>
                    <a:pt x="3026" y="1688"/>
                  </a:cubicBezTo>
                  <a:cubicBezTo>
                    <a:pt x="3025" y="1682"/>
                    <a:pt x="3027" y="1672"/>
                    <a:pt x="3025" y="1667"/>
                  </a:cubicBezTo>
                  <a:cubicBezTo>
                    <a:pt x="3023" y="1662"/>
                    <a:pt x="3020" y="1661"/>
                    <a:pt x="3016" y="1657"/>
                  </a:cubicBezTo>
                  <a:cubicBezTo>
                    <a:pt x="3012" y="1653"/>
                    <a:pt x="3007" y="1651"/>
                    <a:pt x="3005" y="1647"/>
                  </a:cubicBezTo>
                  <a:cubicBezTo>
                    <a:pt x="3003" y="1643"/>
                    <a:pt x="2998" y="1643"/>
                    <a:pt x="2999" y="1638"/>
                  </a:cubicBezTo>
                  <a:cubicBezTo>
                    <a:pt x="3001" y="1633"/>
                    <a:pt x="3003" y="1630"/>
                    <a:pt x="3001" y="1628"/>
                  </a:cubicBezTo>
                  <a:cubicBezTo>
                    <a:pt x="3000" y="1627"/>
                    <a:pt x="2996" y="1624"/>
                    <a:pt x="2993" y="1626"/>
                  </a:cubicBezTo>
                  <a:cubicBezTo>
                    <a:pt x="2989" y="1628"/>
                    <a:pt x="2985" y="1629"/>
                    <a:pt x="2980" y="1630"/>
                  </a:cubicBezTo>
                  <a:cubicBezTo>
                    <a:pt x="2974" y="1631"/>
                    <a:pt x="2970" y="1632"/>
                    <a:pt x="2966" y="1629"/>
                  </a:cubicBezTo>
                  <a:cubicBezTo>
                    <a:pt x="2961" y="1625"/>
                    <a:pt x="2952" y="1621"/>
                    <a:pt x="2949" y="1615"/>
                  </a:cubicBezTo>
                  <a:cubicBezTo>
                    <a:pt x="2947" y="1609"/>
                    <a:pt x="2939" y="1606"/>
                    <a:pt x="2927" y="1603"/>
                  </a:cubicBezTo>
                  <a:cubicBezTo>
                    <a:pt x="2915" y="1599"/>
                    <a:pt x="2910" y="1598"/>
                    <a:pt x="2901" y="1598"/>
                  </a:cubicBezTo>
                  <a:cubicBezTo>
                    <a:pt x="2892" y="1598"/>
                    <a:pt x="2888" y="1595"/>
                    <a:pt x="2883" y="1597"/>
                  </a:cubicBezTo>
                  <a:cubicBezTo>
                    <a:pt x="2878" y="1600"/>
                    <a:pt x="2865" y="1603"/>
                    <a:pt x="2862" y="1602"/>
                  </a:cubicBezTo>
                  <a:cubicBezTo>
                    <a:pt x="2859" y="1601"/>
                    <a:pt x="2851" y="1594"/>
                    <a:pt x="2848" y="1587"/>
                  </a:cubicBezTo>
                  <a:cubicBezTo>
                    <a:pt x="2845" y="1581"/>
                    <a:pt x="2831" y="1576"/>
                    <a:pt x="2826" y="1572"/>
                  </a:cubicBezTo>
                  <a:cubicBezTo>
                    <a:pt x="2822" y="1569"/>
                    <a:pt x="2819" y="1566"/>
                    <a:pt x="2815" y="1563"/>
                  </a:cubicBezTo>
                  <a:cubicBezTo>
                    <a:pt x="2810" y="1559"/>
                    <a:pt x="2807" y="1558"/>
                    <a:pt x="2799" y="1557"/>
                  </a:cubicBezTo>
                  <a:cubicBezTo>
                    <a:pt x="2791" y="1556"/>
                    <a:pt x="2789" y="1556"/>
                    <a:pt x="2779" y="1553"/>
                  </a:cubicBezTo>
                  <a:cubicBezTo>
                    <a:pt x="2770" y="1549"/>
                    <a:pt x="2765" y="1549"/>
                    <a:pt x="2761" y="1546"/>
                  </a:cubicBezTo>
                  <a:cubicBezTo>
                    <a:pt x="2757" y="1543"/>
                    <a:pt x="2748" y="1542"/>
                    <a:pt x="2746" y="1542"/>
                  </a:cubicBezTo>
                  <a:cubicBezTo>
                    <a:pt x="2743" y="1543"/>
                    <a:pt x="2746" y="1549"/>
                    <a:pt x="2752" y="1551"/>
                  </a:cubicBezTo>
                  <a:cubicBezTo>
                    <a:pt x="2758" y="1553"/>
                    <a:pt x="2761" y="1552"/>
                    <a:pt x="2761" y="1557"/>
                  </a:cubicBezTo>
                  <a:cubicBezTo>
                    <a:pt x="2761" y="1561"/>
                    <a:pt x="2757" y="1561"/>
                    <a:pt x="2761" y="1564"/>
                  </a:cubicBezTo>
                  <a:cubicBezTo>
                    <a:pt x="2766" y="1566"/>
                    <a:pt x="2770" y="1566"/>
                    <a:pt x="2776" y="1566"/>
                  </a:cubicBezTo>
                  <a:cubicBezTo>
                    <a:pt x="2782" y="1566"/>
                    <a:pt x="2793" y="1568"/>
                    <a:pt x="2798" y="1572"/>
                  </a:cubicBezTo>
                  <a:cubicBezTo>
                    <a:pt x="2802" y="1577"/>
                    <a:pt x="2802" y="1577"/>
                    <a:pt x="2806" y="1580"/>
                  </a:cubicBezTo>
                  <a:cubicBezTo>
                    <a:pt x="2810" y="1583"/>
                    <a:pt x="2810" y="1583"/>
                    <a:pt x="2815" y="1585"/>
                  </a:cubicBezTo>
                  <a:cubicBezTo>
                    <a:pt x="2820" y="1587"/>
                    <a:pt x="2823" y="1587"/>
                    <a:pt x="2823" y="1590"/>
                  </a:cubicBezTo>
                  <a:cubicBezTo>
                    <a:pt x="2822" y="1592"/>
                    <a:pt x="2818" y="1594"/>
                    <a:pt x="2812" y="1592"/>
                  </a:cubicBezTo>
                  <a:cubicBezTo>
                    <a:pt x="2807" y="1591"/>
                    <a:pt x="2801" y="1587"/>
                    <a:pt x="2797" y="1591"/>
                  </a:cubicBezTo>
                  <a:cubicBezTo>
                    <a:pt x="2794" y="1594"/>
                    <a:pt x="2789" y="1595"/>
                    <a:pt x="2784" y="1597"/>
                  </a:cubicBezTo>
                  <a:cubicBezTo>
                    <a:pt x="2778" y="1599"/>
                    <a:pt x="2770" y="1597"/>
                    <a:pt x="2766" y="1600"/>
                  </a:cubicBezTo>
                  <a:cubicBezTo>
                    <a:pt x="2762" y="1603"/>
                    <a:pt x="2753" y="1605"/>
                    <a:pt x="2758" y="1607"/>
                  </a:cubicBezTo>
                  <a:cubicBezTo>
                    <a:pt x="2762" y="1608"/>
                    <a:pt x="2765" y="1610"/>
                    <a:pt x="2771" y="1607"/>
                  </a:cubicBezTo>
                  <a:cubicBezTo>
                    <a:pt x="2777" y="1603"/>
                    <a:pt x="2779" y="1601"/>
                    <a:pt x="2786" y="1601"/>
                  </a:cubicBezTo>
                  <a:cubicBezTo>
                    <a:pt x="2794" y="1602"/>
                    <a:pt x="2796" y="1602"/>
                    <a:pt x="2801" y="1602"/>
                  </a:cubicBezTo>
                  <a:cubicBezTo>
                    <a:pt x="2807" y="1602"/>
                    <a:pt x="2807" y="1602"/>
                    <a:pt x="2814" y="1602"/>
                  </a:cubicBezTo>
                  <a:cubicBezTo>
                    <a:pt x="2821" y="1602"/>
                    <a:pt x="2824" y="1600"/>
                    <a:pt x="2828" y="1602"/>
                  </a:cubicBezTo>
                  <a:cubicBezTo>
                    <a:pt x="2833" y="1605"/>
                    <a:pt x="2833" y="1607"/>
                    <a:pt x="2835" y="1611"/>
                  </a:cubicBezTo>
                  <a:cubicBezTo>
                    <a:pt x="2838" y="1615"/>
                    <a:pt x="2839" y="1616"/>
                    <a:pt x="2842" y="1615"/>
                  </a:cubicBezTo>
                  <a:cubicBezTo>
                    <a:pt x="2846" y="1614"/>
                    <a:pt x="2845" y="1610"/>
                    <a:pt x="2852" y="1611"/>
                  </a:cubicBezTo>
                  <a:cubicBezTo>
                    <a:pt x="2860" y="1612"/>
                    <a:pt x="2861" y="1613"/>
                    <a:pt x="2866" y="1616"/>
                  </a:cubicBezTo>
                  <a:cubicBezTo>
                    <a:pt x="2871" y="1618"/>
                    <a:pt x="2873" y="1619"/>
                    <a:pt x="2879" y="1618"/>
                  </a:cubicBezTo>
                  <a:cubicBezTo>
                    <a:pt x="2885" y="1617"/>
                    <a:pt x="2886" y="1617"/>
                    <a:pt x="2893" y="1616"/>
                  </a:cubicBezTo>
                  <a:cubicBezTo>
                    <a:pt x="2900" y="1615"/>
                    <a:pt x="2903" y="1616"/>
                    <a:pt x="2911" y="1615"/>
                  </a:cubicBezTo>
                  <a:cubicBezTo>
                    <a:pt x="2918" y="1613"/>
                    <a:pt x="2924" y="1613"/>
                    <a:pt x="2928" y="1617"/>
                  </a:cubicBezTo>
                  <a:cubicBezTo>
                    <a:pt x="2932" y="1620"/>
                    <a:pt x="2932" y="1622"/>
                    <a:pt x="2936" y="1625"/>
                  </a:cubicBezTo>
                  <a:cubicBezTo>
                    <a:pt x="2939" y="1628"/>
                    <a:pt x="2942" y="1634"/>
                    <a:pt x="2942" y="1637"/>
                  </a:cubicBezTo>
                  <a:cubicBezTo>
                    <a:pt x="2941" y="1640"/>
                    <a:pt x="2943" y="1642"/>
                    <a:pt x="2939" y="1642"/>
                  </a:cubicBezTo>
                  <a:cubicBezTo>
                    <a:pt x="2936" y="1643"/>
                    <a:pt x="2932" y="1638"/>
                    <a:pt x="2928" y="1639"/>
                  </a:cubicBezTo>
                  <a:cubicBezTo>
                    <a:pt x="2925" y="1639"/>
                    <a:pt x="2923" y="1640"/>
                    <a:pt x="2925" y="1643"/>
                  </a:cubicBezTo>
                  <a:cubicBezTo>
                    <a:pt x="2927" y="1646"/>
                    <a:pt x="2930" y="1644"/>
                    <a:pt x="2930" y="1648"/>
                  </a:cubicBezTo>
                  <a:cubicBezTo>
                    <a:pt x="2930" y="1652"/>
                    <a:pt x="2932" y="1653"/>
                    <a:pt x="2925" y="1654"/>
                  </a:cubicBezTo>
                  <a:cubicBezTo>
                    <a:pt x="2918" y="1654"/>
                    <a:pt x="2912" y="1653"/>
                    <a:pt x="2908" y="1656"/>
                  </a:cubicBezTo>
                  <a:cubicBezTo>
                    <a:pt x="2905" y="1660"/>
                    <a:pt x="2904" y="1662"/>
                    <a:pt x="2900" y="1664"/>
                  </a:cubicBezTo>
                  <a:cubicBezTo>
                    <a:pt x="2896" y="1665"/>
                    <a:pt x="2890" y="1664"/>
                    <a:pt x="2886" y="1667"/>
                  </a:cubicBezTo>
                  <a:cubicBezTo>
                    <a:pt x="2881" y="1670"/>
                    <a:pt x="2880" y="1672"/>
                    <a:pt x="2871" y="1672"/>
                  </a:cubicBezTo>
                  <a:cubicBezTo>
                    <a:pt x="2863" y="1672"/>
                    <a:pt x="2857" y="1672"/>
                    <a:pt x="2850" y="1672"/>
                  </a:cubicBezTo>
                  <a:cubicBezTo>
                    <a:pt x="2843" y="1673"/>
                    <a:pt x="2837" y="1672"/>
                    <a:pt x="2832" y="1673"/>
                  </a:cubicBezTo>
                  <a:cubicBezTo>
                    <a:pt x="2827" y="1673"/>
                    <a:pt x="2821" y="1671"/>
                    <a:pt x="2819" y="1670"/>
                  </a:cubicBezTo>
                  <a:cubicBezTo>
                    <a:pt x="2817" y="1668"/>
                    <a:pt x="2812" y="1661"/>
                    <a:pt x="2811" y="1658"/>
                  </a:cubicBezTo>
                  <a:cubicBezTo>
                    <a:pt x="2809" y="1656"/>
                    <a:pt x="2802" y="1652"/>
                    <a:pt x="2798" y="1652"/>
                  </a:cubicBezTo>
                  <a:cubicBezTo>
                    <a:pt x="2794" y="1652"/>
                    <a:pt x="2790" y="1652"/>
                    <a:pt x="2792" y="1655"/>
                  </a:cubicBezTo>
                  <a:cubicBezTo>
                    <a:pt x="2794" y="1659"/>
                    <a:pt x="2798" y="1659"/>
                    <a:pt x="2800" y="1662"/>
                  </a:cubicBezTo>
                  <a:cubicBezTo>
                    <a:pt x="2801" y="1664"/>
                    <a:pt x="2802" y="1665"/>
                    <a:pt x="2801" y="1667"/>
                  </a:cubicBezTo>
                  <a:cubicBezTo>
                    <a:pt x="2800" y="1669"/>
                    <a:pt x="2797" y="1669"/>
                    <a:pt x="2792" y="1669"/>
                  </a:cubicBezTo>
                  <a:cubicBezTo>
                    <a:pt x="2787" y="1669"/>
                    <a:pt x="2782" y="1668"/>
                    <a:pt x="2779" y="1670"/>
                  </a:cubicBezTo>
                  <a:cubicBezTo>
                    <a:pt x="2777" y="1671"/>
                    <a:pt x="2775" y="1673"/>
                    <a:pt x="2770" y="1671"/>
                  </a:cubicBezTo>
                  <a:cubicBezTo>
                    <a:pt x="2765" y="1670"/>
                    <a:pt x="2760" y="1671"/>
                    <a:pt x="2762" y="1673"/>
                  </a:cubicBezTo>
                  <a:cubicBezTo>
                    <a:pt x="2764" y="1676"/>
                    <a:pt x="2762" y="1678"/>
                    <a:pt x="2768" y="1678"/>
                  </a:cubicBezTo>
                  <a:cubicBezTo>
                    <a:pt x="2775" y="1678"/>
                    <a:pt x="2776" y="1676"/>
                    <a:pt x="2780" y="1679"/>
                  </a:cubicBezTo>
                  <a:cubicBezTo>
                    <a:pt x="2785" y="1681"/>
                    <a:pt x="2784" y="1681"/>
                    <a:pt x="2786" y="1683"/>
                  </a:cubicBezTo>
                  <a:cubicBezTo>
                    <a:pt x="2789" y="1685"/>
                    <a:pt x="2789" y="1687"/>
                    <a:pt x="2786" y="1690"/>
                  </a:cubicBezTo>
                  <a:cubicBezTo>
                    <a:pt x="2784" y="1692"/>
                    <a:pt x="2780" y="1693"/>
                    <a:pt x="2780" y="1696"/>
                  </a:cubicBezTo>
                  <a:cubicBezTo>
                    <a:pt x="2779" y="1699"/>
                    <a:pt x="2777" y="1703"/>
                    <a:pt x="2777" y="1705"/>
                  </a:cubicBezTo>
                  <a:cubicBezTo>
                    <a:pt x="2776" y="1707"/>
                    <a:pt x="2773" y="1710"/>
                    <a:pt x="2772" y="1711"/>
                  </a:cubicBezTo>
                  <a:cubicBezTo>
                    <a:pt x="2772" y="1712"/>
                    <a:pt x="2764" y="1718"/>
                    <a:pt x="2758" y="1718"/>
                  </a:cubicBezTo>
                  <a:cubicBezTo>
                    <a:pt x="2752" y="1718"/>
                    <a:pt x="2744" y="1718"/>
                    <a:pt x="2740" y="1719"/>
                  </a:cubicBezTo>
                  <a:cubicBezTo>
                    <a:pt x="2735" y="1721"/>
                    <a:pt x="2733" y="1724"/>
                    <a:pt x="2727" y="1726"/>
                  </a:cubicBezTo>
                  <a:cubicBezTo>
                    <a:pt x="2722" y="1728"/>
                    <a:pt x="2713" y="1732"/>
                    <a:pt x="2714" y="1735"/>
                  </a:cubicBezTo>
                  <a:cubicBezTo>
                    <a:pt x="2715" y="1738"/>
                    <a:pt x="2720" y="1737"/>
                    <a:pt x="2725" y="1735"/>
                  </a:cubicBezTo>
                  <a:cubicBezTo>
                    <a:pt x="2731" y="1733"/>
                    <a:pt x="2732" y="1734"/>
                    <a:pt x="2739" y="1731"/>
                  </a:cubicBezTo>
                  <a:cubicBezTo>
                    <a:pt x="2747" y="1728"/>
                    <a:pt x="2751" y="1727"/>
                    <a:pt x="2756" y="1726"/>
                  </a:cubicBezTo>
                  <a:cubicBezTo>
                    <a:pt x="2761" y="1725"/>
                    <a:pt x="2768" y="1723"/>
                    <a:pt x="2768" y="1728"/>
                  </a:cubicBezTo>
                  <a:cubicBezTo>
                    <a:pt x="2769" y="1734"/>
                    <a:pt x="2765" y="1734"/>
                    <a:pt x="2770" y="1736"/>
                  </a:cubicBezTo>
                  <a:cubicBezTo>
                    <a:pt x="2774" y="1738"/>
                    <a:pt x="2778" y="1738"/>
                    <a:pt x="2785" y="1738"/>
                  </a:cubicBezTo>
                  <a:cubicBezTo>
                    <a:pt x="2792" y="1738"/>
                    <a:pt x="2797" y="1738"/>
                    <a:pt x="2803" y="1736"/>
                  </a:cubicBezTo>
                  <a:cubicBezTo>
                    <a:pt x="2808" y="1734"/>
                    <a:pt x="2811" y="1733"/>
                    <a:pt x="2818" y="1733"/>
                  </a:cubicBezTo>
                  <a:cubicBezTo>
                    <a:pt x="2825" y="1733"/>
                    <a:pt x="2828" y="1732"/>
                    <a:pt x="2835" y="1732"/>
                  </a:cubicBezTo>
                  <a:cubicBezTo>
                    <a:pt x="2842" y="1731"/>
                    <a:pt x="2844" y="1730"/>
                    <a:pt x="2849" y="1729"/>
                  </a:cubicBezTo>
                  <a:cubicBezTo>
                    <a:pt x="2853" y="1727"/>
                    <a:pt x="2865" y="1728"/>
                    <a:pt x="2870" y="1728"/>
                  </a:cubicBezTo>
                  <a:cubicBezTo>
                    <a:pt x="2875" y="1729"/>
                    <a:pt x="2880" y="1729"/>
                    <a:pt x="2883" y="1731"/>
                  </a:cubicBezTo>
                  <a:cubicBezTo>
                    <a:pt x="2886" y="1733"/>
                    <a:pt x="2890" y="1736"/>
                    <a:pt x="2888" y="1740"/>
                  </a:cubicBezTo>
                  <a:cubicBezTo>
                    <a:pt x="2885" y="1744"/>
                    <a:pt x="2882" y="1749"/>
                    <a:pt x="2872" y="1748"/>
                  </a:cubicBezTo>
                  <a:cubicBezTo>
                    <a:pt x="2861" y="1747"/>
                    <a:pt x="2857" y="1743"/>
                    <a:pt x="2853" y="1744"/>
                  </a:cubicBezTo>
                  <a:cubicBezTo>
                    <a:pt x="2848" y="1745"/>
                    <a:pt x="2844" y="1746"/>
                    <a:pt x="2838" y="1750"/>
                  </a:cubicBezTo>
                  <a:cubicBezTo>
                    <a:pt x="2832" y="1753"/>
                    <a:pt x="2828" y="1753"/>
                    <a:pt x="2821" y="1758"/>
                  </a:cubicBezTo>
                  <a:cubicBezTo>
                    <a:pt x="2815" y="1762"/>
                    <a:pt x="2806" y="1766"/>
                    <a:pt x="2801" y="1767"/>
                  </a:cubicBezTo>
                  <a:cubicBezTo>
                    <a:pt x="2797" y="1769"/>
                    <a:pt x="2788" y="1768"/>
                    <a:pt x="2784" y="1766"/>
                  </a:cubicBezTo>
                  <a:cubicBezTo>
                    <a:pt x="2780" y="1764"/>
                    <a:pt x="2768" y="1762"/>
                    <a:pt x="2765" y="1764"/>
                  </a:cubicBezTo>
                  <a:cubicBezTo>
                    <a:pt x="2761" y="1765"/>
                    <a:pt x="2756" y="1765"/>
                    <a:pt x="2754" y="1768"/>
                  </a:cubicBezTo>
                  <a:cubicBezTo>
                    <a:pt x="2753" y="1771"/>
                    <a:pt x="2753" y="1773"/>
                    <a:pt x="2758" y="1773"/>
                  </a:cubicBezTo>
                  <a:cubicBezTo>
                    <a:pt x="2764" y="1772"/>
                    <a:pt x="2770" y="1771"/>
                    <a:pt x="2776" y="1772"/>
                  </a:cubicBezTo>
                  <a:cubicBezTo>
                    <a:pt x="2781" y="1773"/>
                    <a:pt x="2793" y="1775"/>
                    <a:pt x="2798" y="1777"/>
                  </a:cubicBezTo>
                  <a:cubicBezTo>
                    <a:pt x="2802" y="1780"/>
                    <a:pt x="2815" y="1783"/>
                    <a:pt x="2819" y="1783"/>
                  </a:cubicBezTo>
                  <a:cubicBezTo>
                    <a:pt x="2822" y="1783"/>
                    <a:pt x="2827" y="1780"/>
                    <a:pt x="2833" y="1776"/>
                  </a:cubicBezTo>
                  <a:cubicBezTo>
                    <a:pt x="2838" y="1772"/>
                    <a:pt x="2843" y="1770"/>
                    <a:pt x="2847" y="1768"/>
                  </a:cubicBezTo>
                  <a:cubicBezTo>
                    <a:pt x="2851" y="1767"/>
                    <a:pt x="2859" y="1762"/>
                    <a:pt x="2866" y="1762"/>
                  </a:cubicBezTo>
                  <a:cubicBezTo>
                    <a:pt x="2873" y="1762"/>
                    <a:pt x="2878" y="1764"/>
                    <a:pt x="2884" y="1761"/>
                  </a:cubicBezTo>
                  <a:cubicBezTo>
                    <a:pt x="2891" y="1759"/>
                    <a:pt x="2908" y="1751"/>
                    <a:pt x="2910" y="1750"/>
                  </a:cubicBezTo>
                  <a:cubicBezTo>
                    <a:pt x="2913" y="1750"/>
                    <a:pt x="2929" y="1746"/>
                    <a:pt x="2937" y="1743"/>
                  </a:cubicBezTo>
                  <a:cubicBezTo>
                    <a:pt x="2944" y="1740"/>
                    <a:pt x="2947" y="1740"/>
                    <a:pt x="2955" y="1739"/>
                  </a:cubicBezTo>
                  <a:cubicBezTo>
                    <a:pt x="2963" y="1738"/>
                    <a:pt x="2967" y="1738"/>
                    <a:pt x="2975" y="1742"/>
                  </a:cubicBezTo>
                  <a:cubicBezTo>
                    <a:pt x="2982" y="1747"/>
                    <a:pt x="2982" y="1748"/>
                    <a:pt x="2994" y="1752"/>
                  </a:cubicBezTo>
                  <a:cubicBezTo>
                    <a:pt x="3006" y="1756"/>
                    <a:pt x="3010" y="1757"/>
                    <a:pt x="3023" y="1759"/>
                  </a:cubicBezTo>
                  <a:cubicBezTo>
                    <a:pt x="3035" y="1761"/>
                    <a:pt x="3043" y="1764"/>
                    <a:pt x="3060" y="1761"/>
                  </a:cubicBezTo>
                  <a:cubicBezTo>
                    <a:pt x="3077" y="1759"/>
                    <a:pt x="3075" y="1760"/>
                    <a:pt x="3092" y="1761"/>
                  </a:cubicBezTo>
                  <a:cubicBezTo>
                    <a:pt x="3110" y="1763"/>
                    <a:pt x="3104" y="1763"/>
                    <a:pt x="3116" y="1763"/>
                  </a:cubicBezTo>
                  <a:cubicBezTo>
                    <a:pt x="3127" y="1764"/>
                    <a:pt x="3130" y="1764"/>
                    <a:pt x="3136" y="1764"/>
                  </a:cubicBezTo>
                  <a:cubicBezTo>
                    <a:pt x="3143" y="1764"/>
                    <a:pt x="3150" y="1763"/>
                    <a:pt x="3155" y="1762"/>
                  </a:cubicBezTo>
                  <a:cubicBezTo>
                    <a:pt x="3159" y="1761"/>
                    <a:pt x="3155" y="1768"/>
                    <a:pt x="3146" y="1773"/>
                  </a:cubicBezTo>
                  <a:cubicBezTo>
                    <a:pt x="3137" y="1778"/>
                    <a:pt x="3136" y="1778"/>
                    <a:pt x="3125" y="1783"/>
                  </a:cubicBezTo>
                  <a:cubicBezTo>
                    <a:pt x="3115" y="1788"/>
                    <a:pt x="3114" y="1791"/>
                    <a:pt x="3103" y="1793"/>
                  </a:cubicBezTo>
                  <a:cubicBezTo>
                    <a:pt x="3092" y="1794"/>
                    <a:pt x="3087" y="1793"/>
                    <a:pt x="3081" y="1795"/>
                  </a:cubicBezTo>
                  <a:cubicBezTo>
                    <a:pt x="3075" y="1797"/>
                    <a:pt x="3075" y="1803"/>
                    <a:pt x="3070" y="1805"/>
                  </a:cubicBezTo>
                  <a:cubicBezTo>
                    <a:pt x="3065" y="1807"/>
                    <a:pt x="3063" y="1808"/>
                    <a:pt x="3056" y="1807"/>
                  </a:cubicBezTo>
                  <a:cubicBezTo>
                    <a:pt x="3048" y="1807"/>
                    <a:pt x="3041" y="1805"/>
                    <a:pt x="3040" y="1807"/>
                  </a:cubicBezTo>
                  <a:cubicBezTo>
                    <a:pt x="3039" y="1810"/>
                    <a:pt x="3038" y="1811"/>
                    <a:pt x="3042" y="1813"/>
                  </a:cubicBezTo>
                  <a:cubicBezTo>
                    <a:pt x="3046" y="1814"/>
                    <a:pt x="3049" y="1816"/>
                    <a:pt x="3049" y="1818"/>
                  </a:cubicBezTo>
                  <a:cubicBezTo>
                    <a:pt x="3049" y="1820"/>
                    <a:pt x="3049" y="1821"/>
                    <a:pt x="3048" y="1824"/>
                  </a:cubicBezTo>
                  <a:cubicBezTo>
                    <a:pt x="3047" y="1826"/>
                    <a:pt x="3047" y="1829"/>
                    <a:pt x="3041" y="1830"/>
                  </a:cubicBezTo>
                  <a:cubicBezTo>
                    <a:pt x="3036" y="1831"/>
                    <a:pt x="3028" y="1832"/>
                    <a:pt x="3026" y="1830"/>
                  </a:cubicBezTo>
                  <a:cubicBezTo>
                    <a:pt x="3023" y="1827"/>
                    <a:pt x="3020" y="1825"/>
                    <a:pt x="3018" y="1824"/>
                  </a:cubicBezTo>
                  <a:cubicBezTo>
                    <a:pt x="3016" y="1822"/>
                    <a:pt x="3012" y="1821"/>
                    <a:pt x="3011" y="1822"/>
                  </a:cubicBezTo>
                  <a:cubicBezTo>
                    <a:pt x="3009" y="1823"/>
                    <a:pt x="3009" y="1825"/>
                    <a:pt x="3011" y="1827"/>
                  </a:cubicBezTo>
                  <a:cubicBezTo>
                    <a:pt x="3012" y="1828"/>
                    <a:pt x="3016" y="1829"/>
                    <a:pt x="3017" y="1830"/>
                  </a:cubicBezTo>
                  <a:cubicBezTo>
                    <a:pt x="3019" y="1831"/>
                    <a:pt x="3020" y="1832"/>
                    <a:pt x="3020" y="1834"/>
                  </a:cubicBezTo>
                  <a:cubicBezTo>
                    <a:pt x="3021" y="1837"/>
                    <a:pt x="3021" y="1839"/>
                    <a:pt x="3021" y="1841"/>
                  </a:cubicBezTo>
                  <a:cubicBezTo>
                    <a:pt x="3020" y="1842"/>
                    <a:pt x="3019" y="1845"/>
                    <a:pt x="3016" y="1846"/>
                  </a:cubicBezTo>
                  <a:cubicBezTo>
                    <a:pt x="3012" y="1846"/>
                    <a:pt x="3008" y="1847"/>
                    <a:pt x="3004" y="1847"/>
                  </a:cubicBezTo>
                  <a:cubicBezTo>
                    <a:pt x="2999" y="1846"/>
                    <a:pt x="2993" y="1842"/>
                    <a:pt x="2991" y="1842"/>
                  </a:cubicBezTo>
                  <a:cubicBezTo>
                    <a:pt x="2989" y="1843"/>
                    <a:pt x="2985" y="1841"/>
                    <a:pt x="2986" y="1845"/>
                  </a:cubicBezTo>
                  <a:cubicBezTo>
                    <a:pt x="2987" y="1850"/>
                    <a:pt x="2993" y="1850"/>
                    <a:pt x="2992" y="1855"/>
                  </a:cubicBezTo>
                  <a:cubicBezTo>
                    <a:pt x="2991" y="1859"/>
                    <a:pt x="2987" y="1860"/>
                    <a:pt x="2981" y="1860"/>
                  </a:cubicBezTo>
                  <a:cubicBezTo>
                    <a:pt x="2975" y="1861"/>
                    <a:pt x="2975" y="1860"/>
                    <a:pt x="2969" y="1860"/>
                  </a:cubicBezTo>
                  <a:cubicBezTo>
                    <a:pt x="2963" y="1860"/>
                    <a:pt x="2958" y="1860"/>
                    <a:pt x="2957" y="1863"/>
                  </a:cubicBezTo>
                  <a:cubicBezTo>
                    <a:pt x="2956" y="1866"/>
                    <a:pt x="2956" y="1866"/>
                    <a:pt x="2957" y="1868"/>
                  </a:cubicBezTo>
                  <a:cubicBezTo>
                    <a:pt x="2958" y="1871"/>
                    <a:pt x="2959" y="1871"/>
                    <a:pt x="2956" y="1873"/>
                  </a:cubicBezTo>
                  <a:cubicBezTo>
                    <a:pt x="2953" y="1876"/>
                    <a:pt x="2954" y="1877"/>
                    <a:pt x="2953" y="1880"/>
                  </a:cubicBezTo>
                  <a:cubicBezTo>
                    <a:pt x="2951" y="1882"/>
                    <a:pt x="2945" y="1883"/>
                    <a:pt x="2943" y="1882"/>
                  </a:cubicBezTo>
                  <a:cubicBezTo>
                    <a:pt x="2940" y="1880"/>
                    <a:pt x="2937" y="1878"/>
                    <a:pt x="2936" y="1880"/>
                  </a:cubicBezTo>
                  <a:cubicBezTo>
                    <a:pt x="2934" y="1881"/>
                    <a:pt x="2934" y="1882"/>
                    <a:pt x="2934" y="1886"/>
                  </a:cubicBezTo>
                  <a:cubicBezTo>
                    <a:pt x="2933" y="1890"/>
                    <a:pt x="2931" y="1894"/>
                    <a:pt x="2929" y="1895"/>
                  </a:cubicBezTo>
                  <a:cubicBezTo>
                    <a:pt x="2927" y="1897"/>
                    <a:pt x="2920" y="1907"/>
                    <a:pt x="2914" y="1910"/>
                  </a:cubicBezTo>
                  <a:cubicBezTo>
                    <a:pt x="2909" y="1913"/>
                    <a:pt x="2910" y="1911"/>
                    <a:pt x="2900" y="1914"/>
                  </a:cubicBezTo>
                  <a:cubicBezTo>
                    <a:pt x="2889" y="1917"/>
                    <a:pt x="2883" y="1918"/>
                    <a:pt x="2879" y="1921"/>
                  </a:cubicBezTo>
                  <a:cubicBezTo>
                    <a:pt x="2874" y="1924"/>
                    <a:pt x="2870" y="1923"/>
                    <a:pt x="2864" y="1926"/>
                  </a:cubicBezTo>
                  <a:cubicBezTo>
                    <a:pt x="2858" y="1928"/>
                    <a:pt x="2855" y="1929"/>
                    <a:pt x="2847" y="1932"/>
                  </a:cubicBezTo>
                  <a:cubicBezTo>
                    <a:pt x="2840" y="1936"/>
                    <a:pt x="2836" y="1935"/>
                    <a:pt x="2829" y="1938"/>
                  </a:cubicBezTo>
                  <a:cubicBezTo>
                    <a:pt x="2823" y="1941"/>
                    <a:pt x="2819" y="1943"/>
                    <a:pt x="2813" y="1942"/>
                  </a:cubicBezTo>
                  <a:cubicBezTo>
                    <a:pt x="2807" y="1941"/>
                    <a:pt x="2800" y="1941"/>
                    <a:pt x="2798" y="1938"/>
                  </a:cubicBezTo>
                  <a:cubicBezTo>
                    <a:pt x="2795" y="1936"/>
                    <a:pt x="2792" y="1933"/>
                    <a:pt x="2786" y="1936"/>
                  </a:cubicBezTo>
                  <a:cubicBezTo>
                    <a:pt x="2780" y="1939"/>
                    <a:pt x="2781" y="1939"/>
                    <a:pt x="2774" y="1943"/>
                  </a:cubicBezTo>
                  <a:cubicBezTo>
                    <a:pt x="2767" y="1947"/>
                    <a:pt x="2762" y="1950"/>
                    <a:pt x="2753" y="1954"/>
                  </a:cubicBezTo>
                  <a:cubicBezTo>
                    <a:pt x="2744" y="1959"/>
                    <a:pt x="2743" y="1960"/>
                    <a:pt x="2738" y="1960"/>
                  </a:cubicBezTo>
                  <a:cubicBezTo>
                    <a:pt x="2734" y="1960"/>
                    <a:pt x="2731" y="1960"/>
                    <a:pt x="2728" y="1958"/>
                  </a:cubicBezTo>
                  <a:cubicBezTo>
                    <a:pt x="2725" y="1955"/>
                    <a:pt x="2723" y="1953"/>
                    <a:pt x="2720" y="1953"/>
                  </a:cubicBezTo>
                  <a:cubicBezTo>
                    <a:pt x="2716" y="1952"/>
                    <a:pt x="2711" y="1956"/>
                    <a:pt x="2709" y="1959"/>
                  </a:cubicBezTo>
                  <a:cubicBezTo>
                    <a:pt x="2707" y="1963"/>
                    <a:pt x="2705" y="1962"/>
                    <a:pt x="2704" y="1966"/>
                  </a:cubicBezTo>
                  <a:cubicBezTo>
                    <a:pt x="2704" y="1970"/>
                    <a:pt x="2704" y="1972"/>
                    <a:pt x="2701" y="1971"/>
                  </a:cubicBezTo>
                  <a:cubicBezTo>
                    <a:pt x="2698" y="1970"/>
                    <a:pt x="2689" y="1967"/>
                    <a:pt x="2687" y="1965"/>
                  </a:cubicBezTo>
                  <a:cubicBezTo>
                    <a:pt x="2684" y="1962"/>
                    <a:pt x="2679" y="1959"/>
                    <a:pt x="2678" y="1956"/>
                  </a:cubicBezTo>
                  <a:cubicBezTo>
                    <a:pt x="2677" y="1954"/>
                    <a:pt x="2676" y="1950"/>
                    <a:pt x="2673" y="1950"/>
                  </a:cubicBezTo>
                  <a:cubicBezTo>
                    <a:pt x="2669" y="1950"/>
                    <a:pt x="2664" y="1956"/>
                    <a:pt x="2661" y="1958"/>
                  </a:cubicBezTo>
                  <a:cubicBezTo>
                    <a:pt x="2657" y="1960"/>
                    <a:pt x="2654" y="1960"/>
                    <a:pt x="2652" y="1962"/>
                  </a:cubicBezTo>
                  <a:cubicBezTo>
                    <a:pt x="2649" y="1963"/>
                    <a:pt x="2643" y="1966"/>
                    <a:pt x="2645" y="1969"/>
                  </a:cubicBezTo>
                  <a:cubicBezTo>
                    <a:pt x="2647" y="1972"/>
                    <a:pt x="2647" y="1972"/>
                    <a:pt x="2650" y="1974"/>
                  </a:cubicBezTo>
                  <a:cubicBezTo>
                    <a:pt x="2654" y="1975"/>
                    <a:pt x="2655" y="1977"/>
                    <a:pt x="2655" y="1979"/>
                  </a:cubicBezTo>
                  <a:cubicBezTo>
                    <a:pt x="2655" y="1981"/>
                    <a:pt x="2650" y="1984"/>
                    <a:pt x="2648" y="1983"/>
                  </a:cubicBezTo>
                  <a:cubicBezTo>
                    <a:pt x="2646" y="1982"/>
                    <a:pt x="2640" y="1978"/>
                    <a:pt x="2640" y="1976"/>
                  </a:cubicBezTo>
                  <a:cubicBezTo>
                    <a:pt x="2640" y="1974"/>
                    <a:pt x="2635" y="1972"/>
                    <a:pt x="2633" y="1972"/>
                  </a:cubicBezTo>
                  <a:cubicBezTo>
                    <a:pt x="2631" y="1972"/>
                    <a:pt x="2628" y="1973"/>
                    <a:pt x="2625" y="1971"/>
                  </a:cubicBezTo>
                  <a:cubicBezTo>
                    <a:pt x="2623" y="1969"/>
                    <a:pt x="2619" y="1967"/>
                    <a:pt x="2617" y="1967"/>
                  </a:cubicBezTo>
                  <a:cubicBezTo>
                    <a:pt x="2615" y="1967"/>
                    <a:pt x="2611" y="1969"/>
                    <a:pt x="2612" y="1971"/>
                  </a:cubicBezTo>
                  <a:cubicBezTo>
                    <a:pt x="2613" y="1973"/>
                    <a:pt x="2615" y="1974"/>
                    <a:pt x="2617" y="1976"/>
                  </a:cubicBezTo>
                  <a:cubicBezTo>
                    <a:pt x="2619" y="1978"/>
                    <a:pt x="2621" y="1980"/>
                    <a:pt x="2619" y="1980"/>
                  </a:cubicBezTo>
                  <a:cubicBezTo>
                    <a:pt x="2617" y="1981"/>
                    <a:pt x="2613" y="1981"/>
                    <a:pt x="2610" y="1982"/>
                  </a:cubicBezTo>
                  <a:cubicBezTo>
                    <a:pt x="2608" y="1984"/>
                    <a:pt x="2604" y="1987"/>
                    <a:pt x="2604" y="1988"/>
                  </a:cubicBezTo>
                  <a:cubicBezTo>
                    <a:pt x="2603" y="1989"/>
                    <a:pt x="2600" y="1991"/>
                    <a:pt x="2594" y="1989"/>
                  </a:cubicBezTo>
                  <a:cubicBezTo>
                    <a:pt x="2589" y="1988"/>
                    <a:pt x="2592" y="1987"/>
                    <a:pt x="2582" y="1987"/>
                  </a:cubicBezTo>
                  <a:cubicBezTo>
                    <a:pt x="2571" y="1987"/>
                    <a:pt x="2568" y="1988"/>
                    <a:pt x="2566" y="1986"/>
                  </a:cubicBezTo>
                  <a:cubicBezTo>
                    <a:pt x="2564" y="1984"/>
                    <a:pt x="2560" y="1984"/>
                    <a:pt x="2561" y="1981"/>
                  </a:cubicBezTo>
                  <a:cubicBezTo>
                    <a:pt x="2563" y="1978"/>
                    <a:pt x="2564" y="1977"/>
                    <a:pt x="2566" y="1977"/>
                  </a:cubicBezTo>
                  <a:cubicBezTo>
                    <a:pt x="2569" y="1977"/>
                    <a:pt x="2571" y="1977"/>
                    <a:pt x="2572" y="1974"/>
                  </a:cubicBezTo>
                  <a:cubicBezTo>
                    <a:pt x="2573" y="1972"/>
                    <a:pt x="2573" y="1968"/>
                    <a:pt x="2571" y="1968"/>
                  </a:cubicBezTo>
                  <a:cubicBezTo>
                    <a:pt x="2568" y="1968"/>
                    <a:pt x="2565" y="1971"/>
                    <a:pt x="2558" y="1970"/>
                  </a:cubicBezTo>
                  <a:cubicBezTo>
                    <a:pt x="2551" y="1969"/>
                    <a:pt x="2544" y="1968"/>
                    <a:pt x="2543" y="1965"/>
                  </a:cubicBezTo>
                  <a:cubicBezTo>
                    <a:pt x="2542" y="1963"/>
                    <a:pt x="2533" y="1959"/>
                    <a:pt x="2533" y="1954"/>
                  </a:cubicBezTo>
                  <a:cubicBezTo>
                    <a:pt x="2532" y="1949"/>
                    <a:pt x="2526" y="1945"/>
                    <a:pt x="2524" y="1943"/>
                  </a:cubicBezTo>
                  <a:cubicBezTo>
                    <a:pt x="2523" y="1941"/>
                    <a:pt x="2521" y="1939"/>
                    <a:pt x="2520" y="1937"/>
                  </a:cubicBezTo>
                  <a:cubicBezTo>
                    <a:pt x="2518" y="1935"/>
                    <a:pt x="2514" y="1929"/>
                    <a:pt x="2511" y="1928"/>
                  </a:cubicBezTo>
                  <a:cubicBezTo>
                    <a:pt x="2508" y="1928"/>
                    <a:pt x="2509" y="1930"/>
                    <a:pt x="2509" y="1936"/>
                  </a:cubicBezTo>
                  <a:cubicBezTo>
                    <a:pt x="2509" y="1942"/>
                    <a:pt x="2509" y="1945"/>
                    <a:pt x="2509" y="1947"/>
                  </a:cubicBezTo>
                  <a:cubicBezTo>
                    <a:pt x="2508" y="1949"/>
                    <a:pt x="2507" y="1950"/>
                    <a:pt x="2511" y="1952"/>
                  </a:cubicBezTo>
                  <a:cubicBezTo>
                    <a:pt x="2515" y="1954"/>
                    <a:pt x="2515" y="1953"/>
                    <a:pt x="2519" y="1956"/>
                  </a:cubicBezTo>
                  <a:cubicBezTo>
                    <a:pt x="2523" y="1959"/>
                    <a:pt x="2523" y="1958"/>
                    <a:pt x="2524" y="1961"/>
                  </a:cubicBezTo>
                  <a:cubicBezTo>
                    <a:pt x="2525" y="1963"/>
                    <a:pt x="2528" y="1964"/>
                    <a:pt x="2523" y="1966"/>
                  </a:cubicBezTo>
                  <a:cubicBezTo>
                    <a:pt x="2519" y="1968"/>
                    <a:pt x="2518" y="1970"/>
                    <a:pt x="2515" y="1971"/>
                  </a:cubicBezTo>
                  <a:cubicBezTo>
                    <a:pt x="2513" y="1972"/>
                    <a:pt x="2510" y="1975"/>
                    <a:pt x="2512" y="1976"/>
                  </a:cubicBezTo>
                  <a:cubicBezTo>
                    <a:pt x="2515" y="1978"/>
                    <a:pt x="2522" y="1977"/>
                    <a:pt x="2527" y="1979"/>
                  </a:cubicBezTo>
                  <a:cubicBezTo>
                    <a:pt x="2531" y="1980"/>
                    <a:pt x="2532" y="1980"/>
                    <a:pt x="2534" y="1982"/>
                  </a:cubicBezTo>
                  <a:cubicBezTo>
                    <a:pt x="2535" y="1984"/>
                    <a:pt x="2536" y="1986"/>
                    <a:pt x="2535" y="1987"/>
                  </a:cubicBezTo>
                  <a:cubicBezTo>
                    <a:pt x="2534" y="1988"/>
                    <a:pt x="2531" y="1988"/>
                    <a:pt x="2530" y="1991"/>
                  </a:cubicBezTo>
                  <a:cubicBezTo>
                    <a:pt x="2529" y="1994"/>
                    <a:pt x="2529" y="1996"/>
                    <a:pt x="2529" y="1997"/>
                  </a:cubicBezTo>
                  <a:cubicBezTo>
                    <a:pt x="2529" y="1999"/>
                    <a:pt x="2529" y="2001"/>
                    <a:pt x="2523" y="2002"/>
                  </a:cubicBezTo>
                  <a:cubicBezTo>
                    <a:pt x="2517" y="2004"/>
                    <a:pt x="2513" y="2006"/>
                    <a:pt x="2510" y="2008"/>
                  </a:cubicBezTo>
                  <a:cubicBezTo>
                    <a:pt x="2506" y="2010"/>
                    <a:pt x="2498" y="2013"/>
                    <a:pt x="2493" y="2015"/>
                  </a:cubicBezTo>
                  <a:cubicBezTo>
                    <a:pt x="2489" y="2018"/>
                    <a:pt x="2487" y="2019"/>
                    <a:pt x="2482" y="2022"/>
                  </a:cubicBezTo>
                  <a:cubicBezTo>
                    <a:pt x="2476" y="2024"/>
                    <a:pt x="2470" y="2024"/>
                    <a:pt x="2469" y="2026"/>
                  </a:cubicBezTo>
                  <a:cubicBezTo>
                    <a:pt x="2467" y="2029"/>
                    <a:pt x="2466" y="2031"/>
                    <a:pt x="2466" y="2033"/>
                  </a:cubicBezTo>
                  <a:cubicBezTo>
                    <a:pt x="2465" y="2036"/>
                    <a:pt x="2462" y="2039"/>
                    <a:pt x="2459" y="2041"/>
                  </a:cubicBezTo>
                  <a:cubicBezTo>
                    <a:pt x="2455" y="2042"/>
                    <a:pt x="2456" y="2047"/>
                    <a:pt x="2456" y="2049"/>
                  </a:cubicBezTo>
                  <a:cubicBezTo>
                    <a:pt x="2456" y="2051"/>
                    <a:pt x="2455" y="2054"/>
                    <a:pt x="2452" y="2055"/>
                  </a:cubicBezTo>
                  <a:cubicBezTo>
                    <a:pt x="2450" y="2055"/>
                    <a:pt x="2443" y="2058"/>
                    <a:pt x="2442" y="2060"/>
                  </a:cubicBezTo>
                  <a:cubicBezTo>
                    <a:pt x="2440" y="2062"/>
                    <a:pt x="2441" y="2065"/>
                    <a:pt x="2443" y="2067"/>
                  </a:cubicBezTo>
                  <a:cubicBezTo>
                    <a:pt x="2446" y="2069"/>
                    <a:pt x="2445" y="2071"/>
                    <a:pt x="2445" y="2072"/>
                  </a:cubicBezTo>
                  <a:cubicBezTo>
                    <a:pt x="2445" y="2074"/>
                    <a:pt x="2440" y="2075"/>
                    <a:pt x="2438" y="2076"/>
                  </a:cubicBezTo>
                  <a:cubicBezTo>
                    <a:pt x="2436" y="2078"/>
                    <a:pt x="2436" y="2081"/>
                    <a:pt x="2437" y="2082"/>
                  </a:cubicBezTo>
                  <a:cubicBezTo>
                    <a:pt x="2438" y="2084"/>
                    <a:pt x="2441" y="2083"/>
                    <a:pt x="2442" y="2085"/>
                  </a:cubicBezTo>
                  <a:cubicBezTo>
                    <a:pt x="2444" y="2087"/>
                    <a:pt x="2443" y="2090"/>
                    <a:pt x="2442" y="2092"/>
                  </a:cubicBezTo>
                  <a:cubicBezTo>
                    <a:pt x="2440" y="2093"/>
                    <a:pt x="2435" y="2095"/>
                    <a:pt x="2431" y="2097"/>
                  </a:cubicBezTo>
                  <a:cubicBezTo>
                    <a:pt x="2428" y="2098"/>
                    <a:pt x="2421" y="2100"/>
                    <a:pt x="2418" y="2102"/>
                  </a:cubicBezTo>
                  <a:cubicBezTo>
                    <a:pt x="2416" y="2104"/>
                    <a:pt x="2411" y="2113"/>
                    <a:pt x="2409" y="2119"/>
                  </a:cubicBezTo>
                  <a:cubicBezTo>
                    <a:pt x="2408" y="2125"/>
                    <a:pt x="2404" y="2127"/>
                    <a:pt x="2404" y="2131"/>
                  </a:cubicBezTo>
                  <a:cubicBezTo>
                    <a:pt x="2403" y="2135"/>
                    <a:pt x="2403" y="2139"/>
                    <a:pt x="2402" y="2140"/>
                  </a:cubicBezTo>
                  <a:cubicBezTo>
                    <a:pt x="2402" y="2141"/>
                    <a:pt x="2396" y="2137"/>
                    <a:pt x="2396" y="2133"/>
                  </a:cubicBezTo>
                  <a:cubicBezTo>
                    <a:pt x="2396" y="2129"/>
                    <a:pt x="2398" y="2128"/>
                    <a:pt x="2393" y="2127"/>
                  </a:cubicBezTo>
                  <a:cubicBezTo>
                    <a:pt x="2388" y="2127"/>
                    <a:pt x="2386" y="2131"/>
                    <a:pt x="2385" y="2134"/>
                  </a:cubicBezTo>
                  <a:cubicBezTo>
                    <a:pt x="2384" y="2137"/>
                    <a:pt x="2381" y="2136"/>
                    <a:pt x="2381" y="2138"/>
                  </a:cubicBezTo>
                  <a:cubicBezTo>
                    <a:pt x="2381" y="2141"/>
                    <a:pt x="2382" y="2143"/>
                    <a:pt x="2384" y="2144"/>
                  </a:cubicBezTo>
                  <a:cubicBezTo>
                    <a:pt x="2386" y="2145"/>
                    <a:pt x="2388" y="2146"/>
                    <a:pt x="2388" y="2149"/>
                  </a:cubicBezTo>
                  <a:cubicBezTo>
                    <a:pt x="2388" y="2151"/>
                    <a:pt x="2386" y="2154"/>
                    <a:pt x="2381" y="2156"/>
                  </a:cubicBezTo>
                  <a:cubicBezTo>
                    <a:pt x="2377" y="2158"/>
                    <a:pt x="2373" y="2161"/>
                    <a:pt x="2373" y="2162"/>
                  </a:cubicBezTo>
                  <a:cubicBezTo>
                    <a:pt x="2373" y="2164"/>
                    <a:pt x="2370" y="2167"/>
                    <a:pt x="2366" y="2170"/>
                  </a:cubicBezTo>
                  <a:cubicBezTo>
                    <a:pt x="2362" y="2172"/>
                    <a:pt x="2356" y="2173"/>
                    <a:pt x="2355" y="2172"/>
                  </a:cubicBezTo>
                  <a:cubicBezTo>
                    <a:pt x="2354" y="2170"/>
                    <a:pt x="2354" y="2165"/>
                    <a:pt x="2351" y="2163"/>
                  </a:cubicBezTo>
                  <a:cubicBezTo>
                    <a:pt x="2348" y="2161"/>
                    <a:pt x="2346" y="2159"/>
                    <a:pt x="2343" y="2161"/>
                  </a:cubicBezTo>
                  <a:cubicBezTo>
                    <a:pt x="2340" y="2163"/>
                    <a:pt x="2341" y="2164"/>
                    <a:pt x="2341" y="2167"/>
                  </a:cubicBezTo>
                  <a:cubicBezTo>
                    <a:pt x="2341" y="2170"/>
                    <a:pt x="2340" y="2170"/>
                    <a:pt x="2343" y="2173"/>
                  </a:cubicBezTo>
                  <a:cubicBezTo>
                    <a:pt x="2345" y="2175"/>
                    <a:pt x="2346" y="2176"/>
                    <a:pt x="2345" y="2177"/>
                  </a:cubicBezTo>
                  <a:cubicBezTo>
                    <a:pt x="2345" y="2179"/>
                    <a:pt x="2339" y="2177"/>
                    <a:pt x="2334" y="2176"/>
                  </a:cubicBezTo>
                  <a:cubicBezTo>
                    <a:pt x="2329" y="2176"/>
                    <a:pt x="2326" y="2175"/>
                    <a:pt x="2323" y="2174"/>
                  </a:cubicBezTo>
                  <a:cubicBezTo>
                    <a:pt x="2320" y="2173"/>
                    <a:pt x="2315" y="2172"/>
                    <a:pt x="2314" y="2169"/>
                  </a:cubicBezTo>
                  <a:cubicBezTo>
                    <a:pt x="2313" y="2166"/>
                    <a:pt x="2310" y="2162"/>
                    <a:pt x="2306" y="2161"/>
                  </a:cubicBezTo>
                  <a:cubicBezTo>
                    <a:pt x="2303" y="2160"/>
                    <a:pt x="2298" y="2160"/>
                    <a:pt x="2300" y="2162"/>
                  </a:cubicBezTo>
                  <a:cubicBezTo>
                    <a:pt x="2302" y="2165"/>
                    <a:pt x="2303" y="2167"/>
                    <a:pt x="2306" y="2168"/>
                  </a:cubicBezTo>
                  <a:cubicBezTo>
                    <a:pt x="2308" y="2170"/>
                    <a:pt x="2310" y="2171"/>
                    <a:pt x="2309" y="2174"/>
                  </a:cubicBezTo>
                  <a:cubicBezTo>
                    <a:pt x="2309" y="2177"/>
                    <a:pt x="2307" y="2177"/>
                    <a:pt x="2309" y="2180"/>
                  </a:cubicBezTo>
                  <a:cubicBezTo>
                    <a:pt x="2310" y="2182"/>
                    <a:pt x="2310" y="2185"/>
                    <a:pt x="2308" y="2186"/>
                  </a:cubicBezTo>
                  <a:cubicBezTo>
                    <a:pt x="2307" y="2188"/>
                    <a:pt x="2303" y="2192"/>
                    <a:pt x="2302" y="2196"/>
                  </a:cubicBezTo>
                  <a:cubicBezTo>
                    <a:pt x="2301" y="2199"/>
                    <a:pt x="2299" y="2202"/>
                    <a:pt x="2297" y="2203"/>
                  </a:cubicBezTo>
                  <a:cubicBezTo>
                    <a:pt x="2295" y="2205"/>
                    <a:pt x="2294" y="2208"/>
                    <a:pt x="2290" y="2211"/>
                  </a:cubicBezTo>
                  <a:cubicBezTo>
                    <a:pt x="2286" y="2213"/>
                    <a:pt x="2280" y="2215"/>
                    <a:pt x="2277" y="2213"/>
                  </a:cubicBezTo>
                  <a:cubicBezTo>
                    <a:pt x="2275" y="2212"/>
                    <a:pt x="2273" y="2208"/>
                    <a:pt x="2271" y="2204"/>
                  </a:cubicBezTo>
                  <a:cubicBezTo>
                    <a:pt x="2270" y="2200"/>
                    <a:pt x="2267" y="2199"/>
                    <a:pt x="2263" y="2197"/>
                  </a:cubicBezTo>
                  <a:cubicBezTo>
                    <a:pt x="2259" y="2196"/>
                    <a:pt x="2253" y="2196"/>
                    <a:pt x="2251" y="2199"/>
                  </a:cubicBezTo>
                  <a:cubicBezTo>
                    <a:pt x="2249" y="2203"/>
                    <a:pt x="2248" y="2204"/>
                    <a:pt x="2244" y="2206"/>
                  </a:cubicBezTo>
                  <a:cubicBezTo>
                    <a:pt x="2241" y="2209"/>
                    <a:pt x="2236" y="2211"/>
                    <a:pt x="2233" y="2214"/>
                  </a:cubicBezTo>
                  <a:cubicBezTo>
                    <a:pt x="2231" y="2216"/>
                    <a:pt x="2229" y="2214"/>
                    <a:pt x="2230" y="2212"/>
                  </a:cubicBezTo>
                  <a:cubicBezTo>
                    <a:pt x="2230" y="2209"/>
                    <a:pt x="2232" y="2207"/>
                    <a:pt x="2231" y="2203"/>
                  </a:cubicBezTo>
                  <a:cubicBezTo>
                    <a:pt x="2230" y="2199"/>
                    <a:pt x="2231" y="2196"/>
                    <a:pt x="2227" y="2197"/>
                  </a:cubicBezTo>
                  <a:cubicBezTo>
                    <a:pt x="2223" y="2198"/>
                    <a:pt x="2221" y="2197"/>
                    <a:pt x="2220" y="2204"/>
                  </a:cubicBezTo>
                  <a:cubicBezTo>
                    <a:pt x="2220" y="2211"/>
                    <a:pt x="2219" y="2213"/>
                    <a:pt x="2218" y="2214"/>
                  </a:cubicBezTo>
                  <a:cubicBezTo>
                    <a:pt x="2217" y="2216"/>
                    <a:pt x="2216" y="2217"/>
                    <a:pt x="2216" y="2220"/>
                  </a:cubicBezTo>
                  <a:cubicBezTo>
                    <a:pt x="2216" y="2224"/>
                    <a:pt x="2210" y="2225"/>
                    <a:pt x="2209" y="2223"/>
                  </a:cubicBezTo>
                  <a:cubicBezTo>
                    <a:pt x="2208" y="2220"/>
                    <a:pt x="2206" y="2218"/>
                    <a:pt x="2203" y="2218"/>
                  </a:cubicBezTo>
                  <a:cubicBezTo>
                    <a:pt x="2199" y="2218"/>
                    <a:pt x="2197" y="2213"/>
                    <a:pt x="2194" y="2213"/>
                  </a:cubicBezTo>
                  <a:cubicBezTo>
                    <a:pt x="2191" y="2212"/>
                    <a:pt x="2188" y="2216"/>
                    <a:pt x="2185" y="2214"/>
                  </a:cubicBezTo>
                  <a:cubicBezTo>
                    <a:pt x="2183" y="2212"/>
                    <a:pt x="2182" y="2210"/>
                    <a:pt x="2184" y="2206"/>
                  </a:cubicBezTo>
                  <a:cubicBezTo>
                    <a:pt x="2186" y="2203"/>
                    <a:pt x="2183" y="2201"/>
                    <a:pt x="2190" y="2199"/>
                  </a:cubicBezTo>
                  <a:cubicBezTo>
                    <a:pt x="2196" y="2196"/>
                    <a:pt x="2200" y="2194"/>
                    <a:pt x="2202" y="2191"/>
                  </a:cubicBezTo>
                  <a:cubicBezTo>
                    <a:pt x="2205" y="2188"/>
                    <a:pt x="2204" y="2186"/>
                    <a:pt x="2208" y="2184"/>
                  </a:cubicBezTo>
                  <a:cubicBezTo>
                    <a:pt x="2211" y="2181"/>
                    <a:pt x="2214" y="2180"/>
                    <a:pt x="2216" y="2178"/>
                  </a:cubicBezTo>
                  <a:cubicBezTo>
                    <a:pt x="2219" y="2177"/>
                    <a:pt x="2219" y="2175"/>
                    <a:pt x="2219" y="2173"/>
                  </a:cubicBezTo>
                  <a:cubicBezTo>
                    <a:pt x="2218" y="2172"/>
                    <a:pt x="2217" y="2170"/>
                    <a:pt x="2213" y="2171"/>
                  </a:cubicBezTo>
                  <a:cubicBezTo>
                    <a:pt x="2209" y="2172"/>
                    <a:pt x="2206" y="2172"/>
                    <a:pt x="2203" y="2172"/>
                  </a:cubicBezTo>
                  <a:cubicBezTo>
                    <a:pt x="2199" y="2172"/>
                    <a:pt x="2197" y="2172"/>
                    <a:pt x="2194" y="2170"/>
                  </a:cubicBezTo>
                  <a:cubicBezTo>
                    <a:pt x="2191" y="2167"/>
                    <a:pt x="2188" y="2165"/>
                    <a:pt x="2187" y="2162"/>
                  </a:cubicBezTo>
                  <a:cubicBezTo>
                    <a:pt x="2186" y="2160"/>
                    <a:pt x="2182" y="2157"/>
                    <a:pt x="2180" y="2159"/>
                  </a:cubicBezTo>
                  <a:cubicBezTo>
                    <a:pt x="2177" y="2161"/>
                    <a:pt x="2179" y="2163"/>
                    <a:pt x="2176" y="2165"/>
                  </a:cubicBezTo>
                  <a:cubicBezTo>
                    <a:pt x="2173" y="2167"/>
                    <a:pt x="2168" y="2167"/>
                    <a:pt x="2167" y="2167"/>
                  </a:cubicBezTo>
                  <a:cubicBezTo>
                    <a:pt x="2165" y="2167"/>
                    <a:pt x="2161" y="2168"/>
                    <a:pt x="2161" y="2170"/>
                  </a:cubicBezTo>
                  <a:cubicBezTo>
                    <a:pt x="2160" y="2172"/>
                    <a:pt x="2161" y="2174"/>
                    <a:pt x="2164" y="2175"/>
                  </a:cubicBezTo>
                  <a:cubicBezTo>
                    <a:pt x="2167" y="2176"/>
                    <a:pt x="2168" y="2174"/>
                    <a:pt x="2169" y="2177"/>
                  </a:cubicBezTo>
                  <a:cubicBezTo>
                    <a:pt x="2170" y="2181"/>
                    <a:pt x="2166" y="2182"/>
                    <a:pt x="2171" y="2185"/>
                  </a:cubicBezTo>
                  <a:cubicBezTo>
                    <a:pt x="2175" y="2188"/>
                    <a:pt x="2174" y="2191"/>
                    <a:pt x="2173" y="2192"/>
                  </a:cubicBezTo>
                  <a:cubicBezTo>
                    <a:pt x="2172" y="2192"/>
                    <a:pt x="2167" y="2192"/>
                    <a:pt x="2166" y="2194"/>
                  </a:cubicBezTo>
                  <a:cubicBezTo>
                    <a:pt x="2166" y="2196"/>
                    <a:pt x="2169" y="2199"/>
                    <a:pt x="2165" y="2200"/>
                  </a:cubicBezTo>
                  <a:cubicBezTo>
                    <a:pt x="2160" y="2200"/>
                    <a:pt x="2156" y="2202"/>
                    <a:pt x="2150" y="2202"/>
                  </a:cubicBezTo>
                  <a:cubicBezTo>
                    <a:pt x="2145" y="2202"/>
                    <a:pt x="2141" y="2204"/>
                    <a:pt x="2141" y="2206"/>
                  </a:cubicBezTo>
                  <a:cubicBezTo>
                    <a:pt x="2141" y="2208"/>
                    <a:pt x="2141" y="2212"/>
                    <a:pt x="2143" y="2214"/>
                  </a:cubicBezTo>
                  <a:cubicBezTo>
                    <a:pt x="2146" y="2216"/>
                    <a:pt x="2146" y="2216"/>
                    <a:pt x="2149" y="2218"/>
                  </a:cubicBezTo>
                  <a:cubicBezTo>
                    <a:pt x="2153" y="2219"/>
                    <a:pt x="2154" y="2221"/>
                    <a:pt x="2157" y="2222"/>
                  </a:cubicBezTo>
                  <a:cubicBezTo>
                    <a:pt x="2159" y="2224"/>
                    <a:pt x="2159" y="2228"/>
                    <a:pt x="2156" y="2229"/>
                  </a:cubicBezTo>
                  <a:cubicBezTo>
                    <a:pt x="2154" y="2230"/>
                    <a:pt x="2149" y="2231"/>
                    <a:pt x="2148" y="2233"/>
                  </a:cubicBezTo>
                  <a:cubicBezTo>
                    <a:pt x="2147" y="2236"/>
                    <a:pt x="2143" y="2242"/>
                    <a:pt x="2141" y="2243"/>
                  </a:cubicBezTo>
                  <a:cubicBezTo>
                    <a:pt x="2139" y="2244"/>
                    <a:pt x="2134" y="2245"/>
                    <a:pt x="2133" y="2243"/>
                  </a:cubicBezTo>
                  <a:cubicBezTo>
                    <a:pt x="2131" y="2242"/>
                    <a:pt x="2129" y="2238"/>
                    <a:pt x="2127" y="2238"/>
                  </a:cubicBezTo>
                  <a:cubicBezTo>
                    <a:pt x="2126" y="2237"/>
                    <a:pt x="2123" y="2238"/>
                    <a:pt x="2124" y="2240"/>
                  </a:cubicBezTo>
                  <a:cubicBezTo>
                    <a:pt x="2124" y="2241"/>
                    <a:pt x="2125" y="2242"/>
                    <a:pt x="2125" y="2244"/>
                  </a:cubicBezTo>
                  <a:cubicBezTo>
                    <a:pt x="2126" y="2247"/>
                    <a:pt x="2123" y="2249"/>
                    <a:pt x="2120" y="2249"/>
                  </a:cubicBezTo>
                  <a:cubicBezTo>
                    <a:pt x="2116" y="2250"/>
                    <a:pt x="2113" y="2249"/>
                    <a:pt x="2110" y="2249"/>
                  </a:cubicBezTo>
                  <a:cubicBezTo>
                    <a:pt x="2107" y="2249"/>
                    <a:pt x="2104" y="2249"/>
                    <a:pt x="2102" y="2247"/>
                  </a:cubicBezTo>
                  <a:cubicBezTo>
                    <a:pt x="2101" y="2244"/>
                    <a:pt x="2102" y="2242"/>
                    <a:pt x="2098" y="2241"/>
                  </a:cubicBezTo>
                  <a:cubicBezTo>
                    <a:pt x="2095" y="2239"/>
                    <a:pt x="2093" y="2238"/>
                    <a:pt x="2092" y="2236"/>
                  </a:cubicBezTo>
                  <a:cubicBezTo>
                    <a:pt x="2091" y="2233"/>
                    <a:pt x="2091" y="2230"/>
                    <a:pt x="2087" y="2231"/>
                  </a:cubicBezTo>
                  <a:cubicBezTo>
                    <a:pt x="2083" y="2231"/>
                    <a:pt x="2082" y="2234"/>
                    <a:pt x="2085" y="2236"/>
                  </a:cubicBezTo>
                  <a:cubicBezTo>
                    <a:pt x="2087" y="2238"/>
                    <a:pt x="2088" y="2237"/>
                    <a:pt x="2087" y="2241"/>
                  </a:cubicBezTo>
                  <a:cubicBezTo>
                    <a:pt x="2087" y="2245"/>
                    <a:pt x="2086" y="2245"/>
                    <a:pt x="2085" y="2247"/>
                  </a:cubicBezTo>
                  <a:cubicBezTo>
                    <a:pt x="2083" y="2249"/>
                    <a:pt x="2081" y="2251"/>
                    <a:pt x="2078" y="2248"/>
                  </a:cubicBezTo>
                  <a:cubicBezTo>
                    <a:pt x="2075" y="2246"/>
                    <a:pt x="2077" y="2244"/>
                    <a:pt x="2073" y="2243"/>
                  </a:cubicBezTo>
                  <a:cubicBezTo>
                    <a:pt x="2069" y="2242"/>
                    <a:pt x="2068" y="2239"/>
                    <a:pt x="2066" y="2241"/>
                  </a:cubicBezTo>
                  <a:cubicBezTo>
                    <a:pt x="2063" y="2242"/>
                    <a:pt x="2062" y="2247"/>
                    <a:pt x="2062" y="2249"/>
                  </a:cubicBezTo>
                  <a:cubicBezTo>
                    <a:pt x="2061" y="2251"/>
                    <a:pt x="2061" y="2252"/>
                    <a:pt x="2056" y="2252"/>
                  </a:cubicBezTo>
                  <a:cubicBezTo>
                    <a:pt x="2051" y="2253"/>
                    <a:pt x="2048" y="2250"/>
                    <a:pt x="2046" y="2248"/>
                  </a:cubicBezTo>
                  <a:cubicBezTo>
                    <a:pt x="2044" y="2247"/>
                    <a:pt x="2038" y="2248"/>
                    <a:pt x="2037" y="2251"/>
                  </a:cubicBezTo>
                  <a:cubicBezTo>
                    <a:pt x="2035" y="2255"/>
                    <a:pt x="2033" y="2255"/>
                    <a:pt x="2036" y="2258"/>
                  </a:cubicBezTo>
                  <a:cubicBezTo>
                    <a:pt x="2039" y="2261"/>
                    <a:pt x="2040" y="2261"/>
                    <a:pt x="2042" y="2261"/>
                  </a:cubicBezTo>
                  <a:cubicBezTo>
                    <a:pt x="2044" y="2261"/>
                    <a:pt x="2046" y="2261"/>
                    <a:pt x="2048" y="2263"/>
                  </a:cubicBezTo>
                  <a:cubicBezTo>
                    <a:pt x="2049" y="2265"/>
                    <a:pt x="2048" y="2266"/>
                    <a:pt x="2050" y="2269"/>
                  </a:cubicBezTo>
                  <a:cubicBezTo>
                    <a:pt x="2052" y="2271"/>
                    <a:pt x="2052" y="2272"/>
                    <a:pt x="2054" y="2273"/>
                  </a:cubicBezTo>
                  <a:cubicBezTo>
                    <a:pt x="2055" y="2275"/>
                    <a:pt x="2056" y="2275"/>
                    <a:pt x="2055" y="2278"/>
                  </a:cubicBezTo>
                  <a:cubicBezTo>
                    <a:pt x="2054" y="2281"/>
                    <a:pt x="2050" y="2281"/>
                    <a:pt x="2048" y="2283"/>
                  </a:cubicBezTo>
                  <a:cubicBezTo>
                    <a:pt x="2046" y="2284"/>
                    <a:pt x="2041" y="2285"/>
                    <a:pt x="2039" y="2290"/>
                  </a:cubicBezTo>
                  <a:cubicBezTo>
                    <a:pt x="2037" y="2294"/>
                    <a:pt x="2034" y="2295"/>
                    <a:pt x="2032" y="2299"/>
                  </a:cubicBezTo>
                  <a:cubicBezTo>
                    <a:pt x="2030" y="2303"/>
                    <a:pt x="2032" y="2305"/>
                    <a:pt x="2027" y="2305"/>
                  </a:cubicBezTo>
                  <a:cubicBezTo>
                    <a:pt x="2023" y="2305"/>
                    <a:pt x="2017" y="2306"/>
                    <a:pt x="2015" y="2304"/>
                  </a:cubicBezTo>
                  <a:cubicBezTo>
                    <a:pt x="2014" y="2302"/>
                    <a:pt x="2003" y="2301"/>
                    <a:pt x="2000" y="2300"/>
                  </a:cubicBezTo>
                  <a:cubicBezTo>
                    <a:pt x="1997" y="2299"/>
                    <a:pt x="1999" y="2298"/>
                    <a:pt x="1994" y="2298"/>
                  </a:cubicBezTo>
                  <a:cubicBezTo>
                    <a:pt x="1989" y="2297"/>
                    <a:pt x="1987" y="2299"/>
                    <a:pt x="1984" y="2297"/>
                  </a:cubicBezTo>
                  <a:cubicBezTo>
                    <a:pt x="1981" y="2295"/>
                    <a:pt x="1977" y="2296"/>
                    <a:pt x="1977" y="2299"/>
                  </a:cubicBezTo>
                  <a:cubicBezTo>
                    <a:pt x="1976" y="2302"/>
                    <a:pt x="1977" y="2304"/>
                    <a:pt x="1978" y="2308"/>
                  </a:cubicBezTo>
                  <a:cubicBezTo>
                    <a:pt x="1979" y="2311"/>
                    <a:pt x="1980" y="2314"/>
                    <a:pt x="1982" y="2318"/>
                  </a:cubicBezTo>
                  <a:cubicBezTo>
                    <a:pt x="1984" y="2321"/>
                    <a:pt x="1983" y="2320"/>
                    <a:pt x="1988" y="2323"/>
                  </a:cubicBezTo>
                  <a:cubicBezTo>
                    <a:pt x="1993" y="2326"/>
                    <a:pt x="1993" y="2327"/>
                    <a:pt x="1995" y="2329"/>
                  </a:cubicBezTo>
                  <a:cubicBezTo>
                    <a:pt x="1997" y="2331"/>
                    <a:pt x="1999" y="2332"/>
                    <a:pt x="2001" y="2334"/>
                  </a:cubicBezTo>
                  <a:cubicBezTo>
                    <a:pt x="2004" y="2336"/>
                    <a:pt x="2006" y="2338"/>
                    <a:pt x="2008" y="2343"/>
                  </a:cubicBezTo>
                  <a:cubicBezTo>
                    <a:pt x="2010" y="2347"/>
                    <a:pt x="2009" y="2350"/>
                    <a:pt x="2008" y="2352"/>
                  </a:cubicBezTo>
                  <a:cubicBezTo>
                    <a:pt x="2007" y="2355"/>
                    <a:pt x="2006" y="2356"/>
                    <a:pt x="2007" y="2359"/>
                  </a:cubicBezTo>
                  <a:cubicBezTo>
                    <a:pt x="2008" y="2362"/>
                    <a:pt x="2008" y="2362"/>
                    <a:pt x="2011" y="2364"/>
                  </a:cubicBezTo>
                  <a:cubicBezTo>
                    <a:pt x="2013" y="2367"/>
                    <a:pt x="2015" y="2368"/>
                    <a:pt x="2013" y="2370"/>
                  </a:cubicBezTo>
                  <a:cubicBezTo>
                    <a:pt x="2012" y="2371"/>
                    <a:pt x="2009" y="2373"/>
                    <a:pt x="2004" y="2372"/>
                  </a:cubicBezTo>
                  <a:cubicBezTo>
                    <a:pt x="2000" y="2371"/>
                    <a:pt x="1996" y="2369"/>
                    <a:pt x="1991" y="2372"/>
                  </a:cubicBezTo>
                  <a:cubicBezTo>
                    <a:pt x="1986" y="2375"/>
                    <a:pt x="1986" y="2376"/>
                    <a:pt x="1981" y="2375"/>
                  </a:cubicBezTo>
                  <a:cubicBezTo>
                    <a:pt x="1975" y="2375"/>
                    <a:pt x="1969" y="2375"/>
                    <a:pt x="1965" y="2374"/>
                  </a:cubicBezTo>
                  <a:cubicBezTo>
                    <a:pt x="1960" y="2374"/>
                    <a:pt x="1953" y="2374"/>
                    <a:pt x="1952" y="2377"/>
                  </a:cubicBezTo>
                  <a:cubicBezTo>
                    <a:pt x="1952" y="2379"/>
                    <a:pt x="1954" y="2384"/>
                    <a:pt x="1958" y="2386"/>
                  </a:cubicBezTo>
                  <a:cubicBezTo>
                    <a:pt x="1961" y="2388"/>
                    <a:pt x="1969" y="2393"/>
                    <a:pt x="1974" y="2395"/>
                  </a:cubicBezTo>
                  <a:cubicBezTo>
                    <a:pt x="1979" y="2397"/>
                    <a:pt x="1981" y="2396"/>
                    <a:pt x="1985" y="2394"/>
                  </a:cubicBezTo>
                  <a:cubicBezTo>
                    <a:pt x="1989" y="2392"/>
                    <a:pt x="1992" y="2390"/>
                    <a:pt x="1996" y="2392"/>
                  </a:cubicBezTo>
                  <a:cubicBezTo>
                    <a:pt x="2000" y="2394"/>
                    <a:pt x="2005" y="2393"/>
                    <a:pt x="2004" y="2398"/>
                  </a:cubicBezTo>
                  <a:cubicBezTo>
                    <a:pt x="2003" y="2403"/>
                    <a:pt x="1997" y="2405"/>
                    <a:pt x="1996" y="2407"/>
                  </a:cubicBezTo>
                  <a:cubicBezTo>
                    <a:pt x="1995" y="2409"/>
                    <a:pt x="1995" y="2410"/>
                    <a:pt x="1999" y="2412"/>
                  </a:cubicBezTo>
                  <a:cubicBezTo>
                    <a:pt x="2003" y="2414"/>
                    <a:pt x="2007" y="2412"/>
                    <a:pt x="2009" y="2417"/>
                  </a:cubicBezTo>
                  <a:cubicBezTo>
                    <a:pt x="2010" y="2422"/>
                    <a:pt x="2008" y="2422"/>
                    <a:pt x="2009" y="2429"/>
                  </a:cubicBezTo>
                  <a:cubicBezTo>
                    <a:pt x="2010" y="2435"/>
                    <a:pt x="2008" y="2439"/>
                    <a:pt x="2002" y="2438"/>
                  </a:cubicBezTo>
                  <a:cubicBezTo>
                    <a:pt x="1996" y="2438"/>
                    <a:pt x="1987" y="2433"/>
                    <a:pt x="1983" y="2433"/>
                  </a:cubicBezTo>
                  <a:cubicBezTo>
                    <a:pt x="1978" y="2433"/>
                    <a:pt x="1974" y="2433"/>
                    <a:pt x="1969" y="2432"/>
                  </a:cubicBezTo>
                  <a:cubicBezTo>
                    <a:pt x="1965" y="2432"/>
                    <a:pt x="1956" y="2427"/>
                    <a:pt x="1953" y="2427"/>
                  </a:cubicBezTo>
                  <a:cubicBezTo>
                    <a:pt x="1949" y="2427"/>
                    <a:pt x="1945" y="2427"/>
                    <a:pt x="1946" y="2430"/>
                  </a:cubicBezTo>
                  <a:cubicBezTo>
                    <a:pt x="1947" y="2433"/>
                    <a:pt x="1950" y="2437"/>
                    <a:pt x="1955" y="2437"/>
                  </a:cubicBezTo>
                  <a:cubicBezTo>
                    <a:pt x="1960" y="2437"/>
                    <a:pt x="1962" y="2435"/>
                    <a:pt x="1968" y="2437"/>
                  </a:cubicBezTo>
                  <a:cubicBezTo>
                    <a:pt x="1975" y="2439"/>
                    <a:pt x="1978" y="2439"/>
                    <a:pt x="1985" y="2443"/>
                  </a:cubicBezTo>
                  <a:cubicBezTo>
                    <a:pt x="1991" y="2447"/>
                    <a:pt x="1995" y="2449"/>
                    <a:pt x="1992" y="2451"/>
                  </a:cubicBezTo>
                  <a:cubicBezTo>
                    <a:pt x="1989" y="2453"/>
                    <a:pt x="1981" y="2453"/>
                    <a:pt x="1976" y="2451"/>
                  </a:cubicBezTo>
                  <a:cubicBezTo>
                    <a:pt x="1971" y="2450"/>
                    <a:pt x="1964" y="2446"/>
                    <a:pt x="1961" y="2449"/>
                  </a:cubicBezTo>
                  <a:cubicBezTo>
                    <a:pt x="1958" y="2451"/>
                    <a:pt x="1960" y="2454"/>
                    <a:pt x="1955" y="2456"/>
                  </a:cubicBezTo>
                  <a:cubicBezTo>
                    <a:pt x="1950" y="2458"/>
                    <a:pt x="1945" y="2457"/>
                    <a:pt x="1941" y="2457"/>
                  </a:cubicBezTo>
                  <a:cubicBezTo>
                    <a:pt x="1938" y="2457"/>
                    <a:pt x="1930" y="2457"/>
                    <a:pt x="1930" y="2460"/>
                  </a:cubicBezTo>
                  <a:cubicBezTo>
                    <a:pt x="1930" y="2464"/>
                    <a:pt x="1934" y="2468"/>
                    <a:pt x="1939" y="2474"/>
                  </a:cubicBezTo>
                  <a:cubicBezTo>
                    <a:pt x="1944" y="2479"/>
                    <a:pt x="1947" y="2480"/>
                    <a:pt x="1949" y="2483"/>
                  </a:cubicBezTo>
                  <a:cubicBezTo>
                    <a:pt x="1952" y="2486"/>
                    <a:pt x="1955" y="2491"/>
                    <a:pt x="1954" y="2492"/>
                  </a:cubicBezTo>
                  <a:cubicBezTo>
                    <a:pt x="1954" y="2493"/>
                    <a:pt x="1950" y="2495"/>
                    <a:pt x="1947" y="2493"/>
                  </a:cubicBezTo>
                  <a:cubicBezTo>
                    <a:pt x="1943" y="2491"/>
                    <a:pt x="1940" y="2490"/>
                    <a:pt x="1937" y="2488"/>
                  </a:cubicBezTo>
                  <a:cubicBezTo>
                    <a:pt x="1935" y="2486"/>
                    <a:pt x="1930" y="2481"/>
                    <a:pt x="1927" y="2480"/>
                  </a:cubicBezTo>
                  <a:cubicBezTo>
                    <a:pt x="1924" y="2479"/>
                    <a:pt x="1921" y="2477"/>
                    <a:pt x="1921" y="2480"/>
                  </a:cubicBezTo>
                  <a:cubicBezTo>
                    <a:pt x="1922" y="2482"/>
                    <a:pt x="1923" y="2483"/>
                    <a:pt x="1925" y="2486"/>
                  </a:cubicBezTo>
                  <a:cubicBezTo>
                    <a:pt x="1927" y="2488"/>
                    <a:pt x="1928" y="2489"/>
                    <a:pt x="1932" y="2492"/>
                  </a:cubicBezTo>
                  <a:cubicBezTo>
                    <a:pt x="1936" y="2495"/>
                    <a:pt x="1939" y="2497"/>
                    <a:pt x="1937" y="2498"/>
                  </a:cubicBezTo>
                  <a:cubicBezTo>
                    <a:pt x="1935" y="2500"/>
                    <a:pt x="1930" y="2498"/>
                    <a:pt x="1929" y="2497"/>
                  </a:cubicBezTo>
                  <a:cubicBezTo>
                    <a:pt x="1927" y="2496"/>
                    <a:pt x="1925" y="2494"/>
                    <a:pt x="1922" y="2492"/>
                  </a:cubicBezTo>
                  <a:cubicBezTo>
                    <a:pt x="1919" y="2489"/>
                    <a:pt x="1916" y="2487"/>
                    <a:pt x="1913" y="2488"/>
                  </a:cubicBezTo>
                  <a:cubicBezTo>
                    <a:pt x="1910" y="2490"/>
                    <a:pt x="1907" y="2490"/>
                    <a:pt x="1910" y="2494"/>
                  </a:cubicBezTo>
                  <a:cubicBezTo>
                    <a:pt x="1913" y="2498"/>
                    <a:pt x="1915" y="2500"/>
                    <a:pt x="1920" y="2501"/>
                  </a:cubicBezTo>
                  <a:cubicBezTo>
                    <a:pt x="1926" y="2502"/>
                    <a:pt x="1932" y="2503"/>
                    <a:pt x="1935" y="2507"/>
                  </a:cubicBezTo>
                  <a:cubicBezTo>
                    <a:pt x="1938" y="2511"/>
                    <a:pt x="1936" y="2517"/>
                    <a:pt x="1934" y="2518"/>
                  </a:cubicBezTo>
                  <a:cubicBezTo>
                    <a:pt x="1932" y="2519"/>
                    <a:pt x="1921" y="2518"/>
                    <a:pt x="1917" y="2520"/>
                  </a:cubicBezTo>
                  <a:cubicBezTo>
                    <a:pt x="1914" y="2521"/>
                    <a:pt x="1909" y="2521"/>
                    <a:pt x="1908" y="2518"/>
                  </a:cubicBezTo>
                  <a:cubicBezTo>
                    <a:pt x="1906" y="2516"/>
                    <a:pt x="1901" y="2511"/>
                    <a:pt x="1898" y="2512"/>
                  </a:cubicBezTo>
                  <a:cubicBezTo>
                    <a:pt x="1895" y="2512"/>
                    <a:pt x="1892" y="2509"/>
                    <a:pt x="1889" y="2513"/>
                  </a:cubicBezTo>
                  <a:cubicBezTo>
                    <a:pt x="1886" y="2517"/>
                    <a:pt x="1884" y="2514"/>
                    <a:pt x="1884" y="2519"/>
                  </a:cubicBezTo>
                  <a:cubicBezTo>
                    <a:pt x="1884" y="2523"/>
                    <a:pt x="1886" y="2525"/>
                    <a:pt x="1884" y="2528"/>
                  </a:cubicBezTo>
                  <a:cubicBezTo>
                    <a:pt x="1883" y="2531"/>
                    <a:pt x="1875" y="2531"/>
                    <a:pt x="1871" y="2530"/>
                  </a:cubicBezTo>
                  <a:cubicBezTo>
                    <a:pt x="1867" y="2530"/>
                    <a:pt x="1873" y="2529"/>
                    <a:pt x="1863" y="2527"/>
                  </a:cubicBezTo>
                  <a:cubicBezTo>
                    <a:pt x="1854" y="2525"/>
                    <a:pt x="1852" y="2526"/>
                    <a:pt x="1851" y="2530"/>
                  </a:cubicBezTo>
                  <a:cubicBezTo>
                    <a:pt x="1851" y="2534"/>
                    <a:pt x="1848" y="2539"/>
                    <a:pt x="1854" y="2540"/>
                  </a:cubicBezTo>
                  <a:cubicBezTo>
                    <a:pt x="1861" y="2540"/>
                    <a:pt x="1863" y="2538"/>
                    <a:pt x="1866" y="2540"/>
                  </a:cubicBezTo>
                  <a:cubicBezTo>
                    <a:pt x="1868" y="2541"/>
                    <a:pt x="1867" y="2540"/>
                    <a:pt x="1871" y="2542"/>
                  </a:cubicBezTo>
                  <a:cubicBezTo>
                    <a:pt x="1875" y="2545"/>
                    <a:pt x="1877" y="2545"/>
                    <a:pt x="1880" y="2545"/>
                  </a:cubicBezTo>
                  <a:cubicBezTo>
                    <a:pt x="1884" y="2545"/>
                    <a:pt x="1886" y="2546"/>
                    <a:pt x="1888" y="2548"/>
                  </a:cubicBezTo>
                  <a:cubicBezTo>
                    <a:pt x="1889" y="2550"/>
                    <a:pt x="1890" y="2553"/>
                    <a:pt x="1889" y="2555"/>
                  </a:cubicBezTo>
                  <a:cubicBezTo>
                    <a:pt x="1888" y="2556"/>
                    <a:pt x="1886" y="2558"/>
                    <a:pt x="1883" y="2556"/>
                  </a:cubicBezTo>
                  <a:cubicBezTo>
                    <a:pt x="1880" y="2555"/>
                    <a:pt x="1878" y="2552"/>
                    <a:pt x="1872" y="2552"/>
                  </a:cubicBezTo>
                  <a:cubicBezTo>
                    <a:pt x="1867" y="2551"/>
                    <a:pt x="1866" y="2549"/>
                    <a:pt x="1863" y="2550"/>
                  </a:cubicBezTo>
                  <a:cubicBezTo>
                    <a:pt x="1861" y="2551"/>
                    <a:pt x="1859" y="2553"/>
                    <a:pt x="1863" y="2556"/>
                  </a:cubicBezTo>
                  <a:cubicBezTo>
                    <a:pt x="1867" y="2558"/>
                    <a:pt x="1876" y="2561"/>
                    <a:pt x="1878" y="2563"/>
                  </a:cubicBezTo>
                  <a:cubicBezTo>
                    <a:pt x="1880" y="2564"/>
                    <a:pt x="1882" y="2565"/>
                    <a:pt x="1886" y="2568"/>
                  </a:cubicBezTo>
                  <a:cubicBezTo>
                    <a:pt x="1889" y="2572"/>
                    <a:pt x="1891" y="2572"/>
                    <a:pt x="1896" y="2571"/>
                  </a:cubicBezTo>
                  <a:cubicBezTo>
                    <a:pt x="1902" y="2571"/>
                    <a:pt x="1903" y="2570"/>
                    <a:pt x="1904" y="2574"/>
                  </a:cubicBezTo>
                  <a:cubicBezTo>
                    <a:pt x="1905" y="2578"/>
                    <a:pt x="1904" y="2579"/>
                    <a:pt x="1902" y="2582"/>
                  </a:cubicBezTo>
                  <a:cubicBezTo>
                    <a:pt x="1899" y="2584"/>
                    <a:pt x="1898" y="2584"/>
                    <a:pt x="1896" y="2587"/>
                  </a:cubicBezTo>
                  <a:cubicBezTo>
                    <a:pt x="1894" y="2590"/>
                    <a:pt x="1895" y="2591"/>
                    <a:pt x="1893" y="2595"/>
                  </a:cubicBezTo>
                  <a:cubicBezTo>
                    <a:pt x="1891" y="2599"/>
                    <a:pt x="1888" y="2598"/>
                    <a:pt x="1889" y="2603"/>
                  </a:cubicBezTo>
                  <a:cubicBezTo>
                    <a:pt x="1890" y="2607"/>
                    <a:pt x="1891" y="2608"/>
                    <a:pt x="1894" y="2610"/>
                  </a:cubicBezTo>
                  <a:cubicBezTo>
                    <a:pt x="1898" y="2612"/>
                    <a:pt x="1898" y="2613"/>
                    <a:pt x="1899" y="2616"/>
                  </a:cubicBezTo>
                  <a:cubicBezTo>
                    <a:pt x="1900" y="2619"/>
                    <a:pt x="1901" y="2621"/>
                    <a:pt x="1898" y="2623"/>
                  </a:cubicBezTo>
                  <a:cubicBezTo>
                    <a:pt x="1895" y="2625"/>
                    <a:pt x="1891" y="2626"/>
                    <a:pt x="1889" y="2626"/>
                  </a:cubicBezTo>
                  <a:cubicBezTo>
                    <a:pt x="1887" y="2625"/>
                    <a:pt x="1883" y="2624"/>
                    <a:pt x="1879" y="2623"/>
                  </a:cubicBezTo>
                  <a:cubicBezTo>
                    <a:pt x="1875" y="2621"/>
                    <a:pt x="1870" y="2618"/>
                    <a:pt x="1869" y="2621"/>
                  </a:cubicBezTo>
                  <a:cubicBezTo>
                    <a:pt x="1869" y="2624"/>
                    <a:pt x="1869" y="2625"/>
                    <a:pt x="1872" y="2626"/>
                  </a:cubicBezTo>
                  <a:cubicBezTo>
                    <a:pt x="1876" y="2628"/>
                    <a:pt x="1881" y="2632"/>
                    <a:pt x="1887" y="2633"/>
                  </a:cubicBezTo>
                  <a:cubicBezTo>
                    <a:pt x="1893" y="2633"/>
                    <a:pt x="1898" y="2632"/>
                    <a:pt x="1899" y="2636"/>
                  </a:cubicBezTo>
                  <a:cubicBezTo>
                    <a:pt x="1899" y="2639"/>
                    <a:pt x="1898" y="2642"/>
                    <a:pt x="1893" y="2643"/>
                  </a:cubicBezTo>
                  <a:cubicBezTo>
                    <a:pt x="1888" y="2643"/>
                    <a:pt x="1884" y="2643"/>
                    <a:pt x="1878" y="2642"/>
                  </a:cubicBezTo>
                  <a:cubicBezTo>
                    <a:pt x="1872" y="2641"/>
                    <a:pt x="1870" y="2638"/>
                    <a:pt x="1864" y="2639"/>
                  </a:cubicBezTo>
                  <a:cubicBezTo>
                    <a:pt x="1858" y="2641"/>
                    <a:pt x="1858" y="2646"/>
                    <a:pt x="1860" y="2648"/>
                  </a:cubicBezTo>
                  <a:cubicBezTo>
                    <a:pt x="1861" y="2650"/>
                    <a:pt x="1865" y="2650"/>
                    <a:pt x="1870" y="2650"/>
                  </a:cubicBezTo>
                  <a:cubicBezTo>
                    <a:pt x="1875" y="2650"/>
                    <a:pt x="1876" y="2649"/>
                    <a:pt x="1881" y="2650"/>
                  </a:cubicBezTo>
                  <a:cubicBezTo>
                    <a:pt x="1885" y="2650"/>
                    <a:pt x="1890" y="2648"/>
                    <a:pt x="1892" y="2652"/>
                  </a:cubicBezTo>
                  <a:cubicBezTo>
                    <a:pt x="1894" y="2656"/>
                    <a:pt x="1891" y="2662"/>
                    <a:pt x="1888" y="2664"/>
                  </a:cubicBezTo>
                  <a:cubicBezTo>
                    <a:pt x="1885" y="2665"/>
                    <a:pt x="1879" y="2666"/>
                    <a:pt x="1875" y="2665"/>
                  </a:cubicBezTo>
                  <a:cubicBezTo>
                    <a:pt x="1870" y="2665"/>
                    <a:pt x="1866" y="2666"/>
                    <a:pt x="1860" y="2664"/>
                  </a:cubicBezTo>
                  <a:cubicBezTo>
                    <a:pt x="1855" y="2662"/>
                    <a:pt x="1845" y="2660"/>
                    <a:pt x="1845" y="2664"/>
                  </a:cubicBezTo>
                  <a:cubicBezTo>
                    <a:pt x="1845" y="2668"/>
                    <a:pt x="1844" y="2669"/>
                    <a:pt x="1849" y="2670"/>
                  </a:cubicBezTo>
                  <a:cubicBezTo>
                    <a:pt x="1855" y="2671"/>
                    <a:pt x="1856" y="2669"/>
                    <a:pt x="1862" y="2671"/>
                  </a:cubicBezTo>
                  <a:cubicBezTo>
                    <a:pt x="1867" y="2673"/>
                    <a:pt x="1870" y="2671"/>
                    <a:pt x="1870" y="2674"/>
                  </a:cubicBezTo>
                  <a:cubicBezTo>
                    <a:pt x="1870" y="2677"/>
                    <a:pt x="1871" y="2678"/>
                    <a:pt x="1866" y="2678"/>
                  </a:cubicBezTo>
                  <a:cubicBezTo>
                    <a:pt x="1860" y="2678"/>
                    <a:pt x="1851" y="2675"/>
                    <a:pt x="1847" y="2678"/>
                  </a:cubicBezTo>
                  <a:cubicBezTo>
                    <a:pt x="1844" y="2681"/>
                    <a:pt x="1847" y="2685"/>
                    <a:pt x="1840" y="2685"/>
                  </a:cubicBezTo>
                  <a:cubicBezTo>
                    <a:pt x="1833" y="2686"/>
                    <a:pt x="1829" y="2682"/>
                    <a:pt x="1827" y="2685"/>
                  </a:cubicBezTo>
                  <a:cubicBezTo>
                    <a:pt x="1824" y="2689"/>
                    <a:pt x="1823" y="2691"/>
                    <a:pt x="1829" y="2692"/>
                  </a:cubicBezTo>
                  <a:cubicBezTo>
                    <a:pt x="1835" y="2693"/>
                    <a:pt x="1839" y="2691"/>
                    <a:pt x="1844" y="2691"/>
                  </a:cubicBezTo>
                  <a:cubicBezTo>
                    <a:pt x="1848" y="2691"/>
                    <a:pt x="1852" y="2689"/>
                    <a:pt x="1857" y="2691"/>
                  </a:cubicBezTo>
                  <a:cubicBezTo>
                    <a:pt x="1863" y="2693"/>
                    <a:pt x="1867" y="2691"/>
                    <a:pt x="1869" y="2694"/>
                  </a:cubicBezTo>
                  <a:cubicBezTo>
                    <a:pt x="1870" y="2697"/>
                    <a:pt x="1873" y="2700"/>
                    <a:pt x="1867" y="2702"/>
                  </a:cubicBezTo>
                  <a:cubicBezTo>
                    <a:pt x="1861" y="2703"/>
                    <a:pt x="1857" y="2702"/>
                    <a:pt x="1849" y="2702"/>
                  </a:cubicBezTo>
                  <a:cubicBezTo>
                    <a:pt x="1842" y="2702"/>
                    <a:pt x="1838" y="2700"/>
                    <a:pt x="1835" y="2702"/>
                  </a:cubicBezTo>
                  <a:cubicBezTo>
                    <a:pt x="1833" y="2703"/>
                    <a:pt x="1832" y="2707"/>
                    <a:pt x="1833" y="2710"/>
                  </a:cubicBezTo>
                  <a:cubicBezTo>
                    <a:pt x="1834" y="2713"/>
                    <a:pt x="1833" y="2715"/>
                    <a:pt x="1836" y="2716"/>
                  </a:cubicBezTo>
                  <a:cubicBezTo>
                    <a:pt x="1840" y="2717"/>
                    <a:pt x="1851" y="2718"/>
                    <a:pt x="1856" y="2717"/>
                  </a:cubicBezTo>
                  <a:cubicBezTo>
                    <a:pt x="1860" y="2717"/>
                    <a:pt x="1867" y="2716"/>
                    <a:pt x="1868" y="2720"/>
                  </a:cubicBezTo>
                  <a:cubicBezTo>
                    <a:pt x="1870" y="2724"/>
                    <a:pt x="1871" y="2728"/>
                    <a:pt x="1867" y="2728"/>
                  </a:cubicBezTo>
                  <a:cubicBezTo>
                    <a:pt x="1863" y="2729"/>
                    <a:pt x="1855" y="2727"/>
                    <a:pt x="1854" y="2727"/>
                  </a:cubicBezTo>
                  <a:cubicBezTo>
                    <a:pt x="1853" y="2727"/>
                    <a:pt x="1849" y="2727"/>
                    <a:pt x="1849" y="2728"/>
                  </a:cubicBezTo>
                  <a:cubicBezTo>
                    <a:pt x="1850" y="2730"/>
                    <a:pt x="1851" y="2732"/>
                    <a:pt x="1855" y="2733"/>
                  </a:cubicBezTo>
                  <a:cubicBezTo>
                    <a:pt x="1859" y="2734"/>
                    <a:pt x="1861" y="2735"/>
                    <a:pt x="1861" y="2738"/>
                  </a:cubicBezTo>
                  <a:cubicBezTo>
                    <a:pt x="1861" y="2740"/>
                    <a:pt x="1858" y="2741"/>
                    <a:pt x="1856" y="2741"/>
                  </a:cubicBezTo>
                  <a:cubicBezTo>
                    <a:pt x="1853" y="2741"/>
                    <a:pt x="1848" y="2739"/>
                    <a:pt x="1846" y="2739"/>
                  </a:cubicBezTo>
                  <a:cubicBezTo>
                    <a:pt x="1843" y="2739"/>
                    <a:pt x="1841" y="2740"/>
                    <a:pt x="1839" y="2740"/>
                  </a:cubicBezTo>
                  <a:cubicBezTo>
                    <a:pt x="1836" y="2741"/>
                    <a:pt x="1832" y="2739"/>
                    <a:pt x="1831" y="2738"/>
                  </a:cubicBezTo>
                  <a:cubicBezTo>
                    <a:pt x="1830" y="2737"/>
                    <a:pt x="1826" y="2736"/>
                    <a:pt x="1826" y="2733"/>
                  </a:cubicBezTo>
                  <a:cubicBezTo>
                    <a:pt x="1826" y="2730"/>
                    <a:pt x="1822" y="2724"/>
                    <a:pt x="1820" y="2724"/>
                  </a:cubicBezTo>
                  <a:cubicBezTo>
                    <a:pt x="1817" y="2724"/>
                    <a:pt x="1816" y="2726"/>
                    <a:pt x="1817" y="2729"/>
                  </a:cubicBezTo>
                  <a:cubicBezTo>
                    <a:pt x="1817" y="2732"/>
                    <a:pt x="1816" y="2735"/>
                    <a:pt x="1813" y="2735"/>
                  </a:cubicBezTo>
                  <a:cubicBezTo>
                    <a:pt x="1810" y="2735"/>
                    <a:pt x="1806" y="2733"/>
                    <a:pt x="1804" y="2733"/>
                  </a:cubicBezTo>
                  <a:cubicBezTo>
                    <a:pt x="1803" y="2732"/>
                    <a:pt x="1798" y="2732"/>
                    <a:pt x="1796" y="2733"/>
                  </a:cubicBezTo>
                  <a:cubicBezTo>
                    <a:pt x="1793" y="2733"/>
                    <a:pt x="1789" y="2729"/>
                    <a:pt x="1788" y="2732"/>
                  </a:cubicBezTo>
                  <a:cubicBezTo>
                    <a:pt x="1787" y="2734"/>
                    <a:pt x="1783" y="2738"/>
                    <a:pt x="1789" y="2739"/>
                  </a:cubicBezTo>
                  <a:cubicBezTo>
                    <a:pt x="1794" y="2739"/>
                    <a:pt x="1798" y="2738"/>
                    <a:pt x="1803" y="2740"/>
                  </a:cubicBezTo>
                  <a:cubicBezTo>
                    <a:pt x="1808" y="2741"/>
                    <a:pt x="1810" y="2743"/>
                    <a:pt x="1813" y="2743"/>
                  </a:cubicBezTo>
                  <a:cubicBezTo>
                    <a:pt x="1816" y="2744"/>
                    <a:pt x="1818" y="2742"/>
                    <a:pt x="1824" y="2744"/>
                  </a:cubicBezTo>
                  <a:cubicBezTo>
                    <a:pt x="1829" y="2746"/>
                    <a:pt x="1832" y="2746"/>
                    <a:pt x="1832" y="2748"/>
                  </a:cubicBezTo>
                  <a:cubicBezTo>
                    <a:pt x="1832" y="2750"/>
                    <a:pt x="1827" y="2753"/>
                    <a:pt x="1826" y="2755"/>
                  </a:cubicBezTo>
                  <a:cubicBezTo>
                    <a:pt x="1824" y="2757"/>
                    <a:pt x="1823" y="2760"/>
                    <a:pt x="1827" y="2761"/>
                  </a:cubicBezTo>
                  <a:cubicBezTo>
                    <a:pt x="1831" y="2761"/>
                    <a:pt x="1836" y="2761"/>
                    <a:pt x="1839" y="2759"/>
                  </a:cubicBezTo>
                  <a:cubicBezTo>
                    <a:pt x="1842" y="2757"/>
                    <a:pt x="1844" y="2753"/>
                    <a:pt x="1849" y="2755"/>
                  </a:cubicBezTo>
                  <a:cubicBezTo>
                    <a:pt x="1854" y="2757"/>
                    <a:pt x="1857" y="2758"/>
                    <a:pt x="1857" y="2762"/>
                  </a:cubicBezTo>
                  <a:cubicBezTo>
                    <a:pt x="1857" y="2766"/>
                    <a:pt x="1852" y="2765"/>
                    <a:pt x="1851" y="2770"/>
                  </a:cubicBezTo>
                  <a:cubicBezTo>
                    <a:pt x="1851" y="2774"/>
                    <a:pt x="1852" y="2777"/>
                    <a:pt x="1846" y="2777"/>
                  </a:cubicBezTo>
                  <a:cubicBezTo>
                    <a:pt x="1840" y="2777"/>
                    <a:pt x="1838" y="2774"/>
                    <a:pt x="1832" y="2774"/>
                  </a:cubicBezTo>
                  <a:cubicBezTo>
                    <a:pt x="1827" y="2774"/>
                    <a:pt x="1823" y="2774"/>
                    <a:pt x="1820" y="2774"/>
                  </a:cubicBezTo>
                  <a:cubicBezTo>
                    <a:pt x="1817" y="2774"/>
                    <a:pt x="1810" y="2773"/>
                    <a:pt x="1806" y="2773"/>
                  </a:cubicBezTo>
                  <a:cubicBezTo>
                    <a:pt x="1802" y="2773"/>
                    <a:pt x="1792" y="2772"/>
                    <a:pt x="1792" y="2770"/>
                  </a:cubicBezTo>
                  <a:cubicBezTo>
                    <a:pt x="1792" y="2769"/>
                    <a:pt x="1791" y="2766"/>
                    <a:pt x="1792" y="2763"/>
                  </a:cubicBezTo>
                  <a:cubicBezTo>
                    <a:pt x="1793" y="2761"/>
                    <a:pt x="1797" y="2757"/>
                    <a:pt x="1792" y="2754"/>
                  </a:cubicBezTo>
                  <a:cubicBezTo>
                    <a:pt x="1787" y="2751"/>
                    <a:pt x="1782" y="2755"/>
                    <a:pt x="1782" y="2758"/>
                  </a:cubicBezTo>
                  <a:cubicBezTo>
                    <a:pt x="1782" y="2760"/>
                    <a:pt x="1782" y="2765"/>
                    <a:pt x="1781" y="2767"/>
                  </a:cubicBezTo>
                  <a:cubicBezTo>
                    <a:pt x="1780" y="2769"/>
                    <a:pt x="1777" y="2770"/>
                    <a:pt x="1774" y="2771"/>
                  </a:cubicBezTo>
                  <a:cubicBezTo>
                    <a:pt x="1772" y="2772"/>
                    <a:pt x="1768" y="2776"/>
                    <a:pt x="1768" y="2778"/>
                  </a:cubicBezTo>
                  <a:cubicBezTo>
                    <a:pt x="1767" y="2779"/>
                    <a:pt x="1767" y="2783"/>
                    <a:pt x="1764" y="2784"/>
                  </a:cubicBezTo>
                  <a:cubicBezTo>
                    <a:pt x="1761" y="2785"/>
                    <a:pt x="1755" y="2786"/>
                    <a:pt x="1753" y="2785"/>
                  </a:cubicBezTo>
                  <a:cubicBezTo>
                    <a:pt x="1751" y="2784"/>
                    <a:pt x="1746" y="2779"/>
                    <a:pt x="1747" y="2776"/>
                  </a:cubicBezTo>
                  <a:cubicBezTo>
                    <a:pt x="1747" y="2773"/>
                    <a:pt x="1745" y="2769"/>
                    <a:pt x="1748" y="2766"/>
                  </a:cubicBezTo>
                  <a:cubicBezTo>
                    <a:pt x="1751" y="2763"/>
                    <a:pt x="1751" y="2761"/>
                    <a:pt x="1754" y="2760"/>
                  </a:cubicBezTo>
                  <a:cubicBezTo>
                    <a:pt x="1757" y="2759"/>
                    <a:pt x="1759" y="2759"/>
                    <a:pt x="1760" y="2756"/>
                  </a:cubicBezTo>
                  <a:cubicBezTo>
                    <a:pt x="1762" y="2753"/>
                    <a:pt x="1762" y="2749"/>
                    <a:pt x="1763" y="2747"/>
                  </a:cubicBezTo>
                  <a:cubicBezTo>
                    <a:pt x="1765" y="2746"/>
                    <a:pt x="1774" y="2745"/>
                    <a:pt x="1772" y="2741"/>
                  </a:cubicBezTo>
                  <a:cubicBezTo>
                    <a:pt x="1769" y="2737"/>
                    <a:pt x="1766" y="2735"/>
                    <a:pt x="1765" y="2736"/>
                  </a:cubicBezTo>
                  <a:cubicBezTo>
                    <a:pt x="1764" y="2737"/>
                    <a:pt x="1762" y="2740"/>
                    <a:pt x="1761" y="2742"/>
                  </a:cubicBezTo>
                  <a:cubicBezTo>
                    <a:pt x="1760" y="2744"/>
                    <a:pt x="1757" y="2746"/>
                    <a:pt x="1756" y="2747"/>
                  </a:cubicBezTo>
                  <a:cubicBezTo>
                    <a:pt x="1755" y="2748"/>
                    <a:pt x="1752" y="2750"/>
                    <a:pt x="1750" y="2753"/>
                  </a:cubicBezTo>
                  <a:cubicBezTo>
                    <a:pt x="1748" y="2757"/>
                    <a:pt x="1743" y="2762"/>
                    <a:pt x="1742" y="2760"/>
                  </a:cubicBezTo>
                  <a:cubicBezTo>
                    <a:pt x="1740" y="2758"/>
                    <a:pt x="1740" y="2755"/>
                    <a:pt x="1743" y="2752"/>
                  </a:cubicBezTo>
                  <a:cubicBezTo>
                    <a:pt x="1746" y="2750"/>
                    <a:pt x="1748" y="2749"/>
                    <a:pt x="1748" y="2744"/>
                  </a:cubicBezTo>
                  <a:cubicBezTo>
                    <a:pt x="1748" y="2740"/>
                    <a:pt x="1750" y="2734"/>
                    <a:pt x="1753" y="2732"/>
                  </a:cubicBezTo>
                  <a:cubicBezTo>
                    <a:pt x="1757" y="2730"/>
                    <a:pt x="1760" y="2728"/>
                    <a:pt x="1760" y="2725"/>
                  </a:cubicBezTo>
                  <a:cubicBezTo>
                    <a:pt x="1761" y="2721"/>
                    <a:pt x="1760" y="2719"/>
                    <a:pt x="1758" y="2719"/>
                  </a:cubicBezTo>
                  <a:cubicBezTo>
                    <a:pt x="1757" y="2719"/>
                    <a:pt x="1753" y="2721"/>
                    <a:pt x="1751" y="2725"/>
                  </a:cubicBezTo>
                  <a:cubicBezTo>
                    <a:pt x="1749" y="2729"/>
                    <a:pt x="1745" y="2732"/>
                    <a:pt x="1743" y="2733"/>
                  </a:cubicBezTo>
                  <a:cubicBezTo>
                    <a:pt x="1741" y="2734"/>
                    <a:pt x="1739" y="2737"/>
                    <a:pt x="1737" y="2739"/>
                  </a:cubicBezTo>
                  <a:cubicBezTo>
                    <a:pt x="1736" y="2742"/>
                    <a:pt x="1731" y="2747"/>
                    <a:pt x="1730" y="2743"/>
                  </a:cubicBezTo>
                  <a:cubicBezTo>
                    <a:pt x="1730" y="2739"/>
                    <a:pt x="1729" y="2736"/>
                    <a:pt x="1733" y="2735"/>
                  </a:cubicBezTo>
                  <a:cubicBezTo>
                    <a:pt x="1737" y="2733"/>
                    <a:pt x="1738" y="2731"/>
                    <a:pt x="1736" y="2728"/>
                  </a:cubicBezTo>
                  <a:cubicBezTo>
                    <a:pt x="1735" y="2724"/>
                    <a:pt x="1733" y="2720"/>
                    <a:pt x="1730" y="2719"/>
                  </a:cubicBezTo>
                  <a:cubicBezTo>
                    <a:pt x="1727" y="2719"/>
                    <a:pt x="1719" y="2715"/>
                    <a:pt x="1715" y="2719"/>
                  </a:cubicBezTo>
                  <a:cubicBezTo>
                    <a:pt x="1712" y="2723"/>
                    <a:pt x="1711" y="2722"/>
                    <a:pt x="1711" y="2726"/>
                  </a:cubicBezTo>
                  <a:cubicBezTo>
                    <a:pt x="1710" y="2730"/>
                    <a:pt x="1708" y="2733"/>
                    <a:pt x="1705" y="2733"/>
                  </a:cubicBezTo>
                  <a:cubicBezTo>
                    <a:pt x="1703" y="2733"/>
                    <a:pt x="1699" y="2731"/>
                    <a:pt x="1701" y="2727"/>
                  </a:cubicBezTo>
                  <a:cubicBezTo>
                    <a:pt x="1703" y="2723"/>
                    <a:pt x="1702" y="2719"/>
                    <a:pt x="1701" y="2716"/>
                  </a:cubicBezTo>
                  <a:cubicBezTo>
                    <a:pt x="1701" y="2713"/>
                    <a:pt x="1705" y="2713"/>
                    <a:pt x="1709" y="2711"/>
                  </a:cubicBezTo>
                  <a:cubicBezTo>
                    <a:pt x="1712" y="2710"/>
                    <a:pt x="1715" y="2709"/>
                    <a:pt x="1715" y="2703"/>
                  </a:cubicBezTo>
                  <a:cubicBezTo>
                    <a:pt x="1715" y="2696"/>
                    <a:pt x="1712" y="2693"/>
                    <a:pt x="1715" y="2691"/>
                  </a:cubicBezTo>
                  <a:cubicBezTo>
                    <a:pt x="1718" y="2689"/>
                    <a:pt x="1721" y="2687"/>
                    <a:pt x="1723" y="2684"/>
                  </a:cubicBezTo>
                  <a:cubicBezTo>
                    <a:pt x="1725" y="2682"/>
                    <a:pt x="1725" y="2676"/>
                    <a:pt x="1725" y="2676"/>
                  </a:cubicBezTo>
                  <a:cubicBezTo>
                    <a:pt x="1725" y="2676"/>
                    <a:pt x="1724" y="2672"/>
                    <a:pt x="1719" y="2676"/>
                  </a:cubicBezTo>
                  <a:cubicBezTo>
                    <a:pt x="1715" y="2680"/>
                    <a:pt x="1712" y="2681"/>
                    <a:pt x="1711" y="2678"/>
                  </a:cubicBezTo>
                  <a:cubicBezTo>
                    <a:pt x="1710" y="2676"/>
                    <a:pt x="1711" y="2672"/>
                    <a:pt x="1709" y="2672"/>
                  </a:cubicBezTo>
                  <a:cubicBezTo>
                    <a:pt x="1708" y="2671"/>
                    <a:pt x="1705" y="2669"/>
                    <a:pt x="1705" y="2672"/>
                  </a:cubicBezTo>
                  <a:cubicBezTo>
                    <a:pt x="1704" y="2675"/>
                    <a:pt x="1704" y="2676"/>
                    <a:pt x="1704" y="2680"/>
                  </a:cubicBezTo>
                  <a:cubicBezTo>
                    <a:pt x="1704" y="2685"/>
                    <a:pt x="1702" y="2687"/>
                    <a:pt x="1700" y="2689"/>
                  </a:cubicBezTo>
                  <a:cubicBezTo>
                    <a:pt x="1698" y="2691"/>
                    <a:pt x="1697" y="2691"/>
                    <a:pt x="1694" y="2691"/>
                  </a:cubicBezTo>
                  <a:cubicBezTo>
                    <a:pt x="1692" y="2692"/>
                    <a:pt x="1688" y="2692"/>
                    <a:pt x="1689" y="2690"/>
                  </a:cubicBezTo>
                  <a:cubicBezTo>
                    <a:pt x="1691" y="2688"/>
                    <a:pt x="1693" y="2687"/>
                    <a:pt x="1695" y="2686"/>
                  </a:cubicBezTo>
                  <a:cubicBezTo>
                    <a:pt x="1697" y="2686"/>
                    <a:pt x="1698" y="2683"/>
                    <a:pt x="1697" y="2681"/>
                  </a:cubicBezTo>
                  <a:cubicBezTo>
                    <a:pt x="1697" y="2678"/>
                    <a:pt x="1694" y="2677"/>
                    <a:pt x="1693" y="2676"/>
                  </a:cubicBezTo>
                  <a:cubicBezTo>
                    <a:pt x="1691" y="2675"/>
                    <a:pt x="1690" y="2673"/>
                    <a:pt x="1690" y="2671"/>
                  </a:cubicBezTo>
                  <a:cubicBezTo>
                    <a:pt x="1691" y="2670"/>
                    <a:pt x="1691" y="2669"/>
                    <a:pt x="1692" y="2668"/>
                  </a:cubicBezTo>
                  <a:cubicBezTo>
                    <a:pt x="1694" y="2668"/>
                    <a:pt x="1695" y="2666"/>
                    <a:pt x="1694" y="2665"/>
                  </a:cubicBezTo>
                  <a:cubicBezTo>
                    <a:pt x="1694" y="2663"/>
                    <a:pt x="1692" y="2659"/>
                    <a:pt x="1688" y="2662"/>
                  </a:cubicBezTo>
                  <a:cubicBezTo>
                    <a:pt x="1684" y="2665"/>
                    <a:pt x="1681" y="2665"/>
                    <a:pt x="1679" y="2666"/>
                  </a:cubicBezTo>
                  <a:cubicBezTo>
                    <a:pt x="1677" y="2667"/>
                    <a:pt x="1671" y="2665"/>
                    <a:pt x="1669" y="2668"/>
                  </a:cubicBezTo>
                  <a:cubicBezTo>
                    <a:pt x="1667" y="2671"/>
                    <a:pt x="1666" y="2673"/>
                    <a:pt x="1670" y="2675"/>
                  </a:cubicBezTo>
                  <a:cubicBezTo>
                    <a:pt x="1674" y="2677"/>
                    <a:pt x="1676" y="2676"/>
                    <a:pt x="1678" y="2678"/>
                  </a:cubicBezTo>
                  <a:cubicBezTo>
                    <a:pt x="1681" y="2680"/>
                    <a:pt x="1682" y="2681"/>
                    <a:pt x="1681" y="2683"/>
                  </a:cubicBezTo>
                  <a:cubicBezTo>
                    <a:pt x="1680" y="2686"/>
                    <a:pt x="1679" y="2686"/>
                    <a:pt x="1675" y="2686"/>
                  </a:cubicBezTo>
                  <a:cubicBezTo>
                    <a:pt x="1670" y="2686"/>
                    <a:pt x="1671" y="2683"/>
                    <a:pt x="1664" y="2685"/>
                  </a:cubicBezTo>
                  <a:cubicBezTo>
                    <a:pt x="1658" y="2686"/>
                    <a:pt x="1653" y="2683"/>
                    <a:pt x="1652" y="2686"/>
                  </a:cubicBezTo>
                  <a:cubicBezTo>
                    <a:pt x="1650" y="2689"/>
                    <a:pt x="1645" y="2688"/>
                    <a:pt x="1640" y="2693"/>
                  </a:cubicBezTo>
                  <a:cubicBezTo>
                    <a:pt x="1634" y="2698"/>
                    <a:pt x="1631" y="2696"/>
                    <a:pt x="1629" y="2698"/>
                  </a:cubicBezTo>
                  <a:cubicBezTo>
                    <a:pt x="1627" y="2700"/>
                    <a:pt x="1624" y="2702"/>
                    <a:pt x="1626" y="2704"/>
                  </a:cubicBezTo>
                  <a:cubicBezTo>
                    <a:pt x="1627" y="2706"/>
                    <a:pt x="1627" y="2708"/>
                    <a:pt x="1624" y="2709"/>
                  </a:cubicBezTo>
                  <a:cubicBezTo>
                    <a:pt x="1621" y="2709"/>
                    <a:pt x="1616" y="2710"/>
                    <a:pt x="1614" y="2708"/>
                  </a:cubicBezTo>
                  <a:cubicBezTo>
                    <a:pt x="1612" y="2705"/>
                    <a:pt x="1613" y="2702"/>
                    <a:pt x="1612" y="2700"/>
                  </a:cubicBezTo>
                  <a:cubicBezTo>
                    <a:pt x="1612" y="2697"/>
                    <a:pt x="1605" y="2694"/>
                    <a:pt x="1602" y="2696"/>
                  </a:cubicBezTo>
                  <a:cubicBezTo>
                    <a:pt x="1599" y="2697"/>
                    <a:pt x="1595" y="2700"/>
                    <a:pt x="1592" y="2701"/>
                  </a:cubicBezTo>
                  <a:cubicBezTo>
                    <a:pt x="1588" y="2702"/>
                    <a:pt x="1584" y="2699"/>
                    <a:pt x="1580" y="2702"/>
                  </a:cubicBezTo>
                  <a:cubicBezTo>
                    <a:pt x="1576" y="2705"/>
                    <a:pt x="1573" y="2704"/>
                    <a:pt x="1570" y="2705"/>
                  </a:cubicBezTo>
                  <a:cubicBezTo>
                    <a:pt x="1568" y="2705"/>
                    <a:pt x="1562" y="2707"/>
                    <a:pt x="1561" y="2705"/>
                  </a:cubicBezTo>
                  <a:cubicBezTo>
                    <a:pt x="1559" y="2704"/>
                    <a:pt x="1560" y="2701"/>
                    <a:pt x="1564" y="2700"/>
                  </a:cubicBezTo>
                  <a:cubicBezTo>
                    <a:pt x="1567" y="2699"/>
                    <a:pt x="1572" y="2699"/>
                    <a:pt x="1573" y="2696"/>
                  </a:cubicBezTo>
                  <a:cubicBezTo>
                    <a:pt x="1573" y="2694"/>
                    <a:pt x="1570" y="2693"/>
                    <a:pt x="1566" y="2692"/>
                  </a:cubicBezTo>
                  <a:cubicBezTo>
                    <a:pt x="1563" y="2692"/>
                    <a:pt x="1560" y="2692"/>
                    <a:pt x="1561" y="2689"/>
                  </a:cubicBezTo>
                  <a:cubicBezTo>
                    <a:pt x="1561" y="2687"/>
                    <a:pt x="1561" y="2685"/>
                    <a:pt x="1563" y="2684"/>
                  </a:cubicBezTo>
                  <a:cubicBezTo>
                    <a:pt x="1566" y="2682"/>
                    <a:pt x="1567" y="2681"/>
                    <a:pt x="1566" y="2678"/>
                  </a:cubicBezTo>
                  <a:cubicBezTo>
                    <a:pt x="1565" y="2676"/>
                    <a:pt x="1560" y="2676"/>
                    <a:pt x="1559" y="2678"/>
                  </a:cubicBezTo>
                  <a:cubicBezTo>
                    <a:pt x="1557" y="2680"/>
                    <a:pt x="1552" y="2681"/>
                    <a:pt x="1550" y="2682"/>
                  </a:cubicBezTo>
                  <a:cubicBezTo>
                    <a:pt x="1548" y="2683"/>
                    <a:pt x="1544" y="2683"/>
                    <a:pt x="1544" y="2680"/>
                  </a:cubicBezTo>
                  <a:cubicBezTo>
                    <a:pt x="1545" y="2678"/>
                    <a:pt x="1545" y="2675"/>
                    <a:pt x="1549" y="2674"/>
                  </a:cubicBezTo>
                  <a:cubicBezTo>
                    <a:pt x="1552" y="2674"/>
                    <a:pt x="1553" y="2670"/>
                    <a:pt x="1555" y="2668"/>
                  </a:cubicBezTo>
                  <a:cubicBezTo>
                    <a:pt x="1557" y="2666"/>
                    <a:pt x="1557" y="2663"/>
                    <a:pt x="1553" y="2663"/>
                  </a:cubicBezTo>
                  <a:cubicBezTo>
                    <a:pt x="1550" y="2663"/>
                    <a:pt x="1545" y="2662"/>
                    <a:pt x="1543" y="2666"/>
                  </a:cubicBezTo>
                  <a:cubicBezTo>
                    <a:pt x="1541" y="2669"/>
                    <a:pt x="1537" y="2669"/>
                    <a:pt x="1535" y="2671"/>
                  </a:cubicBezTo>
                  <a:cubicBezTo>
                    <a:pt x="1533" y="2672"/>
                    <a:pt x="1524" y="2675"/>
                    <a:pt x="1523" y="2672"/>
                  </a:cubicBezTo>
                  <a:cubicBezTo>
                    <a:pt x="1521" y="2669"/>
                    <a:pt x="1521" y="2669"/>
                    <a:pt x="1521" y="2669"/>
                  </a:cubicBezTo>
                  <a:cubicBezTo>
                    <a:pt x="1521" y="2669"/>
                    <a:pt x="1521" y="2666"/>
                    <a:pt x="1523" y="2665"/>
                  </a:cubicBezTo>
                  <a:cubicBezTo>
                    <a:pt x="1525" y="2664"/>
                    <a:pt x="1528" y="2664"/>
                    <a:pt x="1528" y="2662"/>
                  </a:cubicBezTo>
                  <a:cubicBezTo>
                    <a:pt x="1529" y="2660"/>
                    <a:pt x="1528" y="2657"/>
                    <a:pt x="1526" y="2656"/>
                  </a:cubicBezTo>
                  <a:cubicBezTo>
                    <a:pt x="1523" y="2656"/>
                    <a:pt x="1521" y="2658"/>
                    <a:pt x="1520" y="2655"/>
                  </a:cubicBezTo>
                  <a:cubicBezTo>
                    <a:pt x="1520" y="2652"/>
                    <a:pt x="1520" y="2649"/>
                    <a:pt x="1523" y="2650"/>
                  </a:cubicBezTo>
                  <a:cubicBezTo>
                    <a:pt x="1526" y="2650"/>
                    <a:pt x="1531" y="2649"/>
                    <a:pt x="1532" y="2649"/>
                  </a:cubicBezTo>
                  <a:cubicBezTo>
                    <a:pt x="1533" y="2648"/>
                    <a:pt x="1535" y="2645"/>
                    <a:pt x="1534" y="2643"/>
                  </a:cubicBezTo>
                  <a:cubicBezTo>
                    <a:pt x="1532" y="2642"/>
                    <a:pt x="1528" y="2639"/>
                    <a:pt x="1524" y="2639"/>
                  </a:cubicBezTo>
                  <a:cubicBezTo>
                    <a:pt x="1521" y="2639"/>
                    <a:pt x="1511" y="2643"/>
                    <a:pt x="1507" y="2645"/>
                  </a:cubicBezTo>
                  <a:cubicBezTo>
                    <a:pt x="1503" y="2647"/>
                    <a:pt x="1498" y="2649"/>
                    <a:pt x="1495" y="2647"/>
                  </a:cubicBezTo>
                  <a:cubicBezTo>
                    <a:pt x="1492" y="2645"/>
                    <a:pt x="1489" y="2641"/>
                    <a:pt x="1492" y="2640"/>
                  </a:cubicBezTo>
                  <a:cubicBezTo>
                    <a:pt x="1494" y="2639"/>
                    <a:pt x="1497" y="2641"/>
                    <a:pt x="1500" y="2641"/>
                  </a:cubicBezTo>
                  <a:cubicBezTo>
                    <a:pt x="1502" y="2641"/>
                    <a:pt x="1506" y="2640"/>
                    <a:pt x="1508" y="2639"/>
                  </a:cubicBezTo>
                  <a:cubicBezTo>
                    <a:pt x="1509" y="2639"/>
                    <a:pt x="1512" y="2638"/>
                    <a:pt x="1511" y="2636"/>
                  </a:cubicBezTo>
                  <a:cubicBezTo>
                    <a:pt x="1511" y="2635"/>
                    <a:pt x="1507" y="2634"/>
                    <a:pt x="1504" y="2635"/>
                  </a:cubicBezTo>
                  <a:cubicBezTo>
                    <a:pt x="1502" y="2635"/>
                    <a:pt x="1497" y="2635"/>
                    <a:pt x="1496" y="2634"/>
                  </a:cubicBezTo>
                  <a:cubicBezTo>
                    <a:pt x="1495" y="2634"/>
                    <a:pt x="1492" y="2634"/>
                    <a:pt x="1494" y="2632"/>
                  </a:cubicBezTo>
                  <a:cubicBezTo>
                    <a:pt x="1496" y="2630"/>
                    <a:pt x="1495" y="2630"/>
                    <a:pt x="1497" y="2627"/>
                  </a:cubicBezTo>
                  <a:cubicBezTo>
                    <a:pt x="1499" y="2624"/>
                    <a:pt x="1499" y="2620"/>
                    <a:pt x="1497" y="2619"/>
                  </a:cubicBezTo>
                  <a:cubicBezTo>
                    <a:pt x="1494" y="2619"/>
                    <a:pt x="1491" y="2623"/>
                    <a:pt x="1489" y="2620"/>
                  </a:cubicBezTo>
                  <a:cubicBezTo>
                    <a:pt x="1488" y="2618"/>
                    <a:pt x="1488" y="2615"/>
                    <a:pt x="1491" y="2614"/>
                  </a:cubicBezTo>
                  <a:cubicBezTo>
                    <a:pt x="1494" y="2613"/>
                    <a:pt x="1497" y="2612"/>
                    <a:pt x="1498" y="2611"/>
                  </a:cubicBezTo>
                  <a:cubicBezTo>
                    <a:pt x="1500" y="2610"/>
                    <a:pt x="1502" y="2608"/>
                    <a:pt x="1502" y="2606"/>
                  </a:cubicBezTo>
                  <a:cubicBezTo>
                    <a:pt x="1503" y="2604"/>
                    <a:pt x="1504" y="2602"/>
                    <a:pt x="1501" y="2603"/>
                  </a:cubicBezTo>
                  <a:cubicBezTo>
                    <a:pt x="1498" y="2604"/>
                    <a:pt x="1495" y="2605"/>
                    <a:pt x="1494" y="2607"/>
                  </a:cubicBezTo>
                  <a:cubicBezTo>
                    <a:pt x="1492" y="2608"/>
                    <a:pt x="1490" y="2608"/>
                    <a:pt x="1487" y="2609"/>
                  </a:cubicBezTo>
                  <a:cubicBezTo>
                    <a:pt x="1484" y="2610"/>
                    <a:pt x="1479" y="2611"/>
                    <a:pt x="1479" y="2610"/>
                  </a:cubicBezTo>
                  <a:cubicBezTo>
                    <a:pt x="1479" y="2609"/>
                    <a:pt x="1477" y="2607"/>
                    <a:pt x="1478" y="2605"/>
                  </a:cubicBezTo>
                  <a:cubicBezTo>
                    <a:pt x="1480" y="2604"/>
                    <a:pt x="1480" y="2602"/>
                    <a:pt x="1484" y="2602"/>
                  </a:cubicBezTo>
                  <a:cubicBezTo>
                    <a:pt x="1487" y="2602"/>
                    <a:pt x="1491" y="2600"/>
                    <a:pt x="1493" y="2599"/>
                  </a:cubicBezTo>
                  <a:cubicBezTo>
                    <a:pt x="1495" y="2598"/>
                    <a:pt x="1497" y="2596"/>
                    <a:pt x="1498" y="2595"/>
                  </a:cubicBezTo>
                  <a:cubicBezTo>
                    <a:pt x="1499" y="2594"/>
                    <a:pt x="1499" y="2590"/>
                    <a:pt x="1498" y="2590"/>
                  </a:cubicBezTo>
                  <a:cubicBezTo>
                    <a:pt x="1496" y="2590"/>
                    <a:pt x="1493" y="2590"/>
                    <a:pt x="1492" y="2589"/>
                  </a:cubicBezTo>
                  <a:cubicBezTo>
                    <a:pt x="1491" y="2587"/>
                    <a:pt x="1489" y="2583"/>
                    <a:pt x="1489" y="2582"/>
                  </a:cubicBezTo>
                  <a:cubicBezTo>
                    <a:pt x="1489" y="2580"/>
                    <a:pt x="1488" y="2577"/>
                    <a:pt x="1485" y="2578"/>
                  </a:cubicBezTo>
                  <a:cubicBezTo>
                    <a:pt x="1483" y="2580"/>
                    <a:pt x="1482" y="2582"/>
                    <a:pt x="1482" y="2584"/>
                  </a:cubicBezTo>
                  <a:cubicBezTo>
                    <a:pt x="1482" y="2587"/>
                    <a:pt x="1478" y="2590"/>
                    <a:pt x="1477" y="2591"/>
                  </a:cubicBezTo>
                  <a:cubicBezTo>
                    <a:pt x="1477" y="2593"/>
                    <a:pt x="1474" y="2596"/>
                    <a:pt x="1472" y="2596"/>
                  </a:cubicBezTo>
                  <a:cubicBezTo>
                    <a:pt x="1469" y="2595"/>
                    <a:pt x="1466" y="2594"/>
                    <a:pt x="1466" y="2591"/>
                  </a:cubicBezTo>
                  <a:cubicBezTo>
                    <a:pt x="1467" y="2588"/>
                    <a:pt x="1466" y="2585"/>
                    <a:pt x="1469" y="2584"/>
                  </a:cubicBezTo>
                  <a:cubicBezTo>
                    <a:pt x="1472" y="2582"/>
                    <a:pt x="1473" y="2580"/>
                    <a:pt x="1473" y="2578"/>
                  </a:cubicBezTo>
                  <a:cubicBezTo>
                    <a:pt x="1474" y="2575"/>
                    <a:pt x="1472" y="2573"/>
                    <a:pt x="1470" y="2573"/>
                  </a:cubicBezTo>
                  <a:cubicBezTo>
                    <a:pt x="1469" y="2573"/>
                    <a:pt x="1468" y="2572"/>
                    <a:pt x="1463" y="2573"/>
                  </a:cubicBezTo>
                  <a:cubicBezTo>
                    <a:pt x="1458" y="2575"/>
                    <a:pt x="1453" y="2575"/>
                    <a:pt x="1449" y="2574"/>
                  </a:cubicBezTo>
                  <a:cubicBezTo>
                    <a:pt x="1446" y="2573"/>
                    <a:pt x="1442" y="2571"/>
                    <a:pt x="1440" y="2569"/>
                  </a:cubicBezTo>
                  <a:cubicBezTo>
                    <a:pt x="1437" y="2567"/>
                    <a:pt x="1432" y="2567"/>
                    <a:pt x="1429" y="2564"/>
                  </a:cubicBezTo>
                  <a:cubicBezTo>
                    <a:pt x="1426" y="2561"/>
                    <a:pt x="1425" y="2558"/>
                    <a:pt x="1421" y="2556"/>
                  </a:cubicBezTo>
                  <a:cubicBezTo>
                    <a:pt x="1418" y="2555"/>
                    <a:pt x="1413" y="2559"/>
                    <a:pt x="1411" y="2553"/>
                  </a:cubicBezTo>
                  <a:cubicBezTo>
                    <a:pt x="1409" y="2547"/>
                    <a:pt x="1410" y="2545"/>
                    <a:pt x="1413" y="2541"/>
                  </a:cubicBezTo>
                  <a:cubicBezTo>
                    <a:pt x="1415" y="2538"/>
                    <a:pt x="1417" y="2538"/>
                    <a:pt x="1421" y="2534"/>
                  </a:cubicBezTo>
                  <a:cubicBezTo>
                    <a:pt x="1424" y="2529"/>
                    <a:pt x="1424" y="2528"/>
                    <a:pt x="1427" y="2527"/>
                  </a:cubicBezTo>
                  <a:cubicBezTo>
                    <a:pt x="1429" y="2526"/>
                    <a:pt x="1433" y="2523"/>
                    <a:pt x="1434" y="2521"/>
                  </a:cubicBezTo>
                  <a:cubicBezTo>
                    <a:pt x="1435" y="2518"/>
                    <a:pt x="1436" y="2516"/>
                    <a:pt x="1434" y="2516"/>
                  </a:cubicBezTo>
                  <a:cubicBezTo>
                    <a:pt x="1432" y="2516"/>
                    <a:pt x="1430" y="2516"/>
                    <a:pt x="1428" y="2519"/>
                  </a:cubicBezTo>
                  <a:cubicBezTo>
                    <a:pt x="1426" y="2522"/>
                    <a:pt x="1420" y="2524"/>
                    <a:pt x="1417" y="2524"/>
                  </a:cubicBezTo>
                  <a:cubicBezTo>
                    <a:pt x="1415" y="2523"/>
                    <a:pt x="1416" y="2520"/>
                    <a:pt x="1418" y="2520"/>
                  </a:cubicBezTo>
                  <a:cubicBezTo>
                    <a:pt x="1420" y="2519"/>
                    <a:pt x="1421" y="2518"/>
                    <a:pt x="1423" y="2517"/>
                  </a:cubicBezTo>
                  <a:cubicBezTo>
                    <a:pt x="1425" y="2516"/>
                    <a:pt x="1425" y="2514"/>
                    <a:pt x="1427" y="2512"/>
                  </a:cubicBezTo>
                  <a:cubicBezTo>
                    <a:pt x="1429" y="2511"/>
                    <a:pt x="1431" y="2509"/>
                    <a:pt x="1433" y="2508"/>
                  </a:cubicBezTo>
                  <a:cubicBezTo>
                    <a:pt x="1435" y="2506"/>
                    <a:pt x="1437" y="2505"/>
                    <a:pt x="1440" y="2504"/>
                  </a:cubicBezTo>
                  <a:cubicBezTo>
                    <a:pt x="1443" y="2503"/>
                    <a:pt x="1446" y="2500"/>
                    <a:pt x="1445" y="2499"/>
                  </a:cubicBezTo>
                  <a:cubicBezTo>
                    <a:pt x="1444" y="2497"/>
                    <a:pt x="1438" y="2496"/>
                    <a:pt x="1437" y="2498"/>
                  </a:cubicBezTo>
                  <a:cubicBezTo>
                    <a:pt x="1436" y="2500"/>
                    <a:pt x="1439" y="2501"/>
                    <a:pt x="1433" y="2503"/>
                  </a:cubicBezTo>
                  <a:cubicBezTo>
                    <a:pt x="1426" y="2505"/>
                    <a:pt x="1424" y="2505"/>
                    <a:pt x="1422" y="2505"/>
                  </a:cubicBezTo>
                  <a:cubicBezTo>
                    <a:pt x="1420" y="2504"/>
                    <a:pt x="1418" y="2501"/>
                    <a:pt x="1414" y="2503"/>
                  </a:cubicBezTo>
                  <a:cubicBezTo>
                    <a:pt x="1411" y="2505"/>
                    <a:pt x="1409" y="2506"/>
                    <a:pt x="1406" y="2506"/>
                  </a:cubicBezTo>
                  <a:cubicBezTo>
                    <a:pt x="1403" y="2506"/>
                    <a:pt x="1396" y="2506"/>
                    <a:pt x="1394" y="2503"/>
                  </a:cubicBezTo>
                  <a:cubicBezTo>
                    <a:pt x="1393" y="2501"/>
                    <a:pt x="1392" y="2500"/>
                    <a:pt x="1396" y="2497"/>
                  </a:cubicBezTo>
                  <a:cubicBezTo>
                    <a:pt x="1400" y="2493"/>
                    <a:pt x="1402" y="2491"/>
                    <a:pt x="1407" y="2491"/>
                  </a:cubicBezTo>
                  <a:cubicBezTo>
                    <a:pt x="1412" y="2491"/>
                    <a:pt x="1418" y="2487"/>
                    <a:pt x="1421" y="2485"/>
                  </a:cubicBezTo>
                  <a:cubicBezTo>
                    <a:pt x="1423" y="2483"/>
                    <a:pt x="1426" y="2479"/>
                    <a:pt x="1419" y="2480"/>
                  </a:cubicBezTo>
                  <a:cubicBezTo>
                    <a:pt x="1412" y="2482"/>
                    <a:pt x="1409" y="2482"/>
                    <a:pt x="1404" y="2482"/>
                  </a:cubicBezTo>
                  <a:cubicBezTo>
                    <a:pt x="1399" y="2483"/>
                    <a:pt x="1398" y="2485"/>
                    <a:pt x="1393" y="2486"/>
                  </a:cubicBezTo>
                  <a:cubicBezTo>
                    <a:pt x="1387" y="2487"/>
                    <a:pt x="1384" y="2487"/>
                    <a:pt x="1382" y="2485"/>
                  </a:cubicBezTo>
                  <a:cubicBezTo>
                    <a:pt x="1381" y="2482"/>
                    <a:pt x="1379" y="2481"/>
                    <a:pt x="1375" y="2482"/>
                  </a:cubicBezTo>
                  <a:cubicBezTo>
                    <a:pt x="1370" y="2483"/>
                    <a:pt x="1367" y="2484"/>
                    <a:pt x="1365" y="2482"/>
                  </a:cubicBezTo>
                  <a:cubicBezTo>
                    <a:pt x="1364" y="2479"/>
                    <a:pt x="1361" y="2474"/>
                    <a:pt x="1364" y="2473"/>
                  </a:cubicBezTo>
                  <a:cubicBezTo>
                    <a:pt x="1366" y="2472"/>
                    <a:pt x="1372" y="2471"/>
                    <a:pt x="1375" y="2473"/>
                  </a:cubicBezTo>
                  <a:cubicBezTo>
                    <a:pt x="1378" y="2474"/>
                    <a:pt x="1387" y="2475"/>
                    <a:pt x="1391" y="2473"/>
                  </a:cubicBezTo>
                  <a:cubicBezTo>
                    <a:pt x="1395" y="2471"/>
                    <a:pt x="1393" y="2471"/>
                    <a:pt x="1399" y="2470"/>
                  </a:cubicBezTo>
                  <a:cubicBezTo>
                    <a:pt x="1404" y="2468"/>
                    <a:pt x="1408" y="2467"/>
                    <a:pt x="1408" y="2465"/>
                  </a:cubicBezTo>
                  <a:cubicBezTo>
                    <a:pt x="1407" y="2464"/>
                    <a:pt x="1403" y="2461"/>
                    <a:pt x="1399" y="2463"/>
                  </a:cubicBezTo>
                  <a:cubicBezTo>
                    <a:pt x="1395" y="2465"/>
                    <a:pt x="1394" y="2465"/>
                    <a:pt x="1389" y="2465"/>
                  </a:cubicBezTo>
                  <a:cubicBezTo>
                    <a:pt x="1384" y="2465"/>
                    <a:pt x="1379" y="2466"/>
                    <a:pt x="1376" y="2465"/>
                  </a:cubicBezTo>
                  <a:cubicBezTo>
                    <a:pt x="1372" y="2465"/>
                    <a:pt x="1368" y="2465"/>
                    <a:pt x="1368" y="2462"/>
                  </a:cubicBezTo>
                  <a:cubicBezTo>
                    <a:pt x="1367" y="2460"/>
                    <a:pt x="1365" y="2455"/>
                    <a:pt x="1371" y="2454"/>
                  </a:cubicBezTo>
                  <a:cubicBezTo>
                    <a:pt x="1378" y="2454"/>
                    <a:pt x="1378" y="2454"/>
                    <a:pt x="1380" y="2453"/>
                  </a:cubicBezTo>
                  <a:cubicBezTo>
                    <a:pt x="1382" y="2451"/>
                    <a:pt x="1382" y="2449"/>
                    <a:pt x="1379" y="2449"/>
                  </a:cubicBezTo>
                  <a:cubicBezTo>
                    <a:pt x="1377" y="2449"/>
                    <a:pt x="1375" y="2449"/>
                    <a:pt x="1371" y="2450"/>
                  </a:cubicBezTo>
                  <a:cubicBezTo>
                    <a:pt x="1368" y="2450"/>
                    <a:pt x="1362" y="2449"/>
                    <a:pt x="1363" y="2448"/>
                  </a:cubicBezTo>
                  <a:cubicBezTo>
                    <a:pt x="1363" y="2446"/>
                    <a:pt x="1364" y="2445"/>
                    <a:pt x="1367" y="2445"/>
                  </a:cubicBezTo>
                  <a:cubicBezTo>
                    <a:pt x="1370" y="2445"/>
                    <a:pt x="1372" y="2445"/>
                    <a:pt x="1377" y="2445"/>
                  </a:cubicBezTo>
                  <a:cubicBezTo>
                    <a:pt x="1382" y="2445"/>
                    <a:pt x="1386" y="2444"/>
                    <a:pt x="1390" y="2444"/>
                  </a:cubicBezTo>
                  <a:cubicBezTo>
                    <a:pt x="1395" y="2443"/>
                    <a:pt x="1398" y="2442"/>
                    <a:pt x="1397" y="2440"/>
                  </a:cubicBezTo>
                  <a:cubicBezTo>
                    <a:pt x="1396" y="2438"/>
                    <a:pt x="1393" y="2437"/>
                    <a:pt x="1387" y="2437"/>
                  </a:cubicBezTo>
                  <a:cubicBezTo>
                    <a:pt x="1382" y="2438"/>
                    <a:pt x="1375" y="2436"/>
                    <a:pt x="1372" y="2436"/>
                  </a:cubicBezTo>
                  <a:cubicBezTo>
                    <a:pt x="1368" y="2436"/>
                    <a:pt x="1364" y="2435"/>
                    <a:pt x="1361" y="2438"/>
                  </a:cubicBezTo>
                  <a:cubicBezTo>
                    <a:pt x="1357" y="2440"/>
                    <a:pt x="1355" y="2442"/>
                    <a:pt x="1354" y="2446"/>
                  </a:cubicBezTo>
                  <a:cubicBezTo>
                    <a:pt x="1354" y="2450"/>
                    <a:pt x="1351" y="2453"/>
                    <a:pt x="1345" y="2451"/>
                  </a:cubicBezTo>
                  <a:cubicBezTo>
                    <a:pt x="1340" y="2448"/>
                    <a:pt x="1339" y="2446"/>
                    <a:pt x="1339" y="2443"/>
                  </a:cubicBezTo>
                  <a:cubicBezTo>
                    <a:pt x="1339" y="2439"/>
                    <a:pt x="1342" y="2438"/>
                    <a:pt x="1343" y="2435"/>
                  </a:cubicBezTo>
                  <a:cubicBezTo>
                    <a:pt x="1344" y="2432"/>
                    <a:pt x="1343" y="2431"/>
                    <a:pt x="1344" y="2429"/>
                  </a:cubicBezTo>
                  <a:cubicBezTo>
                    <a:pt x="1346" y="2427"/>
                    <a:pt x="1347" y="2425"/>
                    <a:pt x="1349" y="2424"/>
                  </a:cubicBezTo>
                  <a:cubicBezTo>
                    <a:pt x="1351" y="2424"/>
                    <a:pt x="1352" y="2422"/>
                    <a:pt x="1355" y="2422"/>
                  </a:cubicBezTo>
                  <a:cubicBezTo>
                    <a:pt x="1358" y="2422"/>
                    <a:pt x="1364" y="2420"/>
                    <a:pt x="1366" y="2419"/>
                  </a:cubicBezTo>
                  <a:cubicBezTo>
                    <a:pt x="1368" y="2418"/>
                    <a:pt x="1371" y="2417"/>
                    <a:pt x="1370" y="2415"/>
                  </a:cubicBezTo>
                  <a:cubicBezTo>
                    <a:pt x="1370" y="2413"/>
                    <a:pt x="1366" y="2412"/>
                    <a:pt x="1363" y="2414"/>
                  </a:cubicBezTo>
                  <a:cubicBezTo>
                    <a:pt x="1361" y="2416"/>
                    <a:pt x="1359" y="2417"/>
                    <a:pt x="1354" y="2417"/>
                  </a:cubicBezTo>
                  <a:cubicBezTo>
                    <a:pt x="1350" y="2417"/>
                    <a:pt x="1344" y="2420"/>
                    <a:pt x="1343" y="2419"/>
                  </a:cubicBezTo>
                  <a:cubicBezTo>
                    <a:pt x="1341" y="2418"/>
                    <a:pt x="1341" y="2416"/>
                    <a:pt x="1343" y="2413"/>
                  </a:cubicBezTo>
                  <a:cubicBezTo>
                    <a:pt x="1345" y="2410"/>
                    <a:pt x="1344" y="2408"/>
                    <a:pt x="1346" y="2405"/>
                  </a:cubicBezTo>
                  <a:cubicBezTo>
                    <a:pt x="1347" y="2402"/>
                    <a:pt x="1351" y="2400"/>
                    <a:pt x="1356" y="2401"/>
                  </a:cubicBezTo>
                  <a:cubicBezTo>
                    <a:pt x="1360" y="2401"/>
                    <a:pt x="1363" y="2402"/>
                    <a:pt x="1368" y="2401"/>
                  </a:cubicBezTo>
                  <a:cubicBezTo>
                    <a:pt x="1373" y="2399"/>
                    <a:pt x="1374" y="2399"/>
                    <a:pt x="1377" y="2398"/>
                  </a:cubicBezTo>
                  <a:cubicBezTo>
                    <a:pt x="1381" y="2396"/>
                    <a:pt x="1385" y="2393"/>
                    <a:pt x="1389" y="2393"/>
                  </a:cubicBezTo>
                  <a:cubicBezTo>
                    <a:pt x="1394" y="2393"/>
                    <a:pt x="1396" y="2393"/>
                    <a:pt x="1398" y="2392"/>
                  </a:cubicBezTo>
                  <a:cubicBezTo>
                    <a:pt x="1401" y="2390"/>
                    <a:pt x="1401" y="2390"/>
                    <a:pt x="1405" y="2390"/>
                  </a:cubicBezTo>
                  <a:cubicBezTo>
                    <a:pt x="1410" y="2390"/>
                    <a:pt x="1411" y="2389"/>
                    <a:pt x="1414" y="2391"/>
                  </a:cubicBezTo>
                  <a:cubicBezTo>
                    <a:pt x="1416" y="2393"/>
                    <a:pt x="1415" y="2397"/>
                    <a:pt x="1420" y="2397"/>
                  </a:cubicBezTo>
                  <a:cubicBezTo>
                    <a:pt x="1424" y="2397"/>
                    <a:pt x="1426" y="2394"/>
                    <a:pt x="1425" y="2392"/>
                  </a:cubicBezTo>
                  <a:cubicBezTo>
                    <a:pt x="1425" y="2389"/>
                    <a:pt x="1424" y="2385"/>
                    <a:pt x="1419" y="2384"/>
                  </a:cubicBezTo>
                  <a:cubicBezTo>
                    <a:pt x="1415" y="2383"/>
                    <a:pt x="1413" y="2383"/>
                    <a:pt x="1409" y="2383"/>
                  </a:cubicBezTo>
                  <a:cubicBezTo>
                    <a:pt x="1406" y="2383"/>
                    <a:pt x="1404" y="2377"/>
                    <a:pt x="1405" y="2375"/>
                  </a:cubicBezTo>
                  <a:cubicBezTo>
                    <a:pt x="1405" y="2372"/>
                    <a:pt x="1406" y="2367"/>
                    <a:pt x="1409" y="2366"/>
                  </a:cubicBezTo>
                  <a:cubicBezTo>
                    <a:pt x="1411" y="2364"/>
                    <a:pt x="1413" y="2363"/>
                    <a:pt x="1418" y="2363"/>
                  </a:cubicBezTo>
                  <a:cubicBezTo>
                    <a:pt x="1423" y="2363"/>
                    <a:pt x="1426" y="2363"/>
                    <a:pt x="1431" y="2367"/>
                  </a:cubicBezTo>
                  <a:cubicBezTo>
                    <a:pt x="1436" y="2370"/>
                    <a:pt x="1435" y="2371"/>
                    <a:pt x="1439" y="2372"/>
                  </a:cubicBezTo>
                  <a:cubicBezTo>
                    <a:pt x="1443" y="2374"/>
                    <a:pt x="1447" y="2374"/>
                    <a:pt x="1449" y="2374"/>
                  </a:cubicBezTo>
                  <a:cubicBezTo>
                    <a:pt x="1451" y="2373"/>
                    <a:pt x="1452" y="2371"/>
                    <a:pt x="1451" y="2370"/>
                  </a:cubicBezTo>
                  <a:cubicBezTo>
                    <a:pt x="1449" y="2368"/>
                    <a:pt x="1449" y="2368"/>
                    <a:pt x="1444" y="2365"/>
                  </a:cubicBezTo>
                  <a:cubicBezTo>
                    <a:pt x="1439" y="2363"/>
                    <a:pt x="1436" y="2361"/>
                    <a:pt x="1433" y="2359"/>
                  </a:cubicBezTo>
                  <a:cubicBezTo>
                    <a:pt x="1429" y="2358"/>
                    <a:pt x="1427" y="2353"/>
                    <a:pt x="1427" y="2351"/>
                  </a:cubicBezTo>
                  <a:cubicBezTo>
                    <a:pt x="1427" y="2350"/>
                    <a:pt x="1426" y="2351"/>
                    <a:pt x="1426" y="2344"/>
                  </a:cubicBezTo>
                  <a:cubicBezTo>
                    <a:pt x="1425" y="2338"/>
                    <a:pt x="1424" y="2337"/>
                    <a:pt x="1426" y="2331"/>
                  </a:cubicBezTo>
                  <a:cubicBezTo>
                    <a:pt x="1428" y="2326"/>
                    <a:pt x="1430" y="2320"/>
                    <a:pt x="1429" y="2318"/>
                  </a:cubicBezTo>
                  <a:cubicBezTo>
                    <a:pt x="1428" y="2317"/>
                    <a:pt x="1422" y="2319"/>
                    <a:pt x="1419" y="2324"/>
                  </a:cubicBezTo>
                  <a:cubicBezTo>
                    <a:pt x="1416" y="2328"/>
                    <a:pt x="1417" y="2328"/>
                    <a:pt x="1411" y="2329"/>
                  </a:cubicBezTo>
                  <a:cubicBezTo>
                    <a:pt x="1405" y="2330"/>
                    <a:pt x="1401" y="2331"/>
                    <a:pt x="1398" y="2329"/>
                  </a:cubicBezTo>
                  <a:cubicBezTo>
                    <a:pt x="1395" y="2328"/>
                    <a:pt x="1392" y="2326"/>
                    <a:pt x="1391" y="2322"/>
                  </a:cubicBezTo>
                  <a:cubicBezTo>
                    <a:pt x="1390" y="2318"/>
                    <a:pt x="1390" y="2314"/>
                    <a:pt x="1387" y="2313"/>
                  </a:cubicBezTo>
                  <a:cubicBezTo>
                    <a:pt x="1383" y="2312"/>
                    <a:pt x="1382" y="2309"/>
                    <a:pt x="1382" y="2305"/>
                  </a:cubicBezTo>
                  <a:cubicBezTo>
                    <a:pt x="1381" y="2302"/>
                    <a:pt x="1380" y="2300"/>
                    <a:pt x="1382" y="2296"/>
                  </a:cubicBezTo>
                  <a:cubicBezTo>
                    <a:pt x="1383" y="2293"/>
                    <a:pt x="1386" y="2289"/>
                    <a:pt x="1384" y="2287"/>
                  </a:cubicBezTo>
                  <a:cubicBezTo>
                    <a:pt x="1381" y="2285"/>
                    <a:pt x="1380" y="2287"/>
                    <a:pt x="1376" y="2288"/>
                  </a:cubicBezTo>
                  <a:cubicBezTo>
                    <a:pt x="1371" y="2289"/>
                    <a:pt x="1368" y="2286"/>
                    <a:pt x="1367" y="2287"/>
                  </a:cubicBezTo>
                  <a:cubicBezTo>
                    <a:pt x="1365" y="2288"/>
                    <a:pt x="1363" y="2287"/>
                    <a:pt x="1365" y="2293"/>
                  </a:cubicBezTo>
                  <a:cubicBezTo>
                    <a:pt x="1367" y="2298"/>
                    <a:pt x="1369" y="2300"/>
                    <a:pt x="1370" y="2303"/>
                  </a:cubicBezTo>
                  <a:cubicBezTo>
                    <a:pt x="1370" y="2307"/>
                    <a:pt x="1372" y="2311"/>
                    <a:pt x="1374" y="2312"/>
                  </a:cubicBezTo>
                  <a:cubicBezTo>
                    <a:pt x="1377" y="2314"/>
                    <a:pt x="1379" y="2312"/>
                    <a:pt x="1379" y="2317"/>
                  </a:cubicBezTo>
                  <a:cubicBezTo>
                    <a:pt x="1378" y="2321"/>
                    <a:pt x="1378" y="2323"/>
                    <a:pt x="1381" y="2325"/>
                  </a:cubicBezTo>
                  <a:cubicBezTo>
                    <a:pt x="1384" y="2327"/>
                    <a:pt x="1386" y="2328"/>
                    <a:pt x="1384" y="2330"/>
                  </a:cubicBezTo>
                  <a:cubicBezTo>
                    <a:pt x="1382" y="2333"/>
                    <a:pt x="1382" y="2335"/>
                    <a:pt x="1376" y="2336"/>
                  </a:cubicBezTo>
                  <a:cubicBezTo>
                    <a:pt x="1370" y="2336"/>
                    <a:pt x="1366" y="2338"/>
                    <a:pt x="1364" y="2340"/>
                  </a:cubicBezTo>
                  <a:cubicBezTo>
                    <a:pt x="1361" y="2342"/>
                    <a:pt x="1359" y="2342"/>
                    <a:pt x="1359" y="2340"/>
                  </a:cubicBezTo>
                  <a:cubicBezTo>
                    <a:pt x="1358" y="2337"/>
                    <a:pt x="1358" y="2333"/>
                    <a:pt x="1360" y="2333"/>
                  </a:cubicBezTo>
                  <a:cubicBezTo>
                    <a:pt x="1363" y="2332"/>
                    <a:pt x="1365" y="2330"/>
                    <a:pt x="1363" y="2328"/>
                  </a:cubicBezTo>
                  <a:cubicBezTo>
                    <a:pt x="1361" y="2325"/>
                    <a:pt x="1358" y="2323"/>
                    <a:pt x="1356" y="2324"/>
                  </a:cubicBezTo>
                  <a:cubicBezTo>
                    <a:pt x="1354" y="2326"/>
                    <a:pt x="1352" y="2325"/>
                    <a:pt x="1351" y="2331"/>
                  </a:cubicBezTo>
                  <a:cubicBezTo>
                    <a:pt x="1350" y="2337"/>
                    <a:pt x="1346" y="2340"/>
                    <a:pt x="1342" y="2342"/>
                  </a:cubicBezTo>
                  <a:cubicBezTo>
                    <a:pt x="1339" y="2345"/>
                    <a:pt x="1334" y="2343"/>
                    <a:pt x="1334" y="2349"/>
                  </a:cubicBezTo>
                  <a:cubicBezTo>
                    <a:pt x="1333" y="2355"/>
                    <a:pt x="1334" y="2356"/>
                    <a:pt x="1329" y="2360"/>
                  </a:cubicBezTo>
                  <a:cubicBezTo>
                    <a:pt x="1325" y="2365"/>
                    <a:pt x="1323" y="2366"/>
                    <a:pt x="1323" y="2370"/>
                  </a:cubicBezTo>
                  <a:cubicBezTo>
                    <a:pt x="1324" y="2374"/>
                    <a:pt x="1324" y="2376"/>
                    <a:pt x="1325" y="2381"/>
                  </a:cubicBezTo>
                  <a:cubicBezTo>
                    <a:pt x="1325" y="2385"/>
                    <a:pt x="1324" y="2387"/>
                    <a:pt x="1322" y="2388"/>
                  </a:cubicBezTo>
                  <a:cubicBezTo>
                    <a:pt x="1320" y="2390"/>
                    <a:pt x="1314" y="2396"/>
                    <a:pt x="1309" y="2390"/>
                  </a:cubicBezTo>
                  <a:cubicBezTo>
                    <a:pt x="1304" y="2383"/>
                    <a:pt x="1300" y="2377"/>
                    <a:pt x="1303" y="2373"/>
                  </a:cubicBezTo>
                  <a:cubicBezTo>
                    <a:pt x="1305" y="2369"/>
                    <a:pt x="1302" y="2353"/>
                    <a:pt x="1299" y="2349"/>
                  </a:cubicBezTo>
                  <a:cubicBezTo>
                    <a:pt x="1297" y="2345"/>
                    <a:pt x="1297" y="2341"/>
                    <a:pt x="1300" y="2338"/>
                  </a:cubicBezTo>
                  <a:cubicBezTo>
                    <a:pt x="1304" y="2335"/>
                    <a:pt x="1307" y="2332"/>
                    <a:pt x="1311" y="2332"/>
                  </a:cubicBezTo>
                  <a:cubicBezTo>
                    <a:pt x="1315" y="2332"/>
                    <a:pt x="1320" y="2331"/>
                    <a:pt x="1323" y="2328"/>
                  </a:cubicBezTo>
                  <a:cubicBezTo>
                    <a:pt x="1326" y="2325"/>
                    <a:pt x="1327" y="2324"/>
                    <a:pt x="1333" y="2323"/>
                  </a:cubicBezTo>
                  <a:cubicBezTo>
                    <a:pt x="1338" y="2321"/>
                    <a:pt x="1340" y="2318"/>
                    <a:pt x="1345" y="2315"/>
                  </a:cubicBezTo>
                  <a:cubicBezTo>
                    <a:pt x="1351" y="2312"/>
                    <a:pt x="1353" y="2308"/>
                    <a:pt x="1352" y="2305"/>
                  </a:cubicBezTo>
                  <a:cubicBezTo>
                    <a:pt x="1351" y="2302"/>
                    <a:pt x="1349" y="2296"/>
                    <a:pt x="1345" y="2302"/>
                  </a:cubicBezTo>
                  <a:cubicBezTo>
                    <a:pt x="1341" y="2308"/>
                    <a:pt x="1342" y="2310"/>
                    <a:pt x="1338" y="2309"/>
                  </a:cubicBezTo>
                  <a:cubicBezTo>
                    <a:pt x="1333" y="2307"/>
                    <a:pt x="1329" y="2304"/>
                    <a:pt x="1326" y="2304"/>
                  </a:cubicBezTo>
                  <a:cubicBezTo>
                    <a:pt x="1323" y="2304"/>
                    <a:pt x="1324" y="2305"/>
                    <a:pt x="1322" y="2310"/>
                  </a:cubicBezTo>
                  <a:cubicBezTo>
                    <a:pt x="1321" y="2316"/>
                    <a:pt x="1316" y="2320"/>
                    <a:pt x="1311" y="2318"/>
                  </a:cubicBezTo>
                  <a:cubicBezTo>
                    <a:pt x="1307" y="2315"/>
                    <a:pt x="1306" y="2315"/>
                    <a:pt x="1306" y="2312"/>
                  </a:cubicBezTo>
                  <a:cubicBezTo>
                    <a:pt x="1306" y="2310"/>
                    <a:pt x="1304" y="2308"/>
                    <a:pt x="1300" y="2305"/>
                  </a:cubicBezTo>
                  <a:cubicBezTo>
                    <a:pt x="1297" y="2302"/>
                    <a:pt x="1290" y="2306"/>
                    <a:pt x="1290" y="2301"/>
                  </a:cubicBezTo>
                  <a:cubicBezTo>
                    <a:pt x="1290" y="2296"/>
                    <a:pt x="1290" y="2291"/>
                    <a:pt x="1293" y="2290"/>
                  </a:cubicBezTo>
                  <a:cubicBezTo>
                    <a:pt x="1297" y="2289"/>
                    <a:pt x="1298" y="2287"/>
                    <a:pt x="1301" y="2284"/>
                  </a:cubicBezTo>
                  <a:cubicBezTo>
                    <a:pt x="1304" y="2280"/>
                    <a:pt x="1310" y="2276"/>
                    <a:pt x="1305" y="2275"/>
                  </a:cubicBezTo>
                  <a:cubicBezTo>
                    <a:pt x="1300" y="2273"/>
                    <a:pt x="1301" y="2276"/>
                    <a:pt x="1294" y="2275"/>
                  </a:cubicBezTo>
                  <a:cubicBezTo>
                    <a:pt x="1288" y="2275"/>
                    <a:pt x="1289" y="2272"/>
                    <a:pt x="1284" y="2272"/>
                  </a:cubicBezTo>
                  <a:cubicBezTo>
                    <a:pt x="1278" y="2272"/>
                    <a:pt x="1282" y="2268"/>
                    <a:pt x="1286" y="2266"/>
                  </a:cubicBezTo>
                  <a:cubicBezTo>
                    <a:pt x="1290" y="2264"/>
                    <a:pt x="1291" y="2261"/>
                    <a:pt x="1298" y="2260"/>
                  </a:cubicBezTo>
                  <a:cubicBezTo>
                    <a:pt x="1306" y="2259"/>
                    <a:pt x="1311" y="2255"/>
                    <a:pt x="1313" y="2251"/>
                  </a:cubicBezTo>
                  <a:cubicBezTo>
                    <a:pt x="1315" y="2248"/>
                    <a:pt x="1319" y="2242"/>
                    <a:pt x="1323" y="2240"/>
                  </a:cubicBezTo>
                  <a:cubicBezTo>
                    <a:pt x="1326" y="2239"/>
                    <a:pt x="1334" y="2237"/>
                    <a:pt x="1338" y="2236"/>
                  </a:cubicBezTo>
                  <a:cubicBezTo>
                    <a:pt x="1342" y="2236"/>
                    <a:pt x="1350" y="2235"/>
                    <a:pt x="1354" y="2235"/>
                  </a:cubicBezTo>
                  <a:cubicBezTo>
                    <a:pt x="1358" y="2235"/>
                    <a:pt x="1367" y="2233"/>
                    <a:pt x="1371" y="2235"/>
                  </a:cubicBezTo>
                  <a:cubicBezTo>
                    <a:pt x="1376" y="2236"/>
                    <a:pt x="1385" y="2241"/>
                    <a:pt x="1389" y="2240"/>
                  </a:cubicBezTo>
                  <a:cubicBezTo>
                    <a:pt x="1394" y="2238"/>
                    <a:pt x="1395" y="2236"/>
                    <a:pt x="1390" y="2235"/>
                  </a:cubicBezTo>
                  <a:cubicBezTo>
                    <a:pt x="1385" y="2233"/>
                    <a:pt x="1382" y="2233"/>
                    <a:pt x="1379" y="2232"/>
                  </a:cubicBezTo>
                  <a:cubicBezTo>
                    <a:pt x="1376" y="2230"/>
                    <a:pt x="1374" y="2228"/>
                    <a:pt x="1369" y="2229"/>
                  </a:cubicBezTo>
                  <a:cubicBezTo>
                    <a:pt x="1364" y="2229"/>
                    <a:pt x="1357" y="2230"/>
                    <a:pt x="1355" y="2228"/>
                  </a:cubicBezTo>
                  <a:cubicBezTo>
                    <a:pt x="1352" y="2227"/>
                    <a:pt x="1346" y="2223"/>
                    <a:pt x="1343" y="2224"/>
                  </a:cubicBezTo>
                  <a:cubicBezTo>
                    <a:pt x="1340" y="2224"/>
                    <a:pt x="1334" y="2224"/>
                    <a:pt x="1331" y="2228"/>
                  </a:cubicBezTo>
                  <a:cubicBezTo>
                    <a:pt x="1328" y="2231"/>
                    <a:pt x="1320" y="2231"/>
                    <a:pt x="1315" y="2233"/>
                  </a:cubicBezTo>
                  <a:cubicBezTo>
                    <a:pt x="1311" y="2234"/>
                    <a:pt x="1307" y="2231"/>
                    <a:pt x="1305" y="2236"/>
                  </a:cubicBezTo>
                  <a:cubicBezTo>
                    <a:pt x="1304" y="2241"/>
                    <a:pt x="1304" y="2242"/>
                    <a:pt x="1302" y="2246"/>
                  </a:cubicBezTo>
                  <a:cubicBezTo>
                    <a:pt x="1300" y="2250"/>
                    <a:pt x="1297" y="2252"/>
                    <a:pt x="1293" y="2253"/>
                  </a:cubicBezTo>
                  <a:cubicBezTo>
                    <a:pt x="1289" y="2254"/>
                    <a:pt x="1283" y="2256"/>
                    <a:pt x="1282" y="2257"/>
                  </a:cubicBezTo>
                  <a:cubicBezTo>
                    <a:pt x="1280" y="2258"/>
                    <a:pt x="1273" y="2253"/>
                    <a:pt x="1273" y="2251"/>
                  </a:cubicBezTo>
                  <a:cubicBezTo>
                    <a:pt x="1273" y="2248"/>
                    <a:pt x="1276" y="2245"/>
                    <a:pt x="1277" y="2243"/>
                  </a:cubicBezTo>
                  <a:cubicBezTo>
                    <a:pt x="1279" y="2240"/>
                    <a:pt x="1278" y="2236"/>
                    <a:pt x="1274" y="2236"/>
                  </a:cubicBezTo>
                  <a:cubicBezTo>
                    <a:pt x="1271" y="2235"/>
                    <a:pt x="1263" y="2238"/>
                    <a:pt x="1262" y="2235"/>
                  </a:cubicBezTo>
                  <a:cubicBezTo>
                    <a:pt x="1261" y="2233"/>
                    <a:pt x="1263" y="2227"/>
                    <a:pt x="1262" y="2226"/>
                  </a:cubicBezTo>
                  <a:cubicBezTo>
                    <a:pt x="1261" y="2225"/>
                    <a:pt x="1261" y="2224"/>
                    <a:pt x="1259" y="2227"/>
                  </a:cubicBezTo>
                  <a:cubicBezTo>
                    <a:pt x="1256" y="2230"/>
                    <a:pt x="1256" y="2232"/>
                    <a:pt x="1253" y="2233"/>
                  </a:cubicBezTo>
                  <a:cubicBezTo>
                    <a:pt x="1251" y="2235"/>
                    <a:pt x="1245" y="2234"/>
                    <a:pt x="1243" y="2234"/>
                  </a:cubicBezTo>
                  <a:cubicBezTo>
                    <a:pt x="1241" y="2233"/>
                    <a:pt x="1246" y="2231"/>
                    <a:pt x="1249" y="2229"/>
                  </a:cubicBezTo>
                  <a:cubicBezTo>
                    <a:pt x="1252" y="2227"/>
                    <a:pt x="1255" y="2222"/>
                    <a:pt x="1256" y="2220"/>
                  </a:cubicBezTo>
                  <a:cubicBezTo>
                    <a:pt x="1257" y="2219"/>
                    <a:pt x="1261" y="2217"/>
                    <a:pt x="1267" y="2218"/>
                  </a:cubicBezTo>
                  <a:cubicBezTo>
                    <a:pt x="1273" y="2218"/>
                    <a:pt x="1273" y="2222"/>
                    <a:pt x="1280" y="2223"/>
                  </a:cubicBezTo>
                  <a:cubicBezTo>
                    <a:pt x="1287" y="2224"/>
                    <a:pt x="1292" y="2220"/>
                    <a:pt x="1296" y="2216"/>
                  </a:cubicBezTo>
                  <a:cubicBezTo>
                    <a:pt x="1301" y="2212"/>
                    <a:pt x="1300" y="2211"/>
                    <a:pt x="1307" y="2210"/>
                  </a:cubicBezTo>
                  <a:cubicBezTo>
                    <a:pt x="1315" y="2210"/>
                    <a:pt x="1318" y="2213"/>
                    <a:pt x="1321" y="2211"/>
                  </a:cubicBezTo>
                  <a:cubicBezTo>
                    <a:pt x="1324" y="2208"/>
                    <a:pt x="1323" y="2196"/>
                    <a:pt x="1321" y="2196"/>
                  </a:cubicBezTo>
                  <a:cubicBezTo>
                    <a:pt x="1319" y="2196"/>
                    <a:pt x="1309" y="2200"/>
                    <a:pt x="1307" y="2201"/>
                  </a:cubicBezTo>
                  <a:cubicBezTo>
                    <a:pt x="1305" y="2202"/>
                    <a:pt x="1298" y="2200"/>
                    <a:pt x="1295" y="2203"/>
                  </a:cubicBezTo>
                  <a:cubicBezTo>
                    <a:pt x="1291" y="2206"/>
                    <a:pt x="1287" y="2211"/>
                    <a:pt x="1283" y="2210"/>
                  </a:cubicBezTo>
                  <a:cubicBezTo>
                    <a:pt x="1280" y="2209"/>
                    <a:pt x="1276" y="2204"/>
                    <a:pt x="1272" y="2203"/>
                  </a:cubicBezTo>
                  <a:cubicBezTo>
                    <a:pt x="1269" y="2203"/>
                    <a:pt x="1266" y="2202"/>
                    <a:pt x="1263" y="2205"/>
                  </a:cubicBezTo>
                  <a:cubicBezTo>
                    <a:pt x="1260" y="2207"/>
                    <a:pt x="1258" y="2208"/>
                    <a:pt x="1253" y="2209"/>
                  </a:cubicBezTo>
                  <a:cubicBezTo>
                    <a:pt x="1249" y="2210"/>
                    <a:pt x="1243" y="2214"/>
                    <a:pt x="1242" y="2215"/>
                  </a:cubicBezTo>
                  <a:cubicBezTo>
                    <a:pt x="1241" y="2216"/>
                    <a:pt x="1238" y="2217"/>
                    <a:pt x="1238" y="2214"/>
                  </a:cubicBezTo>
                  <a:cubicBezTo>
                    <a:pt x="1237" y="2212"/>
                    <a:pt x="1241" y="2208"/>
                    <a:pt x="1244" y="2208"/>
                  </a:cubicBezTo>
                  <a:cubicBezTo>
                    <a:pt x="1246" y="2207"/>
                    <a:pt x="1250" y="2205"/>
                    <a:pt x="1249" y="2203"/>
                  </a:cubicBezTo>
                  <a:cubicBezTo>
                    <a:pt x="1248" y="2200"/>
                    <a:pt x="1245" y="2200"/>
                    <a:pt x="1242" y="2201"/>
                  </a:cubicBezTo>
                  <a:cubicBezTo>
                    <a:pt x="1238" y="2203"/>
                    <a:pt x="1235" y="2200"/>
                    <a:pt x="1233" y="2200"/>
                  </a:cubicBezTo>
                  <a:cubicBezTo>
                    <a:pt x="1232" y="2199"/>
                    <a:pt x="1225" y="2197"/>
                    <a:pt x="1227" y="2196"/>
                  </a:cubicBezTo>
                  <a:cubicBezTo>
                    <a:pt x="1230" y="2194"/>
                    <a:pt x="1237" y="2195"/>
                    <a:pt x="1242" y="2195"/>
                  </a:cubicBezTo>
                  <a:cubicBezTo>
                    <a:pt x="1246" y="2195"/>
                    <a:pt x="1253" y="2187"/>
                    <a:pt x="1258" y="2183"/>
                  </a:cubicBezTo>
                  <a:cubicBezTo>
                    <a:pt x="1264" y="2180"/>
                    <a:pt x="1272" y="2175"/>
                    <a:pt x="1281" y="2170"/>
                  </a:cubicBezTo>
                  <a:cubicBezTo>
                    <a:pt x="1290" y="2165"/>
                    <a:pt x="1296" y="2164"/>
                    <a:pt x="1300" y="2161"/>
                  </a:cubicBezTo>
                  <a:cubicBezTo>
                    <a:pt x="1304" y="2158"/>
                    <a:pt x="1307" y="2150"/>
                    <a:pt x="1312" y="2147"/>
                  </a:cubicBezTo>
                  <a:cubicBezTo>
                    <a:pt x="1317" y="2143"/>
                    <a:pt x="1319" y="2141"/>
                    <a:pt x="1326" y="2137"/>
                  </a:cubicBezTo>
                  <a:cubicBezTo>
                    <a:pt x="1334" y="2134"/>
                    <a:pt x="1337" y="2128"/>
                    <a:pt x="1342" y="2126"/>
                  </a:cubicBezTo>
                  <a:cubicBezTo>
                    <a:pt x="1347" y="2124"/>
                    <a:pt x="1351" y="2122"/>
                    <a:pt x="1357" y="2121"/>
                  </a:cubicBezTo>
                  <a:cubicBezTo>
                    <a:pt x="1363" y="2121"/>
                    <a:pt x="1366" y="2119"/>
                    <a:pt x="1371" y="2121"/>
                  </a:cubicBezTo>
                  <a:cubicBezTo>
                    <a:pt x="1376" y="2123"/>
                    <a:pt x="1382" y="2124"/>
                    <a:pt x="1389" y="2123"/>
                  </a:cubicBezTo>
                  <a:cubicBezTo>
                    <a:pt x="1395" y="2123"/>
                    <a:pt x="1402" y="2125"/>
                    <a:pt x="1404" y="2122"/>
                  </a:cubicBezTo>
                  <a:cubicBezTo>
                    <a:pt x="1407" y="2119"/>
                    <a:pt x="1403" y="2118"/>
                    <a:pt x="1397" y="2118"/>
                  </a:cubicBezTo>
                  <a:cubicBezTo>
                    <a:pt x="1391" y="2118"/>
                    <a:pt x="1380" y="2119"/>
                    <a:pt x="1378" y="2116"/>
                  </a:cubicBezTo>
                  <a:cubicBezTo>
                    <a:pt x="1375" y="2114"/>
                    <a:pt x="1375" y="2107"/>
                    <a:pt x="1381" y="2107"/>
                  </a:cubicBezTo>
                  <a:cubicBezTo>
                    <a:pt x="1388" y="2106"/>
                    <a:pt x="1391" y="2104"/>
                    <a:pt x="1396" y="2106"/>
                  </a:cubicBezTo>
                  <a:cubicBezTo>
                    <a:pt x="1402" y="2108"/>
                    <a:pt x="1411" y="2109"/>
                    <a:pt x="1416" y="2109"/>
                  </a:cubicBezTo>
                  <a:cubicBezTo>
                    <a:pt x="1420" y="2108"/>
                    <a:pt x="1428" y="2110"/>
                    <a:pt x="1429" y="2107"/>
                  </a:cubicBezTo>
                  <a:cubicBezTo>
                    <a:pt x="1429" y="2103"/>
                    <a:pt x="1426" y="2100"/>
                    <a:pt x="1421" y="2101"/>
                  </a:cubicBezTo>
                  <a:cubicBezTo>
                    <a:pt x="1416" y="2103"/>
                    <a:pt x="1409" y="2099"/>
                    <a:pt x="1408" y="2098"/>
                  </a:cubicBezTo>
                  <a:cubicBezTo>
                    <a:pt x="1407" y="2096"/>
                    <a:pt x="1406" y="2094"/>
                    <a:pt x="1403" y="2094"/>
                  </a:cubicBezTo>
                  <a:cubicBezTo>
                    <a:pt x="1400" y="2094"/>
                    <a:pt x="1395" y="2096"/>
                    <a:pt x="1390" y="2098"/>
                  </a:cubicBezTo>
                  <a:cubicBezTo>
                    <a:pt x="1384" y="2100"/>
                    <a:pt x="1376" y="2099"/>
                    <a:pt x="1371" y="2100"/>
                  </a:cubicBezTo>
                  <a:cubicBezTo>
                    <a:pt x="1367" y="2101"/>
                    <a:pt x="1364" y="2101"/>
                    <a:pt x="1360" y="2105"/>
                  </a:cubicBezTo>
                  <a:cubicBezTo>
                    <a:pt x="1356" y="2108"/>
                    <a:pt x="1354" y="2110"/>
                    <a:pt x="1348" y="2113"/>
                  </a:cubicBezTo>
                  <a:cubicBezTo>
                    <a:pt x="1341" y="2115"/>
                    <a:pt x="1333" y="2122"/>
                    <a:pt x="1328" y="2123"/>
                  </a:cubicBezTo>
                  <a:cubicBezTo>
                    <a:pt x="1322" y="2123"/>
                    <a:pt x="1317" y="2126"/>
                    <a:pt x="1313" y="2130"/>
                  </a:cubicBezTo>
                  <a:cubicBezTo>
                    <a:pt x="1309" y="2134"/>
                    <a:pt x="1306" y="2133"/>
                    <a:pt x="1302" y="2139"/>
                  </a:cubicBezTo>
                  <a:cubicBezTo>
                    <a:pt x="1299" y="2144"/>
                    <a:pt x="1296" y="2145"/>
                    <a:pt x="1293" y="2151"/>
                  </a:cubicBezTo>
                  <a:cubicBezTo>
                    <a:pt x="1289" y="2157"/>
                    <a:pt x="1287" y="2157"/>
                    <a:pt x="1277" y="2159"/>
                  </a:cubicBezTo>
                  <a:cubicBezTo>
                    <a:pt x="1268" y="2161"/>
                    <a:pt x="1255" y="2162"/>
                    <a:pt x="1252" y="2168"/>
                  </a:cubicBezTo>
                  <a:cubicBezTo>
                    <a:pt x="1249" y="2174"/>
                    <a:pt x="1249" y="2177"/>
                    <a:pt x="1245" y="2180"/>
                  </a:cubicBezTo>
                  <a:cubicBezTo>
                    <a:pt x="1240" y="2183"/>
                    <a:pt x="1235" y="2182"/>
                    <a:pt x="1230" y="2185"/>
                  </a:cubicBezTo>
                  <a:cubicBezTo>
                    <a:pt x="1225" y="2188"/>
                    <a:pt x="1219" y="2188"/>
                    <a:pt x="1215" y="2188"/>
                  </a:cubicBezTo>
                  <a:cubicBezTo>
                    <a:pt x="1212" y="2189"/>
                    <a:pt x="1208" y="2188"/>
                    <a:pt x="1209" y="2186"/>
                  </a:cubicBezTo>
                  <a:cubicBezTo>
                    <a:pt x="1210" y="2185"/>
                    <a:pt x="1215" y="2183"/>
                    <a:pt x="1218" y="2184"/>
                  </a:cubicBezTo>
                  <a:cubicBezTo>
                    <a:pt x="1221" y="2184"/>
                    <a:pt x="1225" y="2183"/>
                    <a:pt x="1226" y="2180"/>
                  </a:cubicBezTo>
                  <a:cubicBezTo>
                    <a:pt x="1228" y="2178"/>
                    <a:pt x="1233" y="2176"/>
                    <a:pt x="1227" y="2175"/>
                  </a:cubicBezTo>
                  <a:cubicBezTo>
                    <a:pt x="1222" y="2174"/>
                    <a:pt x="1216" y="2176"/>
                    <a:pt x="1213" y="2174"/>
                  </a:cubicBezTo>
                  <a:cubicBezTo>
                    <a:pt x="1211" y="2172"/>
                    <a:pt x="1207" y="2174"/>
                    <a:pt x="1210" y="2167"/>
                  </a:cubicBezTo>
                  <a:cubicBezTo>
                    <a:pt x="1212" y="2160"/>
                    <a:pt x="1213" y="2156"/>
                    <a:pt x="1216" y="2156"/>
                  </a:cubicBezTo>
                  <a:cubicBezTo>
                    <a:pt x="1219" y="2155"/>
                    <a:pt x="1228" y="2154"/>
                    <a:pt x="1234" y="2156"/>
                  </a:cubicBezTo>
                  <a:cubicBezTo>
                    <a:pt x="1239" y="2158"/>
                    <a:pt x="1242" y="2158"/>
                    <a:pt x="1245" y="2158"/>
                  </a:cubicBezTo>
                  <a:cubicBezTo>
                    <a:pt x="1249" y="2158"/>
                    <a:pt x="1252" y="2156"/>
                    <a:pt x="1256" y="2154"/>
                  </a:cubicBezTo>
                  <a:cubicBezTo>
                    <a:pt x="1259" y="2152"/>
                    <a:pt x="1264" y="2152"/>
                    <a:pt x="1267" y="2151"/>
                  </a:cubicBezTo>
                  <a:cubicBezTo>
                    <a:pt x="1270" y="2150"/>
                    <a:pt x="1272" y="2147"/>
                    <a:pt x="1271" y="2147"/>
                  </a:cubicBezTo>
                  <a:cubicBezTo>
                    <a:pt x="1269" y="2147"/>
                    <a:pt x="1266" y="2147"/>
                    <a:pt x="1259" y="2149"/>
                  </a:cubicBezTo>
                  <a:cubicBezTo>
                    <a:pt x="1253" y="2150"/>
                    <a:pt x="1244" y="2151"/>
                    <a:pt x="1240" y="2150"/>
                  </a:cubicBezTo>
                  <a:cubicBezTo>
                    <a:pt x="1236" y="2149"/>
                    <a:pt x="1228" y="2149"/>
                    <a:pt x="1227" y="2146"/>
                  </a:cubicBezTo>
                  <a:cubicBezTo>
                    <a:pt x="1225" y="2143"/>
                    <a:pt x="1217" y="2142"/>
                    <a:pt x="1224" y="2140"/>
                  </a:cubicBezTo>
                  <a:cubicBezTo>
                    <a:pt x="1231" y="2138"/>
                    <a:pt x="1236" y="2139"/>
                    <a:pt x="1241" y="2139"/>
                  </a:cubicBezTo>
                  <a:cubicBezTo>
                    <a:pt x="1246" y="2139"/>
                    <a:pt x="1253" y="2138"/>
                    <a:pt x="1255" y="2135"/>
                  </a:cubicBezTo>
                  <a:cubicBezTo>
                    <a:pt x="1257" y="2133"/>
                    <a:pt x="1262" y="2135"/>
                    <a:pt x="1266" y="2132"/>
                  </a:cubicBezTo>
                  <a:cubicBezTo>
                    <a:pt x="1270" y="2129"/>
                    <a:pt x="1266" y="2128"/>
                    <a:pt x="1267" y="2125"/>
                  </a:cubicBezTo>
                  <a:cubicBezTo>
                    <a:pt x="1267" y="2121"/>
                    <a:pt x="1277" y="2118"/>
                    <a:pt x="1281" y="2119"/>
                  </a:cubicBezTo>
                  <a:cubicBezTo>
                    <a:pt x="1285" y="2120"/>
                    <a:pt x="1288" y="2118"/>
                    <a:pt x="1288" y="2114"/>
                  </a:cubicBezTo>
                  <a:cubicBezTo>
                    <a:pt x="1287" y="2109"/>
                    <a:pt x="1277" y="2099"/>
                    <a:pt x="1272" y="2101"/>
                  </a:cubicBezTo>
                  <a:cubicBezTo>
                    <a:pt x="1268" y="2103"/>
                    <a:pt x="1270" y="2107"/>
                    <a:pt x="1260" y="2110"/>
                  </a:cubicBezTo>
                  <a:cubicBezTo>
                    <a:pt x="1250" y="2113"/>
                    <a:pt x="1247" y="2114"/>
                    <a:pt x="1243" y="2112"/>
                  </a:cubicBezTo>
                  <a:cubicBezTo>
                    <a:pt x="1238" y="2110"/>
                    <a:pt x="1237" y="2108"/>
                    <a:pt x="1230" y="2109"/>
                  </a:cubicBezTo>
                  <a:cubicBezTo>
                    <a:pt x="1223" y="2110"/>
                    <a:pt x="1222" y="2111"/>
                    <a:pt x="1219" y="2111"/>
                  </a:cubicBezTo>
                  <a:cubicBezTo>
                    <a:pt x="1215" y="2111"/>
                    <a:pt x="1208" y="2111"/>
                    <a:pt x="1208" y="2109"/>
                  </a:cubicBezTo>
                  <a:cubicBezTo>
                    <a:pt x="1208" y="2107"/>
                    <a:pt x="1210" y="2106"/>
                    <a:pt x="1214" y="2106"/>
                  </a:cubicBezTo>
                  <a:cubicBezTo>
                    <a:pt x="1217" y="2106"/>
                    <a:pt x="1221" y="2107"/>
                    <a:pt x="1225" y="2106"/>
                  </a:cubicBezTo>
                  <a:cubicBezTo>
                    <a:pt x="1229" y="2105"/>
                    <a:pt x="1232" y="2103"/>
                    <a:pt x="1231" y="2102"/>
                  </a:cubicBezTo>
                  <a:cubicBezTo>
                    <a:pt x="1229" y="2101"/>
                    <a:pt x="1227" y="2100"/>
                    <a:pt x="1223" y="2100"/>
                  </a:cubicBezTo>
                  <a:cubicBezTo>
                    <a:pt x="1218" y="2100"/>
                    <a:pt x="1217" y="2100"/>
                    <a:pt x="1212" y="2100"/>
                  </a:cubicBezTo>
                  <a:cubicBezTo>
                    <a:pt x="1208" y="2100"/>
                    <a:pt x="1201" y="2102"/>
                    <a:pt x="1201" y="2099"/>
                  </a:cubicBezTo>
                  <a:cubicBezTo>
                    <a:pt x="1200" y="2097"/>
                    <a:pt x="1200" y="2095"/>
                    <a:pt x="1203" y="2095"/>
                  </a:cubicBezTo>
                  <a:cubicBezTo>
                    <a:pt x="1205" y="2095"/>
                    <a:pt x="1207" y="2095"/>
                    <a:pt x="1211" y="2095"/>
                  </a:cubicBezTo>
                  <a:cubicBezTo>
                    <a:pt x="1214" y="2095"/>
                    <a:pt x="1218" y="2094"/>
                    <a:pt x="1218" y="2093"/>
                  </a:cubicBezTo>
                  <a:cubicBezTo>
                    <a:pt x="1218" y="2091"/>
                    <a:pt x="1218" y="2090"/>
                    <a:pt x="1216" y="2090"/>
                  </a:cubicBezTo>
                  <a:cubicBezTo>
                    <a:pt x="1214" y="2090"/>
                    <a:pt x="1213" y="2091"/>
                    <a:pt x="1209" y="2090"/>
                  </a:cubicBezTo>
                  <a:cubicBezTo>
                    <a:pt x="1205" y="2090"/>
                    <a:pt x="1203" y="2089"/>
                    <a:pt x="1200" y="2090"/>
                  </a:cubicBezTo>
                  <a:cubicBezTo>
                    <a:pt x="1198" y="2091"/>
                    <a:pt x="1192" y="2092"/>
                    <a:pt x="1192" y="2090"/>
                  </a:cubicBezTo>
                  <a:cubicBezTo>
                    <a:pt x="1192" y="2089"/>
                    <a:pt x="1193" y="2087"/>
                    <a:pt x="1196" y="2086"/>
                  </a:cubicBezTo>
                  <a:cubicBezTo>
                    <a:pt x="1198" y="2085"/>
                    <a:pt x="1200" y="2084"/>
                    <a:pt x="1207" y="2083"/>
                  </a:cubicBezTo>
                  <a:cubicBezTo>
                    <a:pt x="1214" y="2083"/>
                    <a:pt x="1215" y="2084"/>
                    <a:pt x="1220" y="2082"/>
                  </a:cubicBezTo>
                  <a:cubicBezTo>
                    <a:pt x="1225" y="2080"/>
                    <a:pt x="1227" y="2079"/>
                    <a:pt x="1230" y="2078"/>
                  </a:cubicBezTo>
                  <a:cubicBezTo>
                    <a:pt x="1233" y="2077"/>
                    <a:pt x="1238" y="2077"/>
                    <a:pt x="1242" y="2077"/>
                  </a:cubicBezTo>
                  <a:cubicBezTo>
                    <a:pt x="1245" y="2077"/>
                    <a:pt x="1248" y="2075"/>
                    <a:pt x="1253" y="2073"/>
                  </a:cubicBezTo>
                  <a:cubicBezTo>
                    <a:pt x="1258" y="2072"/>
                    <a:pt x="1266" y="2070"/>
                    <a:pt x="1269" y="2070"/>
                  </a:cubicBezTo>
                  <a:cubicBezTo>
                    <a:pt x="1273" y="2069"/>
                    <a:pt x="1277" y="2069"/>
                    <a:pt x="1284" y="2069"/>
                  </a:cubicBezTo>
                  <a:cubicBezTo>
                    <a:pt x="1292" y="2069"/>
                    <a:pt x="1293" y="2069"/>
                    <a:pt x="1298" y="2068"/>
                  </a:cubicBezTo>
                  <a:cubicBezTo>
                    <a:pt x="1304" y="2067"/>
                    <a:pt x="1310" y="2067"/>
                    <a:pt x="1313" y="2069"/>
                  </a:cubicBezTo>
                  <a:cubicBezTo>
                    <a:pt x="1316" y="2071"/>
                    <a:pt x="1316" y="2070"/>
                    <a:pt x="1323" y="2072"/>
                  </a:cubicBezTo>
                  <a:cubicBezTo>
                    <a:pt x="1331" y="2075"/>
                    <a:pt x="1335" y="2074"/>
                    <a:pt x="1336" y="2077"/>
                  </a:cubicBezTo>
                  <a:cubicBezTo>
                    <a:pt x="1337" y="2079"/>
                    <a:pt x="1343" y="2085"/>
                    <a:pt x="1347" y="2087"/>
                  </a:cubicBezTo>
                  <a:cubicBezTo>
                    <a:pt x="1352" y="2089"/>
                    <a:pt x="1354" y="2089"/>
                    <a:pt x="1359" y="2089"/>
                  </a:cubicBezTo>
                  <a:cubicBezTo>
                    <a:pt x="1364" y="2089"/>
                    <a:pt x="1368" y="2089"/>
                    <a:pt x="1374" y="2088"/>
                  </a:cubicBezTo>
                  <a:cubicBezTo>
                    <a:pt x="1379" y="2087"/>
                    <a:pt x="1380" y="2085"/>
                    <a:pt x="1386" y="2085"/>
                  </a:cubicBezTo>
                  <a:cubicBezTo>
                    <a:pt x="1391" y="2085"/>
                    <a:pt x="1394" y="2086"/>
                    <a:pt x="1400" y="2084"/>
                  </a:cubicBezTo>
                  <a:cubicBezTo>
                    <a:pt x="1406" y="2083"/>
                    <a:pt x="1404" y="2077"/>
                    <a:pt x="1398" y="2077"/>
                  </a:cubicBezTo>
                  <a:cubicBezTo>
                    <a:pt x="1392" y="2077"/>
                    <a:pt x="1388" y="2075"/>
                    <a:pt x="1380" y="2077"/>
                  </a:cubicBezTo>
                  <a:cubicBezTo>
                    <a:pt x="1371" y="2080"/>
                    <a:pt x="1368" y="2080"/>
                    <a:pt x="1363" y="2081"/>
                  </a:cubicBezTo>
                  <a:cubicBezTo>
                    <a:pt x="1358" y="2082"/>
                    <a:pt x="1355" y="2083"/>
                    <a:pt x="1353" y="2080"/>
                  </a:cubicBezTo>
                  <a:cubicBezTo>
                    <a:pt x="1351" y="2077"/>
                    <a:pt x="1349" y="2073"/>
                    <a:pt x="1346" y="2070"/>
                  </a:cubicBezTo>
                  <a:cubicBezTo>
                    <a:pt x="1343" y="2068"/>
                    <a:pt x="1344" y="2065"/>
                    <a:pt x="1348" y="2064"/>
                  </a:cubicBezTo>
                  <a:cubicBezTo>
                    <a:pt x="1351" y="2064"/>
                    <a:pt x="1357" y="2063"/>
                    <a:pt x="1357" y="2061"/>
                  </a:cubicBezTo>
                  <a:cubicBezTo>
                    <a:pt x="1358" y="2058"/>
                    <a:pt x="1357" y="2054"/>
                    <a:pt x="1349" y="2056"/>
                  </a:cubicBezTo>
                  <a:cubicBezTo>
                    <a:pt x="1342" y="2059"/>
                    <a:pt x="1344" y="2060"/>
                    <a:pt x="1336" y="2061"/>
                  </a:cubicBezTo>
                  <a:cubicBezTo>
                    <a:pt x="1328" y="2063"/>
                    <a:pt x="1326" y="2064"/>
                    <a:pt x="1321" y="2062"/>
                  </a:cubicBezTo>
                  <a:cubicBezTo>
                    <a:pt x="1316" y="2060"/>
                    <a:pt x="1313" y="2058"/>
                    <a:pt x="1308" y="2058"/>
                  </a:cubicBezTo>
                  <a:cubicBezTo>
                    <a:pt x="1302" y="2058"/>
                    <a:pt x="1296" y="2057"/>
                    <a:pt x="1293" y="2057"/>
                  </a:cubicBezTo>
                  <a:cubicBezTo>
                    <a:pt x="1290" y="2057"/>
                    <a:pt x="1289" y="2057"/>
                    <a:pt x="1283" y="2059"/>
                  </a:cubicBezTo>
                  <a:cubicBezTo>
                    <a:pt x="1278" y="2062"/>
                    <a:pt x="1275" y="2062"/>
                    <a:pt x="1269" y="2062"/>
                  </a:cubicBezTo>
                  <a:cubicBezTo>
                    <a:pt x="1263" y="2063"/>
                    <a:pt x="1259" y="2064"/>
                    <a:pt x="1254" y="2066"/>
                  </a:cubicBezTo>
                  <a:cubicBezTo>
                    <a:pt x="1249" y="2068"/>
                    <a:pt x="1248" y="2069"/>
                    <a:pt x="1241" y="2068"/>
                  </a:cubicBezTo>
                  <a:cubicBezTo>
                    <a:pt x="1235" y="2067"/>
                    <a:pt x="1236" y="2065"/>
                    <a:pt x="1230" y="2065"/>
                  </a:cubicBezTo>
                  <a:cubicBezTo>
                    <a:pt x="1223" y="2065"/>
                    <a:pt x="1223" y="2066"/>
                    <a:pt x="1218" y="2069"/>
                  </a:cubicBezTo>
                  <a:cubicBezTo>
                    <a:pt x="1213" y="2072"/>
                    <a:pt x="1214" y="2069"/>
                    <a:pt x="1207" y="2072"/>
                  </a:cubicBezTo>
                  <a:cubicBezTo>
                    <a:pt x="1201" y="2075"/>
                    <a:pt x="1195" y="2076"/>
                    <a:pt x="1194" y="2075"/>
                  </a:cubicBezTo>
                  <a:cubicBezTo>
                    <a:pt x="1192" y="2075"/>
                    <a:pt x="1189" y="2070"/>
                    <a:pt x="1191" y="2067"/>
                  </a:cubicBezTo>
                  <a:cubicBezTo>
                    <a:pt x="1194" y="2065"/>
                    <a:pt x="1197" y="2064"/>
                    <a:pt x="1199" y="2062"/>
                  </a:cubicBezTo>
                  <a:cubicBezTo>
                    <a:pt x="1201" y="2060"/>
                    <a:pt x="1208" y="2056"/>
                    <a:pt x="1213" y="2055"/>
                  </a:cubicBezTo>
                  <a:cubicBezTo>
                    <a:pt x="1218" y="2053"/>
                    <a:pt x="1217" y="2054"/>
                    <a:pt x="1226" y="2049"/>
                  </a:cubicBezTo>
                  <a:cubicBezTo>
                    <a:pt x="1234" y="2044"/>
                    <a:pt x="1240" y="2041"/>
                    <a:pt x="1244" y="2039"/>
                  </a:cubicBezTo>
                  <a:cubicBezTo>
                    <a:pt x="1248" y="2036"/>
                    <a:pt x="1254" y="2032"/>
                    <a:pt x="1258" y="2029"/>
                  </a:cubicBezTo>
                  <a:cubicBezTo>
                    <a:pt x="1262" y="2026"/>
                    <a:pt x="1265" y="2023"/>
                    <a:pt x="1272" y="2023"/>
                  </a:cubicBezTo>
                  <a:cubicBezTo>
                    <a:pt x="1279" y="2024"/>
                    <a:pt x="1287" y="2026"/>
                    <a:pt x="1292" y="2029"/>
                  </a:cubicBezTo>
                  <a:cubicBezTo>
                    <a:pt x="1296" y="2032"/>
                    <a:pt x="1298" y="2033"/>
                    <a:pt x="1308" y="2033"/>
                  </a:cubicBezTo>
                  <a:cubicBezTo>
                    <a:pt x="1318" y="2033"/>
                    <a:pt x="1324" y="2032"/>
                    <a:pt x="1331" y="2035"/>
                  </a:cubicBezTo>
                  <a:cubicBezTo>
                    <a:pt x="1337" y="2038"/>
                    <a:pt x="1337" y="2038"/>
                    <a:pt x="1344" y="2039"/>
                  </a:cubicBezTo>
                  <a:cubicBezTo>
                    <a:pt x="1351" y="2039"/>
                    <a:pt x="1354" y="2038"/>
                    <a:pt x="1359" y="2039"/>
                  </a:cubicBezTo>
                  <a:cubicBezTo>
                    <a:pt x="1365" y="2041"/>
                    <a:pt x="1371" y="2042"/>
                    <a:pt x="1376" y="2044"/>
                  </a:cubicBezTo>
                  <a:cubicBezTo>
                    <a:pt x="1380" y="2047"/>
                    <a:pt x="1382" y="2044"/>
                    <a:pt x="1386" y="2047"/>
                  </a:cubicBezTo>
                  <a:cubicBezTo>
                    <a:pt x="1390" y="2051"/>
                    <a:pt x="1393" y="2050"/>
                    <a:pt x="1399" y="2051"/>
                  </a:cubicBezTo>
                  <a:cubicBezTo>
                    <a:pt x="1405" y="2051"/>
                    <a:pt x="1409" y="2051"/>
                    <a:pt x="1415" y="2051"/>
                  </a:cubicBezTo>
                  <a:cubicBezTo>
                    <a:pt x="1422" y="2051"/>
                    <a:pt x="1425" y="2054"/>
                    <a:pt x="1425" y="2050"/>
                  </a:cubicBezTo>
                  <a:cubicBezTo>
                    <a:pt x="1425" y="2046"/>
                    <a:pt x="1418" y="2047"/>
                    <a:pt x="1417" y="2044"/>
                  </a:cubicBezTo>
                  <a:cubicBezTo>
                    <a:pt x="1415" y="2040"/>
                    <a:pt x="1415" y="2037"/>
                    <a:pt x="1419" y="2037"/>
                  </a:cubicBezTo>
                  <a:cubicBezTo>
                    <a:pt x="1423" y="2036"/>
                    <a:pt x="1426" y="2035"/>
                    <a:pt x="1427" y="2034"/>
                  </a:cubicBezTo>
                  <a:cubicBezTo>
                    <a:pt x="1429" y="2032"/>
                    <a:pt x="1431" y="2032"/>
                    <a:pt x="1430" y="2029"/>
                  </a:cubicBezTo>
                  <a:cubicBezTo>
                    <a:pt x="1430" y="2026"/>
                    <a:pt x="1427" y="2023"/>
                    <a:pt x="1425" y="2023"/>
                  </a:cubicBezTo>
                  <a:cubicBezTo>
                    <a:pt x="1422" y="2023"/>
                    <a:pt x="1420" y="2021"/>
                    <a:pt x="1416" y="2024"/>
                  </a:cubicBezTo>
                  <a:cubicBezTo>
                    <a:pt x="1412" y="2026"/>
                    <a:pt x="1410" y="2028"/>
                    <a:pt x="1406" y="2029"/>
                  </a:cubicBezTo>
                  <a:cubicBezTo>
                    <a:pt x="1401" y="2030"/>
                    <a:pt x="1394" y="2029"/>
                    <a:pt x="1395" y="2026"/>
                  </a:cubicBezTo>
                  <a:cubicBezTo>
                    <a:pt x="1396" y="2023"/>
                    <a:pt x="1397" y="2023"/>
                    <a:pt x="1400" y="2021"/>
                  </a:cubicBezTo>
                  <a:cubicBezTo>
                    <a:pt x="1403" y="2020"/>
                    <a:pt x="1404" y="2019"/>
                    <a:pt x="1405" y="2018"/>
                  </a:cubicBezTo>
                  <a:cubicBezTo>
                    <a:pt x="1406" y="2017"/>
                    <a:pt x="1407" y="2018"/>
                    <a:pt x="1407" y="2015"/>
                  </a:cubicBezTo>
                  <a:cubicBezTo>
                    <a:pt x="1407" y="2013"/>
                    <a:pt x="1402" y="2014"/>
                    <a:pt x="1400" y="2013"/>
                  </a:cubicBezTo>
                  <a:cubicBezTo>
                    <a:pt x="1398" y="2011"/>
                    <a:pt x="1397" y="2008"/>
                    <a:pt x="1393" y="2009"/>
                  </a:cubicBezTo>
                  <a:cubicBezTo>
                    <a:pt x="1389" y="2009"/>
                    <a:pt x="1388" y="2010"/>
                    <a:pt x="1385" y="2012"/>
                  </a:cubicBezTo>
                  <a:cubicBezTo>
                    <a:pt x="1382" y="2014"/>
                    <a:pt x="1381" y="2015"/>
                    <a:pt x="1378" y="2017"/>
                  </a:cubicBezTo>
                  <a:cubicBezTo>
                    <a:pt x="1375" y="2019"/>
                    <a:pt x="1372" y="2020"/>
                    <a:pt x="1370" y="2020"/>
                  </a:cubicBezTo>
                  <a:cubicBezTo>
                    <a:pt x="1368" y="2020"/>
                    <a:pt x="1364" y="2021"/>
                    <a:pt x="1364" y="2019"/>
                  </a:cubicBezTo>
                  <a:cubicBezTo>
                    <a:pt x="1364" y="2018"/>
                    <a:pt x="1367" y="2012"/>
                    <a:pt x="1367" y="2009"/>
                  </a:cubicBezTo>
                  <a:cubicBezTo>
                    <a:pt x="1367" y="2006"/>
                    <a:pt x="1365" y="2001"/>
                    <a:pt x="1367" y="2000"/>
                  </a:cubicBezTo>
                  <a:cubicBezTo>
                    <a:pt x="1369" y="1999"/>
                    <a:pt x="1376" y="1997"/>
                    <a:pt x="1378" y="2000"/>
                  </a:cubicBezTo>
                  <a:cubicBezTo>
                    <a:pt x="1381" y="2003"/>
                    <a:pt x="1379" y="2005"/>
                    <a:pt x="1386" y="2004"/>
                  </a:cubicBezTo>
                  <a:cubicBezTo>
                    <a:pt x="1392" y="2003"/>
                    <a:pt x="1392" y="2002"/>
                    <a:pt x="1396" y="2003"/>
                  </a:cubicBezTo>
                  <a:cubicBezTo>
                    <a:pt x="1400" y="2004"/>
                    <a:pt x="1413" y="2005"/>
                    <a:pt x="1414" y="2003"/>
                  </a:cubicBezTo>
                  <a:cubicBezTo>
                    <a:pt x="1416" y="2001"/>
                    <a:pt x="1411" y="2000"/>
                    <a:pt x="1406" y="1999"/>
                  </a:cubicBezTo>
                  <a:cubicBezTo>
                    <a:pt x="1402" y="1998"/>
                    <a:pt x="1400" y="1996"/>
                    <a:pt x="1394" y="1996"/>
                  </a:cubicBezTo>
                  <a:cubicBezTo>
                    <a:pt x="1389" y="1995"/>
                    <a:pt x="1384" y="1995"/>
                    <a:pt x="1382" y="1993"/>
                  </a:cubicBezTo>
                  <a:cubicBezTo>
                    <a:pt x="1379" y="1991"/>
                    <a:pt x="1374" y="1990"/>
                    <a:pt x="1373" y="1987"/>
                  </a:cubicBezTo>
                  <a:cubicBezTo>
                    <a:pt x="1372" y="1983"/>
                    <a:pt x="1374" y="1981"/>
                    <a:pt x="1371" y="1979"/>
                  </a:cubicBezTo>
                  <a:cubicBezTo>
                    <a:pt x="1368" y="1977"/>
                    <a:pt x="1363" y="1975"/>
                    <a:pt x="1362" y="1973"/>
                  </a:cubicBezTo>
                  <a:cubicBezTo>
                    <a:pt x="1362" y="1972"/>
                    <a:pt x="1359" y="1971"/>
                    <a:pt x="1363" y="1966"/>
                  </a:cubicBezTo>
                  <a:cubicBezTo>
                    <a:pt x="1367" y="1961"/>
                    <a:pt x="1368" y="1960"/>
                    <a:pt x="1371" y="1957"/>
                  </a:cubicBezTo>
                  <a:cubicBezTo>
                    <a:pt x="1374" y="1954"/>
                    <a:pt x="1380" y="1948"/>
                    <a:pt x="1380" y="1946"/>
                  </a:cubicBezTo>
                  <a:cubicBezTo>
                    <a:pt x="1379" y="1943"/>
                    <a:pt x="1379" y="1940"/>
                    <a:pt x="1374" y="1943"/>
                  </a:cubicBezTo>
                  <a:cubicBezTo>
                    <a:pt x="1369" y="1946"/>
                    <a:pt x="1368" y="1945"/>
                    <a:pt x="1363" y="1948"/>
                  </a:cubicBezTo>
                  <a:cubicBezTo>
                    <a:pt x="1359" y="1951"/>
                    <a:pt x="1363" y="1953"/>
                    <a:pt x="1356" y="1953"/>
                  </a:cubicBezTo>
                  <a:cubicBezTo>
                    <a:pt x="1350" y="1954"/>
                    <a:pt x="1347" y="1953"/>
                    <a:pt x="1342" y="1954"/>
                  </a:cubicBezTo>
                  <a:cubicBezTo>
                    <a:pt x="1337" y="1954"/>
                    <a:pt x="1332" y="1953"/>
                    <a:pt x="1332" y="1955"/>
                  </a:cubicBezTo>
                  <a:cubicBezTo>
                    <a:pt x="1332" y="1957"/>
                    <a:pt x="1330" y="1959"/>
                    <a:pt x="1333" y="1961"/>
                  </a:cubicBezTo>
                  <a:cubicBezTo>
                    <a:pt x="1336" y="1962"/>
                    <a:pt x="1340" y="1964"/>
                    <a:pt x="1341" y="1966"/>
                  </a:cubicBezTo>
                  <a:cubicBezTo>
                    <a:pt x="1341" y="1968"/>
                    <a:pt x="1341" y="1970"/>
                    <a:pt x="1339" y="1971"/>
                  </a:cubicBezTo>
                  <a:cubicBezTo>
                    <a:pt x="1337" y="1971"/>
                    <a:pt x="1329" y="1972"/>
                    <a:pt x="1325" y="1972"/>
                  </a:cubicBezTo>
                  <a:cubicBezTo>
                    <a:pt x="1322" y="1972"/>
                    <a:pt x="1320" y="1971"/>
                    <a:pt x="1316" y="1973"/>
                  </a:cubicBezTo>
                  <a:cubicBezTo>
                    <a:pt x="1311" y="1975"/>
                    <a:pt x="1311" y="1975"/>
                    <a:pt x="1306" y="1975"/>
                  </a:cubicBezTo>
                  <a:cubicBezTo>
                    <a:pt x="1301" y="1975"/>
                    <a:pt x="1295" y="1975"/>
                    <a:pt x="1293" y="1975"/>
                  </a:cubicBezTo>
                  <a:cubicBezTo>
                    <a:pt x="1290" y="1975"/>
                    <a:pt x="1286" y="1976"/>
                    <a:pt x="1283" y="1975"/>
                  </a:cubicBezTo>
                  <a:cubicBezTo>
                    <a:pt x="1281" y="1975"/>
                    <a:pt x="1276" y="1970"/>
                    <a:pt x="1276" y="1968"/>
                  </a:cubicBezTo>
                  <a:cubicBezTo>
                    <a:pt x="1276" y="1967"/>
                    <a:pt x="1270" y="1965"/>
                    <a:pt x="1268" y="1962"/>
                  </a:cubicBezTo>
                  <a:cubicBezTo>
                    <a:pt x="1266" y="1959"/>
                    <a:pt x="1261" y="1961"/>
                    <a:pt x="1260" y="1959"/>
                  </a:cubicBezTo>
                  <a:cubicBezTo>
                    <a:pt x="1258" y="1958"/>
                    <a:pt x="1259" y="1957"/>
                    <a:pt x="1262" y="1955"/>
                  </a:cubicBezTo>
                  <a:cubicBezTo>
                    <a:pt x="1266" y="1954"/>
                    <a:pt x="1268" y="1953"/>
                    <a:pt x="1272" y="1952"/>
                  </a:cubicBezTo>
                  <a:cubicBezTo>
                    <a:pt x="1276" y="1951"/>
                    <a:pt x="1278" y="1950"/>
                    <a:pt x="1280" y="1947"/>
                  </a:cubicBezTo>
                  <a:cubicBezTo>
                    <a:pt x="1282" y="1944"/>
                    <a:pt x="1283" y="1942"/>
                    <a:pt x="1285" y="1941"/>
                  </a:cubicBezTo>
                  <a:cubicBezTo>
                    <a:pt x="1287" y="1939"/>
                    <a:pt x="1292" y="1938"/>
                    <a:pt x="1297" y="1938"/>
                  </a:cubicBezTo>
                  <a:cubicBezTo>
                    <a:pt x="1303" y="1938"/>
                    <a:pt x="1304" y="1937"/>
                    <a:pt x="1308" y="1940"/>
                  </a:cubicBezTo>
                  <a:cubicBezTo>
                    <a:pt x="1312" y="1942"/>
                    <a:pt x="1311" y="1943"/>
                    <a:pt x="1316" y="1943"/>
                  </a:cubicBezTo>
                  <a:cubicBezTo>
                    <a:pt x="1320" y="1943"/>
                    <a:pt x="1321" y="1942"/>
                    <a:pt x="1325" y="1942"/>
                  </a:cubicBezTo>
                  <a:cubicBezTo>
                    <a:pt x="1329" y="1941"/>
                    <a:pt x="1332" y="1941"/>
                    <a:pt x="1336" y="1941"/>
                  </a:cubicBezTo>
                  <a:cubicBezTo>
                    <a:pt x="1340" y="1941"/>
                    <a:pt x="1342" y="1940"/>
                    <a:pt x="1346" y="1938"/>
                  </a:cubicBezTo>
                  <a:cubicBezTo>
                    <a:pt x="1350" y="1937"/>
                    <a:pt x="1355" y="1938"/>
                    <a:pt x="1357" y="1937"/>
                  </a:cubicBezTo>
                  <a:cubicBezTo>
                    <a:pt x="1359" y="1935"/>
                    <a:pt x="1362" y="1933"/>
                    <a:pt x="1365" y="1930"/>
                  </a:cubicBezTo>
                  <a:cubicBezTo>
                    <a:pt x="1368" y="1927"/>
                    <a:pt x="1372" y="1927"/>
                    <a:pt x="1375" y="1928"/>
                  </a:cubicBezTo>
                  <a:cubicBezTo>
                    <a:pt x="1377" y="1929"/>
                    <a:pt x="1379" y="1929"/>
                    <a:pt x="1382" y="1926"/>
                  </a:cubicBezTo>
                  <a:cubicBezTo>
                    <a:pt x="1385" y="1923"/>
                    <a:pt x="1386" y="1919"/>
                    <a:pt x="1388" y="1916"/>
                  </a:cubicBezTo>
                  <a:cubicBezTo>
                    <a:pt x="1390" y="1913"/>
                    <a:pt x="1391" y="1909"/>
                    <a:pt x="1390" y="1907"/>
                  </a:cubicBezTo>
                  <a:cubicBezTo>
                    <a:pt x="1389" y="1906"/>
                    <a:pt x="1384" y="1904"/>
                    <a:pt x="1382" y="1907"/>
                  </a:cubicBezTo>
                  <a:cubicBezTo>
                    <a:pt x="1381" y="1910"/>
                    <a:pt x="1379" y="1911"/>
                    <a:pt x="1375" y="1912"/>
                  </a:cubicBezTo>
                  <a:cubicBezTo>
                    <a:pt x="1371" y="1912"/>
                    <a:pt x="1369" y="1913"/>
                    <a:pt x="1367" y="1912"/>
                  </a:cubicBezTo>
                  <a:cubicBezTo>
                    <a:pt x="1364" y="1912"/>
                    <a:pt x="1360" y="1912"/>
                    <a:pt x="1363" y="1910"/>
                  </a:cubicBezTo>
                  <a:cubicBezTo>
                    <a:pt x="1365" y="1907"/>
                    <a:pt x="1369" y="1906"/>
                    <a:pt x="1370" y="1905"/>
                  </a:cubicBezTo>
                  <a:cubicBezTo>
                    <a:pt x="1371" y="1903"/>
                    <a:pt x="1371" y="1900"/>
                    <a:pt x="1370" y="1899"/>
                  </a:cubicBezTo>
                  <a:cubicBezTo>
                    <a:pt x="1369" y="1898"/>
                    <a:pt x="1372" y="1898"/>
                    <a:pt x="1367" y="1897"/>
                  </a:cubicBezTo>
                  <a:cubicBezTo>
                    <a:pt x="1362" y="1897"/>
                    <a:pt x="1360" y="1893"/>
                    <a:pt x="1361" y="1890"/>
                  </a:cubicBezTo>
                  <a:cubicBezTo>
                    <a:pt x="1363" y="1887"/>
                    <a:pt x="1364" y="1887"/>
                    <a:pt x="1364" y="1883"/>
                  </a:cubicBezTo>
                  <a:cubicBezTo>
                    <a:pt x="1364" y="1879"/>
                    <a:pt x="1365" y="1877"/>
                    <a:pt x="1367" y="1878"/>
                  </a:cubicBezTo>
                  <a:cubicBezTo>
                    <a:pt x="1368" y="1880"/>
                    <a:pt x="1367" y="1885"/>
                    <a:pt x="1369" y="1887"/>
                  </a:cubicBezTo>
                  <a:cubicBezTo>
                    <a:pt x="1371" y="1888"/>
                    <a:pt x="1371" y="1889"/>
                    <a:pt x="1375" y="1888"/>
                  </a:cubicBezTo>
                  <a:cubicBezTo>
                    <a:pt x="1379" y="1887"/>
                    <a:pt x="1383" y="1887"/>
                    <a:pt x="1385" y="1887"/>
                  </a:cubicBezTo>
                  <a:cubicBezTo>
                    <a:pt x="1387" y="1887"/>
                    <a:pt x="1388" y="1886"/>
                    <a:pt x="1389" y="1888"/>
                  </a:cubicBezTo>
                  <a:cubicBezTo>
                    <a:pt x="1391" y="1891"/>
                    <a:pt x="1390" y="1891"/>
                    <a:pt x="1392" y="1894"/>
                  </a:cubicBezTo>
                  <a:cubicBezTo>
                    <a:pt x="1394" y="1896"/>
                    <a:pt x="1397" y="1897"/>
                    <a:pt x="1400" y="1898"/>
                  </a:cubicBezTo>
                  <a:cubicBezTo>
                    <a:pt x="1403" y="1900"/>
                    <a:pt x="1403" y="1904"/>
                    <a:pt x="1406" y="1903"/>
                  </a:cubicBezTo>
                  <a:cubicBezTo>
                    <a:pt x="1409" y="1901"/>
                    <a:pt x="1411" y="1900"/>
                    <a:pt x="1410" y="1898"/>
                  </a:cubicBezTo>
                  <a:cubicBezTo>
                    <a:pt x="1409" y="1895"/>
                    <a:pt x="1406" y="1892"/>
                    <a:pt x="1408" y="1890"/>
                  </a:cubicBezTo>
                  <a:cubicBezTo>
                    <a:pt x="1409" y="1889"/>
                    <a:pt x="1412" y="1888"/>
                    <a:pt x="1415" y="1889"/>
                  </a:cubicBezTo>
                  <a:cubicBezTo>
                    <a:pt x="1417" y="1891"/>
                    <a:pt x="1420" y="1883"/>
                    <a:pt x="1419" y="1883"/>
                  </a:cubicBezTo>
                  <a:cubicBezTo>
                    <a:pt x="1419" y="1882"/>
                    <a:pt x="1417" y="1881"/>
                    <a:pt x="1414" y="1881"/>
                  </a:cubicBezTo>
                  <a:cubicBezTo>
                    <a:pt x="1412" y="1880"/>
                    <a:pt x="1409" y="1881"/>
                    <a:pt x="1406" y="1882"/>
                  </a:cubicBezTo>
                  <a:cubicBezTo>
                    <a:pt x="1403" y="1883"/>
                    <a:pt x="1398" y="1880"/>
                    <a:pt x="1399" y="1879"/>
                  </a:cubicBezTo>
                  <a:cubicBezTo>
                    <a:pt x="1400" y="1878"/>
                    <a:pt x="1409" y="1876"/>
                    <a:pt x="1411" y="1877"/>
                  </a:cubicBezTo>
                  <a:cubicBezTo>
                    <a:pt x="1414" y="1877"/>
                    <a:pt x="1418" y="1877"/>
                    <a:pt x="1421" y="1876"/>
                  </a:cubicBezTo>
                  <a:cubicBezTo>
                    <a:pt x="1424" y="1875"/>
                    <a:pt x="1425" y="1868"/>
                    <a:pt x="1424" y="1866"/>
                  </a:cubicBezTo>
                  <a:cubicBezTo>
                    <a:pt x="1423" y="1865"/>
                    <a:pt x="1422" y="1863"/>
                    <a:pt x="1418" y="1864"/>
                  </a:cubicBezTo>
                  <a:cubicBezTo>
                    <a:pt x="1413" y="1866"/>
                    <a:pt x="1409" y="1866"/>
                    <a:pt x="1407" y="1866"/>
                  </a:cubicBezTo>
                  <a:cubicBezTo>
                    <a:pt x="1406" y="1866"/>
                    <a:pt x="1404" y="1864"/>
                    <a:pt x="1405" y="1862"/>
                  </a:cubicBezTo>
                  <a:cubicBezTo>
                    <a:pt x="1406" y="1860"/>
                    <a:pt x="1407" y="1858"/>
                    <a:pt x="1407" y="1856"/>
                  </a:cubicBezTo>
                  <a:cubicBezTo>
                    <a:pt x="1407" y="1854"/>
                    <a:pt x="1407" y="1851"/>
                    <a:pt x="1404" y="1851"/>
                  </a:cubicBezTo>
                  <a:cubicBezTo>
                    <a:pt x="1401" y="1851"/>
                    <a:pt x="1398" y="1851"/>
                    <a:pt x="1398" y="1855"/>
                  </a:cubicBezTo>
                  <a:cubicBezTo>
                    <a:pt x="1398" y="1858"/>
                    <a:pt x="1398" y="1859"/>
                    <a:pt x="1394" y="1862"/>
                  </a:cubicBezTo>
                  <a:cubicBezTo>
                    <a:pt x="1391" y="1865"/>
                    <a:pt x="1388" y="1865"/>
                    <a:pt x="1386" y="1866"/>
                  </a:cubicBezTo>
                  <a:cubicBezTo>
                    <a:pt x="1384" y="1866"/>
                    <a:pt x="1381" y="1865"/>
                    <a:pt x="1379" y="1867"/>
                  </a:cubicBezTo>
                  <a:cubicBezTo>
                    <a:pt x="1378" y="1869"/>
                    <a:pt x="1373" y="1870"/>
                    <a:pt x="1372" y="1869"/>
                  </a:cubicBezTo>
                  <a:cubicBezTo>
                    <a:pt x="1372" y="1867"/>
                    <a:pt x="1370" y="1865"/>
                    <a:pt x="1372" y="1863"/>
                  </a:cubicBezTo>
                  <a:cubicBezTo>
                    <a:pt x="1374" y="1861"/>
                    <a:pt x="1374" y="1862"/>
                    <a:pt x="1374" y="1858"/>
                  </a:cubicBezTo>
                  <a:cubicBezTo>
                    <a:pt x="1375" y="1853"/>
                    <a:pt x="1375" y="1850"/>
                    <a:pt x="1376" y="1848"/>
                  </a:cubicBezTo>
                  <a:cubicBezTo>
                    <a:pt x="1377" y="1845"/>
                    <a:pt x="1380" y="1842"/>
                    <a:pt x="1384" y="1841"/>
                  </a:cubicBezTo>
                  <a:cubicBezTo>
                    <a:pt x="1388" y="1840"/>
                    <a:pt x="1392" y="1839"/>
                    <a:pt x="1397" y="1840"/>
                  </a:cubicBezTo>
                  <a:cubicBezTo>
                    <a:pt x="1402" y="1841"/>
                    <a:pt x="1406" y="1841"/>
                    <a:pt x="1408" y="1839"/>
                  </a:cubicBezTo>
                  <a:cubicBezTo>
                    <a:pt x="1410" y="1837"/>
                    <a:pt x="1410" y="1836"/>
                    <a:pt x="1413" y="1836"/>
                  </a:cubicBezTo>
                  <a:cubicBezTo>
                    <a:pt x="1416" y="1835"/>
                    <a:pt x="1417" y="1833"/>
                    <a:pt x="1415" y="1832"/>
                  </a:cubicBezTo>
                  <a:cubicBezTo>
                    <a:pt x="1412" y="1831"/>
                    <a:pt x="1412" y="1830"/>
                    <a:pt x="1409" y="1831"/>
                  </a:cubicBezTo>
                  <a:cubicBezTo>
                    <a:pt x="1407" y="1832"/>
                    <a:pt x="1407" y="1832"/>
                    <a:pt x="1404" y="1833"/>
                  </a:cubicBezTo>
                  <a:cubicBezTo>
                    <a:pt x="1401" y="1834"/>
                    <a:pt x="1396" y="1834"/>
                    <a:pt x="1393" y="1835"/>
                  </a:cubicBezTo>
                  <a:cubicBezTo>
                    <a:pt x="1390" y="1835"/>
                    <a:pt x="1383" y="1836"/>
                    <a:pt x="1382" y="1833"/>
                  </a:cubicBezTo>
                  <a:cubicBezTo>
                    <a:pt x="1381" y="1830"/>
                    <a:pt x="1380" y="1827"/>
                    <a:pt x="1383" y="1826"/>
                  </a:cubicBezTo>
                  <a:cubicBezTo>
                    <a:pt x="1385" y="1825"/>
                    <a:pt x="1389" y="1824"/>
                    <a:pt x="1392" y="1825"/>
                  </a:cubicBezTo>
                  <a:cubicBezTo>
                    <a:pt x="1394" y="1827"/>
                    <a:pt x="1394" y="1827"/>
                    <a:pt x="1397" y="1827"/>
                  </a:cubicBezTo>
                  <a:cubicBezTo>
                    <a:pt x="1400" y="1827"/>
                    <a:pt x="1403" y="1829"/>
                    <a:pt x="1404" y="1826"/>
                  </a:cubicBezTo>
                  <a:cubicBezTo>
                    <a:pt x="1406" y="1823"/>
                    <a:pt x="1405" y="1822"/>
                    <a:pt x="1404" y="1820"/>
                  </a:cubicBezTo>
                  <a:cubicBezTo>
                    <a:pt x="1403" y="1819"/>
                    <a:pt x="1400" y="1818"/>
                    <a:pt x="1399" y="1817"/>
                  </a:cubicBezTo>
                  <a:cubicBezTo>
                    <a:pt x="1398" y="1816"/>
                    <a:pt x="1396" y="1815"/>
                    <a:pt x="1397" y="1813"/>
                  </a:cubicBezTo>
                  <a:cubicBezTo>
                    <a:pt x="1398" y="1811"/>
                    <a:pt x="1401" y="1810"/>
                    <a:pt x="1404" y="1811"/>
                  </a:cubicBezTo>
                  <a:cubicBezTo>
                    <a:pt x="1407" y="1812"/>
                    <a:pt x="1409" y="1814"/>
                    <a:pt x="1412" y="1812"/>
                  </a:cubicBezTo>
                  <a:cubicBezTo>
                    <a:pt x="1416" y="1811"/>
                    <a:pt x="1418" y="1811"/>
                    <a:pt x="1418" y="1808"/>
                  </a:cubicBezTo>
                  <a:cubicBezTo>
                    <a:pt x="1418" y="1806"/>
                    <a:pt x="1418" y="1804"/>
                    <a:pt x="1415" y="1803"/>
                  </a:cubicBezTo>
                  <a:cubicBezTo>
                    <a:pt x="1411" y="1803"/>
                    <a:pt x="1404" y="1798"/>
                    <a:pt x="1404" y="1795"/>
                  </a:cubicBezTo>
                  <a:cubicBezTo>
                    <a:pt x="1404" y="1793"/>
                    <a:pt x="1403" y="1791"/>
                    <a:pt x="1401" y="1789"/>
                  </a:cubicBezTo>
                  <a:cubicBezTo>
                    <a:pt x="1399" y="1787"/>
                    <a:pt x="1397" y="1784"/>
                    <a:pt x="1398" y="1783"/>
                  </a:cubicBezTo>
                  <a:cubicBezTo>
                    <a:pt x="1398" y="1782"/>
                    <a:pt x="1401" y="1780"/>
                    <a:pt x="1405" y="1780"/>
                  </a:cubicBezTo>
                  <a:cubicBezTo>
                    <a:pt x="1408" y="1781"/>
                    <a:pt x="1412" y="1780"/>
                    <a:pt x="1413" y="1778"/>
                  </a:cubicBezTo>
                  <a:cubicBezTo>
                    <a:pt x="1415" y="1777"/>
                    <a:pt x="1414" y="1773"/>
                    <a:pt x="1412" y="1773"/>
                  </a:cubicBezTo>
                  <a:cubicBezTo>
                    <a:pt x="1411" y="1773"/>
                    <a:pt x="1406" y="1771"/>
                    <a:pt x="1404" y="1773"/>
                  </a:cubicBezTo>
                  <a:cubicBezTo>
                    <a:pt x="1403" y="1775"/>
                    <a:pt x="1403" y="1778"/>
                    <a:pt x="1400" y="1778"/>
                  </a:cubicBezTo>
                  <a:cubicBezTo>
                    <a:pt x="1397" y="1778"/>
                    <a:pt x="1396" y="1777"/>
                    <a:pt x="1393" y="1778"/>
                  </a:cubicBezTo>
                  <a:cubicBezTo>
                    <a:pt x="1390" y="1779"/>
                    <a:pt x="1389" y="1779"/>
                    <a:pt x="1387" y="1780"/>
                  </a:cubicBezTo>
                  <a:cubicBezTo>
                    <a:pt x="1386" y="1781"/>
                    <a:pt x="1377" y="1779"/>
                    <a:pt x="1377" y="1779"/>
                  </a:cubicBezTo>
                  <a:cubicBezTo>
                    <a:pt x="1377" y="1779"/>
                    <a:pt x="1373" y="1778"/>
                    <a:pt x="1371" y="1776"/>
                  </a:cubicBezTo>
                  <a:cubicBezTo>
                    <a:pt x="1368" y="1774"/>
                    <a:pt x="1369" y="1771"/>
                    <a:pt x="1364" y="1772"/>
                  </a:cubicBezTo>
                  <a:cubicBezTo>
                    <a:pt x="1359" y="1772"/>
                    <a:pt x="1355" y="1775"/>
                    <a:pt x="1353" y="1776"/>
                  </a:cubicBezTo>
                  <a:cubicBezTo>
                    <a:pt x="1351" y="1778"/>
                    <a:pt x="1348" y="1779"/>
                    <a:pt x="1343" y="1779"/>
                  </a:cubicBezTo>
                  <a:cubicBezTo>
                    <a:pt x="1339" y="1780"/>
                    <a:pt x="1333" y="1781"/>
                    <a:pt x="1330" y="1780"/>
                  </a:cubicBezTo>
                  <a:cubicBezTo>
                    <a:pt x="1328" y="1778"/>
                    <a:pt x="1322" y="1777"/>
                    <a:pt x="1317" y="1776"/>
                  </a:cubicBezTo>
                  <a:cubicBezTo>
                    <a:pt x="1312" y="1775"/>
                    <a:pt x="1309" y="1773"/>
                    <a:pt x="1304" y="1770"/>
                  </a:cubicBezTo>
                  <a:cubicBezTo>
                    <a:pt x="1300" y="1767"/>
                    <a:pt x="1290" y="1763"/>
                    <a:pt x="1286" y="1762"/>
                  </a:cubicBezTo>
                  <a:cubicBezTo>
                    <a:pt x="1282" y="1761"/>
                    <a:pt x="1274" y="1761"/>
                    <a:pt x="1263" y="1756"/>
                  </a:cubicBezTo>
                  <a:cubicBezTo>
                    <a:pt x="1252" y="1750"/>
                    <a:pt x="1231" y="1742"/>
                    <a:pt x="1227" y="1740"/>
                  </a:cubicBezTo>
                  <a:cubicBezTo>
                    <a:pt x="1223" y="1738"/>
                    <a:pt x="1215" y="1736"/>
                    <a:pt x="1205" y="1733"/>
                  </a:cubicBezTo>
                  <a:cubicBezTo>
                    <a:pt x="1196" y="1730"/>
                    <a:pt x="1189" y="1728"/>
                    <a:pt x="1181" y="1724"/>
                  </a:cubicBezTo>
                  <a:cubicBezTo>
                    <a:pt x="1172" y="1721"/>
                    <a:pt x="1160" y="1716"/>
                    <a:pt x="1154" y="1713"/>
                  </a:cubicBezTo>
                  <a:cubicBezTo>
                    <a:pt x="1149" y="1709"/>
                    <a:pt x="1141" y="1708"/>
                    <a:pt x="1142" y="1704"/>
                  </a:cubicBezTo>
                  <a:cubicBezTo>
                    <a:pt x="1144" y="1700"/>
                    <a:pt x="1147" y="1697"/>
                    <a:pt x="1158" y="1692"/>
                  </a:cubicBezTo>
                  <a:cubicBezTo>
                    <a:pt x="1169" y="1687"/>
                    <a:pt x="1165" y="1685"/>
                    <a:pt x="1180" y="1688"/>
                  </a:cubicBezTo>
                  <a:cubicBezTo>
                    <a:pt x="1194" y="1691"/>
                    <a:pt x="1201" y="1697"/>
                    <a:pt x="1209" y="1697"/>
                  </a:cubicBezTo>
                  <a:cubicBezTo>
                    <a:pt x="1216" y="1697"/>
                    <a:pt x="1213" y="1695"/>
                    <a:pt x="1228" y="1694"/>
                  </a:cubicBezTo>
                  <a:cubicBezTo>
                    <a:pt x="1243" y="1693"/>
                    <a:pt x="1239" y="1692"/>
                    <a:pt x="1256" y="1697"/>
                  </a:cubicBezTo>
                  <a:cubicBezTo>
                    <a:pt x="1273" y="1703"/>
                    <a:pt x="1278" y="1699"/>
                    <a:pt x="1288" y="1706"/>
                  </a:cubicBezTo>
                  <a:cubicBezTo>
                    <a:pt x="1299" y="1712"/>
                    <a:pt x="1305" y="1713"/>
                    <a:pt x="1312" y="1720"/>
                  </a:cubicBezTo>
                  <a:cubicBezTo>
                    <a:pt x="1319" y="1726"/>
                    <a:pt x="1317" y="1726"/>
                    <a:pt x="1330" y="1731"/>
                  </a:cubicBezTo>
                  <a:cubicBezTo>
                    <a:pt x="1342" y="1736"/>
                    <a:pt x="1350" y="1734"/>
                    <a:pt x="1357" y="1737"/>
                  </a:cubicBezTo>
                  <a:cubicBezTo>
                    <a:pt x="1363" y="1740"/>
                    <a:pt x="1373" y="1744"/>
                    <a:pt x="1379" y="1745"/>
                  </a:cubicBezTo>
                  <a:cubicBezTo>
                    <a:pt x="1385" y="1745"/>
                    <a:pt x="1396" y="1746"/>
                    <a:pt x="1395" y="1741"/>
                  </a:cubicBezTo>
                  <a:cubicBezTo>
                    <a:pt x="1395" y="1736"/>
                    <a:pt x="1392" y="1734"/>
                    <a:pt x="1394" y="1731"/>
                  </a:cubicBezTo>
                  <a:cubicBezTo>
                    <a:pt x="1396" y="1728"/>
                    <a:pt x="1401" y="1721"/>
                    <a:pt x="1397" y="1721"/>
                  </a:cubicBezTo>
                  <a:cubicBezTo>
                    <a:pt x="1393" y="1721"/>
                    <a:pt x="1386" y="1727"/>
                    <a:pt x="1385" y="1731"/>
                  </a:cubicBezTo>
                  <a:cubicBezTo>
                    <a:pt x="1385" y="1734"/>
                    <a:pt x="1381" y="1736"/>
                    <a:pt x="1378" y="1734"/>
                  </a:cubicBezTo>
                  <a:cubicBezTo>
                    <a:pt x="1374" y="1731"/>
                    <a:pt x="1362" y="1728"/>
                    <a:pt x="1365" y="1725"/>
                  </a:cubicBezTo>
                  <a:cubicBezTo>
                    <a:pt x="1369" y="1723"/>
                    <a:pt x="1375" y="1722"/>
                    <a:pt x="1378" y="1723"/>
                  </a:cubicBezTo>
                  <a:cubicBezTo>
                    <a:pt x="1381" y="1723"/>
                    <a:pt x="1383" y="1721"/>
                    <a:pt x="1381" y="1716"/>
                  </a:cubicBezTo>
                  <a:cubicBezTo>
                    <a:pt x="1380" y="1712"/>
                    <a:pt x="1381" y="1708"/>
                    <a:pt x="1385" y="1708"/>
                  </a:cubicBezTo>
                  <a:cubicBezTo>
                    <a:pt x="1389" y="1708"/>
                    <a:pt x="1393" y="1707"/>
                    <a:pt x="1390" y="1704"/>
                  </a:cubicBezTo>
                  <a:cubicBezTo>
                    <a:pt x="1387" y="1701"/>
                    <a:pt x="1384" y="1700"/>
                    <a:pt x="1380" y="1703"/>
                  </a:cubicBezTo>
                  <a:cubicBezTo>
                    <a:pt x="1376" y="1705"/>
                    <a:pt x="1367" y="1706"/>
                    <a:pt x="1367" y="1703"/>
                  </a:cubicBezTo>
                  <a:cubicBezTo>
                    <a:pt x="1366" y="1700"/>
                    <a:pt x="1365" y="1695"/>
                    <a:pt x="1370" y="1695"/>
                  </a:cubicBezTo>
                  <a:cubicBezTo>
                    <a:pt x="1375" y="1695"/>
                    <a:pt x="1378" y="1697"/>
                    <a:pt x="1381" y="1695"/>
                  </a:cubicBezTo>
                  <a:cubicBezTo>
                    <a:pt x="1383" y="1694"/>
                    <a:pt x="1384" y="1692"/>
                    <a:pt x="1384" y="1689"/>
                  </a:cubicBezTo>
                  <a:cubicBezTo>
                    <a:pt x="1383" y="1687"/>
                    <a:pt x="1378" y="1679"/>
                    <a:pt x="1373" y="1681"/>
                  </a:cubicBezTo>
                  <a:cubicBezTo>
                    <a:pt x="1368" y="1683"/>
                    <a:pt x="1357" y="1687"/>
                    <a:pt x="1355" y="1686"/>
                  </a:cubicBezTo>
                  <a:cubicBezTo>
                    <a:pt x="1353" y="1685"/>
                    <a:pt x="1349" y="1681"/>
                    <a:pt x="1345" y="1679"/>
                  </a:cubicBezTo>
                  <a:cubicBezTo>
                    <a:pt x="1342" y="1676"/>
                    <a:pt x="1334" y="1674"/>
                    <a:pt x="1331" y="1673"/>
                  </a:cubicBezTo>
                  <a:cubicBezTo>
                    <a:pt x="1329" y="1672"/>
                    <a:pt x="1316" y="1664"/>
                    <a:pt x="1321" y="1663"/>
                  </a:cubicBezTo>
                  <a:cubicBezTo>
                    <a:pt x="1327" y="1663"/>
                    <a:pt x="1329" y="1665"/>
                    <a:pt x="1334" y="1668"/>
                  </a:cubicBezTo>
                  <a:cubicBezTo>
                    <a:pt x="1338" y="1670"/>
                    <a:pt x="1344" y="1673"/>
                    <a:pt x="1350" y="1673"/>
                  </a:cubicBezTo>
                  <a:cubicBezTo>
                    <a:pt x="1356" y="1674"/>
                    <a:pt x="1359" y="1674"/>
                    <a:pt x="1363" y="1671"/>
                  </a:cubicBezTo>
                  <a:cubicBezTo>
                    <a:pt x="1367" y="1668"/>
                    <a:pt x="1368" y="1663"/>
                    <a:pt x="1365" y="1663"/>
                  </a:cubicBezTo>
                  <a:cubicBezTo>
                    <a:pt x="1362" y="1663"/>
                    <a:pt x="1360" y="1664"/>
                    <a:pt x="1356" y="1663"/>
                  </a:cubicBezTo>
                  <a:cubicBezTo>
                    <a:pt x="1352" y="1662"/>
                    <a:pt x="1341" y="1658"/>
                    <a:pt x="1344" y="1656"/>
                  </a:cubicBezTo>
                  <a:cubicBezTo>
                    <a:pt x="1346" y="1654"/>
                    <a:pt x="1348" y="1652"/>
                    <a:pt x="1345" y="1651"/>
                  </a:cubicBezTo>
                  <a:cubicBezTo>
                    <a:pt x="1342" y="1651"/>
                    <a:pt x="1335" y="1649"/>
                    <a:pt x="1332" y="1650"/>
                  </a:cubicBezTo>
                  <a:cubicBezTo>
                    <a:pt x="1328" y="1652"/>
                    <a:pt x="1321" y="1654"/>
                    <a:pt x="1318" y="1654"/>
                  </a:cubicBezTo>
                  <a:cubicBezTo>
                    <a:pt x="1315" y="1654"/>
                    <a:pt x="1303" y="1654"/>
                    <a:pt x="1303" y="1652"/>
                  </a:cubicBezTo>
                  <a:cubicBezTo>
                    <a:pt x="1303" y="1650"/>
                    <a:pt x="1305" y="1646"/>
                    <a:pt x="1310" y="1645"/>
                  </a:cubicBezTo>
                  <a:cubicBezTo>
                    <a:pt x="1315" y="1644"/>
                    <a:pt x="1322" y="1643"/>
                    <a:pt x="1324" y="1642"/>
                  </a:cubicBezTo>
                  <a:cubicBezTo>
                    <a:pt x="1326" y="1640"/>
                    <a:pt x="1327" y="1631"/>
                    <a:pt x="1327" y="1631"/>
                  </a:cubicBezTo>
                  <a:cubicBezTo>
                    <a:pt x="1327" y="1631"/>
                    <a:pt x="1322" y="1629"/>
                    <a:pt x="1319" y="1632"/>
                  </a:cubicBezTo>
                  <a:cubicBezTo>
                    <a:pt x="1315" y="1635"/>
                    <a:pt x="1310" y="1638"/>
                    <a:pt x="1306" y="1638"/>
                  </a:cubicBezTo>
                  <a:cubicBezTo>
                    <a:pt x="1302" y="1639"/>
                    <a:pt x="1294" y="1640"/>
                    <a:pt x="1291" y="1643"/>
                  </a:cubicBezTo>
                  <a:cubicBezTo>
                    <a:pt x="1288" y="1645"/>
                    <a:pt x="1282" y="1641"/>
                    <a:pt x="1285" y="1638"/>
                  </a:cubicBezTo>
                  <a:cubicBezTo>
                    <a:pt x="1287" y="1636"/>
                    <a:pt x="1292" y="1636"/>
                    <a:pt x="1294" y="1632"/>
                  </a:cubicBezTo>
                  <a:cubicBezTo>
                    <a:pt x="1295" y="1628"/>
                    <a:pt x="1296" y="1628"/>
                    <a:pt x="1304" y="1626"/>
                  </a:cubicBezTo>
                  <a:cubicBezTo>
                    <a:pt x="1311" y="1624"/>
                    <a:pt x="1316" y="1619"/>
                    <a:pt x="1323" y="1618"/>
                  </a:cubicBezTo>
                  <a:cubicBezTo>
                    <a:pt x="1330" y="1618"/>
                    <a:pt x="1341" y="1618"/>
                    <a:pt x="1342" y="1614"/>
                  </a:cubicBezTo>
                  <a:cubicBezTo>
                    <a:pt x="1343" y="1610"/>
                    <a:pt x="1330" y="1610"/>
                    <a:pt x="1325" y="1612"/>
                  </a:cubicBezTo>
                  <a:cubicBezTo>
                    <a:pt x="1320" y="1614"/>
                    <a:pt x="1316" y="1614"/>
                    <a:pt x="1307" y="1616"/>
                  </a:cubicBezTo>
                  <a:cubicBezTo>
                    <a:pt x="1298" y="1619"/>
                    <a:pt x="1290" y="1623"/>
                    <a:pt x="1288" y="1625"/>
                  </a:cubicBezTo>
                  <a:cubicBezTo>
                    <a:pt x="1285" y="1627"/>
                    <a:pt x="1269" y="1629"/>
                    <a:pt x="1264" y="1626"/>
                  </a:cubicBezTo>
                  <a:cubicBezTo>
                    <a:pt x="1259" y="1623"/>
                    <a:pt x="1255" y="1622"/>
                    <a:pt x="1249" y="1622"/>
                  </a:cubicBezTo>
                  <a:cubicBezTo>
                    <a:pt x="1243" y="1622"/>
                    <a:pt x="1236" y="1621"/>
                    <a:pt x="1240" y="1617"/>
                  </a:cubicBezTo>
                  <a:cubicBezTo>
                    <a:pt x="1244" y="1614"/>
                    <a:pt x="1249" y="1614"/>
                    <a:pt x="1257" y="1611"/>
                  </a:cubicBezTo>
                  <a:cubicBezTo>
                    <a:pt x="1266" y="1608"/>
                    <a:pt x="1266" y="1607"/>
                    <a:pt x="1274" y="1604"/>
                  </a:cubicBezTo>
                  <a:cubicBezTo>
                    <a:pt x="1281" y="1602"/>
                    <a:pt x="1288" y="1601"/>
                    <a:pt x="1294" y="1602"/>
                  </a:cubicBezTo>
                  <a:cubicBezTo>
                    <a:pt x="1301" y="1603"/>
                    <a:pt x="1304" y="1606"/>
                    <a:pt x="1311" y="1601"/>
                  </a:cubicBezTo>
                  <a:cubicBezTo>
                    <a:pt x="1318" y="1597"/>
                    <a:pt x="1325" y="1591"/>
                    <a:pt x="1325" y="1588"/>
                  </a:cubicBezTo>
                  <a:cubicBezTo>
                    <a:pt x="1324" y="1586"/>
                    <a:pt x="1319" y="1583"/>
                    <a:pt x="1313" y="1590"/>
                  </a:cubicBezTo>
                  <a:cubicBezTo>
                    <a:pt x="1308" y="1596"/>
                    <a:pt x="1299" y="1599"/>
                    <a:pt x="1295" y="1597"/>
                  </a:cubicBezTo>
                  <a:cubicBezTo>
                    <a:pt x="1291" y="1596"/>
                    <a:pt x="1286" y="1594"/>
                    <a:pt x="1281" y="1593"/>
                  </a:cubicBezTo>
                  <a:cubicBezTo>
                    <a:pt x="1277" y="1591"/>
                    <a:pt x="1269" y="1588"/>
                    <a:pt x="1266" y="1587"/>
                  </a:cubicBezTo>
                  <a:cubicBezTo>
                    <a:pt x="1264" y="1587"/>
                    <a:pt x="1265" y="1587"/>
                    <a:pt x="1260" y="1587"/>
                  </a:cubicBezTo>
                  <a:cubicBezTo>
                    <a:pt x="1255" y="1588"/>
                    <a:pt x="1244" y="1590"/>
                    <a:pt x="1243" y="1585"/>
                  </a:cubicBezTo>
                  <a:cubicBezTo>
                    <a:pt x="1242" y="1581"/>
                    <a:pt x="1247" y="1576"/>
                    <a:pt x="1250" y="1573"/>
                  </a:cubicBezTo>
                  <a:cubicBezTo>
                    <a:pt x="1253" y="1570"/>
                    <a:pt x="1255" y="1569"/>
                    <a:pt x="1255" y="1564"/>
                  </a:cubicBezTo>
                  <a:cubicBezTo>
                    <a:pt x="1256" y="1560"/>
                    <a:pt x="1261" y="1560"/>
                    <a:pt x="1263" y="1555"/>
                  </a:cubicBezTo>
                  <a:cubicBezTo>
                    <a:pt x="1264" y="1550"/>
                    <a:pt x="1261" y="1545"/>
                    <a:pt x="1253" y="1551"/>
                  </a:cubicBezTo>
                  <a:cubicBezTo>
                    <a:pt x="1244" y="1557"/>
                    <a:pt x="1240" y="1555"/>
                    <a:pt x="1239" y="1562"/>
                  </a:cubicBezTo>
                  <a:cubicBezTo>
                    <a:pt x="1239" y="1569"/>
                    <a:pt x="1237" y="1573"/>
                    <a:pt x="1231" y="1574"/>
                  </a:cubicBezTo>
                  <a:cubicBezTo>
                    <a:pt x="1225" y="1574"/>
                    <a:pt x="1217" y="1577"/>
                    <a:pt x="1218" y="1572"/>
                  </a:cubicBezTo>
                  <a:cubicBezTo>
                    <a:pt x="1219" y="1567"/>
                    <a:pt x="1222" y="1562"/>
                    <a:pt x="1220" y="1556"/>
                  </a:cubicBezTo>
                  <a:cubicBezTo>
                    <a:pt x="1219" y="1550"/>
                    <a:pt x="1217" y="1548"/>
                    <a:pt x="1212" y="1544"/>
                  </a:cubicBezTo>
                  <a:cubicBezTo>
                    <a:pt x="1206" y="1541"/>
                    <a:pt x="1202" y="1542"/>
                    <a:pt x="1200" y="1537"/>
                  </a:cubicBezTo>
                  <a:cubicBezTo>
                    <a:pt x="1198" y="1531"/>
                    <a:pt x="1193" y="1524"/>
                    <a:pt x="1195" y="1522"/>
                  </a:cubicBezTo>
                  <a:cubicBezTo>
                    <a:pt x="1198" y="1520"/>
                    <a:pt x="1202" y="1519"/>
                    <a:pt x="1204" y="1517"/>
                  </a:cubicBezTo>
                  <a:cubicBezTo>
                    <a:pt x="1206" y="1516"/>
                    <a:pt x="1210" y="1510"/>
                    <a:pt x="1205" y="1511"/>
                  </a:cubicBezTo>
                  <a:cubicBezTo>
                    <a:pt x="1200" y="1511"/>
                    <a:pt x="1200" y="1514"/>
                    <a:pt x="1194" y="1515"/>
                  </a:cubicBezTo>
                  <a:cubicBezTo>
                    <a:pt x="1188" y="1516"/>
                    <a:pt x="1184" y="1513"/>
                    <a:pt x="1183" y="1518"/>
                  </a:cubicBezTo>
                  <a:cubicBezTo>
                    <a:pt x="1182" y="1523"/>
                    <a:pt x="1181" y="1526"/>
                    <a:pt x="1186" y="1530"/>
                  </a:cubicBezTo>
                  <a:cubicBezTo>
                    <a:pt x="1192" y="1533"/>
                    <a:pt x="1193" y="1534"/>
                    <a:pt x="1193" y="1540"/>
                  </a:cubicBezTo>
                  <a:cubicBezTo>
                    <a:pt x="1194" y="1546"/>
                    <a:pt x="1190" y="1544"/>
                    <a:pt x="1198" y="1551"/>
                  </a:cubicBezTo>
                  <a:cubicBezTo>
                    <a:pt x="1205" y="1559"/>
                    <a:pt x="1206" y="1556"/>
                    <a:pt x="1209" y="1563"/>
                  </a:cubicBezTo>
                  <a:cubicBezTo>
                    <a:pt x="1211" y="1570"/>
                    <a:pt x="1212" y="1572"/>
                    <a:pt x="1207" y="1575"/>
                  </a:cubicBezTo>
                  <a:cubicBezTo>
                    <a:pt x="1203" y="1578"/>
                    <a:pt x="1198" y="1576"/>
                    <a:pt x="1196" y="1579"/>
                  </a:cubicBezTo>
                  <a:cubicBezTo>
                    <a:pt x="1193" y="1582"/>
                    <a:pt x="1195" y="1591"/>
                    <a:pt x="1193" y="1592"/>
                  </a:cubicBezTo>
                  <a:cubicBezTo>
                    <a:pt x="1190" y="1594"/>
                    <a:pt x="1184" y="1591"/>
                    <a:pt x="1183" y="1589"/>
                  </a:cubicBezTo>
                  <a:cubicBezTo>
                    <a:pt x="1181" y="1586"/>
                    <a:pt x="1178" y="1583"/>
                    <a:pt x="1177" y="1586"/>
                  </a:cubicBezTo>
                  <a:cubicBezTo>
                    <a:pt x="1175" y="1589"/>
                    <a:pt x="1176" y="1596"/>
                    <a:pt x="1181" y="1599"/>
                  </a:cubicBezTo>
                  <a:cubicBezTo>
                    <a:pt x="1186" y="1602"/>
                    <a:pt x="1189" y="1607"/>
                    <a:pt x="1187" y="1611"/>
                  </a:cubicBezTo>
                  <a:cubicBezTo>
                    <a:pt x="1186" y="1615"/>
                    <a:pt x="1183" y="1618"/>
                    <a:pt x="1178" y="1619"/>
                  </a:cubicBezTo>
                  <a:cubicBezTo>
                    <a:pt x="1172" y="1619"/>
                    <a:pt x="1168" y="1618"/>
                    <a:pt x="1165" y="1620"/>
                  </a:cubicBezTo>
                  <a:cubicBezTo>
                    <a:pt x="1161" y="1623"/>
                    <a:pt x="1157" y="1627"/>
                    <a:pt x="1152" y="1627"/>
                  </a:cubicBezTo>
                  <a:cubicBezTo>
                    <a:pt x="1147" y="1627"/>
                    <a:pt x="1143" y="1630"/>
                    <a:pt x="1137" y="1628"/>
                  </a:cubicBezTo>
                  <a:cubicBezTo>
                    <a:pt x="1131" y="1627"/>
                    <a:pt x="1125" y="1624"/>
                    <a:pt x="1120" y="1620"/>
                  </a:cubicBezTo>
                  <a:cubicBezTo>
                    <a:pt x="1116" y="1616"/>
                    <a:pt x="1117" y="1615"/>
                    <a:pt x="1104" y="1610"/>
                  </a:cubicBezTo>
                  <a:cubicBezTo>
                    <a:pt x="1092" y="1606"/>
                    <a:pt x="1087" y="1604"/>
                    <a:pt x="1086" y="1601"/>
                  </a:cubicBezTo>
                  <a:cubicBezTo>
                    <a:pt x="1084" y="1598"/>
                    <a:pt x="1074" y="1597"/>
                    <a:pt x="1072" y="1593"/>
                  </a:cubicBezTo>
                  <a:cubicBezTo>
                    <a:pt x="1070" y="1588"/>
                    <a:pt x="1074" y="1587"/>
                    <a:pt x="1078" y="1585"/>
                  </a:cubicBezTo>
                  <a:cubicBezTo>
                    <a:pt x="1082" y="1584"/>
                    <a:pt x="1085" y="1581"/>
                    <a:pt x="1089" y="1580"/>
                  </a:cubicBezTo>
                  <a:cubicBezTo>
                    <a:pt x="1093" y="1580"/>
                    <a:pt x="1093" y="1582"/>
                    <a:pt x="1099" y="1582"/>
                  </a:cubicBezTo>
                  <a:cubicBezTo>
                    <a:pt x="1104" y="1581"/>
                    <a:pt x="1102" y="1574"/>
                    <a:pt x="1106" y="1572"/>
                  </a:cubicBezTo>
                  <a:cubicBezTo>
                    <a:pt x="1110" y="1570"/>
                    <a:pt x="1115" y="1570"/>
                    <a:pt x="1121" y="1571"/>
                  </a:cubicBezTo>
                  <a:cubicBezTo>
                    <a:pt x="1127" y="1573"/>
                    <a:pt x="1129" y="1566"/>
                    <a:pt x="1135" y="1562"/>
                  </a:cubicBezTo>
                  <a:cubicBezTo>
                    <a:pt x="1141" y="1558"/>
                    <a:pt x="1145" y="1557"/>
                    <a:pt x="1148" y="1554"/>
                  </a:cubicBezTo>
                  <a:cubicBezTo>
                    <a:pt x="1152" y="1552"/>
                    <a:pt x="1151" y="1550"/>
                    <a:pt x="1153" y="1544"/>
                  </a:cubicBezTo>
                  <a:cubicBezTo>
                    <a:pt x="1155" y="1538"/>
                    <a:pt x="1157" y="1534"/>
                    <a:pt x="1157" y="1530"/>
                  </a:cubicBezTo>
                  <a:cubicBezTo>
                    <a:pt x="1156" y="1526"/>
                    <a:pt x="1155" y="1522"/>
                    <a:pt x="1152" y="1528"/>
                  </a:cubicBezTo>
                  <a:cubicBezTo>
                    <a:pt x="1150" y="1533"/>
                    <a:pt x="1147" y="1541"/>
                    <a:pt x="1144" y="1544"/>
                  </a:cubicBezTo>
                  <a:cubicBezTo>
                    <a:pt x="1142" y="1548"/>
                    <a:pt x="1139" y="1547"/>
                    <a:pt x="1136" y="1552"/>
                  </a:cubicBezTo>
                  <a:cubicBezTo>
                    <a:pt x="1133" y="1557"/>
                    <a:pt x="1130" y="1559"/>
                    <a:pt x="1125" y="1560"/>
                  </a:cubicBezTo>
                  <a:cubicBezTo>
                    <a:pt x="1119" y="1560"/>
                    <a:pt x="1114" y="1559"/>
                    <a:pt x="1110" y="1559"/>
                  </a:cubicBezTo>
                  <a:cubicBezTo>
                    <a:pt x="1106" y="1559"/>
                    <a:pt x="1105" y="1558"/>
                    <a:pt x="1100" y="1559"/>
                  </a:cubicBezTo>
                  <a:cubicBezTo>
                    <a:pt x="1096" y="1560"/>
                    <a:pt x="1088" y="1559"/>
                    <a:pt x="1087" y="1558"/>
                  </a:cubicBezTo>
                  <a:cubicBezTo>
                    <a:pt x="1086" y="1556"/>
                    <a:pt x="1088" y="1550"/>
                    <a:pt x="1093" y="1548"/>
                  </a:cubicBezTo>
                  <a:cubicBezTo>
                    <a:pt x="1097" y="1546"/>
                    <a:pt x="1100" y="1542"/>
                    <a:pt x="1106" y="1539"/>
                  </a:cubicBezTo>
                  <a:cubicBezTo>
                    <a:pt x="1112" y="1536"/>
                    <a:pt x="1117" y="1533"/>
                    <a:pt x="1120" y="1529"/>
                  </a:cubicBezTo>
                  <a:cubicBezTo>
                    <a:pt x="1124" y="1524"/>
                    <a:pt x="1124" y="1521"/>
                    <a:pt x="1125" y="1518"/>
                  </a:cubicBezTo>
                  <a:cubicBezTo>
                    <a:pt x="1126" y="1515"/>
                    <a:pt x="1129" y="1515"/>
                    <a:pt x="1131" y="1513"/>
                  </a:cubicBezTo>
                  <a:cubicBezTo>
                    <a:pt x="1133" y="1511"/>
                    <a:pt x="1133" y="1509"/>
                    <a:pt x="1132" y="1507"/>
                  </a:cubicBezTo>
                  <a:cubicBezTo>
                    <a:pt x="1131" y="1504"/>
                    <a:pt x="1139" y="1498"/>
                    <a:pt x="1144" y="1499"/>
                  </a:cubicBezTo>
                  <a:cubicBezTo>
                    <a:pt x="1148" y="1500"/>
                    <a:pt x="1150" y="1501"/>
                    <a:pt x="1155" y="1501"/>
                  </a:cubicBezTo>
                  <a:cubicBezTo>
                    <a:pt x="1159" y="1500"/>
                    <a:pt x="1167" y="1499"/>
                    <a:pt x="1164" y="1496"/>
                  </a:cubicBezTo>
                  <a:cubicBezTo>
                    <a:pt x="1162" y="1493"/>
                    <a:pt x="1153" y="1494"/>
                    <a:pt x="1148" y="1492"/>
                  </a:cubicBezTo>
                  <a:cubicBezTo>
                    <a:pt x="1143" y="1491"/>
                    <a:pt x="1141" y="1489"/>
                    <a:pt x="1136" y="1490"/>
                  </a:cubicBezTo>
                  <a:cubicBezTo>
                    <a:pt x="1130" y="1492"/>
                    <a:pt x="1125" y="1496"/>
                    <a:pt x="1125" y="1492"/>
                  </a:cubicBezTo>
                  <a:cubicBezTo>
                    <a:pt x="1125" y="1488"/>
                    <a:pt x="1127" y="1483"/>
                    <a:pt x="1131" y="1483"/>
                  </a:cubicBezTo>
                  <a:cubicBezTo>
                    <a:pt x="1135" y="1482"/>
                    <a:pt x="1140" y="1483"/>
                    <a:pt x="1140" y="1480"/>
                  </a:cubicBezTo>
                  <a:cubicBezTo>
                    <a:pt x="1140" y="1476"/>
                    <a:pt x="1139" y="1473"/>
                    <a:pt x="1140" y="1472"/>
                  </a:cubicBezTo>
                  <a:cubicBezTo>
                    <a:pt x="1141" y="1470"/>
                    <a:pt x="1146" y="1469"/>
                    <a:pt x="1147" y="1466"/>
                  </a:cubicBezTo>
                  <a:cubicBezTo>
                    <a:pt x="1148" y="1463"/>
                    <a:pt x="1143" y="1460"/>
                    <a:pt x="1141" y="1459"/>
                  </a:cubicBezTo>
                  <a:cubicBezTo>
                    <a:pt x="1138" y="1457"/>
                    <a:pt x="1134" y="1461"/>
                    <a:pt x="1134" y="1457"/>
                  </a:cubicBezTo>
                  <a:cubicBezTo>
                    <a:pt x="1134" y="1453"/>
                    <a:pt x="1135" y="1446"/>
                    <a:pt x="1135" y="1443"/>
                  </a:cubicBezTo>
                  <a:cubicBezTo>
                    <a:pt x="1135" y="1440"/>
                    <a:pt x="1128" y="1432"/>
                    <a:pt x="1125" y="1431"/>
                  </a:cubicBezTo>
                  <a:cubicBezTo>
                    <a:pt x="1122" y="1429"/>
                    <a:pt x="1117" y="1426"/>
                    <a:pt x="1114" y="1429"/>
                  </a:cubicBezTo>
                  <a:cubicBezTo>
                    <a:pt x="1112" y="1431"/>
                    <a:pt x="1106" y="1433"/>
                    <a:pt x="1104" y="1433"/>
                  </a:cubicBezTo>
                  <a:cubicBezTo>
                    <a:pt x="1102" y="1433"/>
                    <a:pt x="1093" y="1432"/>
                    <a:pt x="1091" y="1430"/>
                  </a:cubicBezTo>
                  <a:cubicBezTo>
                    <a:pt x="1088" y="1429"/>
                    <a:pt x="1086" y="1428"/>
                    <a:pt x="1088" y="1426"/>
                  </a:cubicBezTo>
                  <a:cubicBezTo>
                    <a:pt x="1090" y="1424"/>
                    <a:pt x="1092" y="1425"/>
                    <a:pt x="1094" y="1423"/>
                  </a:cubicBezTo>
                  <a:cubicBezTo>
                    <a:pt x="1097" y="1420"/>
                    <a:pt x="1096" y="1418"/>
                    <a:pt x="1099" y="1417"/>
                  </a:cubicBezTo>
                  <a:cubicBezTo>
                    <a:pt x="1101" y="1416"/>
                    <a:pt x="1105" y="1417"/>
                    <a:pt x="1107" y="1415"/>
                  </a:cubicBezTo>
                  <a:cubicBezTo>
                    <a:pt x="1110" y="1414"/>
                    <a:pt x="1110" y="1411"/>
                    <a:pt x="1108" y="1410"/>
                  </a:cubicBezTo>
                  <a:cubicBezTo>
                    <a:pt x="1106" y="1409"/>
                    <a:pt x="1102" y="1409"/>
                    <a:pt x="1100" y="1409"/>
                  </a:cubicBezTo>
                  <a:cubicBezTo>
                    <a:pt x="1097" y="1408"/>
                    <a:pt x="1094" y="1408"/>
                    <a:pt x="1096" y="1405"/>
                  </a:cubicBezTo>
                  <a:cubicBezTo>
                    <a:pt x="1098" y="1403"/>
                    <a:pt x="1100" y="1403"/>
                    <a:pt x="1101" y="1401"/>
                  </a:cubicBezTo>
                  <a:cubicBezTo>
                    <a:pt x="1102" y="1399"/>
                    <a:pt x="1101" y="1397"/>
                    <a:pt x="1104" y="1396"/>
                  </a:cubicBezTo>
                  <a:cubicBezTo>
                    <a:pt x="1107" y="1395"/>
                    <a:pt x="1110" y="1396"/>
                    <a:pt x="1110" y="1393"/>
                  </a:cubicBezTo>
                  <a:cubicBezTo>
                    <a:pt x="1111" y="1391"/>
                    <a:pt x="1110" y="1390"/>
                    <a:pt x="1105" y="1388"/>
                  </a:cubicBezTo>
                  <a:cubicBezTo>
                    <a:pt x="1100" y="1386"/>
                    <a:pt x="1094" y="1382"/>
                    <a:pt x="1093" y="1381"/>
                  </a:cubicBezTo>
                  <a:cubicBezTo>
                    <a:pt x="1091" y="1380"/>
                    <a:pt x="1086" y="1375"/>
                    <a:pt x="1083" y="1371"/>
                  </a:cubicBezTo>
                  <a:cubicBezTo>
                    <a:pt x="1080" y="1367"/>
                    <a:pt x="1077" y="1364"/>
                    <a:pt x="1074" y="1363"/>
                  </a:cubicBezTo>
                  <a:cubicBezTo>
                    <a:pt x="1072" y="1361"/>
                    <a:pt x="1071" y="1359"/>
                    <a:pt x="1067" y="1358"/>
                  </a:cubicBezTo>
                  <a:cubicBezTo>
                    <a:pt x="1063" y="1356"/>
                    <a:pt x="1061" y="1355"/>
                    <a:pt x="1062" y="1354"/>
                  </a:cubicBezTo>
                  <a:cubicBezTo>
                    <a:pt x="1064" y="1352"/>
                    <a:pt x="1068" y="1352"/>
                    <a:pt x="1071" y="1353"/>
                  </a:cubicBezTo>
                  <a:cubicBezTo>
                    <a:pt x="1074" y="1354"/>
                    <a:pt x="1076" y="1355"/>
                    <a:pt x="1078" y="1353"/>
                  </a:cubicBezTo>
                  <a:cubicBezTo>
                    <a:pt x="1079" y="1351"/>
                    <a:pt x="1079" y="1348"/>
                    <a:pt x="1077" y="1347"/>
                  </a:cubicBezTo>
                  <a:cubicBezTo>
                    <a:pt x="1076" y="1346"/>
                    <a:pt x="1072" y="1342"/>
                    <a:pt x="1071" y="1341"/>
                  </a:cubicBezTo>
                  <a:cubicBezTo>
                    <a:pt x="1070" y="1341"/>
                    <a:pt x="1067" y="1338"/>
                    <a:pt x="1069" y="1337"/>
                  </a:cubicBezTo>
                  <a:cubicBezTo>
                    <a:pt x="1072" y="1336"/>
                    <a:pt x="1074" y="1336"/>
                    <a:pt x="1075" y="1336"/>
                  </a:cubicBezTo>
                  <a:cubicBezTo>
                    <a:pt x="1077" y="1336"/>
                    <a:pt x="1080" y="1335"/>
                    <a:pt x="1080" y="1334"/>
                  </a:cubicBezTo>
                  <a:cubicBezTo>
                    <a:pt x="1080" y="1332"/>
                    <a:pt x="1076" y="1331"/>
                    <a:pt x="1073" y="1329"/>
                  </a:cubicBezTo>
                  <a:cubicBezTo>
                    <a:pt x="1069" y="1327"/>
                    <a:pt x="1070" y="1328"/>
                    <a:pt x="1066" y="1325"/>
                  </a:cubicBezTo>
                  <a:cubicBezTo>
                    <a:pt x="1062" y="1323"/>
                    <a:pt x="1061" y="1324"/>
                    <a:pt x="1058" y="1322"/>
                  </a:cubicBezTo>
                  <a:cubicBezTo>
                    <a:pt x="1055" y="1321"/>
                    <a:pt x="1054" y="1319"/>
                    <a:pt x="1055" y="1318"/>
                  </a:cubicBezTo>
                  <a:cubicBezTo>
                    <a:pt x="1056" y="1317"/>
                    <a:pt x="1061" y="1319"/>
                    <a:pt x="1061" y="1315"/>
                  </a:cubicBezTo>
                  <a:cubicBezTo>
                    <a:pt x="1061" y="1311"/>
                    <a:pt x="1055" y="1309"/>
                    <a:pt x="1052" y="1310"/>
                  </a:cubicBezTo>
                  <a:cubicBezTo>
                    <a:pt x="1049" y="1310"/>
                    <a:pt x="1042" y="1307"/>
                    <a:pt x="1041" y="1306"/>
                  </a:cubicBezTo>
                  <a:cubicBezTo>
                    <a:pt x="1040" y="1305"/>
                    <a:pt x="1039" y="1302"/>
                    <a:pt x="1040" y="1299"/>
                  </a:cubicBezTo>
                  <a:cubicBezTo>
                    <a:pt x="1042" y="1297"/>
                    <a:pt x="1043" y="1297"/>
                    <a:pt x="1046" y="1295"/>
                  </a:cubicBezTo>
                  <a:cubicBezTo>
                    <a:pt x="1048" y="1292"/>
                    <a:pt x="1051" y="1292"/>
                    <a:pt x="1050" y="1288"/>
                  </a:cubicBezTo>
                  <a:cubicBezTo>
                    <a:pt x="1049" y="1284"/>
                    <a:pt x="1047" y="1283"/>
                    <a:pt x="1044" y="1284"/>
                  </a:cubicBezTo>
                  <a:cubicBezTo>
                    <a:pt x="1041" y="1284"/>
                    <a:pt x="1040" y="1287"/>
                    <a:pt x="1038" y="1284"/>
                  </a:cubicBezTo>
                  <a:cubicBezTo>
                    <a:pt x="1036" y="1282"/>
                    <a:pt x="1035" y="1281"/>
                    <a:pt x="1033" y="1280"/>
                  </a:cubicBezTo>
                  <a:cubicBezTo>
                    <a:pt x="1031" y="1280"/>
                    <a:pt x="1030" y="1277"/>
                    <a:pt x="1031" y="1275"/>
                  </a:cubicBezTo>
                  <a:cubicBezTo>
                    <a:pt x="1032" y="1273"/>
                    <a:pt x="1032" y="1272"/>
                    <a:pt x="1038" y="1271"/>
                  </a:cubicBezTo>
                  <a:cubicBezTo>
                    <a:pt x="1043" y="1271"/>
                    <a:pt x="1045" y="1272"/>
                    <a:pt x="1045" y="1269"/>
                  </a:cubicBezTo>
                  <a:cubicBezTo>
                    <a:pt x="1045" y="1266"/>
                    <a:pt x="1040" y="1266"/>
                    <a:pt x="1040" y="1264"/>
                  </a:cubicBezTo>
                  <a:cubicBezTo>
                    <a:pt x="1039" y="1261"/>
                    <a:pt x="1041" y="1259"/>
                    <a:pt x="1043" y="1257"/>
                  </a:cubicBezTo>
                  <a:cubicBezTo>
                    <a:pt x="1045" y="1256"/>
                    <a:pt x="1046" y="1254"/>
                    <a:pt x="1045" y="1253"/>
                  </a:cubicBezTo>
                  <a:cubicBezTo>
                    <a:pt x="1045" y="1251"/>
                    <a:pt x="1044" y="1251"/>
                    <a:pt x="1039" y="1250"/>
                  </a:cubicBezTo>
                  <a:cubicBezTo>
                    <a:pt x="1034" y="1249"/>
                    <a:pt x="1030" y="1249"/>
                    <a:pt x="1029" y="1247"/>
                  </a:cubicBezTo>
                  <a:cubicBezTo>
                    <a:pt x="1028" y="1244"/>
                    <a:pt x="1029" y="1239"/>
                    <a:pt x="1025" y="1237"/>
                  </a:cubicBezTo>
                  <a:cubicBezTo>
                    <a:pt x="1021" y="1235"/>
                    <a:pt x="1022" y="1236"/>
                    <a:pt x="1015" y="1234"/>
                  </a:cubicBezTo>
                  <a:cubicBezTo>
                    <a:pt x="1008" y="1233"/>
                    <a:pt x="1002" y="1231"/>
                    <a:pt x="1001" y="1230"/>
                  </a:cubicBezTo>
                  <a:cubicBezTo>
                    <a:pt x="1000" y="1228"/>
                    <a:pt x="1000" y="1226"/>
                    <a:pt x="1003" y="1224"/>
                  </a:cubicBezTo>
                  <a:cubicBezTo>
                    <a:pt x="1007" y="1222"/>
                    <a:pt x="1006" y="1217"/>
                    <a:pt x="1004" y="1213"/>
                  </a:cubicBezTo>
                  <a:cubicBezTo>
                    <a:pt x="1002" y="1209"/>
                    <a:pt x="999" y="1206"/>
                    <a:pt x="993" y="1206"/>
                  </a:cubicBezTo>
                  <a:cubicBezTo>
                    <a:pt x="986" y="1206"/>
                    <a:pt x="985" y="1206"/>
                    <a:pt x="980" y="1204"/>
                  </a:cubicBezTo>
                  <a:cubicBezTo>
                    <a:pt x="975" y="1202"/>
                    <a:pt x="971" y="1202"/>
                    <a:pt x="970" y="1198"/>
                  </a:cubicBezTo>
                  <a:cubicBezTo>
                    <a:pt x="968" y="1194"/>
                    <a:pt x="962" y="1197"/>
                    <a:pt x="957" y="1191"/>
                  </a:cubicBezTo>
                  <a:cubicBezTo>
                    <a:pt x="951" y="1185"/>
                    <a:pt x="951" y="1185"/>
                    <a:pt x="947" y="1180"/>
                  </a:cubicBezTo>
                  <a:cubicBezTo>
                    <a:pt x="943" y="1175"/>
                    <a:pt x="943" y="1172"/>
                    <a:pt x="936" y="1168"/>
                  </a:cubicBezTo>
                  <a:cubicBezTo>
                    <a:pt x="928" y="1164"/>
                    <a:pt x="915" y="1161"/>
                    <a:pt x="914" y="1159"/>
                  </a:cubicBezTo>
                  <a:cubicBezTo>
                    <a:pt x="912" y="1158"/>
                    <a:pt x="907" y="1157"/>
                    <a:pt x="910" y="1152"/>
                  </a:cubicBezTo>
                  <a:cubicBezTo>
                    <a:pt x="913" y="1147"/>
                    <a:pt x="916" y="1146"/>
                    <a:pt x="919" y="1143"/>
                  </a:cubicBezTo>
                  <a:cubicBezTo>
                    <a:pt x="921" y="1140"/>
                    <a:pt x="923" y="1137"/>
                    <a:pt x="922" y="1134"/>
                  </a:cubicBezTo>
                  <a:cubicBezTo>
                    <a:pt x="921" y="1131"/>
                    <a:pt x="917" y="1128"/>
                    <a:pt x="914" y="1125"/>
                  </a:cubicBezTo>
                  <a:cubicBezTo>
                    <a:pt x="910" y="1121"/>
                    <a:pt x="910" y="1122"/>
                    <a:pt x="910" y="1118"/>
                  </a:cubicBezTo>
                  <a:cubicBezTo>
                    <a:pt x="910" y="1114"/>
                    <a:pt x="911" y="1111"/>
                    <a:pt x="910" y="1110"/>
                  </a:cubicBezTo>
                  <a:cubicBezTo>
                    <a:pt x="910" y="1108"/>
                    <a:pt x="906" y="1100"/>
                    <a:pt x="899" y="1098"/>
                  </a:cubicBezTo>
                  <a:cubicBezTo>
                    <a:pt x="892" y="1096"/>
                    <a:pt x="888" y="1099"/>
                    <a:pt x="878" y="1095"/>
                  </a:cubicBezTo>
                  <a:cubicBezTo>
                    <a:pt x="868" y="1090"/>
                    <a:pt x="870" y="1091"/>
                    <a:pt x="849" y="1085"/>
                  </a:cubicBezTo>
                  <a:cubicBezTo>
                    <a:pt x="827" y="1080"/>
                    <a:pt x="803" y="1075"/>
                    <a:pt x="793" y="1066"/>
                  </a:cubicBezTo>
                  <a:cubicBezTo>
                    <a:pt x="783" y="1058"/>
                    <a:pt x="778" y="1051"/>
                    <a:pt x="763" y="1050"/>
                  </a:cubicBezTo>
                  <a:cubicBezTo>
                    <a:pt x="748" y="1049"/>
                    <a:pt x="710" y="1045"/>
                    <a:pt x="696" y="1047"/>
                  </a:cubicBezTo>
                  <a:cubicBezTo>
                    <a:pt x="681" y="1048"/>
                    <a:pt x="661" y="1049"/>
                    <a:pt x="643" y="1048"/>
                  </a:cubicBezTo>
                  <a:cubicBezTo>
                    <a:pt x="624" y="1047"/>
                    <a:pt x="589" y="1043"/>
                    <a:pt x="584" y="1043"/>
                  </a:cubicBezTo>
                  <a:cubicBezTo>
                    <a:pt x="579" y="1044"/>
                    <a:pt x="578" y="1045"/>
                    <a:pt x="571" y="1049"/>
                  </a:cubicBezTo>
                  <a:cubicBezTo>
                    <a:pt x="564" y="1053"/>
                    <a:pt x="553" y="1039"/>
                    <a:pt x="549" y="1034"/>
                  </a:cubicBezTo>
                  <a:cubicBezTo>
                    <a:pt x="544" y="1029"/>
                    <a:pt x="540" y="1024"/>
                    <a:pt x="538" y="1030"/>
                  </a:cubicBezTo>
                  <a:cubicBezTo>
                    <a:pt x="536" y="1035"/>
                    <a:pt x="536" y="1040"/>
                    <a:pt x="533" y="1042"/>
                  </a:cubicBezTo>
                  <a:cubicBezTo>
                    <a:pt x="530" y="1044"/>
                    <a:pt x="524" y="1044"/>
                    <a:pt x="523" y="1048"/>
                  </a:cubicBezTo>
                  <a:cubicBezTo>
                    <a:pt x="521" y="1052"/>
                    <a:pt x="520" y="1056"/>
                    <a:pt x="515" y="1058"/>
                  </a:cubicBezTo>
                  <a:cubicBezTo>
                    <a:pt x="510" y="1060"/>
                    <a:pt x="507" y="1057"/>
                    <a:pt x="503" y="1059"/>
                  </a:cubicBezTo>
                  <a:cubicBezTo>
                    <a:pt x="499" y="1062"/>
                    <a:pt x="493" y="1063"/>
                    <a:pt x="489" y="1065"/>
                  </a:cubicBezTo>
                  <a:cubicBezTo>
                    <a:pt x="486" y="1067"/>
                    <a:pt x="479" y="1070"/>
                    <a:pt x="476" y="1067"/>
                  </a:cubicBezTo>
                  <a:cubicBezTo>
                    <a:pt x="473" y="1065"/>
                    <a:pt x="472" y="1062"/>
                    <a:pt x="468" y="1060"/>
                  </a:cubicBezTo>
                  <a:cubicBezTo>
                    <a:pt x="464" y="1058"/>
                    <a:pt x="456" y="1060"/>
                    <a:pt x="455" y="1056"/>
                  </a:cubicBezTo>
                  <a:cubicBezTo>
                    <a:pt x="455" y="1051"/>
                    <a:pt x="454" y="1046"/>
                    <a:pt x="459" y="1045"/>
                  </a:cubicBezTo>
                  <a:cubicBezTo>
                    <a:pt x="464" y="1044"/>
                    <a:pt x="468" y="1041"/>
                    <a:pt x="466" y="1039"/>
                  </a:cubicBezTo>
                  <a:cubicBezTo>
                    <a:pt x="463" y="1037"/>
                    <a:pt x="455" y="1036"/>
                    <a:pt x="451" y="1036"/>
                  </a:cubicBezTo>
                  <a:cubicBezTo>
                    <a:pt x="448" y="1037"/>
                    <a:pt x="442" y="1034"/>
                    <a:pt x="441" y="1033"/>
                  </a:cubicBezTo>
                  <a:cubicBezTo>
                    <a:pt x="440" y="1033"/>
                    <a:pt x="431" y="1027"/>
                    <a:pt x="429" y="1034"/>
                  </a:cubicBezTo>
                  <a:cubicBezTo>
                    <a:pt x="428" y="1041"/>
                    <a:pt x="429" y="1045"/>
                    <a:pt x="426" y="1047"/>
                  </a:cubicBezTo>
                  <a:cubicBezTo>
                    <a:pt x="423" y="1049"/>
                    <a:pt x="417" y="1050"/>
                    <a:pt x="416" y="1054"/>
                  </a:cubicBezTo>
                  <a:cubicBezTo>
                    <a:pt x="415" y="1059"/>
                    <a:pt x="407" y="1056"/>
                    <a:pt x="404" y="1053"/>
                  </a:cubicBezTo>
                  <a:cubicBezTo>
                    <a:pt x="401" y="1050"/>
                    <a:pt x="400" y="1048"/>
                    <a:pt x="397" y="1044"/>
                  </a:cubicBezTo>
                  <a:cubicBezTo>
                    <a:pt x="393" y="1041"/>
                    <a:pt x="389" y="1042"/>
                    <a:pt x="387" y="1039"/>
                  </a:cubicBezTo>
                  <a:cubicBezTo>
                    <a:pt x="385" y="1037"/>
                    <a:pt x="375" y="1036"/>
                    <a:pt x="372" y="1038"/>
                  </a:cubicBezTo>
                  <a:cubicBezTo>
                    <a:pt x="370" y="1039"/>
                    <a:pt x="368" y="1042"/>
                    <a:pt x="369" y="1048"/>
                  </a:cubicBezTo>
                  <a:cubicBezTo>
                    <a:pt x="371" y="1055"/>
                    <a:pt x="370" y="1057"/>
                    <a:pt x="378" y="1061"/>
                  </a:cubicBezTo>
                  <a:cubicBezTo>
                    <a:pt x="385" y="1065"/>
                    <a:pt x="391" y="1064"/>
                    <a:pt x="394" y="1070"/>
                  </a:cubicBezTo>
                  <a:cubicBezTo>
                    <a:pt x="396" y="1075"/>
                    <a:pt x="403" y="1080"/>
                    <a:pt x="399" y="1080"/>
                  </a:cubicBezTo>
                  <a:cubicBezTo>
                    <a:pt x="395" y="1080"/>
                    <a:pt x="394" y="1080"/>
                    <a:pt x="384" y="1075"/>
                  </a:cubicBezTo>
                  <a:cubicBezTo>
                    <a:pt x="375" y="1071"/>
                    <a:pt x="362" y="1071"/>
                    <a:pt x="358" y="1071"/>
                  </a:cubicBezTo>
                  <a:cubicBezTo>
                    <a:pt x="354" y="1071"/>
                    <a:pt x="351" y="1069"/>
                    <a:pt x="338" y="1065"/>
                  </a:cubicBezTo>
                  <a:cubicBezTo>
                    <a:pt x="324" y="1061"/>
                    <a:pt x="305" y="1060"/>
                    <a:pt x="296" y="1060"/>
                  </a:cubicBezTo>
                  <a:cubicBezTo>
                    <a:pt x="287" y="1059"/>
                    <a:pt x="276" y="1059"/>
                    <a:pt x="273" y="1055"/>
                  </a:cubicBezTo>
                  <a:cubicBezTo>
                    <a:pt x="269" y="1052"/>
                    <a:pt x="273" y="1052"/>
                    <a:pt x="259" y="1045"/>
                  </a:cubicBezTo>
                  <a:cubicBezTo>
                    <a:pt x="246" y="1037"/>
                    <a:pt x="243" y="1036"/>
                    <a:pt x="234" y="1031"/>
                  </a:cubicBezTo>
                  <a:cubicBezTo>
                    <a:pt x="225" y="1025"/>
                    <a:pt x="220" y="1026"/>
                    <a:pt x="221" y="1023"/>
                  </a:cubicBezTo>
                  <a:cubicBezTo>
                    <a:pt x="222" y="1021"/>
                    <a:pt x="235" y="1017"/>
                    <a:pt x="241" y="1016"/>
                  </a:cubicBezTo>
                  <a:cubicBezTo>
                    <a:pt x="247" y="1014"/>
                    <a:pt x="248" y="1014"/>
                    <a:pt x="252" y="1010"/>
                  </a:cubicBezTo>
                  <a:cubicBezTo>
                    <a:pt x="255" y="1006"/>
                    <a:pt x="257" y="1001"/>
                    <a:pt x="267" y="999"/>
                  </a:cubicBezTo>
                  <a:cubicBezTo>
                    <a:pt x="277" y="997"/>
                    <a:pt x="280" y="995"/>
                    <a:pt x="288" y="999"/>
                  </a:cubicBezTo>
                  <a:cubicBezTo>
                    <a:pt x="297" y="1002"/>
                    <a:pt x="310" y="1000"/>
                    <a:pt x="312" y="996"/>
                  </a:cubicBezTo>
                  <a:cubicBezTo>
                    <a:pt x="314" y="991"/>
                    <a:pt x="316" y="988"/>
                    <a:pt x="308" y="986"/>
                  </a:cubicBezTo>
                  <a:cubicBezTo>
                    <a:pt x="300" y="984"/>
                    <a:pt x="285" y="986"/>
                    <a:pt x="271" y="986"/>
                  </a:cubicBezTo>
                  <a:cubicBezTo>
                    <a:pt x="257" y="986"/>
                    <a:pt x="245" y="988"/>
                    <a:pt x="237" y="985"/>
                  </a:cubicBezTo>
                  <a:cubicBezTo>
                    <a:pt x="230" y="982"/>
                    <a:pt x="231" y="981"/>
                    <a:pt x="223" y="979"/>
                  </a:cubicBezTo>
                  <a:cubicBezTo>
                    <a:pt x="215" y="978"/>
                    <a:pt x="213" y="975"/>
                    <a:pt x="207" y="974"/>
                  </a:cubicBezTo>
                  <a:cubicBezTo>
                    <a:pt x="201" y="973"/>
                    <a:pt x="194" y="974"/>
                    <a:pt x="194" y="970"/>
                  </a:cubicBezTo>
                  <a:cubicBezTo>
                    <a:pt x="194" y="967"/>
                    <a:pt x="193" y="963"/>
                    <a:pt x="198" y="961"/>
                  </a:cubicBezTo>
                  <a:cubicBezTo>
                    <a:pt x="203" y="958"/>
                    <a:pt x="204" y="956"/>
                    <a:pt x="207" y="953"/>
                  </a:cubicBezTo>
                  <a:cubicBezTo>
                    <a:pt x="210" y="951"/>
                    <a:pt x="212" y="950"/>
                    <a:pt x="216" y="948"/>
                  </a:cubicBezTo>
                  <a:cubicBezTo>
                    <a:pt x="220" y="946"/>
                    <a:pt x="221" y="942"/>
                    <a:pt x="218" y="942"/>
                  </a:cubicBezTo>
                  <a:cubicBezTo>
                    <a:pt x="216" y="942"/>
                    <a:pt x="214" y="942"/>
                    <a:pt x="208" y="947"/>
                  </a:cubicBezTo>
                  <a:cubicBezTo>
                    <a:pt x="202" y="952"/>
                    <a:pt x="190" y="956"/>
                    <a:pt x="186" y="958"/>
                  </a:cubicBezTo>
                  <a:cubicBezTo>
                    <a:pt x="181" y="959"/>
                    <a:pt x="176" y="962"/>
                    <a:pt x="175" y="965"/>
                  </a:cubicBezTo>
                  <a:cubicBezTo>
                    <a:pt x="173" y="969"/>
                    <a:pt x="171" y="974"/>
                    <a:pt x="163" y="970"/>
                  </a:cubicBezTo>
                  <a:cubicBezTo>
                    <a:pt x="154" y="965"/>
                    <a:pt x="150" y="970"/>
                    <a:pt x="146" y="965"/>
                  </a:cubicBezTo>
                  <a:cubicBezTo>
                    <a:pt x="141" y="960"/>
                    <a:pt x="149" y="959"/>
                    <a:pt x="149" y="955"/>
                  </a:cubicBezTo>
                  <a:cubicBezTo>
                    <a:pt x="148" y="951"/>
                    <a:pt x="142" y="946"/>
                    <a:pt x="137" y="947"/>
                  </a:cubicBezTo>
                  <a:cubicBezTo>
                    <a:pt x="132" y="947"/>
                    <a:pt x="128" y="944"/>
                    <a:pt x="126" y="946"/>
                  </a:cubicBezTo>
                  <a:cubicBezTo>
                    <a:pt x="123" y="948"/>
                    <a:pt x="117" y="950"/>
                    <a:pt x="115" y="947"/>
                  </a:cubicBezTo>
                  <a:cubicBezTo>
                    <a:pt x="113" y="944"/>
                    <a:pt x="109" y="942"/>
                    <a:pt x="114" y="938"/>
                  </a:cubicBezTo>
                  <a:cubicBezTo>
                    <a:pt x="119" y="935"/>
                    <a:pt x="119" y="932"/>
                    <a:pt x="122" y="930"/>
                  </a:cubicBezTo>
                  <a:cubicBezTo>
                    <a:pt x="124" y="927"/>
                    <a:pt x="131" y="926"/>
                    <a:pt x="137" y="926"/>
                  </a:cubicBezTo>
                  <a:cubicBezTo>
                    <a:pt x="143" y="927"/>
                    <a:pt x="149" y="926"/>
                    <a:pt x="153" y="921"/>
                  </a:cubicBezTo>
                  <a:cubicBezTo>
                    <a:pt x="157" y="915"/>
                    <a:pt x="155" y="914"/>
                    <a:pt x="163" y="913"/>
                  </a:cubicBezTo>
                  <a:cubicBezTo>
                    <a:pt x="171" y="913"/>
                    <a:pt x="174" y="911"/>
                    <a:pt x="183" y="913"/>
                  </a:cubicBezTo>
                  <a:cubicBezTo>
                    <a:pt x="192" y="916"/>
                    <a:pt x="203" y="912"/>
                    <a:pt x="211" y="913"/>
                  </a:cubicBezTo>
                  <a:cubicBezTo>
                    <a:pt x="219" y="914"/>
                    <a:pt x="221" y="911"/>
                    <a:pt x="231" y="916"/>
                  </a:cubicBezTo>
                  <a:cubicBezTo>
                    <a:pt x="240" y="921"/>
                    <a:pt x="245" y="921"/>
                    <a:pt x="259" y="921"/>
                  </a:cubicBezTo>
                  <a:cubicBezTo>
                    <a:pt x="273" y="922"/>
                    <a:pt x="272" y="922"/>
                    <a:pt x="283" y="922"/>
                  </a:cubicBezTo>
                  <a:cubicBezTo>
                    <a:pt x="295" y="922"/>
                    <a:pt x="301" y="922"/>
                    <a:pt x="310" y="921"/>
                  </a:cubicBezTo>
                  <a:cubicBezTo>
                    <a:pt x="318" y="920"/>
                    <a:pt x="323" y="920"/>
                    <a:pt x="330" y="920"/>
                  </a:cubicBezTo>
                  <a:cubicBezTo>
                    <a:pt x="338" y="920"/>
                    <a:pt x="351" y="921"/>
                    <a:pt x="357" y="923"/>
                  </a:cubicBezTo>
                  <a:cubicBezTo>
                    <a:pt x="364" y="926"/>
                    <a:pt x="372" y="925"/>
                    <a:pt x="383" y="928"/>
                  </a:cubicBezTo>
                  <a:cubicBezTo>
                    <a:pt x="393" y="931"/>
                    <a:pt x="402" y="929"/>
                    <a:pt x="408" y="929"/>
                  </a:cubicBezTo>
                  <a:cubicBezTo>
                    <a:pt x="414" y="929"/>
                    <a:pt x="419" y="928"/>
                    <a:pt x="422" y="926"/>
                  </a:cubicBezTo>
                  <a:cubicBezTo>
                    <a:pt x="425" y="924"/>
                    <a:pt x="427" y="920"/>
                    <a:pt x="425" y="919"/>
                  </a:cubicBezTo>
                  <a:cubicBezTo>
                    <a:pt x="423" y="917"/>
                    <a:pt x="422" y="918"/>
                    <a:pt x="409" y="920"/>
                  </a:cubicBezTo>
                  <a:cubicBezTo>
                    <a:pt x="397" y="923"/>
                    <a:pt x="379" y="922"/>
                    <a:pt x="374" y="920"/>
                  </a:cubicBezTo>
                  <a:cubicBezTo>
                    <a:pt x="369" y="918"/>
                    <a:pt x="357" y="918"/>
                    <a:pt x="349" y="916"/>
                  </a:cubicBezTo>
                  <a:cubicBezTo>
                    <a:pt x="340" y="915"/>
                    <a:pt x="330" y="913"/>
                    <a:pt x="321" y="913"/>
                  </a:cubicBezTo>
                  <a:cubicBezTo>
                    <a:pt x="312" y="914"/>
                    <a:pt x="297" y="914"/>
                    <a:pt x="291" y="913"/>
                  </a:cubicBezTo>
                  <a:cubicBezTo>
                    <a:pt x="284" y="912"/>
                    <a:pt x="273" y="913"/>
                    <a:pt x="273" y="910"/>
                  </a:cubicBezTo>
                  <a:cubicBezTo>
                    <a:pt x="272" y="907"/>
                    <a:pt x="273" y="902"/>
                    <a:pt x="284" y="902"/>
                  </a:cubicBezTo>
                  <a:cubicBezTo>
                    <a:pt x="295" y="901"/>
                    <a:pt x="296" y="898"/>
                    <a:pt x="306" y="897"/>
                  </a:cubicBezTo>
                  <a:cubicBezTo>
                    <a:pt x="317" y="896"/>
                    <a:pt x="323" y="895"/>
                    <a:pt x="341" y="895"/>
                  </a:cubicBezTo>
                  <a:cubicBezTo>
                    <a:pt x="360" y="895"/>
                    <a:pt x="369" y="893"/>
                    <a:pt x="381" y="896"/>
                  </a:cubicBezTo>
                  <a:cubicBezTo>
                    <a:pt x="392" y="899"/>
                    <a:pt x="395" y="898"/>
                    <a:pt x="400" y="902"/>
                  </a:cubicBezTo>
                  <a:cubicBezTo>
                    <a:pt x="405" y="905"/>
                    <a:pt x="411" y="908"/>
                    <a:pt x="415" y="907"/>
                  </a:cubicBezTo>
                  <a:cubicBezTo>
                    <a:pt x="419" y="906"/>
                    <a:pt x="422" y="909"/>
                    <a:pt x="419" y="904"/>
                  </a:cubicBezTo>
                  <a:cubicBezTo>
                    <a:pt x="415" y="900"/>
                    <a:pt x="408" y="897"/>
                    <a:pt x="408" y="894"/>
                  </a:cubicBezTo>
                  <a:cubicBezTo>
                    <a:pt x="407" y="890"/>
                    <a:pt x="408" y="888"/>
                    <a:pt x="411" y="887"/>
                  </a:cubicBezTo>
                  <a:cubicBezTo>
                    <a:pt x="415" y="887"/>
                    <a:pt x="420" y="888"/>
                    <a:pt x="425" y="887"/>
                  </a:cubicBezTo>
                  <a:cubicBezTo>
                    <a:pt x="429" y="886"/>
                    <a:pt x="434" y="886"/>
                    <a:pt x="434" y="881"/>
                  </a:cubicBezTo>
                  <a:cubicBezTo>
                    <a:pt x="434" y="877"/>
                    <a:pt x="435" y="876"/>
                    <a:pt x="429" y="872"/>
                  </a:cubicBezTo>
                  <a:cubicBezTo>
                    <a:pt x="422" y="867"/>
                    <a:pt x="408" y="864"/>
                    <a:pt x="399" y="866"/>
                  </a:cubicBezTo>
                  <a:cubicBezTo>
                    <a:pt x="390" y="867"/>
                    <a:pt x="383" y="866"/>
                    <a:pt x="371" y="866"/>
                  </a:cubicBezTo>
                  <a:cubicBezTo>
                    <a:pt x="359" y="866"/>
                    <a:pt x="346" y="870"/>
                    <a:pt x="340" y="873"/>
                  </a:cubicBezTo>
                  <a:cubicBezTo>
                    <a:pt x="334" y="875"/>
                    <a:pt x="315" y="874"/>
                    <a:pt x="309" y="875"/>
                  </a:cubicBezTo>
                  <a:cubicBezTo>
                    <a:pt x="303" y="877"/>
                    <a:pt x="289" y="874"/>
                    <a:pt x="286" y="868"/>
                  </a:cubicBezTo>
                  <a:cubicBezTo>
                    <a:pt x="283" y="861"/>
                    <a:pt x="280" y="859"/>
                    <a:pt x="277" y="860"/>
                  </a:cubicBezTo>
                  <a:cubicBezTo>
                    <a:pt x="274" y="860"/>
                    <a:pt x="273" y="864"/>
                    <a:pt x="273" y="869"/>
                  </a:cubicBezTo>
                  <a:cubicBezTo>
                    <a:pt x="273" y="874"/>
                    <a:pt x="269" y="878"/>
                    <a:pt x="262" y="878"/>
                  </a:cubicBezTo>
                  <a:cubicBezTo>
                    <a:pt x="256" y="877"/>
                    <a:pt x="249" y="877"/>
                    <a:pt x="244" y="878"/>
                  </a:cubicBezTo>
                  <a:cubicBezTo>
                    <a:pt x="239" y="879"/>
                    <a:pt x="234" y="871"/>
                    <a:pt x="231" y="865"/>
                  </a:cubicBezTo>
                  <a:cubicBezTo>
                    <a:pt x="229" y="859"/>
                    <a:pt x="220" y="863"/>
                    <a:pt x="217" y="860"/>
                  </a:cubicBezTo>
                  <a:cubicBezTo>
                    <a:pt x="214" y="856"/>
                    <a:pt x="215" y="853"/>
                    <a:pt x="218" y="851"/>
                  </a:cubicBezTo>
                  <a:cubicBezTo>
                    <a:pt x="222" y="849"/>
                    <a:pt x="223" y="844"/>
                    <a:pt x="217" y="844"/>
                  </a:cubicBezTo>
                  <a:cubicBezTo>
                    <a:pt x="212" y="844"/>
                    <a:pt x="206" y="847"/>
                    <a:pt x="203" y="848"/>
                  </a:cubicBezTo>
                  <a:cubicBezTo>
                    <a:pt x="199" y="850"/>
                    <a:pt x="195" y="851"/>
                    <a:pt x="189" y="852"/>
                  </a:cubicBezTo>
                  <a:cubicBezTo>
                    <a:pt x="182" y="852"/>
                    <a:pt x="178" y="857"/>
                    <a:pt x="168" y="854"/>
                  </a:cubicBezTo>
                  <a:cubicBezTo>
                    <a:pt x="157" y="851"/>
                    <a:pt x="150" y="852"/>
                    <a:pt x="156" y="849"/>
                  </a:cubicBezTo>
                  <a:cubicBezTo>
                    <a:pt x="161" y="846"/>
                    <a:pt x="166" y="845"/>
                    <a:pt x="169" y="841"/>
                  </a:cubicBezTo>
                  <a:cubicBezTo>
                    <a:pt x="172" y="836"/>
                    <a:pt x="174" y="836"/>
                    <a:pt x="179" y="835"/>
                  </a:cubicBezTo>
                  <a:cubicBezTo>
                    <a:pt x="184" y="834"/>
                    <a:pt x="190" y="835"/>
                    <a:pt x="187" y="833"/>
                  </a:cubicBezTo>
                  <a:cubicBezTo>
                    <a:pt x="185" y="830"/>
                    <a:pt x="176" y="828"/>
                    <a:pt x="170" y="831"/>
                  </a:cubicBezTo>
                  <a:cubicBezTo>
                    <a:pt x="164" y="834"/>
                    <a:pt x="155" y="837"/>
                    <a:pt x="147" y="837"/>
                  </a:cubicBezTo>
                  <a:cubicBezTo>
                    <a:pt x="140" y="837"/>
                    <a:pt x="131" y="836"/>
                    <a:pt x="123" y="838"/>
                  </a:cubicBezTo>
                  <a:cubicBezTo>
                    <a:pt x="116" y="841"/>
                    <a:pt x="110" y="837"/>
                    <a:pt x="110" y="833"/>
                  </a:cubicBezTo>
                  <a:cubicBezTo>
                    <a:pt x="111" y="829"/>
                    <a:pt x="109" y="824"/>
                    <a:pt x="103" y="823"/>
                  </a:cubicBezTo>
                  <a:cubicBezTo>
                    <a:pt x="97" y="822"/>
                    <a:pt x="93" y="824"/>
                    <a:pt x="84" y="818"/>
                  </a:cubicBezTo>
                  <a:cubicBezTo>
                    <a:pt x="74" y="812"/>
                    <a:pt x="75" y="811"/>
                    <a:pt x="65" y="808"/>
                  </a:cubicBezTo>
                  <a:cubicBezTo>
                    <a:pt x="55" y="805"/>
                    <a:pt x="59" y="804"/>
                    <a:pt x="47" y="804"/>
                  </a:cubicBezTo>
                  <a:cubicBezTo>
                    <a:pt x="34" y="803"/>
                    <a:pt x="27" y="803"/>
                    <a:pt x="24" y="800"/>
                  </a:cubicBezTo>
                  <a:cubicBezTo>
                    <a:pt x="21" y="798"/>
                    <a:pt x="14" y="794"/>
                    <a:pt x="11" y="793"/>
                  </a:cubicBezTo>
                  <a:cubicBezTo>
                    <a:pt x="8" y="793"/>
                    <a:pt x="0" y="792"/>
                    <a:pt x="4" y="786"/>
                  </a:cubicBezTo>
                  <a:cubicBezTo>
                    <a:pt x="8" y="779"/>
                    <a:pt x="3" y="772"/>
                    <a:pt x="12" y="767"/>
                  </a:cubicBezTo>
                  <a:cubicBezTo>
                    <a:pt x="22" y="762"/>
                    <a:pt x="26" y="760"/>
                    <a:pt x="28" y="754"/>
                  </a:cubicBezTo>
                  <a:cubicBezTo>
                    <a:pt x="31" y="747"/>
                    <a:pt x="26" y="744"/>
                    <a:pt x="38" y="741"/>
                  </a:cubicBezTo>
                  <a:cubicBezTo>
                    <a:pt x="50" y="738"/>
                    <a:pt x="53" y="736"/>
                    <a:pt x="70" y="737"/>
                  </a:cubicBezTo>
                  <a:cubicBezTo>
                    <a:pt x="87" y="738"/>
                    <a:pt x="91" y="736"/>
                    <a:pt x="102" y="735"/>
                  </a:cubicBezTo>
                  <a:cubicBezTo>
                    <a:pt x="114" y="734"/>
                    <a:pt x="118" y="734"/>
                    <a:pt x="130" y="732"/>
                  </a:cubicBezTo>
                  <a:cubicBezTo>
                    <a:pt x="142" y="730"/>
                    <a:pt x="141" y="733"/>
                    <a:pt x="153" y="729"/>
                  </a:cubicBezTo>
                  <a:cubicBezTo>
                    <a:pt x="166" y="725"/>
                    <a:pt x="179" y="723"/>
                    <a:pt x="186" y="719"/>
                  </a:cubicBezTo>
                  <a:cubicBezTo>
                    <a:pt x="193" y="716"/>
                    <a:pt x="193" y="713"/>
                    <a:pt x="212" y="710"/>
                  </a:cubicBezTo>
                  <a:cubicBezTo>
                    <a:pt x="231" y="708"/>
                    <a:pt x="237" y="703"/>
                    <a:pt x="246" y="703"/>
                  </a:cubicBezTo>
                  <a:cubicBezTo>
                    <a:pt x="255" y="702"/>
                    <a:pt x="260" y="702"/>
                    <a:pt x="261" y="698"/>
                  </a:cubicBezTo>
                  <a:cubicBezTo>
                    <a:pt x="262" y="695"/>
                    <a:pt x="266" y="692"/>
                    <a:pt x="258" y="691"/>
                  </a:cubicBezTo>
                  <a:cubicBezTo>
                    <a:pt x="251" y="690"/>
                    <a:pt x="242" y="686"/>
                    <a:pt x="246" y="681"/>
                  </a:cubicBezTo>
                  <a:cubicBezTo>
                    <a:pt x="249" y="676"/>
                    <a:pt x="259" y="673"/>
                    <a:pt x="278" y="673"/>
                  </a:cubicBezTo>
                  <a:cubicBezTo>
                    <a:pt x="297" y="673"/>
                    <a:pt x="299" y="670"/>
                    <a:pt x="311" y="666"/>
                  </a:cubicBezTo>
                  <a:cubicBezTo>
                    <a:pt x="322" y="662"/>
                    <a:pt x="327" y="661"/>
                    <a:pt x="338" y="660"/>
                  </a:cubicBezTo>
                  <a:cubicBezTo>
                    <a:pt x="349" y="659"/>
                    <a:pt x="357" y="656"/>
                    <a:pt x="368" y="656"/>
                  </a:cubicBezTo>
                  <a:cubicBezTo>
                    <a:pt x="378" y="656"/>
                    <a:pt x="381" y="655"/>
                    <a:pt x="382" y="658"/>
                  </a:cubicBezTo>
                  <a:cubicBezTo>
                    <a:pt x="382" y="661"/>
                    <a:pt x="379" y="663"/>
                    <a:pt x="384" y="663"/>
                  </a:cubicBezTo>
                  <a:cubicBezTo>
                    <a:pt x="389" y="664"/>
                    <a:pt x="392" y="662"/>
                    <a:pt x="401" y="661"/>
                  </a:cubicBezTo>
                  <a:cubicBezTo>
                    <a:pt x="410" y="659"/>
                    <a:pt x="417" y="656"/>
                    <a:pt x="423" y="659"/>
                  </a:cubicBezTo>
                  <a:cubicBezTo>
                    <a:pt x="429" y="661"/>
                    <a:pt x="435" y="662"/>
                    <a:pt x="439" y="661"/>
                  </a:cubicBezTo>
                  <a:cubicBezTo>
                    <a:pt x="444" y="660"/>
                    <a:pt x="451" y="660"/>
                    <a:pt x="456" y="654"/>
                  </a:cubicBezTo>
                  <a:cubicBezTo>
                    <a:pt x="461" y="649"/>
                    <a:pt x="461" y="651"/>
                    <a:pt x="466" y="638"/>
                  </a:cubicBezTo>
                  <a:cubicBezTo>
                    <a:pt x="471" y="626"/>
                    <a:pt x="474" y="623"/>
                    <a:pt x="483" y="614"/>
                  </a:cubicBezTo>
                  <a:cubicBezTo>
                    <a:pt x="492" y="606"/>
                    <a:pt x="487" y="603"/>
                    <a:pt x="496" y="592"/>
                  </a:cubicBezTo>
                  <a:cubicBezTo>
                    <a:pt x="505" y="582"/>
                    <a:pt x="509" y="583"/>
                    <a:pt x="507" y="576"/>
                  </a:cubicBezTo>
                  <a:cubicBezTo>
                    <a:pt x="504" y="570"/>
                    <a:pt x="501" y="567"/>
                    <a:pt x="500" y="560"/>
                  </a:cubicBezTo>
                  <a:cubicBezTo>
                    <a:pt x="499" y="554"/>
                    <a:pt x="499" y="551"/>
                    <a:pt x="501" y="547"/>
                  </a:cubicBezTo>
                  <a:cubicBezTo>
                    <a:pt x="502" y="544"/>
                    <a:pt x="503" y="542"/>
                    <a:pt x="502" y="539"/>
                  </a:cubicBezTo>
                  <a:cubicBezTo>
                    <a:pt x="500" y="536"/>
                    <a:pt x="506" y="533"/>
                    <a:pt x="509" y="534"/>
                  </a:cubicBezTo>
                  <a:cubicBezTo>
                    <a:pt x="512" y="534"/>
                    <a:pt x="517" y="537"/>
                    <a:pt x="523" y="533"/>
                  </a:cubicBezTo>
                  <a:cubicBezTo>
                    <a:pt x="529" y="530"/>
                    <a:pt x="530" y="526"/>
                    <a:pt x="538" y="525"/>
                  </a:cubicBezTo>
                  <a:cubicBezTo>
                    <a:pt x="545" y="525"/>
                    <a:pt x="545" y="524"/>
                    <a:pt x="552" y="524"/>
                  </a:cubicBezTo>
                  <a:cubicBezTo>
                    <a:pt x="558" y="523"/>
                    <a:pt x="562" y="523"/>
                    <a:pt x="566" y="520"/>
                  </a:cubicBezTo>
                  <a:cubicBezTo>
                    <a:pt x="570" y="517"/>
                    <a:pt x="570" y="514"/>
                    <a:pt x="562" y="514"/>
                  </a:cubicBezTo>
                  <a:cubicBezTo>
                    <a:pt x="555" y="514"/>
                    <a:pt x="551" y="517"/>
                    <a:pt x="551" y="512"/>
                  </a:cubicBezTo>
                  <a:cubicBezTo>
                    <a:pt x="550" y="506"/>
                    <a:pt x="551" y="502"/>
                    <a:pt x="548" y="502"/>
                  </a:cubicBezTo>
                  <a:cubicBezTo>
                    <a:pt x="546" y="502"/>
                    <a:pt x="542" y="501"/>
                    <a:pt x="539" y="506"/>
                  </a:cubicBezTo>
                  <a:cubicBezTo>
                    <a:pt x="535" y="511"/>
                    <a:pt x="530" y="517"/>
                    <a:pt x="524" y="519"/>
                  </a:cubicBezTo>
                  <a:cubicBezTo>
                    <a:pt x="519" y="521"/>
                    <a:pt x="516" y="518"/>
                    <a:pt x="512" y="521"/>
                  </a:cubicBezTo>
                  <a:cubicBezTo>
                    <a:pt x="507" y="524"/>
                    <a:pt x="503" y="528"/>
                    <a:pt x="498" y="524"/>
                  </a:cubicBezTo>
                  <a:cubicBezTo>
                    <a:pt x="493" y="520"/>
                    <a:pt x="485" y="517"/>
                    <a:pt x="480" y="519"/>
                  </a:cubicBezTo>
                  <a:cubicBezTo>
                    <a:pt x="475" y="520"/>
                    <a:pt x="468" y="519"/>
                    <a:pt x="463" y="525"/>
                  </a:cubicBezTo>
                  <a:cubicBezTo>
                    <a:pt x="458" y="531"/>
                    <a:pt x="445" y="538"/>
                    <a:pt x="441" y="535"/>
                  </a:cubicBezTo>
                  <a:cubicBezTo>
                    <a:pt x="438" y="533"/>
                    <a:pt x="434" y="529"/>
                    <a:pt x="431" y="525"/>
                  </a:cubicBezTo>
                  <a:cubicBezTo>
                    <a:pt x="427" y="522"/>
                    <a:pt x="419" y="518"/>
                    <a:pt x="413" y="519"/>
                  </a:cubicBezTo>
                  <a:cubicBezTo>
                    <a:pt x="407" y="519"/>
                    <a:pt x="402" y="519"/>
                    <a:pt x="397" y="522"/>
                  </a:cubicBezTo>
                  <a:cubicBezTo>
                    <a:pt x="392" y="524"/>
                    <a:pt x="381" y="526"/>
                    <a:pt x="379" y="525"/>
                  </a:cubicBezTo>
                  <a:cubicBezTo>
                    <a:pt x="376" y="523"/>
                    <a:pt x="376" y="519"/>
                    <a:pt x="369" y="516"/>
                  </a:cubicBezTo>
                  <a:cubicBezTo>
                    <a:pt x="361" y="512"/>
                    <a:pt x="354" y="512"/>
                    <a:pt x="350" y="511"/>
                  </a:cubicBezTo>
                  <a:cubicBezTo>
                    <a:pt x="347" y="510"/>
                    <a:pt x="342" y="504"/>
                    <a:pt x="342" y="501"/>
                  </a:cubicBezTo>
                  <a:cubicBezTo>
                    <a:pt x="342" y="497"/>
                    <a:pt x="341" y="494"/>
                    <a:pt x="353" y="490"/>
                  </a:cubicBezTo>
                  <a:cubicBezTo>
                    <a:pt x="364" y="487"/>
                    <a:pt x="372" y="485"/>
                    <a:pt x="383" y="480"/>
                  </a:cubicBezTo>
                  <a:cubicBezTo>
                    <a:pt x="393" y="475"/>
                    <a:pt x="406" y="468"/>
                    <a:pt x="417" y="463"/>
                  </a:cubicBezTo>
                  <a:cubicBezTo>
                    <a:pt x="428" y="459"/>
                    <a:pt x="439" y="456"/>
                    <a:pt x="450" y="450"/>
                  </a:cubicBezTo>
                  <a:cubicBezTo>
                    <a:pt x="461" y="444"/>
                    <a:pt x="495" y="427"/>
                    <a:pt x="507" y="424"/>
                  </a:cubicBezTo>
                  <a:cubicBezTo>
                    <a:pt x="520" y="420"/>
                    <a:pt x="542" y="407"/>
                    <a:pt x="551" y="403"/>
                  </a:cubicBezTo>
                  <a:cubicBezTo>
                    <a:pt x="559" y="399"/>
                    <a:pt x="576" y="394"/>
                    <a:pt x="581" y="392"/>
                  </a:cubicBezTo>
                  <a:cubicBezTo>
                    <a:pt x="585" y="389"/>
                    <a:pt x="594" y="385"/>
                    <a:pt x="596" y="387"/>
                  </a:cubicBezTo>
                  <a:cubicBezTo>
                    <a:pt x="598" y="388"/>
                    <a:pt x="599" y="400"/>
                    <a:pt x="602" y="402"/>
                  </a:cubicBezTo>
                  <a:cubicBezTo>
                    <a:pt x="605" y="404"/>
                    <a:pt x="613" y="412"/>
                    <a:pt x="617" y="415"/>
                  </a:cubicBezTo>
                  <a:cubicBezTo>
                    <a:pt x="622" y="419"/>
                    <a:pt x="628" y="426"/>
                    <a:pt x="630" y="426"/>
                  </a:cubicBezTo>
                  <a:cubicBezTo>
                    <a:pt x="633" y="427"/>
                    <a:pt x="634" y="422"/>
                    <a:pt x="630" y="418"/>
                  </a:cubicBezTo>
                  <a:cubicBezTo>
                    <a:pt x="627" y="414"/>
                    <a:pt x="615" y="404"/>
                    <a:pt x="612" y="400"/>
                  </a:cubicBezTo>
                  <a:cubicBezTo>
                    <a:pt x="610" y="396"/>
                    <a:pt x="606" y="389"/>
                    <a:pt x="606" y="386"/>
                  </a:cubicBezTo>
                  <a:cubicBezTo>
                    <a:pt x="607" y="382"/>
                    <a:pt x="604" y="377"/>
                    <a:pt x="605" y="373"/>
                  </a:cubicBezTo>
                  <a:cubicBezTo>
                    <a:pt x="606" y="370"/>
                    <a:pt x="615" y="368"/>
                    <a:pt x="621" y="369"/>
                  </a:cubicBezTo>
                  <a:cubicBezTo>
                    <a:pt x="628" y="369"/>
                    <a:pt x="635" y="369"/>
                    <a:pt x="641" y="369"/>
                  </a:cubicBezTo>
                  <a:cubicBezTo>
                    <a:pt x="648" y="368"/>
                    <a:pt x="657" y="366"/>
                    <a:pt x="668" y="366"/>
                  </a:cubicBezTo>
                  <a:cubicBezTo>
                    <a:pt x="679" y="367"/>
                    <a:pt x="682" y="367"/>
                    <a:pt x="687" y="371"/>
                  </a:cubicBezTo>
                  <a:cubicBezTo>
                    <a:pt x="692" y="375"/>
                    <a:pt x="694" y="377"/>
                    <a:pt x="701" y="380"/>
                  </a:cubicBezTo>
                  <a:cubicBezTo>
                    <a:pt x="708" y="383"/>
                    <a:pt x="714" y="384"/>
                    <a:pt x="719" y="382"/>
                  </a:cubicBezTo>
                  <a:cubicBezTo>
                    <a:pt x="724" y="380"/>
                    <a:pt x="724" y="377"/>
                    <a:pt x="729" y="377"/>
                  </a:cubicBezTo>
                  <a:cubicBezTo>
                    <a:pt x="735" y="377"/>
                    <a:pt x="737" y="377"/>
                    <a:pt x="738" y="373"/>
                  </a:cubicBezTo>
                  <a:cubicBezTo>
                    <a:pt x="739" y="370"/>
                    <a:pt x="742" y="362"/>
                    <a:pt x="742" y="357"/>
                  </a:cubicBezTo>
                  <a:cubicBezTo>
                    <a:pt x="742" y="353"/>
                    <a:pt x="737" y="349"/>
                    <a:pt x="734" y="345"/>
                  </a:cubicBezTo>
                  <a:cubicBezTo>
                    <a:pt x="731" y="341"/>
                    <a:pt x="728" y="339"/>
                    <a:pt x="733" y="335"/>
                  </a:cubicBezTo>
                  <a:cubicBezTo>
                    <a:pt x="737" y="331"/>
                    <a:pt x="740" y="332"/>
                    <a:pt x="742" y="329"/>
                  </a:cubicBezTo>
                  <a:cubicBezTo>
                    <a:pt x="744" y="325"/>
                    <a:pt x="743" y="322"/>
                    <a:pt x="746" y="318"/>
                  </a:cubicBezTo>
                  <a:cubicBezTo>
                    <a:pt x="749" y="314"/>
                    <a:pt x="749" y="312"/>
                    <a:pt x="747" y="308"/>
                  </a:cubicBezTo>
                  <a:cubicBezTo>
                    <a:pt x="745" y="304"/>
                    <a:pt x="746" y="305"/>
                    <a:pt x="737" y="298"/>
                  </a:cubicBezTo>
                  <a:cubicBezTo>
                    <a:pt x="729" y="292"/>
                    <a:pt x="725" y="289"/>
                    <a:pt x="724" y="283"/>
                  </a:cubicBezTo>
                  <a:cubicBezTo>
                    <a:pt x="722" y="276"/>
                    <a:pt x="729" y="278"/>
                    <a:pt x="740" y="279"/>
                  </a:cubicBezTo>
                  <a:cubicBezTo>
                    <a:pt x="752" y="280"/>
                    <a:pt x="757" y="281"/>
                    <a:pt x="769" y="279"/>
                  </a:cubicBezTo>
                  <a:cubicBezTo>
                    <a:pt x="780" y="277"/>
                    <a:pt x="791" y="273"/>
                    <a:pt x="800" y="271"/>
                  </a:cubicBezTo>
                  <a:cubicBezTo>
                    <a:pt x="810" y="269"/>
                    <a:pt x="807" y="269"/>
                    <a:pt x="817" y="269"/>
                  </a:cubicBezTo>
                  <a:cubicBezTo>
                    <a:pt x="826" y="268"/>
                    <a:pt x="833" y="264"/>
                    <a:pt x="838" y="263"/>
                  </a:cubicBezTo>
                  <a:cubicBezTo>
                    <a:pt x="843" y="262"/>
                    <a:pt x="849" y="262"/>
                    <a:pt x="855" y="262"/>
                  </a:cubicBezTo>
                  <a:cubicBezTo>
                    <a:pt x="861" y="262"/>
                    <a:pt x="864" y="262"/>
                    <a:pt x="870" y="267"/>
                  </a:cubicBezTo>
                  <a:cubicBezTo>
                    <a:pt x="876" y="271"/>
                    <a:pt x="880" y="272"/>
                    <a:pt x="885" y="274"/>
                  </a:cubicBezTo>
                  <a:cubicBezTo>
                    <a:pt x="889" y="276"/>
                    <a:pt x="891" y="278"/>
                    <a:pt x="890" y="283"/>
                  </a:cubicBezTo>
                  <a:cubicBezTo>
                    <a:pt x="888" y="287"/>
                    <a:pt x="881" y="285"/>
                    <a:pt x="887" y="291"/>
                  </a:cubicBezTo>
                  <a:cubicBezTo>
                    <a:pt x="894" y="297"/>
                    <a:pt x="899" y="299"/>
                    <a:pt x="906" y="299"/>
                  </a:cubicBezTo>
                  <a:cubicBezTo>
                    <a:pt x="913" y="299"/>
                    <a:pt x="913" y="296"/>
                    <a:pt x="924" y="300"/>
                  </a:cubicBezTo>
                  <a:cubicBezTo>
                    <a:pt x="934" y="304"/>
                    <a:pt x="929" y="304"/>
                    <a:pt x="939" y="308"/>
                  </a:cubicBezTo>
                  <a:cubicBezTo>
                    <a:pt x="949" y="311"/>
                    <a:pt x="946" y="309"/>
                    <a:pt x="954" y="311"/>
                  </a:cubicBezTo>
                  <a:cubicBezTo>
                    <a:pt x="963" y="314"/>
                    <a:pt x="964" y="314"/>
                    <a:pt x="967" y="318"/>
                  </a:cubicBezTo>
                  <a:cubicBezTo>
                    <a:pt x="971" y="321"/>
                    <a:pt x="972" y="323"/>
                    <a:pt x="974" y="327"/>
                  </a:cubicBezTo>
                  <a:cubicBezTo>
                    <a:pt x="976" y="330"/>
                    <a:pt x="977" y="329"/>
                    <a:pt x="981" y="335"/>
                  </a:cubicBezTo>
                  <a:cubicBezTo>
                    <a:pt x="985" y="340"/>
                    <a:pt x="983" y="342"/>
                    <a:pt x="992" y="342"/>
                  </a:cubicBezTo>
                  <a:cubicBezTo>
                    <a:pt x="1002" y="341"/>
                    <a:pt x="1003" y="337"/>
                    <a:pt x="1013" y="341"/>
                  </a:cubicBezTo>
                  <a:cubicBezTo>
                    <a:pt x="1023" y="346"/>
                    <a:pt x="1029" y="348"/>
                    <a:pt x="1030" y="346"/>
                  </a:cubicBezTo>
                  <a:cubicBezTo>
                    <a:pt x="1030" y="344"/>
                    <a:pt x="1028" y="336"/>
                    <a:pt x="1020" y="334"/>
                  </a:cubicBezTo>
                  <a:cubicBezTo>
                    <a:pt x="1012" y="332"/>
                    <a:pt x="1007" y="332"/>
                    <a:pt x="1000" y="328"/>
                  </a:cubicBezTo>
                  <a:cubicBezTo>
                    <a:pt x="993" y="325"/>
                    <a:pt x="982" y="318"/>
                    <a:pt x="979" y="315"/>
                  </a:cubicBezTo>
                  <a:cubicBezTo>
                    <a:pt x="977" y="312"/>
                    <a:pt x="974" y="309"/>
                    <a:pt x="965" y="305"/>
                  </a:cubicBezTo>
                  <a:cubicBezTo>
                    <a:pt x="955" y="300"/>
                    <a:pt x="942" y="300"/>
                    <a:pt x="936" y="294"/>
                  </a:cubicBezTo>
                  <a:cubicBezTo>
                    <a:pt x="929" y="287"/>
                    <a:pt x="928" y="285"/>
                    <a:pt x="920" y="282"/>
                  </a:cubicBezTo>
                  <a:cubicBezTo>
                    <a:pt x="911" y="279"/>
                    <a:pt x="904" y="273"/>
                    <a:pt x="901" y="271"/>
                  </a:cubicBezTo>
                  <a:cubicBezTo>
                    <a:pt x="898" y="269"/>
                    <a:pt x="888" y="266"/>
                    <a:pt x="880" y="263"/>
                  </a:cubicBezTo>
                  <a:cubicBezTo>
                    <a:pt x="873" y="260"/>
                    <a:pt x="859" y="257"/>
                    <a:pt x="855" y="253"/>
                  </a:cubicBezTo>
                  <a:cubicBezTo>
                    <a:pt x="851" y="249"/>
                    <a:pt x="844" y="244"/>
                    <a:pt x="853" y="243"/>
                  </a:cubicBezTo>
                  <a:cubicBezTo>
                    <a:pt x="861" y="242"/>
                    <a:pt x="868" y="241"/>
                    <a:pt x="876" y="238"/>
                  </a:cubicBezTo>
                  <a:cubicBezTo>
                    <a:pt x="884" y="236"/>
                    <a:pt x="893" y="232"/>
                    <a:pt x="901" y="231"/>
                  </a:cubicBezTo>
                  <a:cubicBezTo>
                    <a:pt x="909" y="230"/>
                    <a:pt x="917" y="228"/>
                    <a:pt x="924" y="227"/>
                  </a:cubicBezTo>
                  <a:cubicBezTo>
                    <a:pt x="932" y="225"/>
                    <a:pt x="944" y="224"/>
                    <a:pt x="957" y="224"/>
                  </a:cubicBezTo>
                  <a:cubicBezTo>
                    <a:pt x="970" y="223"/>
                    <a:pt x="998" y="218"/>
                    <a:pt x="1005" y="215"/>
                  </a:cubicBezTo>
                  <a:cubicBezTo>
                    <a:pt x="1011" y="213"/>
                    <a:pt x="1019" y="207"/>
                    <a:pt x="1026" y="207"/>
                  </a:cubicBezTo>
                  <a:close/>
                  <a:moveTo>
                    <a:pt x="1236" y="1768"/>
                  </a:moveTo>
                  <a:cubicBezTo>
                    <a:pt x="1243" y="1780"/>
                    <a:pt x="1244" y="1781"/>
                    <a:pt x="1255" y="1787"/>
                  </a:cubicBezTo>
                  <a:cubicBezTo>
                    <a:pt x="1266" y="1794"/>
                    <a:pt x="1270" y="1794"/>
                    <a:pt x="1278" y="1796"/>
                  </a:cubicBezTo>
                  <a:cubicBezTo>
                    <a:pt x="1286" y="1798"/>
                    <a:pt x="1288" y="1797"/>
                    <a:pt x="1293" y="1799"/>
                  </a:cubicBezTo>
                  <a:cubicBezTo>
                    <a:pt x="1298" y="1801"/>
                    <a:pt x="1302" y="1800"/>
                    <a:pt x="1302" y="1806"/>
                  </a:cubicBezTo>
                  <a:cubicBezTo>
                    <a:pt x="1302" y="1812"/>
                    <a:pt x="1298" y="1813"/>
                    <a:pt x="1302" y="1816"/>
                  </a:cubicBezTo>
                  <a:cubicBezTo>
                    <a:pt x="1307" y="1819"/>
                    <a:pt x="1309" y="1817"/>
                    <a:pt x="1309" y="1821"/>
                  </a:cubicBezTo>
                  <a:cubicBezTo>
                    <a:pt x="1309" y="1825"/>
                    <a:pt x="1313" y="1825"/>
                    <a:pt x="1305" y="1829"/>
                  </a:cubicBezTo>
                  <a:cubicBezTo>
                    <a:pt x="1297" y="1834"/>
                    <a:pt x="1293" y="1833"/>
                    <a:pt x="1285" y="1839"/>
                  </a:cubicBezTo>
                  <a:cubicBezTo>
                    <a:pt x="1277" y="1846"/>
                    <a:pt x="1276" y="1849"/>
                    <a:pt x="1265" y="1849"/>
                  </a:cubicBezTo>
                  <a:cubicBezTo>
                    <a:pt x="1255" y="1849"/>
                    <a:pt x="1243" y="1853"/>
                    <a:pt x="1238" y="1859"/>
                  </a:cubicBezTo>
                  <a:cubicBezTo>
                    <a:pt x="1233" y="1864"/>
                    <a:pt x="1221" y="1865"/>
                    <a:pt x="1212" y="1866"/>
                  </a:cubicBezTo>
                  <a:cubicBezTo>
                    <a:pt x="1204" y="1867"/>
                    <a:pt x="1203" y="1868"/>
                    <a:pt x="1190" y="1861"/>
                  </a:cubicBezTo>
                  <a:cubicBezTo>
                    <a:pt x="1176" y="1853"/>
                    <a:pt x="1162" y="1853"/>
                    <a:pt x="1170" y="1849"/>
                  </a:cubicBezTo>
                  <a:cubicBezTo>
                    <a:pt x="1178" y="1844"/>
                    <a:pt x="1184" y="1843"/>
                    <a:pt x="1191" y="1846"/>
                  </a:cubicBezTo>
                  <a:cubicBezTo>
                    <a:pt x="1199" y="1848"/>
                    <a:pt x="1209" y="1846"/>
                    <a:pt x="1215" y="1843"/>
                  </a:cubicBezTo>
                  <a:cubicBezTo>
                    <a:pt x="1220" y="1840"/>
                    <a:pt x="1213" y="1837"/>
                    <a:pt x="1206" y="1839"/>
                  </a:cubicBezTo>
                  <a:cubicBezTo>
                    <a:pt x="1200" y="1841"/>
                    <a:pt x="1192" y="1840"/>
                    <a:pt x="1189" y="1838"/>
                  </a:cubicBezTo>
                  <a:cubicBezTo>
                    <a:pt x="1187" y="1836"/>
                    <a:pt x="1184" y="1835"/>
                    <a:pt x="1182" y="1831"/>
                  </a:cubicBezTo>
                  <a:cubicBezTo>
                    <a:pt x="1180" y="1827"/>
                    <a:pt x="1173" y="1826"/>
                    <a:pt x="1169" y="1827"/>
                  </a:cubicBezTo>
                  <a:cubicBezTo>
                    <a:pt x="1165" y="1828"/>
                    <a:pt x="1159" y="1829"/>
                    <a:pt x="1154" y="1826"/>
                  </a:cubicBezTo>
                  <a:cubicBezTo>
                    <a:pt x="1150" y="1824"/>
                    <a:pt x="1147" y="1827"/>
                    <a:pt x="1137" y="1823"/>
                  </a:cubicBezTo>
                  <a:cubicBezTo>
                    <a:pt x="1128" y="1820"/>
                    <a:pt x="1126" y="1820"/>
                    <a:pt x="1125" y="1817"/>
                  </a:cubicBezTo>
                  <a:cubicBezTo>
                    <a:pt x="1124" y="1813"/>
                    <a:pt x="1130" y="1810"/>
                    <a:pt x="1133" y="1811"/>
                  </a:cubicBezTo>
                  <a:cubicBezTo>
                    <a:pt x="1136" y="1812"/>
                    <a:pt x="1138" y="1812"/>
                    <a:pt x="1142" y="1813"/>
                  </a:cubicBezTo>
                  <a:cubicBezTo>
                    <a:pt x="1146" y="1815"/>
                    <a:pt x="1150" y="1816"/>
                    <a:pt x="1151" y="1815"/>
                  </a:cubicBezTo>
                  <a:cubicBezTo>
                    <a:pt x="1153" y="1814"/>
                    <a:pt x="1156" y="1813"/>
                    <a:pt x="1153" y="1811"/>
                  </a:cubicBezTo>
                  <a:cubicBezTo>
                    <a:pt x="1151" y="1809"/>
                    <a:pt x="1149" y="1808"/>
                    <a:pt x="1145" y="1807"/>
                  </a:cubicBezTo>
                  <a:cubicBezTo>
                    <a:pt x="1140" y="1806"/>
                    <a:pt x="1137" y="1807"/>
                    <a:pt x="1134" y="1801"/>
                  </a:cubicBezTo>
                  <a:cubicBezTo>
                    <a:pt x="1132" y="1795"/>
                    <a:pt x="1130" y="1794"/>
                    <a:pt x="1132" y="1792"/>
                  </a:cubicBezTo>
                  <a:cubicBezTo>
                    <a:pt x="1135" y="1789"/>
                    <a:pt x="1135" y="1786"/>
                    <a:pt x="1140" y="1788"/>
                  </a:cubicBezTo>
                  <a:cubicBezTo>
                    <a:pt x="1146" y="1789"/>
                    <a:pt x="1149" y="1789"/>
                    <a:pt x="1154" y="1790"/>
                  </a:cubicBezTo>
                  <a:cubicBezTo>
                    <a:pt x="1160" y="1790"/>
                    <a:pt x="1164" y="1793"/>
                    <a:pt x="1164" y="1789"/>
                  </a:cubicBezTo>
                  <a:cubicBezTo>
                    <a:pt x="1164" y="1786"/>
                    <a:pt x="1171" y="1786"/>
                    <a:pt x="1162" y="1784"/>
                  </a:cubicBezTo>
                  <a:cubicBezTo>
                    <a:pt x="1153" y="1783"/>
                    <a:pt x="1150" y="1784"/>
                    <a:pt x="1145" y="1780"/>
                  </a:cubicBezTo>
                  <a:cubicBezTo>
                    <a:pt x="1141" y="1776"/>
                    <a:pt x="1139" y="1776"/>
                    <a:pt x="1138" y="1771"/>
                  </a:cubicBezTo>
                  <a:cubicBezTo>
                    <a:pt x="1136" y="1766"/>
                    <a:pt x="1132" y="1764"/>
                    <a:pt x="1136" y="1760"/>
                  </a:cubicBezTo>
                  <a:cubicBezTo>
                    <a:pt x="1139" y="1756"/>
                    <a:pt x="1143" y="1753"/>
                    <a:pt x="1149" y="1752"/>
                  </a:cubicBezTo>
                  <a:cubicBezTo>
                    <a:pt x="1156" y="1751"/>
                    <a:pt x="1155" y="1749"/>
                    <a:pt x="1163" y="1748"/>
                  </a:cubicBezTo>
                  <a:cubicBezTo>
                    <a:pt x="1172" y="1748"/>
                    <a:pt x="1176" y="1745"/>
                    <a:pt x="1184" y="1750"/>
                  </a:cubicBezTo>
                  <a:cubicBezTo>
                    <a:pt x="1191" y="1755"/>
                    <a:pt x="1192" y="1755"/>
                    <a:pt x="1198" y="1755"/>
                  </a:cubicBezTo>
                  <a:cubicBezTo>
                    <a:pt x="1210" y="1757"/>
                    <a:pt x="1230" y="1758"/>
                    <a:pt x="1236" y="1768"/>
                  </a:cubicBezTo>
                  <a:close/>
                  <a:moveTo>
                    <a:pt x="1117" y="1725"/>
                  </a:moveTo>
                  <a:cubicBezTo>
                    <a:pt x="1118" y="1733"/>
                    <a:pt x="1116" y="1738"/>
                    <a:pt x="1122" y="1739"/>
                  </a:cubicBezTo>
                  <a:cubicBezTo>
                    <a:pt x="1129" y="1740"/>
                    <a:pt x="1131" y="1743"/>
                    <a:pt x="1134" y="1739"/>
                  </a:cubicBezTo>
                  <a:cubicBezTo>
                    <a:pt x="1137" y="1735"/>
                    <a:pt x="1136" y="1733"/>
                    <a:pt x="1132" y="1729"/>
                  </a:cubicBezTo>
                  <a:cubicBezTo>
                    <a:pt x="1128" y="1726"/>
                    <a:pt x="1117" y="1717"/>
                    <a:pt x="1117" y="1725"/>
                  </a:cubicBezTo>
                  <a:close/>
                  <a:moveTo>
                    <a:pt x="1195" y="1641"/>
                  </a:moveTo>
                  <a:cubicBezTo>
                    <a:pt x="1190" y="1646"/>
                    <a:pt x="1187" y="1648"/>
                    <a:pt x="1186" y="1651"/>
                  </a:cubicBezTo>
                  <a:cubicBezTo>
                    <a:pt x="1185" y="1654"/>
                    <a:pt x="1184" y="1657"/>
                    <a:pt x="1190" y="1660"/>
                  </a:cubicBezTo>
                  <a:cubicBezTo>
                    <a:pt x="1196" y="1664"/>
                    <a:pt x="1199" y="1665"/>
                    <a:pt x="1204" y="1666"/>
                  </a:cubicBezTo>
                  <a:cubicBezTo>
                    <a:pt x="1209" y="1667"/>
                    <a:pt x="1215" y="1668"/>
                    <a:pt x="1215" y="1661"/>
                  </a:cubicBezTo>
                  <a:cubicBezTo>
                    <a:pt x="1215" y="1654"/>
                    <a:pt x="1215" y="1654"/>
                    <a:pt x="1212" y="1646"/>
                  </a:cubicBezTo>
                  <a:cubicBezTo>
                    <a:pt x="1209" y="1637"/>
                    <a:pt x="1201" y="1636"/>
                    <a:pt x="1195" y="1641"/>
                  </a:cubicBezTo>
                  <a:close/>
                  <a:moveTo>
                    <a:pt x="1250" y="1634"/>
                  </a:moveTo>
                  <a:cubicBezTo>
                    <a:pt x="1242" y="1634"/>
                    <a:pt x="1239" y="1627"/>
                    <a:pt x="1236" y="1632"/>
                  </a:cubicBezTo>
                  <a:cubicBezTo>
                    <a:pt x="1234" y="1637"/>
                    <a:pt x="1236" y="1642"/>
                    <a:pt x="1241" y="1646"/>
                  </a:cubicBezTo>
                  <a:cubicBezTo>
                    <a:pt x="1247" y="1649"/>
                    <a:pt x="1249" y="1651"/>
                    <a:pt x="1254" y="1650"/>
                  </a:cubicBezTo>
                  <a:cubicBezTo>
                    <a:pt x="1259" y="1649"/>
                    <a:pt x="1258" y="1648"/>
                    <a:pt x="1263" y="1644"/>
                  </a:cubicBezTo>
                  <a:cubicBezTo>
                    <a:pt x="1267" y="1641"/>
                    <a:pt x="1273" y="1641"/>
                    <a:pt x="1270" y="1637"/>
                  </a:cubicBezTo>
                  <a:cubicBezTo>
                    <a:pt x="1268" y="1634"/>
                    <a:pt x="1256" y="1632"/>
                    <a:pt x="1250" y="1634"/>
                  </a:cubicBezTo>
                  <a:close/>
                  <a:moveTo>
                    <a:pt x="1227" y="1595"/>
                  </a:moveTo>
                  <a:cubicBezTo>
                    <a:pt x="1221" y="1595"/>
                    <a:pt x="1218" y="1595"/>
                    <a:pt x="1221" y="1599"/>
                  </a:cubicBezTo>
                  <a:cubicBezTo>
                    <a:pt x="1225" y="1603"/>
                    <a:pt x="1225" y="1606"/>
                    <a:pt x="1231" y="1606"/>
                  </a:cubicBezTo>
                  <a:cubicBezTo>
                    <a:pt x="1236" y="1605"/>
                    <a:pt x="1233" y="1603"/>
                    <a:pt x="1240" y="1601"/>
                  </a:cubicBezTo>
                  <a:cubicBezTo>
                    <a:pt x="1247" y="1599"/>
                    <a:pt x="1253" y="1597"/>
                    <a:pt x="1248" y="1596"/>
                  </a:cubicBezTo>
                  <a:cubicBezTo>
                    <a:pt x="1242" y="1596"/>
                    <a:pt x="1233" y="1594"/>
                    <a:pt x="1227" y="1595"/>
                  </a:cubicBezTo>
                  <a:close/>
                  <a:moveTo>
                    <a:pt x="1360" y="1795"/>
                  </a:moveTo>
                  <a:cubicBezTo>
                    <a:pt x="1355" y="1798"/>
                    <a:pt x="1356" y="1800"/>
                    <a:pt x="1352" y="1803"/>
                  </a:cubicBezTo>
                  <a:cubicBezTo>
                    <a:pt x="1349" y="1807"/>
                    <a:pt x="1346" y="1810"/>
                    <a:pt x="1346" y="1814"/>
                  </a:cubicBezTo>
                  <a:cubicBezTo>
                    <a:pt x="1347" y="1818"/>
                    <a:pt x="1348" y="1822"/>
                    <a:pt x="1352" y="1827"/>
                  </a:cubicBezTo>
                  <a:cubicBezTo>
                    <a:pt x="1356" y="1832"/>
                    <a:pt x="1361" y="1835"/>
                    <a:pt x="1363" y="1832"/>
                  </a:cubicBezTo>
                  <a:cubicBezTo>
                    <a:pt x="1365" y="1830"/>
                    <a:pt x="1367" y="1828"/>
                    <a:pt x="1366" y="1823"/>
                  </a:cubicBezTo>
                  <a:cubicBezTo>
                    <a:pt x="1365" y="1818"/>
                    <a:pt x="1360" y="1817"/>
                    <a:pt x="1366" y="1814"/>
                  </a:cubicBezTo>
                  <a:cubicBezTo>
                    <a:pt x="1372" y="1810"/>
                    <a:pt x="1376" y="1811"/>
                    <a:pt x="1379" y="1805"/>
                  </a:cubicBezTo>
                  <a:cubicBezTo>
                    <a:pt x="1382" y="1800"/>
                    <a:pt x="1388" y="1800"/>
                    <a:pt x="1385" y="1797"/>
                  </a:cubicBezTo>
                  <a:cubicBezTo>
                    <a:pt x="1382" y="1793"/>
                    <a:pt x="1377" y="1795"/>
                    <a:pt x="1373" y="1794"/>
                  </a:cubicBezTo>
                  <a:cubicBezTo>
                    <a:pt x="1370" y="1793"/>
                    <a:pt x="1365" y="1794"/>
                    <a:pt x="1360" y="1795"/>
                  </a:cubicBezTo>
                  <a:close/>
                  <a:moveTo>
                    <a:pt x="1349" y="1694"/>
                  </a:moveTo>
                  <a:cubicBezTo>
                    <a:pt x="1345" y="1696"/>
                    <a:pt x="1343" y="1694"/>
                    <a:pt x="1345" y="1698"/>
                  </a:cubicBezTo>
                  <a:cubicBezTo>
                    <a:pt x="1346" y="1701"/>
                    <a:pt x="1350" y="1701"/>
                    <a:pt x="1352" y="1701"/>
                  </a:cubicBezTo>
                  <a:cubicBezTo>
                    <a:pt x="1354" y="1701"/>
                    <a:pt x="1356" y="1699"/>
                    <a:pt x="1356" y="1698"/>
                  </a:cubicBezTo>
                  <a:cubicBezTo>
                    <a:pt x="1357" y="1696"/>
                    <a:pt x="1353" y="1693"/>
                    <a:pt x="1349" y="1694"/>
                  </a:cubicBezTo>
                  <a:close/>
                  <a:moveTo>
                    <a:pt x="1321" y="2008"/>
                  </a:moveTo>
                  <a:cubicBezTo>
                    <a:pt x="1323" y="2005"/>
                    <a:pt x="1331" y="2007"/>
                    <a:pt x="1335" y="2010"/>
                  </a:cubicBezTo>
                  <a:cubicBezTo>
                    <a:pt x="1338" y="2013"/>
                    <a:pt x="1342" y="2015"/>
                    <a:pt x="1343" y="2019"/>
                  </a:cubicBezTo>
                  <a:cubicBezTo>
                    <a:pt x="1343" y="2023"/>
                    <a:pt x="1336" y="2020"/>
                    <a:pt x="1329" y="2020"/>
                  </a:cubicBezTo>
                  <a:cubicBezTo>
                    <a:pt x="1323" y="2020"/>
                    <a:pt x="1323" y="2021"/>
                    <a:pt x="1318" y="2021"/>
                  </a:cubicBezTo>
                  <a:cubicBezTo>
                    <a:pt x="1314" y="2021"/>
                    <a:pt x="1314" y="2018"/>
                    <a:pt x="1315" y="2015"/>
                  </a:cubicBezTo>
                  <a:cubicBezTo>
                    <a:pt x="1316" y="2012"/>
                    <a:pt x="1318" y="2013"/>
                    <a:pt x="1321" y="2008"/>
                  </a:cubicBezTo>
                  <a:close/>
                  <a:moveTo>
                    <a:pt x="1343" y="1993"/>
                  </a:moveTo>
                  <a:cubicBezTo>
                    <a:pt x="1338" y="1995"/>
                    <a:pt x="1335" y="1992"/>
                    <a:pt x="1334" y="1996"/>
                  </a:cubicBezTo>
                  <a:cubicBezTo>
                    <a:pt x="1334" y="1999"/>
                    <a:pt x="1333" y="2001"/>
                    <a:pt x="1338" y="2001"/>
                  </a:cubicBezTo>
                  <a:cubicBezTo>
                    <a:pt x="1343" y="2000"/>
                    <a:pt x="1345" y="2000"/>
                    <a:pt x="1349" y="1999"/>
                  </a:cubicBezTo>
                  <a:cubicBezTo>
                    <a:pt x="1354" y="1999"/>
                    <a:pt x="1357" y="2000"/>
                    <a:pt x="1356" y="1997"/>
                  </a:cubicBezTo>
                  <a:cubicBezTo>
                    <a:pt x="1355" y="1994"/>
                    <a:pt x="1349" y="1991"/>
                    <a:pt x="1343" y="1993"/>
                  </a:cubicBezTo>
                  <a:close/>
                  <a:moveTo>
                    <a:pt x="1309" y="1994"/>
                  </a:moveTo>
                  <a:cubicBezTo>
                    <a:pt x="1305" y="1994"/>
                    <a:pt x="1302" y="1993"/>
                    <a:pt x="1301" y="1995"/>
                  </a:cubicBezTo>
                  <a:cubicBezTo>
                    <a:pt x="1300" y="1997"/>
                    <a:pt x="1297" y="2001"/>
                    <a:pt x="1299" y="2002"/>
                  </a:cubicBezTo>
                  <a:cubicBezTo>
                    <a:pt x="1302" y="2004"/>
                    <a:pt x="1305" y="2005"/>
                    <a:pt x="1307" y="2002"/>
                  </a:cubicBezTo>
                  <a:cubicBezTo>
                    <a:pt x="1309" y="1999"/>
                    <a:pt x="1308" y="1998"/>
                    <a:pt x="1313" y="1998"/>
                  </a:cubicBezTo>
                  <a:cubicBezTo>
                    <a:pt x="1318" y="1997"/>
                    <a:pt x="1320" y="2000"/>
                    <a:pt x="1321" y="1997"/>
                  </a:cubicBezTo>
                  <a:cubicBezTo>
                    <a:pt x="1322" y="1993"/>
                    <a:pt x="1312" y="1994"/>
                    <a:pt x="1309" y="1994"/>
                  </a:cubicBezTo>
                  <a:close/>
                  <a:moveTo>
                    <a:pt x="1358" y="1980"/>
                  </a:moveTo>
                  <a:cubicBezTo>
                    <a:pt x="1356" y="1981"/>
                    <a:pt x="1354" y="1981"/>
                    <a:pt x="1356" y="1983"/>
                  </a:cubicBezTo>
                  <a:cubicBezTo>
                    <a:pt x="1358" y="1984"/>
                    <a:pt x="1360" y="1987"/>
                    <a:pt x="1362" y="1985"/>
                  </a:cubicBezTo>
                  <a:cubicBezTo>
                    <a:pt x="1364" y="1983"/>
                    <a:pt x="1361" y="1979"/>
                    <a:pt x="1358" y="1980"/>
                  </a:cubicBezTo>
                  <a:close/>
                  <a:moveTo>
                    <a:pt x="1242" y="1984"/>
                  </a:moveTo>
                  <a:cubicBezTo>
                    <a:pt x="1241" y="1987"/>
                    <a:pt x="1241" y="1988"/>
                    <a:pt x="1249" y="1990"/>
                  </a:cubicBezTo>
                  <a:cubicBezTo>
                    <a:pt x="1256" y="1993"/>
                    <a:pt x="1260" y="1993"/>
                    <a:pt x="1263" y="1994"/>
                  </a:cubicBezTo>
                  <a:cubicBezTo>
                    <a:pt x="1267" y="1995"/>
                    <a:pt x="1271" y="1997"/>
                    <a:pt x="1275" y="1995"/>
                  </a:cubicBezTo>
                  <a:cubicBezTo>
                    <a:pt x="1280" y="1993"/>
                    <a:pt x="1283" y="1992"/>
                    <a:pt x="1282" y="1991"/>
                  </a:cubicBezTo>
                  <a:cubicBezTo>
                    <a:pt x="1280" y="1990"/>
                    <a:pt x="1274" y="1990"/>
                    <a:pt x="1267" y="1989"/>
                  </a:cubicBezTo>
                  <a:cubicBezTo>
                    <a:pt x="1260" y="1988"/>
                    <a:pt x="1259" y="1988"/>
                    <a:pt x="1256" y="1985"/>
                  </a:cubicBezTo>
                  <a:cubicBezTo>
                    <a:pt x="1252" y="1982"/>
                    <a:pt x="1242" y="1979"/>
                    <a:pt x="1242" y="1984"/>
                  </a:cubicBezTo>
                  <a:close/>
                  <a:moveTo>
                    <a:pt x="1245" y="2003"/>
                  </a:moveTo>
                  <a:cubicBezTo>
                    <a:pt x="1251" y="2002"/>
                    <a:pt x="1254" y="2000"/>
                    <a:pt x="1258" y="2003"/>
                  </a:cubicBezTo>
                  <a:cubicBezTo>
                    <a:pt x="1262" y="2006"/>
                    <a:pt x="1262" y="2006"/>
                    <a:pt x="1268" y="2007"/>
                  </a:cubicBezTo>
                  <a:cubicBezTo>
                    <a:pt x="1274" y="2007"/>
                    <a:pt x="1273" y="2005"/>
                    <a:pt x="1277" y="2005"/>
                  </a:cubicBezTo>
                  <a:cubicBezTo>
                    <a:pt x="1281" y="2004"/>
                    <a:pt x="1284" y="2003"/>
                    <a:pt x="1286" y="2004"/>
                  </a:cubicBezTo>
                  <a:cubicBezTo>
                    <a:pt x="1289" y="2005"/>
                    <a:pt x="1293" y="2005"/>
                    <a:pt x="1289" y="2007"/>
                  </a:cubicBezTo>
                  <a:cubicBezTo>
                    <a:pt x="1285" y="2010"/>
                    <a:pt x="1276" y="2011"/>
                    <a:pt x="1273" y="2012"/>
                  </a:cubicBezTo>
                  <a:cubicBezTo>
                    <a:pt x="1269" y="2013"/>
                    <a:pt x="1267" y="2016"/>
                    <a:pt x="1263" y="2017"/>
                  </a:cubicBezTo>
                  <a:cubicBezTo>
                    <a:pt x="1258" y="2018"/>
                    <a:pt x="1255" y="2016"/>
                    <a:pt x="1250" y="2018"/>
                  </a:cubicBezTo>
                  <a:cubicBezTo>
                    <a:pt x="1245" y="2020"/>
                    <a:pt x="1239" y="2021"/>
                    <a:pt x="1237" y="2025"/>
                  </a:cubicBezTo>
                  <a:cubicBezTo>
                    <a:pt x="1235" y="2029"/>
                    <a:pt x="1230" y="2031"/>
                    <a:pt x="1228" y="2033"/>
                  </a:cubicBezTo>
                  <a:cubicBezTo>
                    <a:pt x="1225" y="2035"/>
                    <a:pt x="1219" y="2043"/>
                    <a:pt x="1214" y="2042"/>
                  </a:cubicBezTo>
                  <a:cubicBezTo>
                    <a:pt x="1210" y="2042"/>
                    <a:pt x="1208" y="2041"/>
                    <a:pt x="1210" y="2036"/>
                  </a:cubicBezTo>
                  <a:cubicBezTo>
                    <a:pt x="1211" y="2031"/>
                    <a:pt x="1213" y="2028"/>
                    <a:pt x="1210" y="2024"/>
                  </a:cubicBezTo>
                  <a:cubicBezTo>
                    <a:pt x="1208" y="2020"/>
                    <a:pt x="1203" y="2019"/>
                    <a:pt x="1208" y="2017"/>
                  </a:cubicBezTo>
                  <a:cubicBezTo>
                    <a:pt x="1213" y="2015"/>
                    <a:pt x="1215" y="2014"/>
                    <a:pt x="1219" y="2016"/>
                  </a:cubicBezTo>
                  <a:cubicBezTo>
                    <a:pt x="1223" y="2018"/>
                    <a:pt x="1225" y="2019"/>
                    <a:pt x="1229" y="2016"/>
                  </a:cubicBezTo>
                  <a:cubicBezTo>
                    <a:pt x="1233" y="2013"/>
                    <a:pt x="1236" y="2014"/>
                    <a:pt x="1237" y="2011"/>
                  </a:cubicBezTo>
                  <a:cubicBezTo>
                    <a:pt x="1239" y="2008"/>
                    <a:pt x="1239" y="2004"/>
                    <a:pt x="1245" y="2003"/>
                  </a:cubicBezTo>
                  <a:close/>
                  <a:moveTo>
                    <a:pt x="2841" y="1688"/>
                  </a:moveTo>
                  <a:cubicBezTo>
                    <a:pt x="2834" y="1693"/>
                    <a:pt x="2832" y="1693"/>
                    <a:pt x="2824" y="1698"/>
                  </a:cubicBezTo>
                  <a:cubicBezTo>
                    <a:pt x="2815" y="1702"/>
                    <a:pt x="2801" y="1701"/>
                    <a:pt x="2797" y="1708"/>
                  </a:cubicBezTo>
                  <a:cubicBezTo>
                    <a:pt x="2793" y="1714"/>
                    <a:pt x="2789" y="1722"/>
                    <a:pt x="2795" y="1723"/>
                  </a:cubicBezTo>
                  <a:cubicBezTo>
                    <a:pt x="2800" y="1724"/>
                    <a:pt x="2803" y="1725"/>
                    <a:pt x="2813" y="1724"/>
                  </a:cubicBezTo>
                  <a:cubicBezTo>
                    <a:pt x="2823" y="1722"/>
                    <a:pt x="2829" y="1722"/>
                    <a:pt x="2837" y="1722"/>
                  </a:cubicBezTo>
                  <a:cubicBezTo>
                    <a:pt x="2845" y="1722"/>
                    <a:pt x="2849" y="1720"/>
                    <a:pt x="2860" y="1720"/>
                  </a:cubicBezTo>
                  <a:cubicBezTo>
                    <a:pt x="2870" y="1719"/>
                    <a:pt x="2877" y="1721"/>
                    <a:pt x="2883" y="1718"/>
                  </a:cubicBezTo>
                  <a:cubicBezTo>
                    <a:pt x="2889" y="1714"/>
                    <a:pt x="2892" y="1711"/>
                    <a:pt x="2899" y="1714"/>
                  </a:cubicBezTo>
                  <a:cubicBezTo>
                    <a:pt x="2907" y="1718"/>
                    <a:pt x="2908" y="1721"/>
                    <a:pt x="2916" y="1718"/>
                  </a:cubicBezTo>
                  <a:cubicBezTo>
                    <a:pt x="2924" y="1714"/>
                    <a:pt x="2920" y="1708"/>
                    <a:pt x="2931" y="1707"/>
                  </a:cubicBezTo>
                  <a:cubicBezTo>
                    <a:pt x="2941" y="1706"/>
                    <a:pt x="2950" y="1706"/>
                    <a:pt x="2952" y="1702"/>
                  </a:cubicBezTo>
                  <a:cubicBezTo>
                    <a:pt x="2955" y="1698"/>
                    <a:pt x="2958" y="1695"/>
                    <a:pt x="2953" y="1693"/>
                  </a:cubicBezTo>
                  <a:cubicBezTo>
                    <a:pt x="2948" y="1692"/>
                    <a:pt x="2946" y="1688"/>
                    <a:pt x="2948" y="1685"/>
                  </a:cubicBezTo>
                  <a:cubicBezTo>
                    <a:pt x="2949" y="1682"/>
                    <a:pt x="2954" y="1679"/>
                    <a:pt x="2946" y="1676"/>
                  </a:cubicBezTo>
                  <a:cubicBezTo>
                    <a:pt x="2939" y="1674"/>
                    <a:pt x="2934" y="1668"/>
                    <a:pt x="2928" y="1666"/>
                  </a:cubicBezTo>
                  <a:cubicBezTo>
                    <a:pt x="2922" y="1664"/>
                    <a:pt x="2914" y="1661"/>
                    <a:pt x="2910" y="1667"/>
                  </a:cubicBezTo>
                  <a:cubicBezTo>
                    <a:pt x="2906" y="1672"/>
                    <a:pt x="2906" y="1679"/>
                    <a:pt x="2898" y="1679"/>
                  </a:cubicBezTo>
                  <a:cubicBezTo>
                    <a:pt x="2889" y="1679"/>
                    <a:pt x="2885" y="1676"/>
                    <a:pt x="2879" y="1679"/>
                  </a:cubicBezTo>
                  <a:cubicBezTo>
                    <a:pt x="2874" y="1682"/>
                    <a:pt x="2868" y="1682"/>
                    <a:pt x="2863" y="1682"/>
                  </a:cubicBezTo>
                  <a:cubicBezTo>
                    <a:pt x="2858" y="1682"/>
                    <a:pt x="2847" y="1682"/>
                    <a:pt x="2841" y="1688"/>
                  </a:cubicBezTo>
                  <a:close/>
                  <a:moveTo>
                    <a:pt x="3011" y="1470"/>
                  </a:moveTo>
                  <a:cubicBezTo>
                    <a:pt x="3009" y="1463"/>
                    <a:pt x="3011" y="1463"/>
                    <a:pt x="3012" y="1462"/>
                  </a:cubicBezTo>
                  <a:cubicBezTo>
                    <a:pt x="3014" y="1460"/>
                    <a:pt x="3016" y="1462"/>
                    <a:pt x="3021" y="1460"/>
                  </a:cubicBezTo>
                  <a:cubicBezTo>
                    <a:pt x="3025" y="1459"/>
                    <a:pt x="3030" y="1458"/>
                    <a:pt x="3036" y="1458"/>
                  </a:cubicBezTo>
                  <a:cubicBezTo>
                    <a:pt x="3041" y="1458"/>
                    <a:pt x="3045" y="1460"/>
                    <a:pt x="3052" y="1462"/>
                  </a:cubicBezTo>
                  <a:cubicBezTo>
                    <a:pt x="3059" y="1463"/>
                    <a:pt x="3066" y="1460"/>
                    <a:pt x="3075" y="1460"/>
                  </a:cubicBezTo>
                  <a:cubicBezTo>
                    <a:pt x="3084" y="1461"/>
                    <a:pt x="3085" y="1464"/>
                    <a:pt x="3090" y="1463"/>
                  </a:cubicBezTo>
                  <a:cubicBezTo>
                    <a:pt x="3095" y="1463"/>
                    <a:pt x="3101" y="1464"/>
                    <a:pt x="3104" y="1467"/>
                  </a:cubicBezTo>
                  <a:cubicBezTo>
                    <a:pt x="3108" y="1469"/>
                    <a:pt x="3107" y="1472"/>
                    <a:pt x="3111" y="1480"/>
                  </a:cubicBezTo>
                  <a:cubicBezTo>
                    <a:pt x="3114" y="1489"/>
                    <a:pt x="3119" y="1484"/>
                    <a:pt x="3123" y="1487"/>
                  </a:cubicBezTo>
                  <a:cubicBezTo>
                    <a:pt x="3127" y="1490"/>
                    <a:pt x="3133" y="1494"/>
                    <a:pt x="3137" y="1495"/>
                  </a:cubicBezTo>
                  <a:cubicBezTo>
                    <a:pt x="3141" y="1496"/>
                    <a:pt x="3145" y="1495"/>
                    <a:pt x="3151" y="1497"/>
                  </a:cubicBezTo>
                  <a:cubicBezTo>
                    <a:pt x="3156" y="1498"/>
                    <a:pt x="3150" y="1500"/>
                    <a:pt x="3146" y="1501"/>
                  </a:cubicBezTo>
                  <a:cubicBezTo>
                    <a:pt x="3142" y="1503"/>
                    <a:pt x="3136" y="1502"/>
                    <a:pt x="3128" y="1500"/>
                  </a:cubicBezTo>
                  <a:cubicBezTo>
                    <a:pt x="3120" y="1497"/>
                    <a:pt x="3119" y="1501"/>
                    <a:pt x="3116" y="1505"/>
                  </a:cubicBezTo>
                  <a:cubicBezTo>
                    <a:pt x="3112" y="1509"/>
                    <a:pt x="3115" y="1511"/>
                    <a:pt x="3118" y="1513"/>
                  </a:cubicBezTo>
                  <a:cubicBezTo>
                    <a:pt x="3121" y="1515"/>
                    <a:pt x="3126" y="1513"/>
                    <a:pt x="3130" y="1515"/>
                  </a:cubicBezTo>
                  <a:cubicBezTo>
                    <a:pt x="3134" y="1517"/>
                    <a:pt x="3135" y="1521"/>
                    <a:pt x="3138" y="1525"/>
                  </a:cubicBezTo>
                  <a:cubicBezTo>
                    <a:pt x="3140" y="1529"/>
                    <a:pt x="3143" y="1527"/>
                    <a:pt x="3148" y="1525"/>
                  </a:cubicBezTo>
                  <a:cubicBezTo>
                    <a:pt x="3154" y="1524"/>
                    <a:pt x="3152" y="1527"/>
                    <a:pt x="3150" y="1531"/>
                  </a:cubicBezTo>
                  <a:cubicBezTo>
                    <a:pt x="3147" y="1535"/>
                    <a:pt x="3144" y="1535"/>
                    <a:pt x="3141" y="1537"/>
                  </a:cubicBezTo>
                  <a:cubicBezTo>
                    <a:pt x="3137" y="1540"/>
                    <a:pt x="3132" y="1538"/>
                    <a:pt x="3128" y="1538"/>
                  </a:cubicBezTo>
                  <a:cubicBezTo>
                    <a:pt x="3123" y="1538"/>
                    <a:pt x="3116" y="1536"/>
                    <a:pt x="3112" y="1532"/>
                  </a:cubicBezTo>
                  <a:cubicBezTo>
                    <a:pt x="3108" y="1529"/>
                    <a:pt x="3103" y="1528"/>
                    <a:pt x="3100" y="1523"/>
                  </a:cubicBezTo>
                  <a:cubicBezTo>
                    <a:pt x="3097" y="1519"/>
                    <a:pt x="3094" y="1519"/>
                    <a:pt x="3086" y="1514"/>
                  </a:cubicBezTo>
                  <a:cubicBezTo>
                    <a:pt x="3078" y="1509"/>
                    <a:pt x="3074" y="1511"/>
                    <a:pt x="3070" y="1509"/>
                  </a:cubicBezTo>
                  <a:cubicBezTo>
                    <a:pt x="3066" y="1506"/>
                    <a:pt x="3058" y="1507"/>
                    <a:pt x="3051" y="1507"/>
                  </a:cubicBezTo>
                  <a:cubicBezTo>
                    <a:pt x="3044" y="1507"/>
                    <a:pt x="3046" y="1507"/>
                    <a:pt x="3039" y="1506"/>
                  </a:cubicBezTo>
                  <a:cubicBezTo>
                    <a:pt x="3033" y="1506"/>
                    <a:pt x="3033" y="1502"/>
                    <a:pt x="3031" y="1495"/>
                  </a:cubicBezTo>
                  <a:cubicBezTo>
                    <a:pt x="3029" y="1488"/>
                    <a:pt x="3028" y="1490"/>
                    <a:pt x="3026" y="1488"/>
                  </a:cubicBezTo>
                  <a:cubicBezTo>
                    <a:pt x="3024" y="1486"/>
                    <a:pt x="3020" y="1486"/>
                    <a:pt x="3015" y="1483"/>
                  </a:cubicBezTo>
                  <a:cubicBezTo>
                    <a:pt x="3010" y="1479"/>
                    <a:pt x="3011" y="1478"/>
                    <a:pt x="3011" y="1470"/>
                  </a:cubicBezTo>
                  <a:close/>
                  <a:moveTo>
                    <a:pt x="3024" y="1438"/>
                  </a:moveTo>
                  <a:cubicBezTo>
                    <a:pt x="3022" y="1441"/>
                    <a:pt x="3023" y="1444"/>
                    <a:pt x="3031" y="1445"/>
                  </a:cubicBezTo>
                  <a:cubicBezTo>
                    <a:pt x="3039" y="1445"/>
                    <a:pt x="3045" y="1444"/>
                    <a:pt x="3050" y="1447"/>
                  </a:cubicBezTo>
                  <a:cubicBezTo>
                    <a:pt x="3054" y="1450"/>
                    <a:pt x="3056" y="1449"/>
                    <a:pt x="3064" y="1450"/>
                  </a:cubicBezTo>
                  <a:cubicBezTo>
                    <a:pt x="3072" y="1451"/>
                    <a:pt x="3071" y="1451"/>
                    <a:pt x="3078" y="1451"/>
                  </a:cubicBezTo>
                  <a:cubicBezTo>
                    <a:pt x="3085" y="1451"/>
                    <a:pt x="3091" y="1451"/>
                    <a:pt x="3099" y="1452"/>
                  </a:cubicBezTo>
                  <a:cubicBezTo>
                    <a:pt x="3107" y="1453"/>
                    <a:pt x="3115" y="1460"/>
                    <a:pt x="3117" y="1462"/>
                  </a:cubicBezTo>
                  <a:cubicBezTo>
                    <a:pt x="3120" y="1465"/>
                    <a:pt x="3120" y="1468"/>
                    <a:pt x="3123" y="1472"/>
                  </a:cubicBezTo>
                  <a:cubicBezTo>
                    <a:pt x="3126" y="1476"/>
                    <a:pt x="3131" y="1477"/>
                    <a:pt x="3136" y="1477"/>
                  </a:cubicBezTo>
                  <a:cubicBezTo>
                    <a:pt x="3140" y="1477"/>
                    <a:pt x="3141" y="1479"/>
                    <a:pt x="3148" y="1477"/>
                  </a:cubicBezTo>
                  <a:cubicBezTo>
                    <a:pt x="3155" y="1475"/>
                    <a:pt x="3157" y="1474"/>
                    <a:pt x="3161" y="1474"/>
                  </a:cubicBezTo>
                  <a:cubicBezTo>
                    <a:pt x="3165" y="1475"/>
                    <a:pt x="3167" y="1477"/>
                    <a:pt x="3166" y="1474"/>
                  </a:cubicBezTo>
                  <a:cubicBezTo>
                    <a:pt x="3165" y="1470"/>
                    <a:pt x="3165" y="1467"/>
                    <a:pt x="3160" y="1467"/>
                  </a:cubicBezTo>
                  <a:cubicBezTo>
                    <a:pt x="3156" y="1466"/>
                    <a:pt x="3151" y="1465"/>
                    <a:pt x="3153" y="1462"/>
                  </a:cubicBezTo>
                  <a:cubicBezTo>
                    <a:pt x="3154" y="1458"/>
                    <a:pt x="3156" y="1458"/>
                    <a:pt x="3160" y="1456"/>
                  </a:cubicBezTo>
                  <a:cubicBezTo>
                    <a:pt x="3163" y="1454"/>
                    <a:pt x="3170" y="1452"/>
                    <a:pt x="3162" y="1450"/>
                  </a:cubicBezTo>
                  <a:cubicBezTo>
                    <a:pt x="3154" y="1447"/>
                    <a:pt x="3157" y="1448"/>
                    <a:pt x="3149" y="1447"/>
                  </a:cubicBezTo>
                  <a:cubicBezTo>
                    <a:pt x="3140" y="1445"/>
                    <a:pt x="3138" y="1446"/>
                    <a:pt x="3133" y="1441"/>
                  </a:cubicBezTo>
                  <a:cubicBezTo>
                    <a:pt x="3129" y="1437"/>
                    <a:pt x="3125" y="1435"/>
                    <a:pt x="3118" y="1436"/>
                  </a:cubicBezTo>
                  <a:cubicBezTo>
                    <a:pt x="3110" y="1436"/>
                    <a:pt x="3110" y="1438"/>
                    <a:pt x="3104" y="1434"/>
                  </a:cubicBezTo>
                  <a:cubicBezTo>
                    <a:pt x="3099" y="1431"/>
                    <a:pt x="3090" y="1432"/>
                    <a:pt x="3087" y="1434"/>
                  </a:cubicBezTo>
                  <a:cubicBezTo>
                    <a:pt x="3084" y="1436"/>
                    <a:pt x="3080" y="1437"/>
                    <a:pt x="3069" y="1436"/>
                  </a:cubicBezTo>
                  <a:cubicBezTo>
                    <a:pt x="3059" y="1435"/>
                    <a:pt x="3056" y="1435"/>
                    <a:pt x="3048" y="1437"/>
                  </a:cubicBezTo>
                  <a:cubicBezTo>
                    <a:pt x="3040" y="1438"/>
                    <a:pt x="3029" y="1434"/>
                    <a:pt x="3024" y="1438"/>
                  </a:cubicBezTo>
                  <a:close/>
                  <a:moveTo>
                    <a:pt x="2990" y="1391"/>
                  </a:moveTo>
                  <a:cubicBezTo>
                    <a:pt x="2999" y="1392"/>
                    <a:pt x="3002" y="1392"/>
                    <a:pt x="3008" y="1391"/>
                  </a:cubicBezTo>
                  <a:cubicBezTo>
                    <a:pt x="3013" y="1390"/>
                    <a:pt x="3017" y="1389"/>
                    <a:pt x="3019" y="1390"/>
                  </a:cubicBezTo>
                  <a:cubicBezTo>
                    <a:pt x="3022" y="1391"/>
                    <a:pt x="3019" y="1388"/>
                    <a:pt x="3028" y="1393"/>
                  </a:cubicBezTo>
                  <a:cubicBezTo>
                    <a:pt x="3037" y="1398"/>
                    <a:pt x="3041" y="1399"/>
                    <a:pt x="3047" y="1400"/>
                  </a:cubicBezTo>
                  <a:cubicBezTo>
                    <a:pt x="3053" y="1401"/>
                    <a:pt x="3056" y="1397"/>
                    <a:pt x="3062" y="1403"/>
                  </a:cubicBezTo>
                  <a:cubicBezTo>
                    <a:pt x="3068" y="1410"/>
                    <a:pt x="3054" y="1408"/>
                    <a:pt x="3047" y="1407"/>
                  </a:cubicBezTo>
                  <a:cubicBezTo>
                    <a:pt x="3039" y="1406"/>
                    <a:pt x="3031" y="1406"/>
                    <a:pt x="3024" y="1405"/>
                  </a:cubicBezTo>
                  <a:cubicBezTo>
                    <a:pt x="3016" y="1404"/>
                    <a:pt x="3022" y="1401"/>
                    <a:pt x="3011" y="1401"/>
                  </a:cubicBezTo>
                  <a:cubicBezTo>
                    <a:pt x="3000" y="1401"/>
                    <a:pt x="2996" y="1400"/>
                    <a:pt x="2989" y="1401"/>
                  </a:cubicBezTo>
                  <a:cubicBezTo>
                    <a:pt x="2983" y="1402"/>
                    <a:pt x="2978" y="1403"/>
                    <a:pt x="2973" y="1400"/>
                  </a:cubicBezTo>
                  <a:cubicBezTo>
                    <a:pt x="2968" y="1396"/>
                    <a:pt x="2962" y="1397"/>
                    <a:pt x="2965" y="1393"/>
                  </a:cubicBezTo>
                  <a:cubicBezTo>
                    <a:pt x="2968" y="1389"/>
                    <a:pt x="2972" y="1388"/>
                    <a:pt x="2990" y="1391"/>
                  </a:cubicBezTo>
                  <a:close/>
                  <a:moveTo>
                    <a:pt x="3201" y="1420"/>
                  </a:moveTo>
                  <a:cubicBezTo>
                    <a:pt x="3193" y="1421"/>
                    <a:pt x="3192" y="1425"/>
                    <a:pt x="3194" y="1426"/>
                  </a:cubicBezTo>
                  <a:cubicBezTo>
                    <a:pt x="3195" y="1428"/>
                    <a:pt x="3211" y="1430"/>
                    <a:pt x="3211" y="1426"/>
                  </a:cubicBezTo>
                  <a:cubicBezTo>
                    <a:pt x="3211" y="1423"/>
                    <a:pt x="3207" y="1419"/>
                    <a:pt x="3201" y="1420"/>
                  </a:cubicBezTo>
                  <a:close/>
                  <a:moveTo>
                    <a:pt x="3199" y="1276"/>
                  </a:moveTo>
                  <a:cubicBezTo>
                    <a:pt x="3195" y="1281"/>
                    <a:pt x="3194" y="1283"/>
                    <a:pt x="3185" y="1285"/>
                  </a:cubicBezTo>
                  <a:cubicBezTo>
                    <a:pt x="3175" y="1286"/>
                    <a:pt x="3168" y="1285"/>
                    <a:pt x="3167" y="1288"/>
                  </a:cubicBezTo>
                  <a:cubicBezTo>
                    <a:pt x="3166" y="1291"/>
                    <a:pt x="3164" y="1296"/>
                    <a:pt x="3172" y="1297"/>
                  </a:cubicBezTo>
                  <a:cubicBezTo>
                    <a:pt x="3180" y="1298"/>
                    <a:pt x="3183" y="1295"/>
                    <a:pt x="3189" y="1300"/>
                  </a:cubicBezTo>
                  <a:cubicBezTo>
                    <a:pt x="3195" y="1305"/>
                    <a:pt x="3195" y="1307"/>
                    <a:pt x="3200" y="1308"/>
                  </a:cubicBezTo>
                  <a:cubicBezTo>
                    <a:pt x="3205" y="1308"/>
                    <a:pt x="3210" y="1312"/>
                    <a:pt x="3215" y="1308"/>
                  </a:cubicBezTo>
                  <a:cubicBezTo>
                    <a:pt x="3220" y="1304"/>
                    <a:pt x="3220" y="1302"/>
                    <a:pt x="3226" y="1301"/>
                  </a:cubicBezTo>
                  <a:cubicBezTo>
                    <a:pt x="3233" y="1300"/>
                    <a:pt x="3235" y="1300"/>
                    <a:pt x="3239" y="1300"/>
                  </a:cubicBezTo>
                  <a:cubicBezTo>
                    <a:pt x="3242" y="1300"/>
                    <a:pt x="3246" y="1298"/>
                    <a:pt x="3252" y="1296"/>
                  </a:cubicBezTo>
                  <a:cubicBezTo>
                    <a:pt x="3259" y="1294"/>
                    <a:pt x="3267" y="1297"/>
                    <a:pt x="3266" y="1293"/>
                  </a:cubicBezTo>
                  <a:cubicBezTo>
                    <a:pt x="3264" y="1289"/>
                    <a:pt x="3257" y="1287"/>
                    <a:pt x="3253" y="1283"/>
                  </a:cubicBezTo>
                  <a:cubicBezTo>
                    <a:pt x="3249" y="1279"/>
                    <a:pt x="3250" y="1275"/>
                    <a:pt x="3244" y="1274"/>
                  </a:cubicBezTo>
                  <a:cubicBezTo>
                    <a:pt x="3238" y="1272"/>
                    <a:pt x="3235" y="1271"/>
                    <a:pt x="3228" y="1272"/>
                  </a:cubicBezTo>
                  <a:cubicBezTo>
                    <a:pt x="3222" y="1273"/>
                    <a:pt x="3222" y="1271"/>
                    <a:pt x="3218" y="1271"/>
                  </a:cubicBezTo>
                  <a:cubicBezTo>
                    <a:pt x="3213" y="1271"/>
                    <a:pt x="3202" y="1271"/>
                    <a:pt x="3199" y="1276"/>
                  </a:cubicBezTo>
                  <a:close/>
                  <a:moveTo>
                    <a:pt x="3253" y="1195"/>
                  </a:moveTo>
                  <a:cubicBezTo>
                    <a:pt x="3251" y="1200"/>
                    <a:pt x="3251" y="1202"/>
                    <a:pt x="3253" y="1205"/>
                  </a:cubicBezTo>
                  <a:cubicBezTo>
                    <a:pt x="3255" y="1207"/>
                    <a:pt x="3254" y="1209"/>
                    <a:pt x="3252" y="1210"/>
                  </a:cubicBezTo>
                  <a:cubicBezTo>
                    <a:pt x="3249" y="1212"/>
                    <a:pt x="3247" y="1211"/>
                    <a:pt x="3248" y="1215"/>
                  </a:cubicBezTo>
                  <a:cubicBezTo>
                    <a:pt x="3249" y="1220"/>
                    <a:pt x="3248" y="1223"/>
                    <a:pt x="3254" y="1224"/>
                  </a:cubicBezTo>
                  <a:cubicBezTo>
                    <a:pt x="3261" y="1225"/>
                    <a:pt x="3264" y="1225"/>
                    <a:pt x="3268" y="1227"/>
                  </a:cubicBezTo>
                  <a:cubicBezTo>
                    <a:pt x="3271" y="1230"/>
                    <a:pt x="3277" y="1233"/>
                    <a:pt x="3280" y="1229"/>
                  </a:cubicBezTo>
                  <a:cubicBezTo>
                    <a:pt x="3283" y="1225"/>
                    <a:pt x="3279" y="1223"/>
                    <a:pt x="3284" y="1220"/>
                  </a:cubicBezTo>
                  <a:cubicBezTo>
                    <a:pt x="3290" y="1217"/>
                    <a:pt x="3296" y="1218"/>
                    <a:pt x="3294" y="1213"/>
                  </a:cubicBezTo>
                  <a:cubicBezTo>
                    <a:pt x="3292" y="1208"/>
                    <a:pt x="3286" y="1208"/>
                    <a:pt x="3281" y="1207"/>
                  </a:cubicBezTo>
                  <a:cubicBezTo>
                    <a:pt x="3277" y="1207"/>
                    <a:pt x="3278" y="1204"/>
                    <a:pt x="3276" y="1200"/>
                  </a:cubicBezTo>
                  <a:cubicBezTo>
                    <a:pt x="3275" y="1195"/>
                    <a:pt x="3276" y="1194"/>
                    <a:pt x="3272" y="1195"/>
                  </a:cubicBezTo>
                  <a:cubicBezTo>
                    <a:pt x="3269" y="1195"/>
                    <a:pt x="3256" y="1190"/>
                    <a:pt x="3253" y="1195"/>
                  </a:cubicBezTo>
                  <a:close/>
                  <a:moveTo>
                    <a:pt x="3356" y="1164"/>
                  </a:moveTo>
                  <a:cubicBezTo>
                    <a:pt x="3359" y="1176"/>
                    <a:pt x="3361" y="1176"/>
                    <a:pt x="3358" y="1183"/>
                  </a:cubicBezTo>
                  <a:cubicBezTo>
                    <a:pt x="3355" y="1190"/>
                    <a:pt x="3352" y="1189"/>
                    <a:pt x="3357" y="1193"/>
                  </a:cubicBezTo>
                  <a:cubicBezTo>
                    <a:pt x="3363" y="1197"/>
                    <a:pt x="3375" y="1199"/>
                    <a:pt x="3382" y="1198"/>
                  </a:cubicBezTo>
                  <a:cubicBezTo>
                    <a:pt x="3389" y="1197"/>
                    <a:pt x="3394" y="1198"/>
                    <a:pt x="3400" y="1200"/>
                  </a:cubicBezTo>
                  <a:cubicBezTo>
                    <a:pt x="3406" y="1203"/>
                    <a:pt x="3409" y="1204"/>
                    <a:pt x="3415" y="1204"/>
                  </a:cubicBezTo>
                  <a:cubicBezTo>
                    <a:pt x="3422" y="1204"/>
                    <a:pt x="3424" y="1208"/>
                    <a:pt x="3432" y="1204"/>
                  </a:cubicBezTo>
                  <a:cubicBezTo>
                    <a:pt x="3441" y="1201"/>
                    <a:pt x="3444" y="1202"/>
                    <a:pt x="3445" y="1194"/>
                  </a:cubicBezTo>
                  <a:cubicBezTo>
                    <a:pt x="3446" y="1186"/>
                    <a:pt x="3451" y="1180"/>
                    <a:pt x="3447" y="1180"/>
                  </a:cubicBezTo>
                  <a:cubicBezTo>
                    <a:pt x="3443" y="1180"/>
                    <a:pt x="3439" y="1181"/>
                    <a:pt x="3435" y="1185"/>
                  </a:cubicBezTo>
                  <a:cubicBezTo>
                    <a:pt x="3432" y="1189"/>
                    <a:pt x="3429" y="1192"/>
                    <a:pt x="3422" y="1186"/>
                  </a:cubicBezTo>
                  <a:cubicBezTo>
                    <a:pt x="3415" y="1181"/>
                    <a:pt x="3413" y="1178"/>
                    <a:pt x="3410" y="1177"/>
                  </a:cubicBezTo>
                  <a:cubicBezTo>
                    <a:pt x="3407" y="1175"/>
                    <a:pt x="3402" y="1175"/>
                    <a:pt x="3408" y="1171"/>
                  </a:cubicBezTo>
                  <a:cubicBezTo>
                    <a:pt x="3415" y="1167"/>
                    <a:pt x="3418" y="1170"/>
                    <a:pt x="3419" y="1163"/>
                  </a:cubicBezTo>
                  <a:cubicBezTo>
                    <a:pt x="3419" y="1156"/>
                    <a:pt x="3416" y="1153"/>
                    <a:pt x="3414" y="1150"/>
                  </a:cubicBezTo>
                  <a:cubicBezTo>
                    <a:pt x="3411" y="1148"/>
                    <a:pt x="3408" y="1142"/>
                    <a:pt x="3404" y="1147"/>
                  </a:cubicBezTo>
                  <a:cubicBezTo>
                    <a:pt x="3401" y="1152"/>
                    <a:pt x="3401" y="1162"/>
                    <a:pt x="3398" y="1162"/>
                  </a:cubicBezTo>
                  <a:cubicBezTo>
                    <a:pt x="3394" y="1162"/>
                    <a:pt x="3387" y="1161"/>
                    <a:pt x="3387" y="1157"/>
                  </a:cubicBezTo>
                  <a:cubicBezTo>
                    <a:pt x="3387" y="1153"/>
                    <a:pt x="3382" y="1147"/>
                    <a:pt x="3376" y="1151"/>
                  </a:cubicBezTo>
                  <a:cubicBezTo>
                    <a:pt x="3371" y="1154"/>
                    <a:pt x="3369" y="1156"/>
                    <a:pt x="3364" y="1155"/>
                  </a:cubicBezTo>
                  <a:cubicBezTo>
                    <a:pt x="3359" y="1155"/>
                    <a:pt x="3355" y="1159"/>
                    <a:pt x="3356" y="1164"/>
                  </a:cubicBezTo>
                  <a:close/>
                  <a:moveTo>
                    <a:pt x="3345" y="977"/>
                  </a:moveTo>
                  <a:cubicBezTo>
                    <a:pt x="3344" y="985"/>
                    <a:pt x="3345" y="986"/>
                    <a:pt x="3346" y="989"/>
                  </a:cubicBezTo>
                  <a:cubicBezTo>
                    <a:pt x="3347" y="991"/>
                    <a:pt x="3348" y="991"/>
                    <a:pt x="3350" y="992"/>
                  </a:cubicBezTo>
                  <a:cubicBezTo>
                    <a:pt x="3353" y="992"/>
                    <a:pt x="3355" y="993"/>
                    <a:pt x="3360" y="992"/>
                  </a:cubicBezTo>
                  <a:cubicBezTo>
                    <a:pt x="3361" y="990"/>
                    <a:pt x="3357" y="985"/>
                    <a:pt x="3355" y="982"/>
                  </a:cubicBezTo>
                  <a:cubicBezTo>
                    <a:pt x="3354" y="979"/>
                    <a:pt x="3345" y="974"/>
                    <a:pt x="3345" y="977"/>
                  </a:cubicBezTo>
                  <a:close/>
                  <a:moveTo>
                    <a:pt x="3341" y="1007"/>
                  </a:moveTo>
                  <a:cubicBezTo>
                    <a:pt x="3341" y="1013"/>
                    <a:pt x="3342" y="1015"/>
                    <a:pt x="3346" y="1022"/>
                  </a:cubicBezTo>
                  <a:cubicBezTo>
                    <a:pt x="3351" y="1029"/>
                    <a:pt x="3352" y="1024"/>
                    <a:pt x="3356" y="1038"/>
                  </a:cubicBezTo>
                  <a:cubicBezTo>
                    <a:pt x="3359" y="1052"/>
                    <a:pt x="3355" y="1051"/>
                    <a:pt x="3361" y="1059"/>
                  </a:cubicBezTo>
                  <a:cubicBezTo>
                    <a:pt x="3368" y="1067"/>
                    <a:pt x="3367" y="1075"/>
                    <a:pt x="3371" y="1077"/>
                  </a:cubicBezTo>
                  <a:cubicBezTo>
                    <a:pt x="3376" y="1079"/>
                    <a:pt x="3381" y="1079"/>
                    <a:pt x="3377" y="1070"/>
                  </a:cubicBezTo>
                  <a:cubicBezTo>
                    <a:pt x="3373" y="1062"/>
                    <a:pt x="3371" y="1060"/>
                    <a:pt x="3371" y="1052"/>
                  </a:cubicBezTo>
                  <a:cubicBezTo>
                    <a:pt x="3370" y="1044"/>
                    <a:pt x="3371" y="1042"/>
                    <a:pt x="3369" y="1033"/>
                  </a:cubicBezTo>
                  <a:cubicBezTo>
                    <a:pt x="3367" y="1024"/>
                    <a:pt x="3369" y="1021"/>
                    <a:pt x="3367" y="1012"/>
                  </a:cubicBezTo>
                  <a:cubicBezTo>
                    <a:pt x="3364" y="1004"/>
                    <a:pt x="3365" y="1001"/>
                    <a:pt x="3359" y="1000"/>
                  </a:cubicBezTo>
                  <a:cubicBezTo>
                    <a:pt x="3353" y="999"/>
                    <a:pt x="3342" y="998"/>
                    <a:pt x="3341" y="1007"/>
                  </a:cubicBezTo>
                  <a:close/>
                  <a:moveTo>
                    <a:pt x="3147" y="992"/>
                  </a:moveTo>
                  <a:cubicBezTo>
                    <a:pt x="3142" y="995"/>
                    <a:pt x="3141" y="996"/>
                    <a:pt x="3141" y="1000"/>
                  </a:cubicBezTo>
                  <a:cubicBezTo>
                    <a:pt x="3142" y="1004"/>
                    <a:pt x="3140" y="1005"/>
                    <a:pt x="3146" y="1007"/>
                  </a:cubicBezTo>
                  <a:cubicBezTo>
                    <a:pt x="3153" y="1008"/>
                    <a:pt x="3152" y="1010"/>
                    <a:pt x="3159" y="1009"/>
                  </a:cubicBezTo>
                  <a:cubicBezTo>
                    <a:pt x="3165" y="1008"/>
                    <a:pt x="3169" y="1009"/>
                    <a:pt x="3168" y="1006"/>
                  </a:cubicBezTo>
                  <a:cubicBezTo>
                    <a:pt x="3168" y="1002"/>
                    <a:pt x="3166" y="1001"/>
                    <a:pt x="3162" y="1001"/>
                  </a:cubicBezTo>
                  <a:cubicBezTo>
                    <a:pt x="3159" y="1000"/>
                    <a:pt x="3156" y="1000"/>
                    <a:pt x="3156" y="996"/>
                  </a:cubicBezTo>
                  <a:cubicBezTo>
                    <a:pt x="3157" y="993"/>
                    <a:pt x="3158" y="994"/>
                    <a:pt x="3156" y="992"/>
                  </a:cubicBezTo>
                  <a:cubicBezTo>
                    <a:pt x="3155" y="990"/>
                    <a:pt x="3151" y="989"/>
                    <a:pt x="3147" y="992"/>
                  </a:cubicBezTo>
                  <a:close/>
                  <a:moveTo>
                    <a:pt x="3411" y="833"/>
                  </a:moveTo>
                  <a:cubicBezTo>
                    <a:pt x="3405" y="840"/>
                    <a:pt x="3404" y="842"/>
                    <a:pt x="3401" y="846"/>
                  </a:cubicBezTo>
                  <a:cubicBezTo>
                    <a:pt x="3398" y="850"/>
                    <a:pt x="3395" y="854"/>
                    <a:pt x="3400" y="855"/>
                  </a:cubicBezTo>
                  <a:cubicBezTo>
                    <a:pt x="3406" y="855"/>
                    <a:pt x="3407" y="853"/>
                    <a:pt x="3413" y="851"/>
                  </a:cubicBezTo>
                  <a:cubicBezTo>
                    <a:pt x="3418" y="850"/>
                    <a:pt x="3417" y="853"/>
                    <a:pt x="3422" y="848"/>
                  </a:cubicBezTo>
                  <a:cubicBezTo>
                    <a:pt x="3428" y="843"/>
                    <a:pt x="3427" y="842"/>
                    <a:pt x="3430" y="837"/>
                  </a:cubicBezTo>
                  <a:cubicBezTo>
                    <a:pt x="3432" y="832"/>
                    <a:pt x="3433" y="827"/>
                    <a:pt x="3428" y="827"/>
                  </a:cubicBezTo>
                  <a:cubicBezTo>
                    <a:pt x="3423" y="826"/>
                    <a:pt x="3418" y="827"/>
                    <a:pt x="3411" y="833"/>
                  </a:cubicBezTo>
                  <a:close/>
                  <a:moveTo>
                    <a:pt x="3321" y="690"/>
                  </a:moveTo>
                  <a:cubicBezTo>
                    <a:pt x="3319" y="693"/>
                    <a:pt x="3320" y="695"/>
                    <a:pt x="3315" y="697"/>
                  </a:cubicBezTo>
                  <a:cubicBezTo>
                    <a:pt x="3311" y="699"/>
                    <a:pt x="3308" y="700"/>
                    <a:pt x="3308" y="702"/>
                  </a:cubicBezTo>
                  <a:cubicBezTo>
                    <a:pt x="3309" y="705"/>
                    <a:pt x="3318" y="705"/>
                    <a:pt x="3320" y="704"/>
                  </a:cubicBezTo>
                  <a:cubicBezTo>
                    <a:pt x="3323" y="702"/>
                    <a:pt x="3326" y="703"/>
                    <a:pt x="3329" y="702"/>
                  </a:cubicBezTo>
                  <a:cubicBezTo>
                    <a:pt x="3332" y="701"/>
                    <a:pt x="3334" y="701"/>
                    <a:pt x="3333" y="698"/>
                  </a:cubicBezTo>
                  <a:cubicBezTo>
                    <a:pt x="3332" y="695"/>
                    <a:pt x="3333" y="696"/>
                    <a:pt x="3332" y="690"/>
                  </a:cubicBezTo>
                  <a:cubicBezTo>
                    <a:pt x="3330" y="684"/>
                    <a:pt x="3323" y="685"/>
                    <a:pt x="3321" y="690"/>
                  </a:cubicBezTo>
                  <a:close/>
                  <a:moveTo>
                    <a:pt x="3375" y="720"/>
                  </a:moveTo>
                  <a:cubicBezTo>
                    <a:pt x="3373" y="722"/>
                    <a:pt x="3373" y="722"/>
                    <a:pt x="3370" y="724"/>
                  </a:cubicBezTo>
                  <a:cubicBezTo>
                    <a:pt x="3367" y="726"/>
                    <a:pt x="3365" y="728"/>
                    <a:pt x="3368" y="729"/>
                  </a:cubicBezTo>
                  <a:cubicBezTo>
                    <a:pt x="3370" y="730"/>
                    <a:pt x="3371" y="728"/>
                    <a:pt x="3374" y="726"/>
                  </a:cubicBezTo>
                  <a:cubicBezTo>
                    <a:pt x="3377" y="724"/>
                    <a:pt x="3379" y="723"/>
                    <a:pt x="3384" y="723"/>
                  </a:cubicBezTo>
                  <a:cubicBezTo>
                    <a:pt x="3388" y="723"/>
                    <a:pt x="3392" y="724"/>
                    <a:pt x="3390" y="721"/>
                  </a:cubicBezTo>
                  <a:cubicBezTo>
                    <a:pt x="3388" y="718"/>
                    <a:pt x="3381" y="716"/>
                    <a:pt x="3375" y="720"/>
                  </a:cubicBezTo>
                  <a:close/>
                  <a:moveTo>
                    <a:pt x="3415" y="650"/>
                  </a:moveTo>
                  <a:cubicBezTo>
                    <a:pt x="3413" y="655"/>
                    <a:pt x="3413" y="656"/>
                    <a:pt x="3410" y="659"/>
                  </a:cubicBezTo>
                  <a:cubicBezTo>
                    <a:pt x="3407" y="663"/>
                    <a:pt x="3406" y="664"/>
                    <a:pt x="3406" y="668"/>
                  </a:cubicBezTo>
                  <a:cubicBezTo>
                    <a:pt x="3406" y="673"/>
                    <a:pt x="3406" y="675"/>
                    <a:pt x="3410" y="673"/>
                  </a:cubicBezTo>
                  <a:cubicBezTo>
                    <a:pt x="3414" y="672"/>
                    <a:pt x="3414" y="669"/>
                    <a:pt x="3419" y="667"/>
                  </a:cubicBezTo>
                  <a:cubicBezTo>
                    <a:pt x="3423" y="666"/>
                    <a:pt x="3424" y="665"/>
                    <a:pt x="3428" y="665"/>
                  </a:cubicBezTo>
                  <a:cubicBezTo>
                    <a:pt x="3431" y="665"/>
                    <a:pt x="3435" y="666"/>
                    <a:pt x="3433" y="661"/>
                  </a:cubicBezTo>
                  <a:cubicBezTo>
                    <a:pt x="3431" y="656"/>
                    <a:pt x="3429" y="656"/>
                    <a:pt x="3428" y="651"/>
                  </a:cubicBezTo>
                  <a:cubicBezTo>
                    <a:pt x="3428" y="646"/>
                    <a:pt x="3417" y="643"/>
                    <a:pt x="3415" y="650"/>
                  </a:cubicBezTo>
                  <a:close/>
                  <a:moveTo>
                    <a:pt x="3309" y="640"/>
                  </a:moveTo>
                  <a:cubicBezTo>
                    <a:pt x="3308" y="644"/>
                    <a:pt x="3309" y="643"/>
                    <a:pt x="3305" y="646"/>
                  </a:cubicBezTo>
                  <a:cubicBezTo>
                    <a:pt x="3300" y="649"/>
                    <a:pt x="3298" y="652"/>
                    <a:pt x="3297" y="654"/>
                  </a:cubicBezTo>
                  <a:cubicBezTo>
                    <a:pt x="3296" y="657"/>
                    <a:pt x="3294" y="659"/>
                    <a:pt x="3299" y="658"/>
                  </a:cubicBezTo>
                  <a:cubicBezTo>
                    <a:pt x="3304" y="658"/>
                    <a:pt x="3303" y="655"/>
                    <a:pt x="3309" y="655"/>
                  </a:cubicBezTo>
                  <a:cubicBezTo>
                    <a:pt x="3314" y="655"/>
                    <a:pt x="3319" y="654"/>
                    <a:pt x="3320" y="650"/>
                  </a:cubicBezTo>
                  <a:cubicBezTo>
                    <a:pt x="3320" y="646"/>
                    <a:pt x="3318" y="647"/>
                    <a:pt x="3322" y="643"/>
                  </a:cubicBezTo>
                  <a:cubicBezTo>
                    <a:pt x="3325" y="639"/>
                    <a:pt x="3329" y="641"/>
                    <a:pt x="3326" y="637"/>
                  </a:cubicBezTo>
                  <a:cubicBezTo>
                    <a:pt x="3322" y="634"/>
                    <a:pt x="3311" y="632"/>
                    <a:pt x="3309" y="640"/>
                  </a:cubicBezTo>
                  <a:close/>
                  <a:moveTo>
                    <a:pt x="3334" y="645"/>
                  </a:moveTo>
                  <a:cubicBezTo>
                    <a:pt x="3333" y="647"/>
                    <a:pt x="3330" y="649"/>
                    <a:pt x="3332" y="650"/>
                  </a:cubicBezTo>
                  <a:cubicBezTo>
                    <a:pt x="3334" y="652"/>
                    <a:pt x="3339" y="653"/>
                    <a:pt x="3341" y="650"/>
                  </a:cubicBezTo>
                  <a:cubicBezTo>
                    <a:pt x="3342" y="646"/>
                    <a:pt x="3345" y="646"/>
                    <a:pt x="3342" y="642"/>
                  </a:cubicBezTo>
                  <a:cubicBezTo>
                    <a:pt x="3339" y="639"/>
                    <a:pt x="3336" y="639"/>
                    <a:pt x="3334" y="645"/>
                  </a:cubicBezTo>
                  <a:close/>
                  <a:moveTo>
                    <a:pt x="3309" y="503"/>
                  </a:moveTo>
                  <a:cubicBezTo>
                    <a:pt x="3316" y="504"/>
                    <a:pt x="3318" y="505"/>
                    <a:pt x="3321" y="508"/>
                  </a:cubicBezTo>
                  <a:cubicBezTo>
                    <a:pt x="3324" y="512"/>
                    <a:pt x="3324" y="511"/>
                    <a:pt x="3328" y="512"/>
                  </a:cubicBezTo>
                  <a:cubicBezTo>
                    <a:pt x="3332" y="513"/>
                    <a:pt x="3334" y="511"/>
                    <a:pt x="3334" y="515"/>
                  </a:cubicBezTo>
                  <a:cubicBezTo>
                    <a:pt x="3335" y="519"/>
                    <a:pt x="3337" y="521"/>
                    <a:pt x="3330" y="520"/>
                  </a:cubicBezTo>
                  <a:cubicBezTo>
                    <a:pt x="3322" y="519"/>
                    <a:pt x="3318" y="517"/>
                    <a:pt x="3312" y="520"/>
                  </a:cubicBezTo>
                  <a:cubicBezTo>
                    <a:pt x="3306" y="522"/>
                    <a:pt x="3305" y="523"/>
                    <a:pt x="3298" y="523"/>
                  </a:cubicBezTo>
                  <a:cubicBezTo>
                    <a:pt x="3291" y="522"/>
                    <a:pt x="3286" y="523"/>
                    <a:pt x="3288" y="519"/>
                  </a:cubicBezTo>
                  <a:cubicBezTo>
                    <a:pt x="3290" y="516"/>
                    <a:pt x="3295" y="518"/>
                    <a:pt x="3298" y="512"/>
                  </a:cubicBezTo>
                  <a:cubicBezTo>
                    <a:pt x="3302" y="506"/>
                    <a:pt x="3307" y="503"/>
                    <a:pt x="3309" y="50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2" name="Freeform 140"/>
            <p:cNvSpPr>
              <a:spLocks/>
            </p:cNvSpPr>
            <p:nvPr/>
          </p:nvSpPr>
          <p:spPr bwMode="auto">
            <a:xfrm>
              <a:off x="6524737" y="4407191"/>
              <a:ext cx="5953" cy="5953"/>
            </a:xfrm>
            <a:custGeom>
              <a:avLst/>
              <a:gdLst>
                <a:gd name="T0" fmla="*/ 7 w 20"/>
                <a:gd name="T1" fmla="*/ 1 h 22"/>
                <a:gd name="T2" fmla="*/ 2 w 20"/>
                <a:gd name="T3" fmla="*/ 6 h 22"/>
                <a:gd name="T4" fmla="*/ 2 w 20"/>
                <a:gd name="T5" fmla="*/ 13 h 22"/>
                <a:gd name="T6" fmla="*/ 10 w 20"/>
                <a:gd name="T7" fmla="*/ 17 h 22"/>
                <a:gd name="T8" fmla="*/ 14 w 20"/>
                <a:gd name="T9" fmla="*/ 21 h 22"/>
                <a:gd name="T10" fmla="*/ 18 w 20"/>
                <a:gd name="T11" fmla="*/ 15 h 22"/>
                <a:gd name="T12" fmla="*/ 19 w 20"/>
                <a:gd name="T13" fmla="*/ 7 h 22"/>
                <a:gd name="T14" fmla="*/ 7 w 20"/>
                <a:gd name="T15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2">
                  <a:moveTo>
                    <a:pt x="7" y="1"/>
                  </a:moveTo>
                  <a:cubicBezTo>
                    <a:pt x="4" y="2"/>
                    <a:pt x="2" y="3"/>
                    <a:pt x="2" y="6"/>
                  </a:cubicBezTo>
                  <a:cubicBezTo>
                    <a:pt x="1" y="8"/>
                    <a:pt x="0" y="11"/>
                    <a:pt x="2" y="13"/>
                  </a:cubicBezTo>
                  <a:cubicBezTo>
                    <a:pt x="4" y="15"/>
                    <a:pt x="8" y="15"/>
                    <a:pt x="10" y="17"/>
                  </a:cubicBezTo>
                  <a:cubicBezTo>
                    <a:pt x="13" y="19"/>
                    <a:pt x="12" y="22"/>
                    <a:pt x="14" y="21"/>
                  </a:cubicBezTo>
                  <a:cubicBezTo>
                    <a:pt x="17" y="20"/>
                    <a:pt x="19" y="18"/>
                    <a:pt x="18" y="15"/>
                  </a:cubicBezTo>
                  <a:cubicBezTo>
                    <a:pt x="18" y="12"/>
                    <a:pt x="20" y="11"/>
                    <a:pt x="19" y="7"/>
                  </a:cubicBezTo>
                  <a:cubicBezTo>
                    <a:pt x="18" y="4"/>
                    <a:pt x="12" y="0"/>
                    <a:pt x="7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3" name="Freeform 141"/>
            <p:cNvSpPr>
              <a:spLocks/>
            </p:cNvSpPr>
            <p:nvPr/>
          </p:nvSpPr>
          <p:spPr bwMode="auto">
            <a:xfrm>
              <a:off x="6524737" y="4528635"/>
              <a:ext cx="8334" cy="7144"/>
            </a:xfrm>
            <a:custGeom>
              <a:avLst/>
              <a:gdLst>
                <a:gd name="T0" fmla="*/ 5 w 27"/>
                <a:gd name="T1" fmla="*/ 17 h 25"/>
                <a:gd name="T2" fmla="*/ 12 w 27"/>
                <a:gd name="T3" fmla="*/ 22 h 25"/>
                <a:gd name="T4" fmla="*/ 22 w 27"/>
                <a:gd name="T5" fmla="*/ 13 h 25"/>
                <a:gd name="T6" fmla="*/ 24 w 27"/>
                <a:gd name="T7" fmla="*/ 5 h 25"/>
                <a:gd name="T8" fmla="*/ 10 w 27"/>
                <a:gd name="T9" fmla="*/ 2 h 25"/>
                <a:gd name="T10" fmla="*/ 0 w 27"/>
                <a:gd name="T11" fmla="*/ 5 h 25"/>
                <a:gd name="T12" fmla="*/ 5 w 27"/>
                <a:gd name="T13" fmla="*/ 1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5">
                  <a:moveTo>
                    <a:pt x="5" y="17"/>
                  </a:moveTo>
                  <a:cubicBezTo>
                    <a:pt x="9" y="21"/>
                    <a:pt x="7" y="25"/>
                    <a:pt x="12" y="22"/>
                  </a:cubicBezTo>
                  <a:cubicBezTo>
                    <a:pt x="18" y="19"/>
                    <a:pt x="18" y="18"/>
                    <a:pt x="22" y="13"/>
                  </a:cubicBezTo>
                  <a:cubicBezTo>
                    <a:pt x="26" y="9"/>
                    <a:pt x="27" y="7"/>
                    <a:pt x="24" y="5"/>
                  </a:cubicBezTo>
                  <a:cubicBezTo>
                    <a:pt x="20" y="4"/>
                    <a:pt x="13" y="1"/>
                    <a:pt x="10" y="2"/>
                  </a:cubicBezTo>
                  <a:cubicBezTo>
                    <a:pt x="4" y="4"/>
                    <a:pt x="1" y="0"/>
                    <a:pt x="0" y="5"/>
                  </a:cubicBezTo>
                  <a:cubicBezTo>
                    <a:pt x="0" y="11"/>
                    <a:pt x="0" y="13"/>
                    <a:pt x="5" y="1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4" name="Freeform 142"/>
            <p:cNvSpPr>
              <a:spLocks/>
            </p:cNvSpPr>
            <p:nvPr/>
          </p:nvSpPr>
          <p:spPr bwMode="auto">
            <a:xfrm>
              <a:off x="6564028" y="4398857"/>
              <a:ext cx="5953" cy="7144"/>
            </a:xfrm>
            <a:custGeom>
              <a:avLst/>
              <a:gdLst>
                <a:gd name="T0" fmla="*/ 7 w 20"/>
                <a:gd name="T1" fmla="*/ 4 h 26"/>
                <a:gd name="T2" fmla="*/ 4 w 20"/>
                <a:gd name="T3" fmla="*/ 11 h 26"/>
                <a:gd name="T4" fmla="*/ 1 w 20"/>
                <a:gd name="T5" fmla="*/ 16 h 26"/>
                <a:gd name="T6" fmla="*/ 4 w 20"/>
                <a:gd name="T7" fmla="*/ 23 h 26"/>
                <a:gd name="T8" fmla="*/ 8 w 20"/>
                <a:gd name="T9" fmla="*/ 24 h 26"/>
                <a:gd name="T10" fmla="*/ 10 w 20"/>
                <a:gd name="T11" fmla="*/ 19 h 26"/>
                <a:gd name="T12" fmla="*/ 16 w 20"/>
                <a:gd name="T13" fmla="*/ 12 h 26"/>
                <a:gd name="T14" fmla="*/ 17 w 20"/>
                <a:gd name="T15" fmla="*/ 6 h 26"/>
                <a:gd name="T16" fmla="*/ 7 w 20"/>
                <a:gd name="T17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6">
                  <a:moveTo>
                    <a:pt x="7" y="4"/>
                  </a:moveTo>
                  <a:cubicBezTo>
                    <a:pt x="5" y="8"/>
                    <a:pt x="6" y="9"/>
                    <a:pt x="4" y="11"/>
                  </a:cubicBezTo>
                  <a:cubicBezTo>
                    <a:pt x="2" y="14"/>
                    <a:pt x="1" y="13"/>
                    <a:pt x="1" y="16"/>
                  </a:cubicBezTo>
                  <a:cubicBezTo>
                    <a:pt x="0" y="18"/>
                    <a:pt x="1" y="21"/>
                    <a:pt x="4" y="23"/>
                  </a:cubicBezTo>
                  <a:cubicBezTo>
                    <a:pt x="6" y="25"/>
                    <a:pt x="8" y="26"/>
                    <a:pt x="8" y="24"/>
                  </a:cubicBezTo>
                  <a:cubicBezTo>
                    <a:pt x="9" y="23"/>
                    <a:pt x="10" y="21"/>
                    <a:pt x="10" y="19"/>
                  </a:cubicBezTo>
                  <a:cubicBezTo>
                    <a:pt x="10" y="17"/>
                    <a:pt x="15" y="12"/>
                    <a:pt x="16" y="12"/>
                  </a:cubicBezTo>
                  <a:cubicBezTo>
                    <a:pt x="18" y="11"/>
                    <a:pt x="20" y="10"/>
                    <a:pt x="17" y="6"/>
                  </a:cubicBezTo>
                  <a:cubicBezTo>
                    <a:pt x="15" y="3"/>
                    <a:pt x="9" y="0"/>
                    <a:pt x="7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5" name="Freeform 143"/>
            <p:cNvSpPr>
              <a:spLocks/>
            </p:cNvSpPr>
            <p:nvPr/>
          </p:nvSpPr>
          <p:spPr bwMode="auto">
            <a:xfrm>
              <a:off x="6589031" y="4463150"/>
              <a:ext cx="3572" cy="9525"/>
            </a:xfrm>
            <a:custGeom>
              <a:avLst/>
              <a:gdLst>
                <a:gd name="T0" fmla="*/ 6 w 12"/>
                <a:gd name="T1" fmla="*/ 4 h 31"/>
                <a:gd name="T2" fmla="*/ 3 w 12"/>
                <a:gd name="T3" fmla="*/ 11 h 31"/>
                <a:gd name="T4" fmla="*/ 4 w 12"/>
                <a:gd name="T5" fmla="*/ 20 h 31"/>
                <a:gd name="T6" fmla="*/ 9 w 12"/>
                <a:gd name="T7" fmla="*/ 28 h 31"/>
                <a:gd name="T8" fmla="*/ 11 w 12"/>
                <a:gd name="T9" fmla="*/ 6 h 31"/>
                <a:gd name="T10" fmla="*/ 6 w 12"/>
                <a:gd name="T11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31">
                  <a:moveTo>
                    <a:pt x="6" y="4"/>
                  </a:moveTo>
                  <a:cubicBezTo>
                    <a:pt x="5" y="7"/>
                    <a:pt x="4" y="7"/>
                    <a:pt x="3" y="11"/>
                  </a:cubicBezTo>
                  <a:cubicBezTo>
                    <a:pt x="1" y="14"/>
                    <a:pt x="0" y="14"/>
                    <a:pt x="4" y="20"/>
                  </a:cubicBezTo>
                  <a:cubicBezTo>
                    <a:pt x="8" y="25"/>
                    <a:pt x="6" y="31"/>
                    <a:pt x="9" y="28"/>
                  </a:cubicBezTo>
                  <a:cubicBezTo>
                    <a:pt x="12" y="25"/>
                    <a:pt x="11" y="9"/>
                    <a:pt x="11" y="6"/>
                  </a:cubicBezTo>
                  <a:cubicBezTo>
                    <a:pt x="12" y="4"/>
                    <a:pt x="12" y="0"/>
                    <a:pt x="6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6" name="Freeform 144"/>
            <p:cNvSpPr>
              <a:spLocks/>
            </p:cNvSpPr>
            <p:nvPr/>
          </p:nvSpPr>
          <p:spPr bwMode="auto">
            <a:xfrm>
              <a:off x="6525928" y="4422669"/>
              <a:ext cx="4762" cy="8334"/>
            </a:xfrm>
            <a:custGeom>
              <a:avLst/>
              <a:gdLst>
                <a:gd name="T0" fmla="*/ 7 w 15"/>
                <a:gd name="T1" fmla="*/ 3 h 29"/>
                <a:gd name="T2" fmla="*/ 2 w 15"/>
                <a:gd name="T3" fmla="*/ 16 h 29"/>
                <a:gd name="T4" fmla="*/ 4 w 15"/>
                <a:gd name="T5" fmla="*/ 26 h 29"/>
                <a:gd name="T6" fmla="*/ 14 w 15"/>
                <a:gd name="T7" fmla="*/ 17 h 29"/>
                <a:gd name="T8" fmla="*/ 7 w 15"/>
                <a:gd name="T9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9">
                  <a:moveTo>
                    <a:pt x="7" y="3"/>
                  </a:moveTo>
                  <a:cubicBezTo>
                    <a:pt x="4" y="9"/>
                    <a:pt x="0" y="9"/>
                    <a:pt x="2" y="16"/>
                  </a:cubicBezTo>
                  <a:cubicBezTo>
                    <a:pt x="4" y="24"/>
                    <a:pt x="0" y="29"/>
                    <a:pt x="4" y="26"/>
                  </a:cubicBezTo>
                  <a:cubicBezTo>
                    <a:pt x="9" y="24"/>
                    <a:pt x="13" y="22"/>
                    <a:pt x="14" y="17"/>
                  </a:cubicBezTo>
                  <a:cubicBezTo>
                    <a:pt x="15" y="12"/>
                    <a:pt x="15" y="0"/>
                    <a:pt x="7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7" name="Freeform 145"/>
            <p:cNvSpPr>
              <a:spLocks/>
            </p:cNvSpPr>
            <p:nvPr/>
          </p:nvSpPr>
          <p:spPr bwMode="auto">
            <a:xfrm>
              <a:off x="6508069" y="4539350"/>
              <a:ext cx="8334" cy="4763"/>
            </a:xfrm>
            <a:custGeom>
              <a:avLst/>
              <a:gdLst>
                <a:gd name="T0" fmla="*/ 10 w 30"/>
                <a:gd name="T1" fmla="*/ 2 h 16"/>
                <a:gd name="T2" fmla="*/ 2 w 30"/>
                <a:gd name="T3" fmla="*/ 6 h 16"/>
                <a:gd name="T4" fmla="*/ 10 w 30"/>
                <a:gd name="T5" fmla="*/ 12 h 16"/>
                <a:gd name="T6" fmla="*/ 20 w 30"/>
                <a:gd name="T7" fmla="*/ 15 h 16"/>
                <a:gd name="T8" fmla="*/ 30 w 30"/>
                <a:gd name="T9" fmla="*/ 12 h 16"/>
                <a:gd name="T10" fmla="*/ 26 w 30"/>
                <a:gd name="T11" fmla="*/ 8 h 16"/>
                <a:gd name="T12" fmla="*/ 10 w 30"/>
                <a:gd name="T1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6">
                  <a:moveTo>
                    <a:pt x="10" y="2"/>
                  </a:moveTo>
                  <a:cubicBezTo>
                    <a:pt x="5" y="4"/>
                    <a:pt x="0" y="1"/>
                    <a:pt x="2" y="6"/>
                  </a:cubicBezTo>
                  <a:cubicBezTo>
                    <a:pt x="4" y="12"/>
                    <a:pt x="4" y="12"/>
                    <a:pt x="10" y="12"/>
                  </a:cubicBezTo>
                  <a:cubicBezTo>
                    <a:pt x="17" y="12"/>
                    <a:pt x="14" y="13"/>
                    <a:pt x="20" y="15"/>
                  </a:cubicBezTo>
                  <a:cubicBezTo>
                    <a:pt x="25" y="16"/>
                    <a:pt x="30" y="15"/>
                    <a:pt x="30" y="12"/>
                  </a:cubicBezTo>
                  <a:cubicBezTo>
                    <a:pt x="30" y="10"/>
                    <a:pt x="30" y="9"/>
                    <a:pt x="26" y="8"/>
                  </a:cubicBezTo>
                  <a:cubicBezTo>
                    <a:pt x="22" y="6"/>
                    <a:pt x="17" y="0"/>
                    <a:pt x="10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8" name="Freeform 146"/>
            <p:cNvSpPr>
              <a:spLocks/>
            </p:cNvSpPr>
            <p:nvPr/>
          </p:nvSpPr>
          <p:spPr bwMode="auto">
            <a:xfrm>
              <a:off x="6491400" y="4553638"/>
              <a:ext cx="4762" cy="5953"/>
            </a:xfrm>
            <a:custGeom>
              <a:avLst/>
              <a:gdLst>
                <a:gd name="T0" fmla="*/ 9 w 17"/>
                <a:gd name="T1" fmla="*/ 7 h 19"/>
                <a:gd name="T2" fmla="*/ 2 w 17"/>
                <a:gd name="T3" fmla="*/ 17 h 19"/>
                <a:gd name="T4" fmla="*/ 11 w 17"/>
                <a:gd name="T5" fmla="*/ 15 h 19"/>
                <a:gd name="T6" fmla="*/ 16 w 17"/>
                <a:gd name="T7" fmla="*/ 13 h 19"/>
                <a:gd name="T8" fmla="*/ 15 w 17"/>
                <a:gd name="T9" fmla="*/ 4 h 19"/>
                <a:gd name="T10" fmla="*/ 9 w 17"/>
                <a:gd name="T11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9">
                  <a:moveTo>
                    <a:pt x="9" y="7"/>
                  </a:moveTo>
                  <a:cubicBezTo>
                    <a:pt x="6" y="8"/>
                    <a:pt x="0" y="16"/>
                    <a:pt x="2" y="17"/>
                  </a:cubicBezTo>
                  <a:cubicBezTo>
                    <a:pt x="4" y="19"/>
                    <a:pt x="7" y="16"/>
                    <a:pt x="11" y="15"/>
                  </a:cubicBezTo>
                  <a:cubicBezTo>
                    <a:pt x="15" y="14"/>
                    <a:pt x="15" y="15"/>
                    <a:pt x="16" y="13"/>
                  </a:cubicBezTo>
                  <a:cubicBezTo>
                    <a:pt x="17" y="10"/>
                    <a:pt x="16" y="8"/>
                    <a:pt x="15" y="4"/>
                  </a:cubicBezTo>
                  <a:cubicBezTo>
                    <a:pt x="14" y="0"/>
                    <a:pt x="13" y="4"/>
                    <a:pt x="9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9" name="Freeform 147"/>
            <p:cNvSpPr>
              <a:spLocks/>
            </p:cNvSpPr>
            <p:nvPr/>
          </p:nvSpPr>
          <p:spPr bwMode="auto">
            <a:xfrm>
              <a:off x="6491400" y="4429813"/>
              <a:ext cx="5953" cy="7144"/>
            </a:xfrm>
            <a:custGeom>
              <a:avLst/>
              <a:gdLst>
                <a:gd name="T0" fmla="*/ 19 w 21"/>
                <a:gd name="T1" fmla="*/ 8 h 24"/>
                <a:gd name="T2" fmla="*/ 10 w 21"/>
                <a:gd name="T3" fmla="*/ 4 h 24"/>
                <a:gd name="T4" fmla="*/ 1 w 21"/>
                <a:gd name="T5" fmla="*/ 6 h 24"/>
                <a:gd name="T6" fmla="*/ 2 w 21"/>
                <a:gd name="T7" fmla="*/ 15 h 24"/>
                <a:gd name="T8" fmla="*/ 7 w 21"/>
                <a:gd name="T9" fmla="*/ 23 h 24"/>
                <a:gd name="T10" fmla="*/ 15 w 21"/>
                <a:gd name="T11" fmla="*/ 16 h 24"/>
                <a:gd name="T12" fmla="*/ 19 w 21"/>
                <a:gd name="T13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4">
                  <a:moveTo>
                    <a:pt x="19" y="8"/>
                  </a:moveTo>
                  <a:cubicBezTo>
                    <a:pt x="17" y="3"/>
                    <a:pt x="15" y="7"/>
                    <a:pt x="10" y="4"/>
                  </a:cubicBezTo>
                  <a:cubicBezTo>
                    <a:pt x="3" y="0"/>
                    <a:pt x="1" y="3"/>
                    <a:pt x="1" y="6"/>
                  </a:cubicBezTo>
                  <a:cubicBezTo>
                    <a:pt x="2" y="10"/>
                    <a:pt x="4" y="11"/>
                    <a:pt x="2" y="15"/>
                  </a:cubicBezTo>
                  <a:cubicBezTo>
                    <a:pt x="0" y="19"/>
                    <a:pt x="4" y="24"/>
                    <a:pt x="7" y="23"/>
                  </a:cubicBezTo>
                  <a:cubicBezTo>
                    <a:pt x="9" y="22"/>
                    <a:pt x="11" y="17"/>
                    <a:pt x="15" y="16"/>
                  </a:cubicBezTo>
                  <a:cubicBezTo>
                    <a:pt x="19" y="16"/>
                    <a:pt x="21" y="13"/>
                    <a:pt x="19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0" name="Freeform 150"/>
            <p:cNvSpPr>
              <a:spLocks/>
            </p:cNvSpPr>
            <p:nvPr/>
          </p:nvSpPr>
          <p:spPr bwMode="auto">
            <a:xfrm>
              <a:off x="6525928" y="4307178"/>
              <a:ext cx="1191" cy="3572"/>
            </a:xfrm>
            <a:custGeom>
              <a:avLst/>
              <a:gdLst>
                <a:gd name="T0" fmla="*/ 2 w 6"/>
                <a:gd name="T1" fmla="*/ 3 h 11"/>
                <a:gd name="T2" fmla="*/ 0 w 6"/>
                <a:gd name="T3" fmla="*/ 6 h 11"/>
                <a:gd name="T4" fmla="*/ 4 w 6"/>
                <a:gd name="T5" fmla="*/ 8 h 11"/>
                <a:gd name="T6" fmla="*/ 5 w 6"/>
                <a:gd name="T7" fmla="*/ 4 h 11"/>
                <a:gd name="T8" fmla="*/ 2 w 6"/>
                <a:gd name="T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1">
                  <a:moveTo>
                    <a:pt x="2" y="3"/>
                  </a:moveTo>
                  <a:cubicBezTo>
                    <a:pt x="2" y="5"/>
                    <a:pt x="0" y="3"/>
                    <a:pt x="0" y="6"/>
                  </a:cubicBezTo>
                  <a:cubicBezTo>
                    <a:pt x="1" y="9"/>
                    <a:pt x="3" y="11"/>
                    <a:pt x="4" y="8"/>
                  </a:cubicBezTo>
                  <a:cubicBezTo>
                    <a:pt x="4" y="6"/>
                    <a:pt x="5" y="7"/>
                    <a:pt x="5" y="4"/>
                  </a:cubicBezTo>
                  <a:cubicBezTo>
                    <a:pt x="6" y="0"/>
                    <a:pt x="2" y="0"/>
                    <a:pt x="2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1" name="Freeform 152"/>
            <p:cNvSpPr>
              <a:spLocks/>
            </p:cNvSpPr>
            <p:nvPr/>
          </p:nvSpPr>
          <p:spPr bwMode="auto">
            <a:xfrm>
              <a:off x="6524737" y="4379807"/>
              <a:ext cx="3572" cy="7144"/>
            </a:xfrm>
            <a:custGeom>
              <a:avLst/>
              <a:gdLst>
                <a:gd name="T0" fmla="*/ 4 w 12"/>
                <a:gd name="T1" fmla="*/ 20 h 22"/>
                <a:gd name="T2" fmla="*/ 8 w 12"/>
                <a:gd name="T3" fmla="*/ 16 h 22"/>
                <a:gd name="T4" fmla="*/ 11 w 12"/>
                <a:gd name="T5" fmla="*/ 8 h 22"/>
                <a:gd name="T6" fmla="*/ 3 w 12"/>
                <a:gd name="T7" fmla="*/ 0 h 22"/>
                <a:gd name="T8" fmla="*/ 0 w 12"/>
                <a:gd name="T9" fmla="*/ 5 h 22"/>
                <a:gd name="T10" fmla="*/ 3 w 12"/>
                <a:gd name="T11" fmla="*/ 13 h 22"/>
                <a:gd name="T12" fmla="*/ 4 w 12"/>
                <a:gd name="T13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2">
                  <a:moveTo>
                    <a:pt x="4" y="20"/>
                  </a:moveTo>
                  <a:cubicBezTo>
                    <a:pt x="7" y="20"/>
                    <a:pt x="8" y="22"/>
                    <a:pt x="8" y="16"/>
                  </a:cubicBezTo>
                  <a:cubicBezTo>
                    <a:pt x="8" y="10"/>
                    <a:pt x="11" y="12"/>
                    <a:pt x="11" y="8"/>
                  </a:cubicBezTo>
                  <a:cubicBezTo>
                    <a:pt x="12" y="3"/>
                    <a:pt x="9" y="0"/>
                    <a:pt x="3" y="0"/>
                  </a:cubicBezTo>
                  <a:cubicBezTo>
                    <a:pt x="1" y="1"/>
                    <a:pt x="0" y="2"/>
                    <a:pt x="0" y="5"/>
                  </a:cubicBezTo>
                  <a:cubicBezTo>
                    <a:pt x="0" y="8"/>
                    <a:pt x="2" y="10"/>
                    <a:pt x="3" y="13"/>
                  </a:cubicBezTo>
                  <a:cubicBezTo>
                    <a:pt x="3" y="16"/>
                    <a:pt x="1" y="20"/>
                    <a:pt x="4" y="2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2" name="Freeform 155"/>
            <p:cNvSpPr>
              <a:spLocks/>
            </p:cNvSpPr>
            <p:nvPr/>
          </p:nvSpPr>
          <p:spPr bwMode="auto">
            <a:xfrm>
              <a:off x="6523547" y="4272650"/>
              <a:ext cx="2381" cy="4763"/>
            </a:xfrm>
            <a:custGeom>
              <a:avLst/>
              <a:gdLst>
                <a:gd name="T0" fmla="*/ 4 w 11"/>
                <a:gd name="T1" fmla="*/ 3 h 15"/>
                <a:gd name="T2" fmla="*/ 0 w 11"/>
                <a:gd name="T3" fmla="*/ 10 h 15"/>
                <a:gd name="T4" fmla="*/ 3 w 11"/>
                <a:gd name="T5" fmla="*/ 14 h 15"/>
                <a:gd name="T6" fmla="*/ 10 w 11"/>
                <a:gd name="T7" fmla="*/ 7 h 15"/>
                <a:gd name="T8" fmla="*/ 4 w 11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5">
                  <a:moveTo>
                    <a:pt x="4" y="3"/>
                  </a:moveTo>
                  <a:cubicBezTo>
                    <a:pt x="3" y="9"/>
                    <a:pt x="0" y="6"/>
                    <a:pt x="0" y="10"/>
                  </a:cubicBezTo>
                  <a:cubicBezTo>
                    <a:pt x="0" y="13"/>
                    <a:pt x="1" y="15"/>
                    <a:pt x="3" y="14"/>
                  </a:cubicBezTo>
                  <a:cubicBezTo>
                    <a:pt x="5" y="12"/>
                    <a:pt x="9" y="12"/>
                    <a:pt x="10" y="7"/>
                  </a:cubicBezTo>
                  <a:cubicBezTo>
                    <a:pt x="11" y="3"/>
                    <a:pt x="5" y="0"/>
                    <a:pt x="4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3" name="Freeform 156"/>
            <p:cNvSpPr>
              <a:spLocks/>
            </p:cNvSpPr>
            <p:nvPr/>
          </p:nvSpPr>
          <p:spPr bwMode="auto">
            <a:xfrm>
              <a:off x="6597366" y="4470294"/>
              <a:ext cx="4762" cy="4763"/>
            </a:xfrm>
            <a:custGeom>
              <a:avLst/>
              <a:gdLst>
                <a:gd name="T0" fmla="*/ 8 w 14"/>
                <a:gd name="T1" fmla="*/ 14 h 15"/>
                <a:gd name="T2" fmla="*/ 13 w 14"/>
                <a:gd name="T3" fmla="*/ 9 h 15"/>
                <a:gd name="T4" fmla="*/ 6 w 14"/>
                <a:gd name="T5" fmla="*/ 0 h 15"/>
                <a:gd name="T6" fmla="*/ 2 w 14"/>
                <a:gd name="T7" fmla="*/ 5 h 15"/>
                <a:gd name="T8" fmla="*/ 8 w 14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5">
                  <a:moveTo>
                    <a:pt x="8" y="14"/>
                  </a:moveTo>
                  <a:cubicBezTo>
                    <a:pt x="11" y="13"/>
                    <a:pt x="13" y="15"/>
                    <a:pt x="13" y="9"/>
                  </a:cubicBezTo>
                  <a:cubicBezTo>
                    <a:pt x="14" y="4"/>
                    <a:pt x="8" y="0"/>
                    <a:pt x="6" y="0"/>
                  </a:cubicBezTo>
                  <a:cubicBezTo>
                    <a:pt x="3" y="3"/>
                    <a:pt x="0" y="0"/>
                    <a:pt x="2" y="5"/>
                  </a:cubicBezTo>
                  <a:cubicBezTo>
                    <a:pt x="5" y="10"/>
                    <a:pt x="4" y="15"/>
                    <a:pt x="8" y="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4" name="Freeform 162"/>
            <p:cNvSpPr>
              <a:spLocks/>
            </p:cNvSpPr>
            <p:nvPr/>
          </p:nvSpPr>
          <p:spPr bwMode="auto">
            <a:xfrm>
              <a:off x="6542597" y="4413144"/>
              <a:ext cx="11906" cy="9525"/>
            </a:xfrm>
            <a:custGeom>
              <a:avLst/>
              <a:gdLst>
                <a:gd name="T0" fmla="*/ 30 w 39"/>
                <a:gd name="T1" fmla="*/ 20 h 31"/>
                <a:gd name="T2" fmla="*/ 15 w 39"/>
                <a:gd name="T3" fmla="*/ 9 h 31"/>
                <a:gd name="T4" fmla="*/ 2 w 39"/>
                <a:gd name="T5" fmla="*/ 3 h 31"/>
                <a:gd name="T6" fmla="*/ 7 w 39"/>
                <a:gd name="T7" fmla="*/ 12 h 31"/>
                <a:gd name="T8" fmla="*/ 21 w 39"/>
                <a:gd name="T9" fmla="*/ 24 h 31"/>
                <a:gd name="T10" fmla="*/ 31 w 39"/>
                <a:gd name="T11" fmla="*/ 28 h 31"/>
                <a:gd name="T12" fmla="*/ 30 w 39"/>
                <a:gd name="T13" fmla="*/ 2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1">
                  <a:moveTo>
                    <a:pt x="30" y="20"/>
                  </a:moveTo>
                  <a:cubicBezTo>
                    <a:pt x="21" y="17"/>
                    <a:pt x="16" y="13"/>
                    <a:pt x="15" y="9"/>
                  </a:cubicBezTo>
                  <a:cubicBezTo>
                    <a:pt x="14" y="5"/>
                    <a:pt x="6" y="0"/>
                    <a:pt x="2" y="3"/>
                  </a:cubicBezTo>
                  <a:cubicBezTo>
                    <a:pt x="0" y="6"/>
                    <a:pt x="0" y="8"/>
                    <a:pt x="7" y="12"/>
                  </a:cubicBezTo>
                  <a:cubicBezTo>
                    <a:pt x="15" y="16"/>
                    <a:pt x="17" y="21"/>
                    <a:pt x="21" y="24"/>
                  </a:cubicBezTo>
                  <a:cubicBezTo>
                    <a:pt x="25" y="26"/>
                    <a:pt x="29" y="31"/>
                    <a:pt x="31" y="28"/>
                  </a:cubicBezTo>
                  <a:cubicBezTo>
                    <a:pt x="34" y="26"/>
                    <a:pt x="39" y="23"/>
                    <a:pt x="30" y="2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5" name="Freeform 163"/>
            <p:cNvSpPr>
              <a:spLocks/>
            </p:cNvSpPr>
            <p:nvPr/>
          </p:nvSpPr>
          <p:spPr bwMode="auto">
            <a:xfrm>
              <a:off x="6553312" y="4482200"/>
              <a:ext cx="5953" cy="4763"/>
            </a:xfrm>
            <a:custGeom>
              <a:avLst/>
              <a:gdLst>
                <a:gd name="T0" fmla="*/ 8 w 20"/>
                <a:gd name="T1" fmla="*/ 4 h 17"/>
                <a:gd name="T2" fmla="*/ 3 w 20"/>
                <a:gd name="T3" fmla="*/ 11 h 17"/>
                <a:gd name="T4" fmla="*/ 16 w 20"/>
                <a:gd name="T5" fmla="*/ 13 h 17"/>
                <a:gd name="T6" fmla="*/ 8 w 20"/>
                <a:gd name="T7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7">
                  <a:moveTo>
                    <a:pt x="8" y="4"/>
                  </a:moveTo>
                  <a:cubicBezTo>
                    <a:pt x="3" y="6"/>
                    <a:pt x="0" y="8"/>
                    <a:pt x="3" y="11"/>
                  </a:cubicBezTo>
                  <a:cubicBezTo>
                    <a:pt x="7" y="15"/>
                    <a:pt x="12" y="17"/>
                    <a:pt x="16" y="13"/>
                  </a:cubicBezTo>
                  <a:cubicBezTo>
                    <a:pt x="20" y="9"/>
                    <a:pt x="17" y="0"/>
                    <a:pt x="8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6" name="Freeform 164"/>
            <p:cNvSpPr>
              <a:spLocks/>
            </p:cNvSpPr>
            <p:nvPr/>
          </p:nvSpPr>
          <p:spPr bwMode="auto">
            <a:xfrm>
              <a:off x="6556884" y="4428622"/>
              <a:ext cx="7144" cy="11906"/>
            </a:xfrm>
            <a:custGeom>
              <a:avLst/>
              <a:gdLst>
                <a:gd name="T0" fmla="*/ 9 w 23"/>
                <a:gd name="T1" fmla="*/ 28 h 39"/>
                <a:gd name="T2" fmla="*/ 23 w 23"/>
                <a:gd name="T3" fmla="*/ 33 h 39"/>
                <a:gd name="T4" fmla="*/ 16 w 23"/>
                <a:gd name="T5" fmla="*/ 18 h 39"/>
                <a:gd name="T6" fmla="*/ 1 w 23"/>
                <a:gd name="T7" fmla="*/ 9 h 39"/>
                <a:gd name="T8" fmla="*/ 9 w 23"/>
                <a:gd name="T9" fmla="*/ 2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39">
                  <a:moveTo>
                    <a:pt x="9" y="28"/>
                  </a:moveTo>
                  <a:cubicBezTo>
                    <a:pt x="15" y="31"/>
                    <a:pt x="23" y="39"/>
                    <a:pt x="23" y="33"/>
                  </a:cubicBezTo>
                  <a:cubicBezTo>
                    <a:pt x="23" y="26"/>
                    <a:pt x="17" y="26"/>
                    <a:pt x="16" y="18"/>
                  </a:cubicBezTo>
                  <a:cubicBezTo>
                    <a:pt x="15" y="10"/>
                    <a:pt x="1" y="0"/>
                    <a:pt x="1" y="9"/>
                  </a:cubicBezTo>
                  <a:cubicBezTo>
                    <a:pt x="0" y="16"/>
                    <a:pt x="4" y="24"/>
                    <a:pt x="9" y="2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7" name="Freeform 165"/>
            <p:cNvSpPr>
              <a:spLocks/>
            </p:cNvSpPr>
            <p:nvPr/>
          </p:nvSpPr>
          <p:spPr bwMode="auto">
            <a:xfrm>
              <a:off x="6524737" y="4279794"/>
              <a:ext cx="4762" cy="3572"/>
            </a:xfrm>
            <a:custGeom>
              <a:avLst/>
              <a:gdLst>
                <a:gd name="T0" fmla="*/ 7 w 14"/>
                <a:gd name="T1" fmla="*/ 2 h 13"/>
                <a:gd name="T2" fmla="*/ 3 w 14"/>
                <a:gd name="T3" fmla="*/ 9 h 13"/>
                <a:gd name="T4" fmla="*/ 11 w 14"/>
                <a:gd name="T5" fmla="*/ 5 h 13"/>
                <a:gd name="T6" fmla="*/ 7 w 14"/>
                <a:gd name="T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3">
                  <a:moveTo>
                    <a:pt x="7" y="2"/>
                  </a:moveTo>
                  <a:cubicBezTo>
                    <a:pt x="5" y="6"/>
                    <a:pt x="0" y="6"/>
                    <a:pt x="3" y="9"/>
                  </a:cubicBezTo>
                  <a:cubicBezTo>
                    <a:pt x="6" y="13"/>
                    <a:pt x="9" y="8"/>
                    <a:pt x="11" y="5"/>
                  </a:cubicBezTo>
                  <a:cubicBezTo>
                    <a:pt x="14" y="2"/>
                    <a:pt x="11" y="0"/>
                    <a:pt x="7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8" name="Freeform 167"/>
            <p:cNvSpPr>
              <a:spLocks/>
            </p:cNvSpPr>
            <p:nvPr/>
          </p:nvSpPr>
          <p:spPr bwMode="auto">
            <a:xfrm>
              <a:off x="6515212" y="4298844"/>
              <a:ext cx="4762" cy="4763"/>
            </a:xfrm>
            <a:custGeom>
              <a:avLst/>
              <a:gdLst>
                <a:gd name="T0" fmla="*/ 8 w 19"/>
                <a:gd name="T1" fmla="*/ 1 h 16"/>
                <a:gd name="T2" fmla="*/ 4 w 19"/>
                <a:gd name="T3" fmla="*/ 7 h 16"/>
                <a:gd name="T4" fmla="*/ 13 w 19"/>
                <a:gd name="T5" fmla="*/ 12 h 16"/>
                <a:gd name="T6" fmla="*/ 18 w 19"/>
                <a:gd name="T7" fmla="*/ 8 h 16"/>
                <a:gd name="T8" fmla="*/ 8 w 19"/>
                <a:gd name="T9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6">
                  <a:moveTo>
                    <a:pt x="8" y="1"/>
                  </a:moveTo>
                  <a:cubicBezTo>
                    <a:pt x="3" y="3"/>
                    <a:pt x="0" y="4"/>
                    <a:pt x="4" y="7"/>
                  </a:cubicBezTo>
                  <a:cubicBezTo>
                    <a:pt x="8" y="10"/>
                    <a:pt x="10" y="7"/>
                    <a:pt x="13" y="12"/>
                  </a:cubicBezTo>
                  <a:cubicBezTo>
                    <a:pt x="16" y="16"/>
                    <a:pt x="18" y="12"/>
                    <a:pt x="18" y="8"/>
                  </a:cubicBezTo>
                  <a:cubicBezTo>
                    <a:pt x="19" y="4"/>
                    <a:pt x="14" y="0"/>
                    <a:pt x="8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9" name="Freeform 169"/>
            <p:cNvSpPr>
              <a:spLocks/>
            </p:cNvSpPr>
            <p:nvPr/>
          </p:nvSpPr>
          <p:spPr bwMode="auto">
            <a:xfrm>
              <a:off x="6702141" y="4563163"/>
              <a:ext cx="3572" cy="3572"/>
            </a:xfrm>
            <a:custGeom>
              <a:avLst/>
              <a:gdLst>
                <a:gd name="T0" fmla="*/ 6 w 15"/>
                <a:gd name="T1" fmla="*/ 6 h 11"/>
                <a:gd name="T2" fmla="*/ 4 w 15"/>
                <a:gd name="T3" fmla="*/ 10 h 11"/>
                <a:gd name="T4" fmla="*/ 14 w 15"/>
                <a:gd name="T5" fmla="*/ 6 h 11"/>
                <a:gd name="T6" fmla="*/ 6 w 15"/>
                <a:gd name="T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1">
                  <a:moveTo>
                    <a:pt x="6" y="6"/>
                  </a:moveTo>
                  <a:cubicBezTo>
                    <a:pt x="3" y="8"/>
                    <a:pt x="0" y="10"/>
                    <a:pt x="4" y="10"/>
                  </a:cubicBezTo>
                  <a:cubicBezTo>
                    <a:pt x="7" y="11"/>
                    <a:pt x="13" y="10"/>
                    <a:pt x="14" y="6"/>
                  </a:cubicBezTo>
                  <a:cubicBezTo>
                    <a:pt x="15" y="2"/>
                    <a:pt x="8" y="0"/>
                    <a:pt x="6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0" name="Freeform 170"/>
            <p:cNvSpPr>
              <a:spLocks/>
            </p:cNvSpPr>
            <p:nvPr/>
          </p:nvSpPr>
          <p:spPr bwMode="auto">
            <a:xfrm>
              <a:off x="6680709" y="4790572"/>
              <a:ext cx="7144" cy="8334"/>
            </a:xfrm>
            <a:custGeom>
              <a:avLst/>
              <a:gdLst>
                <a:gd name="T0" fmla="*/ 13 w 22"/>
                <a:gd name="T1" fmla="*/ 4 h 26"/>
                <a:gd name="T2" fmla="*/ 5 w 22"/>
                <a:gd name="T3" fmla="*/ 20 h 26"/>
                <a:gd name="T4" fmla="*/ 7 w 22"/>
                <a:gd name="T5" fmla="*/ 24 h 26"/>
                <a:gd name="T6" fmla="*/ 22 w 22"/>
                <a:gd name="T7" fmla="*/ 12 h 26"/>
                <a:gd name="T8" fmla="*/ 13 w 22"/>
                <a:gd name="T9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6">
                  <a:moveTo>
                    <a:pt x="13" y="4"/>
                  </a:moveTo>
                  <a:cubicBezTo>
                    <a:pt x="10" y="11"/>
                    <a:pt x="7" y="17"/>
                    <a:pt x="5" y="20"/>
                  </a:cubicBezTo>
                  <a:cubicBezTo>
                    <a:pt x="2" y="23"/>
                    <a:pt x="0" y="26"/>
                    <a:pt x="7" y="24"/>
                  </a:cubicBezTo>
                  <a:cubicBezTo>
                    <a:pt x="13" y="21"/>
                    <a:pt x="21" y="16"/>
                    <a:pt x="22" y="12"/>
                  </a:cubicBezTo>
                  <a:cubicBezTo>
                    <a:pt x="22" y="7"/>
                    <a:pt x="16" y="0"/>
                    <a:pt x="13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1" name="Freeform 171"/>
            <p:cNvSpPr>
              <a:spLocks/>
            </p:cNvSpPr>
            <p:nvPr/>
          </p:nvSpPr>
          <p:spPr bwMode="auto">
            <a:xfrm>
              <a:off x="6621178" y="4779857"/>
              <a:ext cx="4762" cy="5953"/>
            </a:xfrm>
            <a:custGeom>
              <a:avLst/>
              <a:gdLst>
                <a:gd name="T0" fmla="*/ 10 w 14"/>
                <a:gd name="T1" fmla="*/ 15 h 19"/>
                <a:gd name="T2" fmla="*/ 14 w 14"/>
                <a:gd name="T3" fmla="*/ 9 h 19"/>
                <a:gd name="T4" fmla="*/ 7 w 14"/>
                <a:gd name="T5" fmla="*/ 8 h 19"/>
                <a:gd name="T6" fmla="*/ 2 w 14"/>
                <a:gd name="T7" fmla="*/ 16 h 19"/>
                <a:gd name="T8" fmla="*/ 10 w 14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9">
                  <a:moveTo>
                    <a:pt x="10" y="15"/>
                  </a:moveTo>
                  <a:cubicBezTo>
                    <a:pt x="12" y="12"/>
                    <a:pt x="14" y="11"/>
                    <a:pt x="14" y="9"/>
                  </a:cubicBezTo>
                  <a:cubicBezTo>
                    <a:pt x="13" y="6"/>
                    <a:pt x="7" y="0"/>
                    <a:pt x="7" y="8"/>
                  </a:cubicBezTo>
                  <a:cubicBezTo>
                    <a:pt x="7" y="12"/>
                    <a:pt x="0" y="14"/>
                    <a:pt x="2" y="16"/>
                  </a:cubicBezTo>
                  <a:cubicBezTo>
                    <a:pt x="4" y="19"/>
                    <a:pt x="7" y="18"/>
                    <a:pt x="10" y="1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2" name="Freeform 175"/>
            <p:cNvSpPr>
              <a:spLocks/>
            </p:cNvSpPr>
            <p:nvPr/>
          </p:nvSpPr>
          <p:spPr bwMode="auto">
            <a:xfrm>
              <a:off x="6661659" y="4022619"/>
              <a:ext cx="45244" cy="59531"/>
            </a:xfrm>
            <a:custGeom>
              <a:avLst/>
              <a:gdLst>
                <a:gd name="T0" fmla="*/ 4 w 156"/>
                <a:gd name="T1" fmla="*/ 49 h 206"/>
                <a:gd name="T2" fmla="*/ 10 w 156"/>
                <a:gd name="T3" fmla="*/ 60 h 206"/>
                <a:gd name="T4" fmla="*/ 22 w 156"/>
                <a:gd name="T5" fmla="*/ 68 h 206"/>
                <a:gd name="T6" fmla="*/ 23 w 156"/>
                <a:gd name="T7" fmla="*/ 75 h 206"/>
                <a:gd name="T8" fmla="*/ 14 w 156"/>
                <a:gd name="T9" fmla="*/ 75 h 206"/>
                <a:gd name="T10" fmla="*/ 18 w 156"/>
                <a:gd name="T11" fmla="*/ 86 h 206"/>
                <a:gd name="T12" fmla="*/ 29 w 156"/>
                <a:gd name="T13" fmla="*/ 83 h 206"/>
                <a:gd name="T14" fmla="*/ 36 w 156"/>
                <a:gd name="T15" fmla="*/ 75 h 206"/>
                <a:gd name="T16" fmla="*/ 41 w 156"/>
                <a:gd name="T17" fmla="*/ 68 h 206"/>
                <a:gd name="T18" fmla="*/ 40 w 156"/>
                <a:gd name="T19" fmla="*/ 55 h 206"/>
                <a:gd name="T20" fmla="*/ 51 w 156"/>
                <a:gd name="T21" fmla="*/ 59 h 206"/>
                <a:gd name="T22" fmla="*/ 58 w 156"/>
                <a:gd name="T23" fmla="*/ 68 h 206"/>
                <a:gd name="T24" fmla="*/ 63 w 156"/>
                <a:gd name="T25" fmla="*/ 80 h 206"/>
                <a:gd name="T26" fmla="*/ 61 w 156"/>
                <a:gd name="T27" fmla="*/ 87 h 206"/>
                <a:gd name="T28" fmla="*/ 66 w 156"/>
                <a:gd name="T29" fmla="*/ 93 h 206"/>
                <a:gd name="T30" fmla="*/ 60 w 156"/>
                <a:gd name="T31" fmla="*/ 101 h 206"/>
                <a:gd name="T32" fmla="*/ 52 w 156"/>
                <a:gd name="T33" fmla="*/ 114 h 206"/>
                <a:gd name="T34" fmla="*/ 44 w 156"/>
                <a:gd name="T35" fmla="*/ 125 h 206"/>
                <a:gd name="T36" fmla="*/ 37 w 156"/>
                <a:gd name="T37" fmla="*/ 135 h 206"/>
                <a:gd name="T38" fmla="*/ 42 w 156"/>
                <a:gd name="T39" fmla="*/ 153 h 206"/>
                <a:gd name="T40" fmla="*/ 46 w 156"/>
                <a:gd name="T41" fmla="*/ 168 h 206"/>
                <a:gd name="T42" fmla="*/ 33 w 156"/>
                <a:gd name="T43" fmla="*/ 171 h 206"/>
                <a:gd name="T44" fmla="*/ 44 w 156"/>
                <a:gd name="T45" fmla="*/ 180 h 206"/>
                <a:gd name="T46" fmla="*/ 60 w 156"/>
                <a:gd name="T47" fmla="*/ 186 h 206"/>
                <a:gd name="T48" fmla="*/ 63 w 156"/>
                <a:gd name="T49" fmla="*/ 179 h 206"/>
                <a:gd name="T50" fmla="*/ 61 w 156"/>
                <a:gd name="T51" fmla="*/ 162 h 206"/>
                <a:gd name="T52" fmla="*/ 71 w 156"/>
                <a:gd name="T53" fmla="*/ 151 h 206"/>
                <a:gd name="T54" fmla="*/ 75 w 156"/>
                <a:gd name="T55" fmla="*/ 161 h 206"/>
                <a:gd name="T56" fmla="*/ 73 w 156"/>
                <a:gd name="T57" fmla="*/ 171 h 206"/>
                <a:gd name="T58" fmla="*/ 76 w 156"/>
                <a:gd name="T59" fmla="*/ 186 h 206"/>
                <a:gd name="T60" fmla="*/ 67 w 156"/>
                <a:gd name="T61" fmla="*/ 200 h 206"/>
                <a:gd name="T62" fmla="*/ 75 w 156"/>
                <a:gd name="T63" fmla="*/ 199 h 206"/>
                <a:gd name="T64" fmla="*/ 85 w 156"/>
                <a:gd name="T65" fmla="*/ 190 h 206"/>
                <a:gd name="T66" fmla="*/ 98 w 156"/>
                <a:gd name="T67" fmla="*/ 181 h 206"/>
                <a:gd name="T68" fmla="*/ 99 w 156"/>
                <a:gd name="T69" fmla="*/ 170 h 206"/>
                <a:gd name="T70" fmla="*/ 112 w 156"/>
                <a:gd name="T71" fmla="*/ 175 h 206"/>
                <a:gd name="T72" fmla="*/ 117 w 156"/>
                <a:gd name="T73" fmla="*/ 163 h 206"/>
                <a:gd name="T74" fmla="*/ 120 w 156"/>
                <a:gd name="T75" fmla="*/ 152 h 206"/>
                <a:gd name="T76" fmla="*/ 127 w 156"/>
                <a:gd name="T77" fmla="*/ 134 h 206"/>
                <a:gd name="T78" fmla="*/ 131 w 156"/>
                <a:gd name="T79" fmla="*/ 115 h 206"/>
                <a:gd name="T80" fmla="*/ 138 w 156"/>
                <a:gd name="T81" fmla="*/ 96 h 206"/>
                <a:gd name="T82" fmla="*/ 148 w 156"/>
                <a:gd name="T83" fmla="*/ 78 h 206"/>
                <a:gd name="T84" fmla="*/ 152 w 156"/>
                <a:gd name="T85" fmla="*/ 66 h 206"/>
                <a:gd name="T86" fmla="*/ 147 w 156"/>
                <a:gd name="T87" fmla="*/ 55 h 206"/>
                <a:gd name="T88" fmla="*/ 139 w 156"/>
                <a:gd name="T89" fmla="*/ 48 h 206"/>
                <a:gd name="T90" fmla="*/ 127 w 156"/>
                <a:gd name="T91" fmla="*/ 47 h 206"/>
                <a:gd name="T92" fmla="*/ 119 w 156"/>
                <a:gd name="T93" fmla="*/ 41 h 206"/>
                <a:gd name="T94" fmla="*/ 127 w 156"/>
                <a:gd name="T95" fmla="*/ 33 h 206"/>
                <a:gd name="T96" fmla="*/ 129 w 156"/>
                <a:gd name="T97" fmla="*/ 25 h 206"/>
                <a:gd name="T98" fmla="*/ 121 w 156"/>
                <a:gd name="T99" fmla="*/ 21 h 206"/>
                <a:gd name="T100" fmla="*/ 106 w 156"/>
                <a:gd name="T101" fmla="*/ 23 h 206"/>
                <a:gd name="T102" fmla="*/ 93 w 156"/>
                <a:gd name="T103" fmla="*/ 16 h 206"/>
                <a:gd name="T104" fmla="*/ 86 w 156"/>
                <a:gd name="T105" fmla="*/ 9 h 206"/>
                <a:gd name="T106" fmla="*/ 80 w 156"/>
                <a:gd name="T107" fmla="*/ 3 h 206"/>
                <a:gd name="T108" fmla="*/ 67 w 156"/>
                <a:gd name="T109" fmla="*/ 1 h 206"/>
                <a:gd name="T110" fmla="*/ 58 w 156"/>
                <a:gd name="T111" fmla="*/ 15 h 206"/>
                <a:gd name="T112" fmla="*/ 45 w 156"/>
                <a:gd name="T113" fmla="*/ 21 h 206"/>
                <a:gd name="T114" fmla="*/ 36 w 156"/>
                <a:gd name="T115" fmla="*/ 30 h 206"/>
                <a:gd name="T116" fmla="*/ 28 w 156"/>
                <a:gd name="T117" fmla="*/ 31 h 206"/>
                <a:gd name="T118" fmla="*/ 19 w 156"/>
                <a:gd name="T119" fmla="*/ 29 h 206"/>
                <a:gd name="T120" fmla="*/ 16 w 156"/>
                <a:gd name="T121" fmla="*/ 40 h 206"/>
                <a:gd name="T122" fmla="*/ 7 w 156"/>
                <a:gd name="T123" fmla="*/ 41 h 206"/>
                <a:gd name="T124" fmla="*/ 4 w 156"/>
                <a:gd name="T125" fmla="*/ 49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6" h="206">
                  <a:moveTo>
                    <a:pt x="4" y="49"/>
                  </a:moveTo>
                  <a:cubicBezTo>
                    <a:pt x="5" y="53"/>
                    <a:pt x="7" y="56"/>
                    <a:pt x="10" y="60"/>
                  </a:cubicBezTo>
                  <a:cubicBezTo>
                    <a:pt x="13" y="63"/>
                    <a:pt x="18" y="65"/>
                    <a:pt x="22" y="68"/>
                  </a:cubicBezTo>
                  <a:cubicBezTo>
                    <a:pt x="27" y="70"/>
                    <a:pt x="25" y="72"/>
                    <a:pt x="23" y="75"/>
                  </a:cubicBezTo>
                  <a:cubicBezTo>
                    <a:pt x="21" y="78"/>
                    <a:pt x="20" y="75"/>
                    <a:pt x="14" y="75"/>
                  </a:cubicBezTo>
                  <a:cubicBezTo>
                    <a:pt x="8" y="76"/>
                    <a:pt x="15" y="82"/>
                    <a:pt x="18" y="86"/>
                  </a:cubicBezTo>
                  <a:cubicBezTo>
                    <a:pt x="21" y="90"/>
                    <a:pt x="25" y="86"/>
                    <a:pt x="29" y="83"/>
                  </a:cubicBezTo>
                  <a:cubicBezTo>
                    <a:pt x="32" y="80"/>
                    <a:pt x="33" y="79"/>
                    <a:pt x="36" y="75"/>
                  </a:cubicBezTo>
                  <a:cubicBezTo>
                    <a:pt x="39" y="71"/>
                    <a:pt x="42" y="72"/>
                    <a:pt x="41" y="68"/>
                  </a:cubicBezTo>
                  <a:cubicBezTo>
                    <a:pt x="40" y="65"/>
                    <a:pt x="37" y="59"/>
                    <a:pt x="40" y="55"/>
                  </a:cubicBezTo>
                  <a:cubicBezTo>
                    <a:pt x="43" y="52"/>
                    <a:pt x="50" y="56"/>
                    <a:pt x="51" y="59"/>
                  </a:cubicBezTo>
                  <a:cubicBezTo>
                    <a:pt x="52" y="62"/>
                    <a:pt x="54" y="65"/>
                    <a:pt x="58" y="68"/>
                  </a:cubicBezTo>
                  <a:cubicBezTo>
                    <a:pt x="63" y="71"/>
                    <a:pt x="63" y="74"/>
                    <a:pt x="63" y="80"/>
                  </a:cubicBezTo>
                  <a:cubicBezTo>
                    <a:pt x="63" y="85"/>
                    <a:pt x="62" y="83"/>
                    <a:pt x="61" y="87"/>
                  </a:cubicBezTo>
                  <a:cubicBezTo>
                    <a:pt x="61" y="91"/>
                    <a:pt x="63" y="90"/>
                    <a:pt x="66" y="93"/>
                  </a:cubicBezTo>
                  <a:cubicBezTo>
                    <a:pt x="68" y="96"/>
                    <a:pt x="64" y="95"/>
                    <a:pt x="60" y="101"/>
                  </a:cubicBezTo>
                  <a:cubicBezTo>
                    <a:pt x="55" y="107"/>
                    <a:pt x="55" y="108"/>
                    <a:pt x="52" y="114"/>
                  </a:cubicBezTo>
                  <a:cubicBezTo>
                    <a:pt x="50" y="119"/>
                    <a:pt x="50" y="122"/>
                    <a:pt x="44" y="125"/>
                  </a:cubicBezTo>
                  <a:cubicBezTo>
                    <a:pt x="38" y="128"/>
                    <a:pt x="39" y="131"/>
                    <a:pt x="37" y="135"/>
                  </a:cubicBezTo>
                  <a:cubicBezTo>
                    <a:pt x="36" y="140"/>
                    <a:pt x="40" y="147"/>
                    <a:pt x="42" y="153"/>
                  </a:cubicBezTo>
                  <a:cubicBezTo>
                    <a:pt x="43" y="160"/>
                    <a:pt x="46" y="164"/>
                    <a:pt x="46" y="168"/>
                  </a:cubicBezTo>
                  <a:cubicBezTo>
                    <a:pt x="46" y="172"/>
                    <a:pt x="38" y="169"/>
                    <a:pt x="33" y="171"/>
                  </a:cubicBezTo>
                  <a:cubicBezTo>
                    <a:pt x="29" y="174"/>
                    <a:pt x="39" y="179"/>
                    <a:pt x="44" y="180"/>
                  </a:cubicBezTo>
                  <a:cubicBezTo>
                    <a:pt x="49" y="180"/>
                    <a:pt x="55" y="185"/>
                    <a:pt x="60" y="186"/>
                  </a:cubicBezTo>
                  <a:cubicBezTo>
                    <a:pt x="65" y="188"/>
                    <a:pt x="65" y="185"/>
                    <a:pt x="63" y="179"/>
                  </a:cubicBezTo>
                  <a:cubicBezTo>
                    <a:pt x="60" y="174"/>
                    <a:pt x="63" y="173"/>
                    <a:pt x="61" y="162"/>
                  </a:cubicBezTo>
                  <a:cubicBezTo>
                    <a:pt x="59" y="152"/>
                    <a:pt x="63" y="156"/>
                    <a:pt x="71" y="151"/>
                  </a:cubicBezTo>
                  <a:cubicBezTo>
                    <a:pt x="79" y="146"/>
                    <a:pt x="77" y="154"/>
                    <a:pt x="75" y="161"/>
                  </a:cubicBezTo>
                  <a:cubicBezTo>
                    <a:pt x="73" y="168"/>
                    <a:pt x="73" y="167"/>
                    <a:pt x="73" y="171"/>
                  </a:cubicBezTo>
                  <a:cubicBezTo>
                    <a:pt x="73" y="176"/>
                    <a:pt x="76" y="180"/>
                    <a:pt x="76" y="186"/>
                  </a:cubicBezTo>
                  <a:cubicBezTo>
                    <a:pt x="76" y="193"/>
                    <a:pt x="71" y="193"/>
                    <a:pt x="67" y="200"/>
                  </a:cubicBezTo>
                  <a:cubicBezTo>
                    <a:pt x="63" y="206"/>
                    <a:pt x="70" y="202"/>
                    <a:pt x="75" y="199"/>
                  </a:cubicBezTo>
                  <a:cubicBezTo>
                    <a:pt x="79" y="196"/>
                    <a:pt x="82" y="192"/>
                    <a:pt x="85" y="190"/>
                  </a:cubicBezTo>
                  <a:cubicBezTo>
                    <a:pt x="88" y="188"/>
                    <a:pt x="97" y="188"/>
                    <a:pt x="98" y="181"/>
                  </a:cubicBezTo>
                  <a:cubicBezTo>
                    <a:pt x="99" y="174"/>
                    <a:pt x="98" y="176"/>
                    <a:pt x="99" y="170"/>
                  </a:cubicBezTo>
                  <a:cubicBezTo>
                    <a:pt x="100" y="165"/>
                    <a:pt x="106" y="174"/>
                    <a:pt x="112" y="175"/>
                  </a:cubicBezTo>
                  <a:cubicBezTo>
                    <a:pt x="118" y="177"/>
                    <a:pt x="117" y="173"/>
                    <a:pt x="117" y="163"/>
                  </a:cubicBezTo>
                  <a:cubicBezTo>
                    <a:pt x="117" y="153"/>
                    <a:pt x="118" y="160"/>
                    <a:pt x="120" y="152"/>
                  </a:cubicBezTo>
                  <a:cubicBezTo>
                    <a:pt x="121" y="145"/>
                    <a:pt x="125" y="144"/>
                    <a:pt x="127" y="134"/>
                  </a:cubicBezTo>
                  <a:cubicBezTo>
                    <a:pt x="130" y="123"/>
                    <a:pt x="128" y="123"/>
                    <a:pt x="131" y="115"/>
                  </a:cubicBezTo>
                  <a:cubicBezTo>
                    <a:pt x="134" y="107"/>
                    <a:pt x="138" y="104"/>
                    <a:pt x="138" y="96"/>
                  </a:cubicBezTo>
                  <a:cubicBezTo>
                    <a:pt x="138" y="87"/>
                    <a:pt x="142" y="82"/>
                    <a:pt x="148" y="78"/>
                  </a:cubicBezTo>
                  <a:cubicBezTo>
                    <a:pt x="154" y="75"/>
                    <a:pt x="156" y="71"/>
                    <a:pt x="152" y="66"/>
                  </a:cubicBezTo>
                  <a:cubicBezTo>
                    <a:pt x="148" y="61"/>
                    <a:pt x="147" y="62"/>
                    <a:pt x="147" y="55"/>
                  </a:cubicBezTo>
                  <a:cubicBezTo>
                    <a:pt x="146" y="49"/>
                    <a:pt x="145" y="51"/>
                    <a:pt x="139" y="48"/>
                  </a:cubicBezTo>
                  <a:cubicBezTo>
                    <a:pt x="134" y="44"/>
                    <a:pt x="133" y="47"/>
                    <a:pt x="127" y="47"/>
                  </a:cubicBezTo>
                  <a:cubicBezTo>
                    <a:pt x="120" y="47"/>
                    <a:pt x="123" y="46"/>
                    <a:pt x="119" y="41"/>
                  </a:cubicBezTo>
                  <a:cubicBezTo>
                    <a:pt x="115" y="36"/>
                    <a:pt x="121" y="36"/>
                    <a:pt x="127" y="33"/>
                  </a:cubicBezTo>
                  <a:cubicBezTo>
                    <a:pt x="132" y="30"/>
                    <a:pt x="130" y="29"/>
                    <a:pt x="129" y="25"/>
                  </a:cubicBezTo>
                  <a:cubicBezTo>
                    <a:pt x="128" y="20"/>
                    <a:pt x="126" y="21"/>
                    <a:pt x="121" y="21"/>
                  </a:cubicBezTo>
                  <a:cubicBezTo>
                    <a:pt x="116" y="21"/>
                    <a:pt x="112" y="22"/>
                    <a:pt x="106" y="23"/>
                  </a:cubicBezTo>
                  <a:cubicBezTo>
                    <a:pt x="99" y="25"/>
                    <a:pt x="97" y="24"/>
                    <a:pt x="93" y="16"/>
                  </a:cubicBezTo>
                  <a:cubicBezTo>
                    <a:pt x="93" y="12"/>
                    <a:pt x="87" y="12"/>
                    <a:pt x="86" y="9"/>
                  </a:cubicBezTo>
                  <a:cubicBezTo>
                    <a:pt x="85" y="6"/>
                    <a:pt x="84" y="5"/>
                    <a:pt x="80" y="3"/>
                  </a:cubicBezTo>
                  <a:cubicBezTo>
                    <a:pt x="76" y="0"/>
                    <a:pt x="74" y="1"/>
                    <a:pt x="67" y="1"/>
                  </a:cubicBezTo>
                  <a:cubicBezTo>
                    <a:pt x="61" y="2"/>
                    <a:pt x="61" y="5"/>
                    <a:pt x="58" y="15"/>
                  </a:cubicBezTo>
                  <a:cubicBezTo>
                    <a:pt x="54" y="25"/>
                    <a:pt x="52" y="20"/>
                    <a:pt x="45" y="21"/>
                  </a:cubicBezTo>
                  <a:cubicBezTo>
                    <a:pt x="38" y="23"/>
                    <a:pt x="40" y="27"/>
                    <a:pt x="36" y="30"/>
                  </a:cubicBezTo>
                  <a:cubicBezTo>
                    <a:pt x="32" y="33"/>
                    <a:pt x="32" y="33"/>
                    <a:pt x="28" y="31"/>
                  </a:cubicBezTo>
                  <a:cubicBezTo>
                    <a:pt x="24" y="29"/>
                    <a:pt x="21" y="28"/>
                    <a:pt x="19" y="29"/>
                  </a:cubicBezTo>
                  <a:cubicBezTo>
                    <a:pt x="16" y="31"/>
                    <a:pt x="17" y="36"/>
                    <a:pt x="16" y="40"/>
                  </a:cubicBezTo>
                  <a:cubicBezTo>
                    <a:pt x="15" y="45"/>
                    <a:pt x="14" y="41"/>
                    <a:pt x="7" y="41"/>
                  </a:cubicBezTo>
                  <a:cubicBezTo>
                    <a:pt x="0" y="41"/>
                    <a:pt x="3" y="45"/>
                    <a:pt x="4" y="4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3" name="Freeform 176"/>
            <p:cNvSpPr>
              <a:spLocks/>
            </p:cNvSpPr>
            <p:nvPr/>
          </p:nvSpPr>
          <p:spPr bwMode="auto">
            <a:xfrm>
              <a:off x="6630703" y="4791763"/>
              <a:ext cx="4762" cy="4763"/>
            </a:xfrm>
            <a:custGeom>
              <a:avLst/>
              <a:gdLst>
                <a:gd name="T0" fmla="*/ 6 w 19"/>
                <a:gd name="T1" fmla="*/ 8 h 15"/>
                <a:gd name="T2" fmla="*/ 12 w 19"/>
                <a:gd name="T3" fmla="*/ 14 h 15"/>
                <a:gd name="T4" fmla="*/ 19 w 19"/>
                <a:gd name="T5" fmla="*/ 8 h 15"/>
                <a:gd name="T6" fmla="*/ 6 w 19"/>
                <a:gd name="T7" fmla="*/ 3 h 15"/>
                <a:gd name="T8" fmla="*/ 1 w 19"/>
                <a:gd name="T9" fmla="*/ 2 h 15"/>
                <a:gd name="T10" fmla="*/ 6 w 19"/>
                <a:gd name="T11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5">
                  <a:moveTo>
                    <a:pt x="6" y="8"/>
                  </a:moveTo>
                  <a:cubicBezTo>
                    <a:pt x="9" y="10"/>
                    <a:pt x="7" y="15"/>
                    <a:pt x="12" y="14"/>
                  </a:cubicBezTo>
                  <a:cubicBezTo>
                    <a:pt x="17" y="13"/>
                    <a:pt x="18" y="12"/>
                    <a:pt x="19" y="8"/>
                  </a:cubicBezTo>
                  <a:cubicBezTo>
                    <a:pt x="19" y="5"/>
                    <a:pt x="12" y="6"/>
                    <a:pt x="6" y="3"/>
                  </a:cubicBezTo>
                  <a:cubicBezTo>
                    <a:pt x="3" y="1"/>
                    <a:pt x="0" y="0"/>
                    <a:pt x="1" y="2"/>
                  </a:cubicBezTo>
                  <a:cubicBezTo>
                    <a:pt x="2" y="4"/>
                    <a:pt x="2" y="5"/>
                    <a:pt x="6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4" name="Freeform 179"/>
            <p:cNvSpPr>
              <a:spLocks/>
            </p:cNvSpPr>
            <p:nvPr/>
          </p:nvSpPr>
          <p:spPr bwMode="auto">
            <a:xfrm>
              <a:off x="6587841" y="4791763"/>
              <a:ext cx="4762" cy="4763"/>
            </a:xfrm>
            <a:custGeom>
              <a:avLst/>
              <a:gdLst>
                <a:gd name="T0" fmla="*/ 12 w 17"/>
                <a:gd name="T1" fmla="*/ 6 h 17"/>
                <a:gd name="T2" fmla="*/ 6 w 17"/>
                <a:gd name="T3" fmla="*/ 12 h 17"/>
                <a:gd name="T4" fmla="*/ 3 w 17"/>
                <a:gd name="T5" fmla="*/ 15 h 17"/>
                <a:gd name="T6" fmla="*/ 12 w 17"/>
                <a:gd name="T7" fmla="*/ 14 h 17"/>
                <a:gd name="T8" fmla="*/ 17 w 17"/>
                <a:gd name="T9" fmla="*/ 8 h 17"/>
                <a:gd name="T10" fmla="*/ 12 w 17"/>
                <a:gd name="T11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7">
                  <a:moveTo>
                    <a:pt x="12" y="6"/>
                  </a:moveTo>
                  <a:cubicBezTo>
                    <a:pt x="11" y="9"/>
                    <a:pt x="7" y="12"/>
                    <a:pt x="6" y="12"/>
                  </a:cubicBezTo>
                  <a:cubicBezTo>
                    <a:pt x="4" y="13"/>
                    <a:pt x="0" y="14"/>
                    <a:pt x="3" y="15"/>
                  </a:cubicBezTo>
                  <a:cubicBezTo>
                    <a:pt x="7" y="16"/>
                    <a:pt x="10" y="17"/>
                    <a:pt x="12" y="14"/>
                  </a:cubicBezTo>
                  <a:cubicBezTo>
                    <a:pt x="15" y="10"/>
                    <a:pt x="17" y="10"/>
                    <a:pt x="17" y="8"/>
                  </a:cubicBezTo>
                  <a:cubicBezTo>
                    <a:pt x="17" y="6"/>
                    <a:pt x="14" y="0"/>
                    <a:pt x="12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5" name="Freeform 182"/>
            <p:cNvSpPr>
              <a:spLocks/>
            </p:cNvSpPr>
            <p:nvPr/>
          </p:nvSpPr>
          <p:spPr bwMode="auto">
            <a:xfrm>
              <a:off x="4620928" y="4454816"/>
              <a:ext cx="223837" cy="150019"/>
            </a:xfrm>
            <a:custGeom>
              <a:avLst/>
              <a:gdLst>
                <a:gd name="T0" fmla="*/ 273 w 780"/>
                <a:gd name="T1" fmla="*/ 374 h 524"/>
                <a:gd name="T2" fmla="*/ 273 w 780"/>
                <a:gd name="T3" fmla="*/ 374 h 524"/>
                <a:gd name="T4" fmla="*/ 348 w 780"/>
                <a:gd name="T5" fmla="*/ 375 h 524"/>
                <a:gd name="T6" fmla="*/ 407 w 780"/>
                <a:gd name="T7" fmla="*/ 405 h 524"/>
                <a:gd name="T8" fmla="*/ 483 w 780"/>
                <a:gd name="T9" fmla="*/ 413 h 524"/>
                <a:gd name="T10" fmla="*/ 502 w 780"/>
                <a:gd name="T11" fmla="*/ 387 h 524"/>
                <a:gd name="T12" fmla="*/ 543 w 780"/>
                <a:gd name="T13" fmla="*/ 388 h 524"/>
                <a:gd name="T14" fmla="*/ 602 w 780"/>
                <a:gd name="T15" fmla="*/ 361 h 524"/>
                <a:gd name="T16" fmla="*/ 643 w 780"/>
                <a:gd name="T17" fmla="*/ 367 h 524"/>
                <a:gd name="T18" fmla="*/ 666 w 780"/>
                <a:gd name="T19" fmla="*/ 344 h 524"/>
                <a:gd name="T20" fmla="*/ 703 w 780"/>
                <a:gd name="T21" fmla="*/ 350 h 524"/>
                <a:gd name="T22" fmla="*/ 735 w 780"/>
                <a:gd name="T23" fmla="*/ 358 h 524"/>
                <a:gd name="T24" fmla="*/ 753 w 780"/>
                <a:gd name="T25" fmla="*/ 354 h 524"/>
                <a:gd name="T26" fmla="*/ 772 w 780"/>
                <a:gd name="T27" fmla="*/ 352 h 524"/>
                <a:gd name="T28" fmla="*/ 779 w 780"/>
                <a:gd name="T29" fmla="*/ 337 h 524"/>
                <a:gd name="T30" fmla="*/ 756 w 780"/>
                <a:gd name="T31" fmla="*/ 310 h 524"/>
                <a:gd name="T32" fmla="*/ 727 w 780"/>
                <a:gd name="T33" fmla="*/ 279 h 524"/>
                <a:gd name="T34" fmla="*/ 665 w 780"/>
                <a:gd name="T35" fmla="*/ 213 h 524"/>
                <a:gd name="T36" fmla="*/ 642 w 780"/>
                <a:gd name="T37" fmla="*/ 179 h 524"/>
                <a:gd name="T38" fmla="*/ 605 w 780"/>
                <a:gd name="T39" fmla="*/ 167 h 524"/>
                <a:gd name="T40" fmla="*/ 591 w 780"/>
                <a:gd name="T41" fmla="*/ 145 h 524"/>
                <a:gd name="T42" fmla="*/ 558 w 780"/>
                <a:gd name="T43" fmla="*/ 142 h 524"/>
                <a:gd name="T44" fmla="*/ 548 w 780"/>
                <a:gd name="T45" fmla="*/ 120 h 524"/>
                <a:gd name="T46" fmla="*/ 552 w 780"/>
                <a:gd name="T47" fmla="*/ 103 h 524"/>
                <a:gd name="T48" fmla="*/ 559 w 780"/>
                <a:gd name="T49" fmla="*/ 73 h 524"/>
                <a:gd name="T50" fmla="*/ 520 w 780"/>
                <a:gd name="T51" fmla="*/ 11 h 524"/>
                <a:gd name="T52" fmla="*/ 519 w 780"/>
                <a:gd name="T53" fmla="*/ 9 h 524"/>
                <a:gd name="T54" fmla="*/ 458 w 780"/>
                <a:gd name="T55" fmla="*/ 11 h 524"/>
                <a:gd name="T56" fmla="*/ 442 w 780"/>
                <a:gd name="T57" fmla="*/ 34 h 524"/>
                <a:gd name="T58" fmla="*/ 382 w 780"/>
                <a:gd name="T59" fmla="*/ 97 h 524"/>
                <a:gd name="T60" fmla="*/ 319 w 780"/>
                <a:gd name="T61" fmla="*/ 120 h 524"/>
                <a:gd name="T62" fmla="*/ 276 w 780"/>
                <a:gd name="T63" fmla="*/ 124 h 524"/>
                <a:gd name="T64" fmla="*/ 276 w 780"/>
                <a:gd name="T65" fmla="*/ 134 h 524"/>
                <a:gd name="T66" fmla="*/ 240 w 780"/>
                <a:gd name="T67" fmla="*/ 181 h 524"/>
                <a:gd name="T68" fmla="*/ 178 w 780"/>
                <a:gd name="T69" fmla="*/ 190 h 524"/>
                <a:gd name="T70" fmla="*/ 136 w 780"/>
                <a:gd name="T71" fmla="*/ 209 h 524"/>
                <a:gd name="T72" fmla="*/ 115 w 780"/>
                <a:gd name="T73" fmla="*/ 200 h 524"/>
                <a:gd name="T74" fmla="*/ 62 w 780"/>
                <a:gd name="T75" fmla="*/ 209 h 524"/>
                <a:gd name="T76" fmla="*/ 42 w 780"/>
                <a:gd name="T77" fmla="*/ 227 h 524"/>
                <a:gd name="T78" fmla="*/ 8 w 780"/>
                <a:gd name="T79" fmla="*/ 292 h 524"/>
                <a:gd name="T80" fmla="*/ 6 w 780"/>
                <a:gd name="T81" fmla="*/ 313 h 524"/>
                <a:gd name="T82" fmla="*/ 8 w 780"/>
                <a:gd name="T83" fmla="*/ 356 h 524"/>
                <a:gd name="T84" fmla="*/ 20 w 780"/>
                <a:gd name="T85" fmla="*/ 390 h 524"/>
                <a:gd name="T86" fmla="*/ 41 w 780"/>
                <a:gd name="T87" fmla="*/ 427 h 524"/>
                <a:gd name="T88" fmla="*/ 71 w 780"/>
                <a:gd name="T89" fmla="*/ 468 h 524"/>
                <a:gd name="T90" fmla="*/ 100 w 780"/>
                <a:gd name="T91" fmla="*/ 505 h 524"/>
                <a:gd name="T92" fmla="*/ 104 w 780"/>
                <a:gd name="T93" fmla="*/ 524 h 524"/>
                <a:gd name="T94" fmla="*/ 115 w 780"/>
                <a:gd name="T95" fmla="*/ 485 h 524"/>
                <a:gd name="T96" fmla="*/ 166 w 780"/>
                <a:gd name="T97" fmla="*/ 445 h 524"/>
                <a:gd name="T98" fmla="*/ 246 w 780"/>
                <a:gd name="T99" fmla="*/ 447 h 524"/>
                <a:gd name="T100" fmla="*/ 247 w 780"/>
                <a:gd name="T101" fmla="*/ 405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80" h="524">
                  <a:moveTo>
                    <a:pt x="255" y="400"/>
                  </a:moveTo>
                  <a:cubicBezTo>
                    <a:pt x="256" y="399"/>
                    <a:pt x="258" y="395"/>
                    <a:pt x="261" y="391"/>
                  </a:cubicBezTo>
                  <a:cubicBezTo>
                    <a:pt x="264" y="385"/>
                    <a:pt x="268" y="378"/>
                    <a:pt x="273" y="374"/>
                  </a:cubicBezTo>
                  <a:cubicBezTo>
                    <a:pt x="273" y="374"/>
                    <a:pt x="273" y="374"/>
                    <a:pt x="273" y="374"/>
                  </a:cubicBezTo>
                  <a:cubicBezTo>
                    <a:pt x="273" y="374"/>
                    <a:pt x="273" y="374"/>
                    <a:pt x="273" y="374"/>
                  </a:cubicBezTo>
                  <a:cubicBezTo>
                    <a:pt x="273" y="374"/>
                    <a:pt x="273" y="374"/>
                    <a:pt x="273" y="374"/>
                  </a:cubicBezTo>
                  <a:cubicBezTo>
                    <a:pt x="281" y="368"/>
                    <a:pt x="295" y="357"/>
                    <a:pt x="305" y="357"/>
                  </a:cubicBezTo>
                  <a:cubicBezTo>
                    <a:pt x="310" y="357"/>
                    <a:pt x="319" y="358"/>
                    <a:pt x="328" y="362"/>
                  </a:cubicBezTo>
                  <a:cubicBezTo>
                    <a:pt x="334" y="364"/>
                    <a:pt x="341" y="368"/>
                    <a:pt x="348" y="375"/>
                  </a:cubicBezTo>
                  <a:cubicBezTo>
                    <a:pt x="349" y="376"/>
                    <a:pt x="351" y="377"/>
                    <a:pt x="352" y="379"/>
                  </a:cubicBezTo>
                  <a:cubicBezTo>
                    <a:pt x="363" y="389"/>
                    <a:pt x="366" y="392"/>
                    <a:pt x="381" y="397"/>
                  </a:cubicBezTo>
                  <a:cubicBezTo>
                    <a:pt x="390" y="400"/>
                    <a:pt x="398" y="403"/>
                    <a:pt x="407" y="405"/>
                  </a:cubicBezTo>
                  <a:cubicBezTo>
                    <a:pt x="417" y="407"/>
                    <a:pt x="427" y="409"/>
                    <a:pt x="439" y="410"/>
                  </a:cubicBezTo>
                  <a:cubicBezTo>
                    <a:pt x="441" y="410"/>
                    <a:pt x="441" y="410"/>
                    <a:pt x="441" y="410"/>
                  </a:cubicBezTo>
                  <a:cubicBezTo>
                    <a:pt x="464" y="413"/>
                    <a:pt x="478" y="415"/>
                    <a:pt x="483" y="413"/>
                  </a:cubicBezTo>
                  <a:cubicBezTo>
                    <a:pt x="486" y="411"/>
                    <a:pt x="490" y="405"/>
                    <a:pt x="494" y="399"/>
                  </a:cubicBezTo>
                  <a:cubicBezTo>
                    <a:pt x="496" y="396"/>
                    <a:pt x="498" y="393"/>
                    <a:pt x="499" y="390"/>
                  </a:cubicBezTo>
                  <a:cubicBezTo>
                    <a:pt x="500" y="389"/>
                    <a:pt x="501" y="388"/>
                    <a:pt x="502" y="387"/>
                  </a:cubicBezTo>
                  <a:cubicBezTo>
                    <a:pt x="506" y="381"/>
                    <a:pt x="510" y="376"/>
                    <a:pt x="518" y="376"/>
                  </a:cubicBezTo>
                  <a:cubicBezTo>
                    <a:pt x="522" y="376"/>
                    <a:pt x="525" y="378"/>
                    <a:pt x="528" y="381"/>
                  </a:cubicBezTo>
                  <a:cubicBezTo>
                    <a:pt x="532" y="384"/>
                    <a:pt x="536" y="387"/>
                    <a:pt x="543" y="388"/>
                  </a:cubicBezTo>
                  <a:cubicBezTo>
                    <a:pt x="550" y="388"/>
                    <a:pt x="567" y="379"/>
                    <a:pt x="581" y="371"/>
                  </a:cubicBezTo>
                  <a:cubicBezTo>
                    <a:pt x="590" y="366"/>
                    <a:pt x="598" y="362"/>
                    <a:pt x="602" y="361"/>
                  </a:cubicBezTo>
                  <a:cubicBezTo>
                    <a:pt x="602" y="361"/>
                    <a:pt x="602" y="361"/>
                    <a:pt x="602" y="361"/>
                  </a:cubicBezTo>
                  <a:cubicBezTo>
                    <a:pt x="609" y="359"/>
                    <a:pt x="612" y="362"/>
                    <a:pt x="616" y="364"/>
                  </a:cubicBezTo>
                  <a:cubicBezTo>
                    <a:pt x="619" y="366"/>
                    <a:pt x="622" y="368"/>
                    <a:pt x="627" y="368"/>
                  </a:cubicBezTo>
                  <a:cubicBezTo>
                    <a:pt x="633" y="368"/>
                    <a:pt x="638" y="368"/>
                    <a:pt x="643" y="367"/>
                  </a:cubicBezTo>
                  <a:cubicBezTo>
                    <a:pt x="647" y="366"/>
                    <a:pt x="650" y="365"/>
                    <a:pt x="652" y="363"/>
                  </a:cubicBezTo>
                  <a:cubicBezTo>
                    <a:pt x="654" y="362"/>
                    <a:pt x="656" y="359"/>
                    <a:pt x="657" y="356"/>
                  </a:cubicBezTo>
                  <a:cubicBezTo>
                    <a:pt x="659" y="351"/>
                    <a:pt x="661" y="347"/>
                    <a:pt x="666" y="344"/>
                  </a:cubicBezTo>
                  <a:cubicBezTo>
                    <a:pt x="673" y="340"/>
                    <a:pt x="681" y="344"/>
                    <a:pt x="688" y="348"/>
                  </a:cubicBezTo>
                  <a:cubicBezTo>
                    <a:pt x="691" y="349"/>
                    <a:pt x="693" y="350"/>
                    <a:pt x="695" y="351"/>
                  </a:cubicBezTo>
                  <a:cubicBezTo>
                    <a:pt x="698" y="352"/>
                    <a:pt x="700" y="351"/>
                    <a:pt x="703" y="350"/>
                  </a:cubicBezTo>
                  <a:cubicBezTo>
                    <a:pt x="706" y="350"/>
                    <a:pt x="709" y="349"/>
                    <a:pt x="713" y="349"/>
                  </a:cubicBezTo>
                  <a:cubicBezTo>
                    <a:pt x="719" y="350"/>
                    <a:pt x="722" y="352"/>
                    <a:pt x="725" y="354"/>
                  </a:cubicBezTo>
                  <a:cubicBezTo>
                    <a:pt x="727" y="356"/>
                    <a:pt x="730" y="358"/>
                    <a:pt x="735" y="358"/>
                  </a:cubicBezTo>
                  <a:cubicBezTo>
                    <a:pt x="741" y="359"/>
                    <a:pt x="743" y="358"/>
                    <a:pt x="746" y="357"/>
                  </a:cubicBezTo>
                  <a:cubicBezTo>
                    <a:pt x="746" y="357"/>
                    <a:pt x="746" y="357"/>
                    <a:pt x="746" y="357"/>
                  </a:cubicBezTo>
                  <a:cubicBezTo>
                    <a:pt x="748" y="356"/>
                    <a:pt x="750" y="355"/>
                    <a:pt x="753" y="354"/>
                  </a:cubicBezTo>
                  <a:cubicBezTo>
                    <a:pt x="753" y="354"/>
                    <a:pt x="753" y="354"/>
                    <a:pt x="753" y="354"/>
                  </a:cubicBezTo>
                  <a:cubicBezTo>
                    <a:pt x="762" y="351"/>
                    <a:pt x="767" y="352"/>
                    <a:pt x="772" y="352"/>
                  </a:cubicBezTo>
                  <a:cubicBezTo>
                    <a:pt x="772" y="352"/>
                    <a:pt x="772" y="352"/>
                    <a:pt x="772" y="352"/>
                  </a:cubicBezTo>
                  <a:cubicBezTo>
                    <a:pt x="772" y="352"/>
                    <a:pt x="772" y="352"/>
                    <a:pt x="772" y="352"/>
                  </a:cubicBezTo>
                  <a:cubicBezTo>
                    <a:pt x="774" y="352"/>
                    <a:pt x="778" y="350"/>
                    <a:pt x="780" y="349"/>
                  </a:cubicBezTo>
                  <a:cubicBezTo>
                    <a:pt x="777" y="343"/>
                    <a:pt x="778" y="340"/>
                    <a:pt x="779" y="337"/>
                  </a:cubicBezTo>
                  <a:cubicBezTo>
                    <a:pt x="779" y="335"/>
                    <a:pt x="780" y="333"/>
                    <a:pt x="779" y="330"/>
                  </a:cubicBezTo>
                  <a:cubicBezTo>
                    <a:pt x="778" y="324"/>
                    <a:pt x="775" y="323"/>
                    <a:pt x="768" y="319"/>
                  </a:cubicBezTo>
                  <a:cubicBezTo>
                    <a:pt x="765" y="317"/>
                    <a:pt x="761" y="314"/>
                    <a:pt x="756" y="310"/>
                  </a:cubicBezTo>
                  <a:cubicBezTo>
                    <a:pt x="750" y="306"/>
                    <a:pt x="745" y="304"/>
                    <a:pt x="741" y="301"/>
                  </a:cubicBezTo>
                  <a:cubicBezTo>
                    <a:pt x="734" y="297"/>
                    <a:pt x="729" y="295"/>
                    <a:pt x="728" y="287"/>
                  </a:cubicBezTo>
                  <a:cubicBezTo>
                    <a:pt x="727" y="284"/>
                    <a:pt x="727" y="281"/>
                    <a:pt x="727" y="279"/>
                  </a:cubicBezTo>
                  <a:cubicBezTo>
                    <a:pt x="728" y="274"/>
                    <a:pt x="728" y="269"/>
                    <a:pt x="722" y="262"/>
                  </a:cubicBezTo>
                  <a:cubicBezTo>
                    <a:pt x="718" y="257"/>
                    <a:pt x="709" y="249"/>
                    <a:pt x="698" y="240"/>
                  </a:cubicBezTo>
                  <a:cubicBezTo>
                    <a:pt x="686" y="229"/>
                    <a:pt x="673" y="219"/>
                    <a:pt x="665" y="213"/>
                  </a:cubicBezTo>
                  <a:cubicBezTo>
                    <a:pt x="654" y="204"/>
                    <a:pt x="654" y="200"/>
                    <a:pt x="655" y="196"/>
                  </a:cubicBezTo>
                  <a:cubicBezTo>
                    <a:pt x="655" y="195"/>
                    <a:pt x="655" y="193"/>
                    <a:pt x="653" y="191"/>
                  </a:cubicBezTo>
                  <a:cubicBezTo>
                    <a:pt x="649" y="186"/>
                    <a:pt x="645" y="182"/>
                    <a:pt x="642" y="179"/>
                  </a:cubicBezTo>
                  <a:cubicBezTo>
                    <a:pt x="639" y="177"/>
                    <a:pt x="637" y="175"/>
                    <a:pt x="635" y="174"/>
                  </a:cubicBezTo>
                  <a:cubicBezTo>
                    <a:pt x="633" y="173"/>
                    <a:pt x="629" y="173"/>
                    <a:pt x="625" y="172"/>
                  </a:cubicBezTo>
                  <a:cubicBezTo>
                    <a:pt x="620" y="171"/>
                    <a:pt x="613" y="170"/>
                    <a:pt x="605" y="167"/>
                  </a:cubicBezTo>
                  <a:cubicBezTo>
                    <a:pt x="592" y="163"/>
                    <a:pt x="592" y="159"/>
                    <a:pt x="593" y="154"/>
                  </a:cubicBezTo>
                  <a:cubicBezTo>
                    <a:pt x="593" y="153"/>
                    <a:pt x="593" y="152"/>
                    <a:pt x="593" y="151"/>
                  </a:cubicBezTo>
                  <a:cubicBezTo>
                    <a:pt x="593" y="149"/>
                    <a:pt x="592" y="147"/>
                    <a:pt x="591" y="145"/>
                  </a:cubicBezTo>
                  <a:cubicBezTo>
                    <a:pt x="590" y="144"/>
                    <a:pt x="589" y="143"/>
                    <a:pt x="587" y="142"/>
                  </a:cubicBezTo>
                  <a:cubicBezTo>
                    <a:pt x="584" y="142"/>
                    <a:pt x="578" y="142"/>
                    <a:pt x="572" y="142"/>
                  </a:cubicBezTo>
                  <a:cubicBezTo>
                    <a:pt x="567" y="142"/>
                    <a:pt x="561" y="142"/>
                    <a:pt x="558" y="142"/>
                  </a:cubicBezTo>
                  <a:cubicBezTo>
                    <a:pt x="550" y="141"/>
                    <a:pt x="549" y="136"/>
                    <a:pt x="549" y="128"/>
                  </a:cubicBezTo>
                  <a:cubicBezTo>
                    <a:pt x="549" y="127"/>
                    <a:pt x="549" y="125"/>
                    <a:pt x="548" y="124"/>
                  </a:cubicBezTo>
                  <a:cubicBezTo>
                    <a:pt x="548" y="122"/>
                    <a:pt x="548" y="121"/>
                    <a:pt x="548" y="120"/>
                  </a:cubicBezTo>
                  <a:cubicBezTo>
                    <a:pt x="547" y="113"/>
                    <a:pt x="546" y="109"/>
                    <a:pt x="550" y="105"/>
                  </a:cubicBezTo>
                  <a:cubicBezTo>
                    <a:pt x="550" y="105"/>
                    <a:pt x="550" y="105"/>
                    <a:pt x="550" y="105"/>
                  </a:cubicBezTo>
                  <a:cubicBezTo>
                    <a:pt x="550" y="105"/>
                    <a:pt x="551" y="104"/>
                    <a:pt x="552" y="103"/>
                  </a:cubicBezTo>
                  <a:cubicBezTo>
                    <a:pt x="554" y="101"/>
                    <a:pt x="557" y="98"/>
                    <a:pt x="558" y="95"/>
                  </a:cubicBezTo>
                  <a:cubicBezTo>
                    <a:pt x="558" y="94"/>
                    <a:pt x="558" y="91"/>
                    <a:pt x="558" y="89"/>
                  </a:cubicBezTo>
                  <a:cubicBezTo>
                    <a:pt x="558" y="85"/>
                    <a:pt x="559" y="80"/>
                    <a:pt x="559" y="73"/>
                  </a:cubicBezTo>
                  <a:cubicBezTo>
                    <a:pt x="559" y="69"/>
                    <a:pt x="559" y="66"/>
                    <a:pt x="557" y="62"/>
                  </a:cubicBezTo>
                  <a:cubicBezTo>
                    <a:pt x="556" y="59"/>
                    <a:pt x="553" y="56"/>
                    <a:pt x="550" y="52"/>
                  </a:cubicBezTo>
                  <a:cubicBezTo>
                    <a:pt x="545" y="45"/>
                    <a:pt x="525" y="17"/>
                    <a:pt x="520" y="11"/>
                  </a:cubicBezTo>
                  <a:cubicBezTo>
                    <a:pt x="520" y="10"/>
                    <a:pt x="520" y="10"/>
                    <a:pt x="520" y="10"/>
                  </a:cubicBezTo>
                  <a:cubicBezTo>
                    <a:pt x="520" y="10"/>
                    <a:pt x="520" y="10"/>
                    <a:pt x="520" y="10"/>
                  </a:cubicBezTo>
                  <a:cubicBezTo>
                    <a:pt x="519" y="9"/>
                    <a:pt x="519" y="9"/>
                    <a:pt x="519" y="9"/>
                  </a:cubicBezTo>
                  <a:cubicBezTo>
                    <a:pt x="517" y="7"/>
                    <a:pt x="515" y="4"/>
                    <a:pt x="514" y="0"/>
                  </a:cubicBezTo>
                  <a:cubicBezTo>
                    <a:pt x="507" y="0"/>
                    <a:pt x="482" y="0"/>
                    <a:pt x="478" y="1"/>
                  </a:cubicBezTo>
                  <a:cubicBezTo>
                    <a:pt x="474" y="3"/>
                    <a:pt x="466" y="7"/>
                    <a:pt x="458" y="11"/>
                  </a:cubicBezTo>
                  <a:cubicBezTo>
                    <a:pt x="454" y="13"/>
                    <a:pt x="449" y="16"/>
                    <a:pt x="447" y="18"/>
                  </a:cubicBezTo>
                  <a:cubicBezTo>
                    <a:pt x="444" y="21"/>
                    <a:pt x="444" y="23"/>
                    <a:pt x="444" y="25"/>
                  </a:cubicBezTo>
                  <a:cubicBezTo>
                    <a:pt x="444" y="28"/>
                    <a:pt x="444" y="31"/>
                    <a:pt x="442" y="34"/>
                  </a:cubicBezTo>
                  <a:cubicBezTo>
                    <a:pt x="440" y="37"/>
                    <a:pt x="425" y="52"/>
                    <a:pt x="411" y="67"/>
                  </a:cubicBezTo>
                  <a:cubicBezTo>
                    <a:pt x="399" y="81"/>
                    <a:pt x="386" y="94"/>
                    <a:pt x="382" y="97"/>
                  </a:cubicBezTo>
                  <a:cubicBezTo>
                    <a:pt x="382" y="97"/>
                    <a:pt x="382" y="97"/>
                    <a:pt x="382" y="97"/>
                  </a:cubicBezTo>
                  <a:cubicBezTo>
                    <a:pt x="382" y="97"/>
                    <a:pt x="382" y="97"/>
                    <a:pt x="382" y="97"/>
                  </a:cubicBezTo>
                  <a:cubicBezTo>
                    <a:pt x="374" y="104"/>
                    <a:pt x="361" y="114"/>
                    <a:pt x="346" y="117"/>
                  </a:cubicBezTo>
                  <a:cubicBezTo>
                    <a:pt x="340" y="118"/>
                    <a:pt x="330" y="119"/>
                    <a:pt x="319" y="120"/>
                  </a:cubicBezTo>
                  <a:cubicBezTo>
                    <a:pt x="303" y="121"/>
                    <a:pt x="287" y="122"/>
                    <a:pt x="282" y="122"/>
                  </a:cubicBezTo>
                  <a:cubicBezTo>
                    <a:pt x="281" y="122"/>
                    <a:pt x="280" y="122"/>
                    <a:pt x="279" y="122"/>
                  </a:cubicBezTo>
                  <a:cubicBezTo>
                    <a:pt x="278" y="122"/>
                    <a:pt x="277" y="123"/>
                    <a:pt x="276" y="124"/>
                  </a:cubicBezTo>
                  <a:cubicBezTo>
                    <a:pt x="275" y="125"/>
                    <a:pt x="275" y="126"/>
                    <a:pt x="275" y="127"/>
                  </a:cubicBezTo>
                  <a:cubicBezTo>
                    <a:pt x="275" y="128"/>
                    <a:pt x="275" y="129"/>
                    <a:pt x="275" y="130"/>
                  </a:cubicBezTo>
                  <a:cubicBezTo>
                    <a:pt x="276" y="131"/>
                    <a:pt x="276" y="132"/>
                    <a:pt x="276" y="134"/>
                  </a:cubicBezTo>
                  <a:cubicBezTo>
                    <a:pt x="278" y="140"/>
                    <a:pt x="280" y="145"/>
                    <a:pt x="272" y="155"/>
                  </a:cubicBezTo>
                  <a:cubicBezTo>
                    <a:pt x="270" y="157"/>
                    <a:pt x="268" y="159"/>
                    <a:pt x="266" y="162"/>
                  </a:cubicBezTo>
                  <a:cubicBezTo>
                    <a:pt x="259" y="171"/>
                    <a:pt x="252" y="180"/>
                    <a:pt x="240" y="181"/>
                  </a:cubicBezTo>
                  <a:cubicBezTo>
                    <a:pt x="235" y="182"/>
                    <a:pt x="229" y="182"/>
                    <a:pt x="222" y="182"/>
                  </a:cubicBezTo>
                  <a:cubicBezTo>
                    <a:pt x="214" y="182"/>
                    <a:pt x="206" y="183"/>
                    <a:pt x="197" y="184"/>
                  </a:cubicBezTo>
                  <a:cubicBezTo>
                    <a:pt x="190" y="186"/>
                    <a:pt x="183" y="188"/>
                    <a:pt x="178" y="190"/>
                  </a:cubicBezTo>
                  <a:cubicBezTo>
                    <a:pt x="172" y="193"/>
                    <a:pt x="168" y="195"/>
                    <a:pt x="165" y="197"/>
                  </a:cubicBezTo>
                  <a:cubicBezTo>
                    <a:pt x="163" y="198"/>
                    <a:pt x="162" y="199"/>
                    <a:pt x="161" y="200"/>
                  </a:cubicBezTo>
                  <a:cubicBezTo>
                    <a:pt x="154" y="205"/>
                    <a:pt x="145" y="211"/>
                    <a:pt x="136" y="209"/>
                  </a:cubicBezTo>
                  <a:cubicBezTo>
                    <a:pt x="130" y="208"/>
                    <a:pt x="127" y="204"/>
                    <a:pt x="125" y="201"/>
                  </a:cubicBezTo>
                  <a:cubicBezTo>
                    <a:pt x="123" y="199"/>
                    <a:pt x="122" y="198"/>
                    <a:pt x="121" y="198"/>
                  </a:cubicBezTo>
                  <a:cubicBezTo>
                    <a:pt x="118" y="198"/>
                    <a:pt x="117" y="199"/>
                    <a:pt x="115" y="200"/>
                  </a:cubicBezTo>
                  <a:cubicBezTo>
                    <a:pt x="111" y="202"/>
                    <a:pt x="106" y="204"/>
                    <a:pt x="97" y="205"/>
                  </a:cubicBezTo>
                  <a:cubicBezTo>
                    <a:pt x="90" y="206"/>
                    <a:pt x="83" y="207"/>
                    <a:pt x="77" y="207"/>
                  </a:cubicBezTo>
                  <a:cubicBezTo>
                    <a:pt x="71" y="208"/>
                    <a:pt x="65" y="208"/>
                    <a:pt x="62" y="209"/>
                  </a:cubicBezTo>
                  <a:cubicBezTo>
                    <a:pt x="62" y="209"/>
                    <a:pt x="62" y="209"/>
                    <a:pt x="62" y="209"/>
                  </a:cubicBezTo>
                  <a:cubicBezTo>
                    <a:pt x="60" y="209"/>
                    <a:pt x="56" y="212"/>
                    <a:pt x="53" y="215"/>
                  </a:cubicBezTo>
                  <a:cubicBezTo>
                    <a:pt x="49" y="219"/>
                    <a:pt x="45" y="223"/>
                    <a:pt x="42" y="227"/>
                  </a:cubicBezTo>
                  <a:cubicBezTo>
                    <a:pt x="40" y="232"/>
                    <a:pt x="36" y="241"/>
                    <a:pt x="32" y="251"/>
                  </a:cubicBezTo>
                  <a:cubicBezTo>
                    <a:pt x="29" y="259"/>
                    <a:pt x="26" y="268"/>
                    <a:pt x="22" y="276"/>
                  </a:cubicBezTo>
                  <a:cubicBezTo>
                    <a:pt x="18" y="286"/>
                    <a:pt x="13" y="289"/>
                    <a:pt x="8" y="292"/>
                  </a:cubicBezTo>
                  <a:cubicBezTo>
                    <a:pt x="6" y="294"/>
                    <a:pt x="3" y="295"/>
                    <a:pt x="2" y="298"/>
                  </a:cubicBezTo>
                  <a:cubicBezTo>
                    <a:pt x="0" y="303"/>
                    <a:pt x="0" y="303"/>
                    <a:pt x="1" y="305"/>
                  </a:cubicBezTo>
                  <a:cubicBezTo>
                    <a:pt x="3" y="307"/>
                    <a:pt x="4" y="309"/>
                    <a:pt x="6" y="313"/>
                  </a:cubicBezTo>
                  <a:cubicBezTo>
                    <a:pt x="7" y="318"/>
                    <a:pt x="7" y="321"/>
                    <a:pt x="6" y="326"/>
                  </a:cubicBezTo>
                  <a:cubicBezTo>
                    <a:pt x="5" y="329"/>
                    <a:pt x="4" y="333"/>
                    <a:pt x="4" y="340"/>
                  </a:cubicBezTo>
                  <a:cubicBezTo>
                    <a:pt x="3" y="350"/>
                    <a:pt x="6" y="353"/>
                    <a:pt x="8" y="356"/>
                  </a:cubicBezTo>
                  <a:cubicBezTo>
                    <a:pt x="10" y="358"/>
                    <a:pt x="11" y="360"/>
                    <a:pt x="13" y="363"/>
                  </a:cubicBezTo>
                  <a:cubicBezTo>
                    <a:pt x="15" y="368"/>
                    <a:pt x="16" y="372"/>
                    <a:pt x="17" y="377"/>
                  </a:cubicBezTo>
                  <a:cubicBezTo>
                    <a:pt x="17" y="382"/>
                    <a:pt x="18" y="387"/>
                    <a:pt x="20" y="390"/>
                  </a:cubicBezTo>
                  <a:cubicBezTo>
                    <a:pt x="22" y="392"/>
                    <a:pt x="24" y="394"/>
                    <a:pt x="26" y="396"/>
                  </a:cubicBezTo>
                  <a:cubicBezTo>
                    <a:pt x="31" y="403"/>
                    <a:pt x="38" y="410"/>
                    <a:pt x="40" y="420"/>
                  </a:cubicBezTo>
                  <a:cubicBezTo>
                    <a:pt x="40" y="422"/>
                    <a:pt x="41" y="425"/>
                    <a:pt x="41" y="427"/>
                  </a:cubicBezTo>
                  <a:cubicBezTo>
                    <a:pt x="42" y="432"/>
                    <a:pt x="42" y="434"/>
                    <a:pt x="47" y="441"/>
                  </a:cubicBezTo>
                  <a:cubicBezTo>
                    <a:pt x="52" y="450"/>
                    <a:pt x="60" y="458"/>
                    <a:pt x="66" y="464"/>
                  </a:cubicBezTo>
                  <a:cubicBezTo>
                    <a:pt x="68" y="466"/>
                    <a:pt x="69" y="467"/>
                    <a:pt x="71" y="468"/>
                  </a:cubicBezTo>
                  <a:cubicBezTo>
                    <a:pt x="74" y="471"/>
                    <a:pt x="77" y="474"/>
                    <a:pt x="81" y="477"/>
                  </a:cubicBezTo>
                  <a:cubicBezTo>
                    <a:pt x="85" y="480"/>
                    <a:pt x="89" y="484"/>
                    <a:pt x="94" y="489"/>
                  </a:cubicBezTo>
                  <a:cubicBezTo>
                    <a:pt x="100" y="495"/>
                    <a:pt x="100" y="499"/>
                    <a:pt x="100" y="505"/>
                  </a:cubicBezTo>
                  <a:cubicBezTo>
                    <a:pt x="100" y="507"/>
                    <a:pt x="100" y="510"/>
                    <a:pt x="101" y="513"/>
                  </a:cubicBezTo>
                  <a:cubicBezTo>
                    <a:pt x="102" y="518"/>
                    <a:pt x="103" y="521"/>
                    <a:pt x="104" y="523"/>
                  </a:cubicBezTo>
                  <a:cubicBezTo>
                    <a:pt x="104" y="523"/>
                    <a:pt x="104" y="523"/>
                    <a:pt x="104" y="524"/>
                  </a:cubicBezTo>
                  <a:cubicBezTo>
                    <a:pt x="108" y="520"/>
                    <a:pt x="110" y="516"/>
                    <a:pt x="111" y="513"/>
                  </a:cubicBezTo>
                  <a:cubicBezTo>
                    <a:pt x="113" y="509"/>
                    <a:pt x="114" y="504"/>
                    <a:pt x="115" y="497"/>
                  </a:cubicBezTo>
                  <a:cubicBezTo>
                    <a:pt x="115" y="493"/>
                    <a:pt x="115" y="489"/>
                    <a:pt x="115" y="485"/>
                  </a:cubicBezTo>
                  <a:cubicBezTo>
                    <a:pt x="115" y="478"/>
                    <a:pt x="115" y="472"/>
                    <a:pt x="119" y="465"/>
                  </a:cubicBezTo>
                  <a:cubicBezTo>
                    <a:pt x="122" y="460"/>
                    <a:pt x="130" y="456"/>
                    <a:pt x="138" y="452"/>
                  </a:cubicBezTo>
                  <a:cubicBezTo>
                    <a:pt x="147" y="449"/>
                    <a:pt x="159" y="446"/>
                    <a:pt x="166" y="445"/>
                  </a:cubicBezTo>
                  <a:cubicBezTo>
                    <a:pt x="173" y="445"/>
                    <a:pt x="178" y="445"/>
                    <a:pt x="184" y="445"/>
                  </a:cubicBezTo>
                  <a:cubicBezTo>
                    <a:pt x="190" y="445"/>
                    <a:pt x="196" y="445"/>
                    <a:pt x="206" y="445"/>
                  </a:cubicBezTo>
                  <a:cubicBezTo>
                    <a:pt x="220" y="446"/>
                    <a:pt x="238" y="447"/>
                    <a:pt x="246" y="447"/>
                  </a:cubicBezTo>
                  <a:cubicBezTo>
                    <a:pt x="245" y="444"/>
                    <a:pt x="245" y="438"/>
                    <a:pt x="244" y="432"/>
                  </a:cubicBezTo>
                  <a:cubicBezTo>
                    <a:pt x="244" y="425"/>
                    <a:pt x="243" y="418"/>
                    <a:pt x="243" y="415"/>
                  </a:cubicBezTo>
                  <a:cubicBezTo>
                    <a:pt x="243" y="411"/>
                    <a:pt x="245" y="408"/>
                    <a:pt x="247" y="405"/>
                  </a:cubicBezTo>
                  <a:cubicBezTo>
                    <a:pt x="250" y="403"/>
                    <a:pt x="252" y="401"/>
                    <a:pt x="255" y="40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6" name="Freeform 184"/>
            <p:cNvSpPr>
              <a:spLocks/>
            </p:cNvSpPr>
            <p:nvPr/>
          </p:nvSpPr>
          <p:spPr bwMode="auto">
            <a:xfrm>
              <a:off x="4576875" y="4727469"/>
              <a:ext cx="15478" cy="22622"/>
            </a:xfrm>
            <a:custGeom>
              <a:avLst/>
              <a:gdLst>
                <a:gd name="T0" fmla="*/ 20 w 55"/>
                <a:gd name="T1" fmla="*/ 59 h 76"/>
                <a:gd name="T2" fmla="*/ 22 w 55"/>
                <a:gd name="T3" fmla="*/ 42 h 76"/>
                <a:gd name="T4" fmla="*/ 27 w 55"/>
                <a:gd name="T5" fmla="*/ 29 h 76"/>
                <a:gd name="T6" fmla="*/ 38 w 55"/>
                <a:gd name="T7" fmla="*/ 20 h 76"/>
                <a:gd name="T8" fmla="*/ 49 w 55"/>
                <a:gd name="T9" fmla="*/ 14 h 76"/>
                <a:gd name="T10" fmla="*/ 55 w 55"/>
                <a:gd name="T11" fmla="*/ 9 h 76"/>
                <a:gd name="T12" fmla="*/ 42 w 55"/>
                <a:gd name="T13" fmla="*/ 1 h 76"/>
                <a:gd name="T14" fmla="*/ 0 w 55"/>
                <a:gd name="T15" fmla="*/ 32 h 76"/>
                <a:gd name="T16" fmla="*/ 4 w 55"/>
                <a:gd name="T17" fmla="*/ 47 h 76"/>
                <a:gd name="T18" fmla="*/ 9 w 55"/>
                <a:gd name="T19" fmla="*/ 69 h 76"/>
                <a:gd name="T20" fmla="*/ 10 w 55"/>
                <a:gd name="T21" fmla="*/ 76 h 76"/>
                <a:gd name="T22" fmla="*/ 17 w 55"/>
                <a:gd name="T23" fmla="*/ 72 h 76"/>
                <a:gd name="T24" fmla="*/ 20 w 55"/>
                <a:gd name="T25" fmla="*/ 59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5" h="76">
                  <a:moveTo>
                    <a:pt x="20" y="59"/>
                  </a:moveTo>
                  <a:cubicBezTo>
                    <a:pt x="20" y="53"/>
                    <a:pt x="20" y="47"/>
                    <a:pt x="22" y="42"/>
                  </a:cubicBezTo>
                  <a:cubicBezTo>
                    <a:pt x="24" y="36"/>
                    <a:pt x="25" y="32"/>
                    <a:pt x="27" y="29"/>
                  </a:cubicBezTo>
                  <a:cubicBezTo>
                    <a:pt x="30" y="25"/>
                    <a:pt x="33" y="23"/>
                    <a:pt x="38" y="20"/>
                  </a:cubicBezTo>
                  <a:cubicBezTo>
                    <a:pt x="42" y="19"/>
                    <a:pt x="46" y="16"/>
                    <a:pt x="49" y="14"/>
                  </a:cubicBezTo>
                  <a:cubicBezTo>
                    <a:pt x="52" y="12"/>
                    <a:pt x="54" y="10"/>
                    <a:pt x="55" y="9"/>
                  </a:cubicBezTo>
                  <a:cubicBezTo>
                    <a:pt x="49" y="4"/>
                    <a:pt x="44" y="0"/>
                    <a:pt x="42" y="1"/>
                  </a:cubicBezTo>
                  <a:cubicBezTo>
                    <a:pt x="39" y="3"/>
                    <a:pt x="16" y="20"/>
                    <a:pt x="0" y="32"/>
                  </a:cubicBezTo>
                  <a:cubicBezTo>
                    <a:pt x="2" y="39"/>
                    <a:pt x="3" y="42"/>
                    <a:pt x="4" y="47"/>
                  </a:cubicBezTo>
                  <a:cubicBezTo>
                    <a:pt x="6" y="54"/>
                    <a:pt x="9" y="63"/>
                    <a:pt x="9" y="69"/>
                  </a:cubicBezTo>
                  <a:cubicBezTo>
                    <a:pt x="10" y="72"/>
                    <a:pt x="10" y="74"/>
                    <a:pt x="10" y="76"/>
                  </a:cubicBezTo>
                  <a:cubicBezTo>
                    <a:pt x="13" y="75"/>
                    <a:pt x="15" y="74"/>
                    <a:pt x="17" y="72"/>
                  </a:cubicBezTo>
                  <a:cubicBezTo>
                    <a:pt x="19" y="70"/>
                    <a:pt x="19" y="65"/>
                    <a:pt x="20" y="5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7" name="Freeform 185"/>
            <p:cNvSpPr>
              <a:spLocks/>
            </p:cNvSpPr>
            <p:nvPr/>
          </p:nvSpPr>
          <p:spPr bwMode="auto">
            <a:xfrm>
              <a:off x="4718559" y="4969166"/>
              <a:ext cx="160734" cy="166688"/>
            </a:xfrm>
            <a:custGeom>
              <a:avLst/>
              <a:gdLst>
                <a:gd name="T0" fmla="*/ 526 w 562"/>
                <a:gd name="T1" fmla="*/ 297 h 579"/>
                <a:gd name="T2" fmla="*/ 562 w 562"/>
                <a:gd name="T3" fmla="*/ 269 h 579"/>
                <a:gd name="T4" fmla="*/ 518 w 562"/>
                <a:gd name="T5" fmla="*/ 244 h 579"/>
                <a:gd name="T6" fmla="*/ 471 w 562"/>
                <a:gd name="T7" fmla="*/ 206 h 579"/>
                <a:gd name="T8" fmla="*/ 467 w 562"/>
                <a:gd name="T9" fmla="*/ 184 h 579"/>
                <a:gd name="T10" fmla="*/ 456 w 562"/>
                <a:gd name="T11" fmla="*/ 171 h 579"/>
                <a:gd name="T12" fmla="*/ 439 w 562"/>
                <a:gd name="T13" fmla="*/ 154 h 579"/>
                <a:gd name="T14" fmla="*/ 433 w 562"/>
                <a:gd name="T15" fmla="*/ 142 h 579"/>
                <a:gd name="T16" fmla="*/ 414 w 562"/>
                <a:gd name="T17" fmla="*/ 131 h 579"/>
                <a:gd name="T18" fmla="*/ 375 w 562"/>
                <a:gd name="T19" fmla="*/ 106 h 579"/>
                <a:gd name="T20" fmla="*/ 365 w 562"/>
                <a:gd name="T21" fmla="*/ 78 h 579"/>
                <a:gd name="T22" fmla="*/ 336 w 562"/>
                <a:gd name="T23" fmla="*/ 24 h 579"/>
                <a:gd name="T24" fmla="*/ 322 w 562"/>
                <a:gd name="T25" fmla="*/ 0 h 579"/>
                <a:gd name="T26" fmla="*/ 294 w 562"/>
                <a:gd name="T27" fmla="*/ 3 h 579"/>
                <a:gd name="T28" fmla="*/ 265 w 562"/>
                <a:gd name="T29" fmla="*/ 7 h 579"/>
                <a:gd name="T30" fmla="*/ 241 w 562"/>
                <a:gd name="T31" fmla="*/ 24 h 579"/>
                <a:gd name="T32" fmla="*/ 213 w 562"/>
                <a:gd name="T33" fmla="*/ 37 h 579"/>
                <a:gd name="T34" fmla="*/ 199 w 562"/>
                <a:gd name="T35" fmla="*/ 20 h 579"/>
                <a:gd name="T36" fmla="*/ 199 w 562"/>
                <a:gd name="T37" fmla="*/ 20 h 579"/>
                <a:gd name="T38" fmla="*/ 166 w 562"/>
                <a:gd name="T39" fmla="*/ 18 h 579"/>
                <a:gd name="T40" fmla="*/ 103 w 562"/>
                <a:gd name="T41" fmla="*/ 26 h 579"/>
                <a:gd name="T42" fmla="*/ 63 w 562"/>
                <a:gd name="T43" fmla="*/ 34 h 579"/>
                <a:gd name="T44" fmla="*/ 62 w 562"/>
                <a:gd name="T45" fmla="*/ 37 h 579"/>
                <a:gd name="T46" fmla="*/ 61 w 562"/>
                <a:gd name="T47" fmla="*/ 251 h 579"/>
                <a:gd name="T48" fmla="*/ 61 w 562"/>
                <a:gd name="T49" fmla="*/ 251 h 579"/>
                <a:gd name="T50" fmla="*/ 56 w 562"/>
                <a:gd name="T51" fmla="*/ 263 h 579"/>
                <a:gd name="T52" fmla="*/ 46 w 562"/>
                <a:gd name="T53" fmla="*/ 266 h 579"/>
                <a:gd name="T54" fmla="*/ 46 w 562"/>
                <a:gd name="T55" fmla="*/ 266 h 579"/>
                <a:gd name="T56" fmla="*/ 7 w 562"/>
                <a:gd name="T57" fmla="*/ 267 h 579"/>
                <a:gd name="T58" fmla="*/ 1 w 562"/>
                <a:gd name="T59" fmla="*/ 273 h 579"/>
                <a:gd name="T60" fmla="*/ 0 w 562"/>
                <a:gd name="T61" fmla="*/ 447 h 579"/>
                <a:gd name="T62" fmla="*/ 35 w 562"/>
                <a:gd name="T63" fmla="*/ 488 h 579"/>
                <a:gd name="T64" fmla="*/ 50 w 562"/>
                <a:gd name="T65" fmla="*/ 529 h 579"/>
                <a:gd name="T66" fmla="*/ 44 w 562"/>
                <a:gd name="T67" fmla="*/ 549 h 579"/>
                <a:gd name="T68" fmla="*/ 48 w 562"/>
                <a:gd name="T69" fmla="*/ 576 h 579"/>
                <a:gd name="T70" fmla="*/ 63 w 562"/>
                <a:gd name="T71" fmla="*/ 579 h 579"/>
                <a:gd name="T72" fmla="*/ 117 w 562"/>
                <a:gd name="T73" fmla="*/ 562 h 579"/>
                <a:gd name="T74" fmla="*/ 143 w 562"/>
                <a:gd name="T75" fmla="*/ 540 h 579"/>
                <a:gd name="T76" fmla="*/ 161 w 562"/>
                <a:gd name="T77" fmla="*/ 509 h 579"/>
                <a:gd name="T78" fmla="*/ 168 w 562"/>
                <a:gd name="T79" fmla="*/ 488 h 579"/>
                <a:gd name="T80" fmla="*/ 197 w 562"/>
                <a:gd name="T81" fmla="*/ 476 h 579"/>
                <a:gd name="T82" fmla="*/ 282 w 562"/>
                <a:gd name="T83" fmla="*/ 510 h 579"/>
                <a:gd name="T84" fmla="*/ 327 w 562"/>
                <a:gd name="T85" fmla="*/ 502 h 579"/>
                <a:gd name="T86" fmla="*/ 344 w 562"/>
                <a:gd name="T87" fmla="*/ 483 h 579"/>
                <a:gd name="T88" fmla="*/ 348 w 562"/>
                <a:gd name="T89" fmla="*/ 459 h 579"/>
                <a:gd name="T90" fmla="*/ 373 w 562"/>
                <a:gd name="T91" fmla="*/ 436 h 579"/>
                <a:gd name="T92" fmla="*/ 403 w 562"/>
                <a:gd name="T93" fmla="*/ 420 h 579"/>
                <a:gd name="T94" fmla="*/ 419 w 562"/>
                <a:gd name="T95" fmla="*/ 395 h 579"/>
                <a:gd name="T96" fmla="*/ 461 w 562"/>
                <a:gd name="T97" fmla="*/ 346 h 579"/>
                <a:gd name="T98" fmla="*/ 489 w 562"/>
                <a:gd name="T99" fmla="*/ 319 h 579"/>
                <a:gd name="T100" fmla="*/ 507 w 562"/>
                <a:gd name="T101" fmla="*/ 302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62" h="579">
                  <a:moveTo>
                    <a:pt x="507" y="302"/>
                  </a:moveTo>
                  <a:cubicBezTo>
                    <a:pt x="512" y="299"/>
                    <a:pt x="519" y="298"/>
                    <a:pt x="526" y="297"/>
                  </a:cubicBezTo>
                  <a:cubicBezTo>
                    <a:pt x="532" y="296"/>
                    <a:pt x="537" y="296"/>
                    <a:pt x="541" y="293"/>
                  </a:cubicBezTo>
                  <a:cubicBezTo>
                    <a:pt x="547" y="289"/>
                    <a:pt x="557" y="275"/>
                    <a:pt x="562" y="269"/>
                  </a:cubicBezTo>
                  <a:cubicBezTo>
                    <a:pt x="557" y="263"/>
                    <a:pt x="551" y="254"/>
                    <a:pt x="542" y="249"/>
                  </a:cubicBezTo>
                  <a:cubicBezTo>
                    <a:pt x="537" y="247"/>
                    <a:pt x="528" y="245"/>
                    <a:pt x="518" y="244"/>
                  </a:cubicBezTo>
                  <a:cubicBezTo>
                    <a:pt x="506" y="242"/>
                    <a:pt x="495" y="240"/>
                    <a:pt x="489" y="237"/>
                  </a:cubicBezTo>
                  <a:cubicBezTo>
                    <a:pt x="478" y="231"/>
                    <a:pt x="474" y="218"/>
                    <a:pt x="471" y="206"/>
                  </a:cubicBezTo>
                  <a:cubicBezTo>
                    <a:pt x="471" y="204"/>
                    <a:pt x="470" y="203"/>
                    <a:pt x="470" y="201"/>
                  </a:cubicBezTo>
                  <a:cubicBezTo>
                    <a:pt x="468" y="195"/>
                    <a:pt x="468" y="189"/>
                    <a:pt x="467" y="184"/>
                  </a:cubicBezTo>
                  <a:cubicBezTo>
                    <a:pt x="467" y="179"/>
                    <a:pt x="467" y="175"/>
                    <a:pt x="466" y="173"/>
                  </a:cubicBezTo>
                  <a:cubicBezTo>
                    <a:pt x="464" y="171"/>
                    <a:pt x="460" y="171"/>
                    <a:pt x="456" y="171"/>
                  </a:cubicBezTo>
                  <a:cubicBezTo>
                    <a:pt x="453" y="171"/>
                    <a:pt x="450" y="171"/>
                    <a:pt x="447" y="170"/>
                  </a:cubicBezTo>
                  <a:cubicBezTo>
                    <a:pt x="439" y="168"/>
                    <a:pt x="439" y="164"/>
                    <a:pt x="439" y="154"/>
                  </a:cubicBezTo>
                  <a:cubicBezTo>
                    <a:pt x="439" y="153"/>
                    <a:pt x="439" y="151"/>
                    <a:pt x="439" y="149"/>
                  </a:cubicBezTo>
                  <a:cubicBezTo>
                    <a:pt x="438" y="144"/>
                    <a:pt x="436" y="143"/>
                    <a:pt x="433" y="142"/>
                  </a:cubicBezTo>
                  <a:cubicBezTo>
                    <a:pt x="431" y="141"/>
                    <a:pt x="429" y="140"/>
                    <a:pt x="427" y="138"/>
                  </a:cubicBezTo>
                  <a:cubicBezTo>
                    <a:pt x="425" y="137"/>
                    <a:pt x="420" y="134"/>
                    <a:pt x="414" y="131"/>
                  </a:cubicBezTo>
                  <a:cubicBezTo>
                    <a:pt x="400" y="123"/>
                    <a:pt x="379" y="111"/>
                    <a:pt x="375" y="106"/>
                  </a:cubicBezTo>
                  <a:cubicBezTo>
                    <a:pt x="375" y="106"/>
                    <a:pt x="375" y="106"/>
                    <a:pt x="375" y="106"/>
                  </a:cubicBezTo>
                  <a:cubicBezTo>
                    <a:pt x="370" y="102"/>
                    <a:pt x="370" y="99"/>
                    <a:pt x="369" y="93"/>
                  </a:cubicBezTo>
                  <a:cubicBezTo>
                    <a:pt x="368" y="89"/>
                    <a:pt x="368" y="85"/>
                    <a:pt x="365" y="78"/>
                  </a:cubicBezTo>
                  <a:cubicBezTo>
                    <a:pt x="361" y="67"/>
                    <a:pt x="352" y="52"/>
                    <a:pt x="344" y="39"/>
                  </a:cubicBezTo>
                  <a:cubicBezTo>
                    <a:pt x="341" y="33"/>
                    <a:pt x="338" y="28"/>
                    <a:pt x="336" y="24"/>
                  </a:cubicBezTo>
                  <a:cubicBezTo>
                    <a:pt x="334" y="19"/>
                    <a:pt x="330" y="13"/>
                    <a:pt x="327" y="8"/>
                  </a:cubicBezTo>
                  <a:cubicBezTo>
                    <a:pt x="325" y="5"/>
                    <a:pt x="323" y="3"/>
                    <a:pt x="322" y="0"/>
                  </a:cubicBezTo>
                  <a:cubicBezTo>
                    <a:pt x="318" y="1"/>
                    <a:pt x="314" y="1"/>
                    <a:pt x="310" y="1"/>
                  </a:cubicBezTo>
                  <a:cubicBezTo>
                    <a:pt x="303" y="2"/>
                    <a:pt x="298" y="3"/>
                    <a:pt x="294" y="3"/>
                  </a:cubicBezTo>
                  <a:cubicBezTo>
                    <a:pt x="290" y="3"/>
                    <a:pt x="283" y="3"/>
                    <a:pt x="276" y="5"/>
                  </a:cubicBezTo>
                  <a:cubicBezTo>
                    <a:pt x="271" y="5"/>
                    <a:pt x="266" y="6"/>
                    <a:pt x="265" y="7"/>
                  </a:cubicBezTo>
                  <a:cubicBezTo>
                    <a:pt x="264" y="8"/>
                    <a:pt x="262" y="9"/>
                    <a:pt x="260" y="11"/>
                  </a:cubicBezTo>
                  <a:cubicBezTo>
                    <a:pt x="255" y="14"/>
                    <a:pt x="247" y="19"/>
                    <a:pt x="241" y="24"/>
                  </a:cubicBezTo>
                  <a:cubicBezTo>
                    <a:pt x="238" y="26"/>
                    <a:pt x="238" y="26"/>
                    <a:pt x="238" y="26"/>
                  </a:cubicBezTo>
                  <a:cubicBezTo>
                    <a:pt x="230" y="33"/>
                    <a:pt x="222" y="40"/>
                    <a:pt x="213" y="37"/>
                  </a:cubicBezTo>
                  <a:cubicBezTo>
                    <a:pt x="206" y="35"/>
                    <a:pt x="203" y="30"/>
                    <a:pt x="201" y="25"/>
                  </a:cubicBezTo>
                  <a:cubicBezTo>
                    <a:pt x="201" y="23"/>
                    <a:pt x="200" y="21"/>
                    <a:pt x="199" y="20"/>
                  </a:cubicBezTo>
                  <a:cubicBezTo>
                    <a:pt x="199" y="20"/>
                    <a:pt x="199" y="20"/>
                    <a:pt x="199" y="20"/>
                  </a:cubicBezTo>
                  <a:cubicBezTo>
                    <a:pt x="199" y="20"/>
                    <a:pt x="199" y="20"/>
                    <a:pt x="199" y="20"/>
                  </a:cubicBezTo>
                  <a:cubicBezTo>
                    <a:pt x="196" y="16"/>
                    <a:pt x="196" y="15"/>
                    <a:pt x="191" y="15"/>
                  </a:cubicBezTo>
                  <a:cubicBezTo>
                    <a:pt x="187" y="15"/>
                    <a:pt x="176" y="16"/>
                    <a:pt x="166" y="18"/>
                  </a:cubicBezTo>
                  <a:cubicBezTo>
                    <a:pt x="159" y="19"/>
                    <a:pt x="152" y="20"/>
                    <a:pt x="145" y="20"/>
                  </a:cubicBezTo>
                  <a:cubicBezTo>
                    <a:pt x="137" y="21"/>
                    <a:pt x="119" y="24"/>
                    <a:pt x="103" y="26"/>
                  </a:cubicBezTo>
                  <a:cubicBezTo>
                    <a:pt x="91" y="28"/>
                    <a:pt x="79" y="29"/>
                    <a:pt x="73" y="30"/>
                  </a:cubicBezTo>
                  <a:cubicBezTo>
                    <a:pt x="68" y="31"/>
                    <a:pt x="65" y="32"/>
                    <a:pt x="63" y="34"/>
                  </a:cubicBezTo>
                  <a:cubicBezTo>
                    <a:pt x="62" y="35"/>
                    <a:pt x="62" y="36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9"/>
                    <a:pt x="61" y="79"/>
                    <a:pt x="61" y="124"/>
                  </a:cubicBezTo>
                  <a:cubicBezTo>
                    <a:pt x="61" y="181"/>
                    <a:pt x="61" y="246"/>
                    <a:pt x="61" y="251"/>
                  </a:cubicBezTo>
                  <a:cubicBezTo>
                    <a:pt x="61" y="251"/>
                    <a:pt x="61" y="251"/>
                    <a:pt x="61" y="251"/>
                  </a:cubicBezTo>
                  <a:cubicBezTo>
                    <a:pt x="61" y="251"/>
                    <a:pt x="61" y="251"/>
                    <a:pt x="61" y="251"/>
                  </a:cubicBezTo>
                  <a:cubicBezTo>
                    <a:pt x="61" y="251"/>
                    <a:pt x="61" y="251"/>
                    <a:pt x="61" y="251"/>
                  </a:cubicBezTo>
                  <a:cubicBezTo>
                    <a:pt x="61" y="257"/>
                    <a:pt x="59" y="260"/>
                    <a:pt x="56" y="263"/>
                  </a:cubicBezTo>
                  <a:cubicBezTo>
                    <a:pt x="53" y="265"/>
                    <a:pt x="50" y="266"/>
                    <a:pt x="46" y="266"/>
                  </a:cubicBezTo>
                  <a:cubicBezTo>
                    <a:pt x="46" y="266"/>
                    <a:pt x="46" y="266"/>
                    <a:pt x="46" y="266"/>
                  </a:cubicBezTo>
                  <a:cubicBezTo>
                    <a:pt x="46" y="266"/>
                    <a:pt x="46" y="266"/>
                    <a:pt x="46" y="266"/>
                  </a:cubicBezTo>
                  <a:cubicBezTo>
                    <a:pt x="46" y="266"/>
                    <a:pt x="46" y="266"/>
                    <a:pt x="46" y="266"/>
                  </a:cubicBezTo>
                  <a:cubicBezTo>
                    <a:pt x="42" y="266"/>
                    <a:pt x="35" y="266"/>
                    <a:pt x="28" y="266"/>
                  </a:cubicBezTo>
                  <a:cubicBezTo>
                    <a:pt x="20" y="267"/>
                    <a:pt x="10" y="267"/>
                    <a:pt x="7" y="267"/>
                  </a:cubicBezTo>
                  <a:cubicBezTo>
                    <a:pt x="4" y="267"/>
                    <a:pt x="3" y="268"/>
                    <a:pt x="2" y="269"/>
                  </a:cubicBezTo>
                  <a:cubicBezTo>
                    <a:pt x="1" y="270"/>
                    <a:pt x="1" y="271"/>
                    <a:pt x="1" y="273"/>
                  </a:cubicBezTo>
                  <a:cubicBezTo>
                    <a:pt x="1" y="275"/>
                    <a:pt x="0" y="298"/>
                    <a:pt x="0" y="334"/>
                  </a:cubicBezTo>
                  <a:cubicBezTo>
                    <a:pt x="0" y="368"/>
                    <a:pt x="0" y="412"/>
                    <a:pt x="0" y="447"/>
                  </a:cubicBezTo>
                  <a:cubicBezTo>
                    <a:pt x="6" y="447"/>
                    <a:pt x="7" y="447"/>
                    <a:pt x="17" y="458"/>
                  </a:cubicBezTo>
                  <a:cubicBezTo>
                    <a:pt x="24" y="466"/>
                    <a:pt x="29" y="477"/>
                    <a:pt x="35" y="488"/>
                  </a:cubicBezTo>
                  <a:cubicBezTo>
                    <a:pt x="37" y="494"/>
                    <a:pt x="40" y="500"/>
                    <a:pt x="43" y="506"/>
                  </a:cubicBezTo>
                  <a:cubicBezTo>
                    <a:pt x="49" y="515"/>
                    <a:pt x="50" y="522"/>
                    <a:pt x="50" y="529"/>
                  </a:cubicBezTo>
                  <a:cubicBezTo>
                    <a:pt x="50" y="535"/>
                    <a:pt x="48" y="540"/>
                    <a:pt x="46" y="544"/>
                  </a:cubicBezTo>
                  <a:cubicBezTo>
                    <a:pt x="46" y="546"/>
                    <a:pt x="45" y="547"/>
                    <a:pt x="44" y="549"/>
                  </a:cubicBezTo>
                  <a:cubicBezTo>
                    <a:pt x="42" y="554"/>
                    <a:pt x="39" y="560"/>
                    <a:pt x="41" y="566"/>
                  </a:cubicBezTo>
                  <a:cubicBezTo>
                    <a:pt x="43" y="571"/>
                    <a:pt x="45" y="574"/>
                    <a:pt x="48" y="576"/>
                  </a:cubicBezTo>
                  <a:cubicBezTo>
                    <a:pt x="50" y="578"/>
                    <a:pt x="52" y="578"/>
                    <a:pt x="55" y="578"/>
                  </a:cubicBezTo>
                  <a:cubicBezTo>
                    <a:pt x="56" y="578"/>
                    <a:pt x="59" y="578"/>
                    <a:pt x="63" y="579"/>
                  </a:cubicBezTo>
                  <a:cubicBezTo>
                    <a:pt x="74" y="579"/>
                    <a:pt x="92" y="579"/>
                    <a:pt x="99" y="578"/>
                  </a:cubicBezTo>
                  <a:cubicBezTo>
                    <a:pt x="103" y="576"/>
                    <a:pt x="110" y="570"/>
                    <a:pt x="117" y="562"/>
                  </a:cubicBezTo>
                  <a:cubicBezTo>
                    <a:pt x="122" y="557"/>
                    <a:pt x="127" y="552"/>
                    <a:pt x="133" y="548"/>
                  </a:cubicBezTo>
                  <a:cubicBezTo>
                    <a:pt x="137" y="544"/>
                    <a:pt x="140" y="542"/>
                    <a:pt x="143" y="540"/>
                  </a:cubicBezTo>
                  <a:cubicBezTo>
                    <a:pt x="148" y="536"/>
                    <a:pt x="152" y="534"/>
                    <a:pt x="155" y="528"/>
                  </a:cubicBezTo>
                  <a:cubicBezTo>
                    <a:pt x="157" y="524"/>
                    <a:pt x="159" y="516"/>
                    <a:pt x="161" y="509"/>
                  </a:cubicBezTo>
                  <a:cubicBezTo>
                    <a:pt x="161" y="509"/>
                    <a:pt x="161" y="509"/>
                    <a:pt x="161" y="509"/>
                  </a:cubicBezTo>
                  <a:cubicBezTo>
                    <a:pt x="163" y="500"/>
                    <a:pt x="165" y="492"/>
                    <a:pt x="168" y="488"/>
                  </a:cubicBezTo>
                  <a:cubicBezTo>
                    <a:pt x="171" y="485"/>
                    <a:pt x="176" y="481"/>
                    <a:pt x="181" y="479"/>
                  </a:cubicBezTo>
                  <a:cubicBezTo>
                    <a:pt x="186" y="477"/>
                    <a:pt x="191" y="476"/>
                    <a:pt x="197" y="476"/>
                  </a:cubicBezTo>
                  <a:cubicBezTo>
                    <a:pt x="201" y="476"/>
                    <a:pt x="213" y="482"/>
                    <a:pt x="228" y="489"/>
                  </a:cubicBezTo>
                  <a:cubicBezTo>
                    <a:pt x="247" y="498"/>
                    <a:pt x="271" y="510"/>
                    <a:pt x="282" y="510"/>
                  </a:cubicBezTo>
                  <a:cubicBezTo>
                    <a:pt x="291" y="510"/>
                    <a:pt x="300" y="509"/>
                    <a:pt x="307" y="508"/>
                  </a:cubicBezTo>
                  <a:cubicBezTo>
                    <a:pt x="316" y="506"/>
                    <a:pt x="323" y="504"/>
                    <a:pt x="327" y="502"/>
                  </a:cubicBezTo>
                  <a:cubicBezTo>
                    <a:pt x="331" y="500"/>
                    <a:pt x="335" y="497"/>
                    <a:pt x="338" y="494"/>
                  </a:cubicBezTo>
                  <a:cubicBezTo>
                    <a:pt x="341" y="491"/>
                    <a:pt x="343" y="487"/>
                    <a:pt x="344" y="483"/>
                  </a:cubicBezTo>
                  <a:cubicBezTo>
                    <a:pt x="344" y="477"/>
                    <a:pt x="345" y="467"/>
                    <a:pt x="348" y="459"/>
                  </a:cubicBezTo>
                  <a:cubicBezTo>
                    <a:pt x="348" y="459"/>
                    <a:pt x="348" y="459"/>
                    <a:pt x="348" y="459"/>
                  </a:cubicBezTo>
                  <a:cubicBezTo>
                    <a:pt x="350" y="452"/>
                    <a:pt x="352" y="446"/>
                    <a:pt x="355" y="443"/>
                  </a:cubicBezTo>
                  <a:cubicBezTo>
                    <a:pt x="360" y="439"/>
                    <a:pt x="367" y="438"/>
                    <a:pt x="373" y="436"/>
                  </a:cubicBezTo>
                  <a:cubicBezTo>
                    <a:pt x="377" y="436"/>
                    <a:pt x="380" y="435"/>
                    <a:pt x="383" y="434"/>
                  </a:cubicBezTo>
                  <a:cubicBezTo>
                    <a:pt x="387" y="432"/>
                    <a:pt x="395" y="426"/>
                    <a:pt x="403" y="420"/>
                  </a:cubicBezTo>
                  <a:cubicBezTo>
                    <a:pt x="408" y="416"/>
                    <a:pt x="413" y="411"/>
                    <a:pt x="415" y="408"/>
                  </a:cubicBezTo>
                  <a:cubicBezTo>
                    <a:pt x="417" y="404"/>
                    <a:pt x="418" y="400"/>
                    <a:pt x="419" y="395"/>
                  </a:cubicBezTo>
                  <a:cubicBezTo>
                    <a:pt x="420" y="388"/>
                    <a:pt x="422" y="382"/>
                    <a:pt x="427" y="376"/>
                  </a:cubicBezTo>
                  <a:cubicBezTo>
                    <a:pt x="433" y="369"/>
                    <a:pt x="449" y="356"/>
                    <a:pt x="461" y="346"/>
                  </a:cubicBezTo>
                  <a:cubicBezTo>
                    <a:pt x="467" y="341"/>
                    <a:pt x="472" y="337"/>
                    <a:pt x="475" y="334"/>
                  </a:cubicBezTo>
                  <a:cubicBezTo>
                    <a:pt x="480" y="330"/>
                    <a:pt x="485" y="325"/>
                    <a:pt x="489" y="319"/>
                  </a:cubicBezTo>
                  <a:cubicBezTo>
                    <a:pt x="489" y="319"/>
                    <a:pt x="489" y="319"/>
                    <a:pt x="489" y="319"/>
                  </a:cubicBezTo>
                  <a:cubicBezTo>
                    <a:pt x="495" y="312"/>
                    <a:pt x="501" y="306"/>
                    <a:pt x="507" y="30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8" name="Freeform 186"/>
            <p:cNvSpPr>
              <a:spLocks/>
            </p:cNvSpPr>
            <p:nvPr/>
          </p:nvSpPr>
          <p:spPr bwMode="auto">
            <a:xfrm>
              <a:off x="4581638" y="4554828"/>
              <a:ext cx="334566" cy="333375"/>
            </a:xfrm>
            <a:custGeom>
              <a:avLst/>
              <a:gdLst>
                <a:gd name="T0" fmla="*/ 620 w 1168"/>
                <a:gd name="T1" fmla="*/ 1017 h 1163"/>
                <a:gd name="T2" fmla="*/ 709 w 1168"/>
                <a:gd name="T3" fmla="*/ 1010 h 1163"/>
                <a:gd name="T4" fmla="*/ 753 w 1168"/>
                <a:gd name="T5" fmla="*/ 1030 h 1163"/>
                <a:gd name="T6" fmla="*/ 800 w 1168"/>
                <a:gd name="T7" fmla="*/ 1019 h 1163"/>
                <a:gd name="T8" fmla="*/ 821 w 1168"/>
                <a:gd name="T9" fmla="*/ 1053 h 1163"/>
                <a:gd name="T10" fmla="*/ 904 w 1168"/>
                <a:gd name="T11" fmla="*/ 1054 h 1163"/>
                <a:gd name="T12" fmla="*/ 962 w 1168"/>
                <a:gd name="T13" fmla="*/ 1089 h 1163"/>
                <a:gd name="T14" fmla="*/ 1039 w 1168"/>
                <a:gd name="T15" fmla="*/ 1152 h 1163"/>
                <a:gd name="T16" fmla="*/ 1079 w 1168"/>
                <a:gd name="T17" fmla="*/ 1099 h 1163"/>
                <a:gd name="T18" fmla="*/ 1039 w 1168"/>
                <a:gd name="T19" fmla="*/ 1103 h 1163"/>
                <a:gd name="T20" fmla="*/ 1008 w 1168"/>
                <a:gd name="T21" fmla="*/ 1071 h 1163"/>
                <a:gd name="T22" fmla="*/ 1005 w 1168"/>
                <a:gd name="T23" fmla="*/ 979 h 1163"/>
                <a:gd name="T24" fmla="*/ 1000 w 1168"/>
                <a:gd name="T25" fmla="*/ 912 h 1163"/>
                <a:gd name="T26" fmla="*/ 1034 w 1168"/>
                <a:gd name="T27" fmla="*/ 847 h 1163"/>
                <a:gd name="T28" fmla="*/ 1076 w 1168"/>
                <a:gd name="T29" fmla="*/ 760 h 1163"/>
                <a:gd name="T30" fmla="*/ 1034 w 1168"/>
                <a:gd name="T31" fmla="*/ 648 h 1163"/>
                <a:gd name="T32" fmla="*/ 1043 w 1168"/>
                <a:gd name="T33" fmla="*/ 554 h 1163"/>
                <a:gd name="T34" fmla="*/ 1035 w 1168"/>
                <a:gd name="T35" fmla="*/ 464 h 1163"/>
                <a:gd name="T36" fmla="*/ 1045 w 1168"/>
                <a:gd name="T37" fmla="*/ 428 h 1163"/>
                <a:gd name="T38" fmla="*/ 1067 w 1168"/>
                <a:gd name="T39" fmla="*/ 357 h 1163"/>
                <a:gd name="T40" fmla="*/ 1108 w 1168"/>
                <a:gd name="T41" fmla="*/ 254 h 1163"/>
                <a:gd name="T42" fmla="*/ 1166 w 1168"/>
                <a:gd name="T43" fmla="*/ 190 h 1163"/>
                <a:gd name="T44" fmla="*/ 1137 w 1168"/>
                <a:gd name="T45" fmla="*/ 131 h 1163"/>
                <a:gd name="T46" fmla="*/ 1124 w 1168"/>
                <a:gd name="T47" fmla="*/ 90 h 1163"/>
                <a:gd name="T48" fmla="*/ 1079 w 1168"/>
                <a:gd name="T49" fmla="*/ 61 h 1163"/>
                <a:gd name="T50" fmla="*/ 1062 w 1168"/>
                <a:gd name="T51" fmla="*/ 50 h 1163"/>
                <a:gd name="T52" fmla="*/ 999 w 1168"/>
                <a:gd name="T53" fmla="*/ 61 h 1163"/>
                <a:gd name="T54" fmla="*/ 943 w 1168"/>
                <a:gd name="T55" fmla="*/ 25 h 1163"/>
                <a:gd name="T56" fmla="*/ 910 w 1168"/>
                <a:gd name="T57" fmla="*/ 11 h 1163"/>
                <a:gd name="T58" fmla="*/ 873 w 1168"/>
                <a:gd name="T59" fmla="*/ 17 h 1163"/>
                <a:gd name="T60" fmla="*/ 824 w 1168"/>
                <a:gd name="T61" fmla="*/ 6 h 1163"/>
                <a:gd name="T62" fmla="*/ 766 w 1168"/>
                <a:gd name="T63" fmla="*/ 27 h 1163"/>
                <a:gd name="T64" fmla="*/ 681 w 1168"/>
                <a:gd name="T65" fmla="*/ 47 h 1163"/>
                <a:gd name="T66" fmla="*/ 640 w 1168"/>
                <a:gd name="T67" fmla="*/ 54 h 1163"/>
                <a:gd name="T68" fmla="*/ 517 w 1168"/>
                <a:gd name="T69" fmla="*/ 56 h 1163"/>
                <a:gd name="T70" fmla="*/ 417 w 1168"/>
                <a:gd name="T71" fmla="*/ 31 h 1163"/>
                <a:gd name="T72" fmla="*/ 398 w 1168"/>
                <a:gd name="T73" fmla="*/ 58 h 1163"/>
                <a:gd name="T74" fmla="*/ 393 w 1168"/>
                <a:gd name="T75" fmla="*/ 103 h 1163"/>
                <a:gd name="T76" fmla="*/ 349 w 1168"/>
                <a:gd name="T77" fmla="*/ 247 h 1163"/>
                <a:gd name="T78" fmla="*/ 242 w 1168"/>
                <a:gd name="T79" fmla="*/ 466 h 1163"/>
                <a:gd name="T80" fmla="*/ 240 w 1168"/>
                <a:gd name="T81" fmla="*/ 548 h 1163"/>
                <a:gd name="T82" fmla="*/ 173 w 1168"/>
                <a:gd name="T83" fmla="*/ 607 h 1163"/>
                <a:gd name="T84" fmla="*/ 127 w 1168"/>
                <a:gd name="T85" fmla="*/ 613 h 1163"/>
                <a:gd name="T86" fmla="*/ 89 w 1168"/>
                <a:gd name="T87" fmla="*/ 608 h 1163"/>
                <a:gd name="T88" fmla="*/ 47 w 1168"/>
                <a:gd name="T89" fmla="*/ 617 h 1163"/>
                <a:gd name="T90" fmla="*/ 14 w 1168"/>
                <a:gd name="T91" fmla="*/ 662 h 1163"/>
                <a:gd name="T92" fmla="*/ 0 w 1168"/>
                <a:gd name="T93" fmla="*/ 703 h 1163"/>
                <a:gd name="T94" fmla="*/ 99 w 1168"/>
                <a:gd name="T95" fmla="*/ 685 h 1163"/>
                <a:gd name="T96" fmla="*/ 268 w 1168"/>
                <a:gd name="T97" fmla="*/ 695 h 1163"/>
                <a:gd name="T98" fmla="*/ 314 w 1168"/>
                <a:gd name="T99" fmla="*/ 803 h 1163"/>
                <a:gd name="T100" fmla="*/ 392 w 1168"/>
                <a:gd name="T101" fmla="*/ 816 h 1163"/>
                <a:gd name="T102" fmla="*/ 439 w 1168"/>
                <a:gd name="T103" fmla="*/ 790 h 1163"/>
                <a:gd name="T104" fmla="*/ 498 w 1168"/>
                <a:gd name="T105" fmla="*/ 753 h 1163"/>
                <a:gd name="T106" fmla="*/ 528 w 1168"/>
                <a:gd name="T107" fmla="*/ 774 h 1163"/>
                <a:gd name="T108" fmla="*/ 591 w 1168"/>
                <a:gd name="T109" fmla="*/ 803 h 1163"/>
                <a:gd name="T110" fmla="*/ 595 w 1168"/>
                <a:gd name="T111" fmla="*/ 874 h 1163"/>
                <a:gd name="T112" fmla="*/ 599 w 1168"/>
                <a:gd name="T113" fmla="*/ 927 h 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68" h="1163">
                  <a:moveTo>
                    <a:pt x="616" y="996"/>
                  </a:moveTo>
                  <a:cubicBezTo>
                    <a:pt x="615" y="998"/>
                    <a:pt x="613" y="1000"/>
                    <a:pt x="613" y="1000"/>
                  </a:cubicBezTo>
                  <a:cubicBezTo>
                    <a:pt x="613" y="1002"/>
                    <a:pt x="614" y="1004"/>
                    <a:pt x="614" y="1006"/>
                  </a:cubicBezTo>
                  <a:cubicBezTo>
                    <a:pt x="615" y="1010"/>
                    <a:pt x="616" y="1014"/>
                    <a:pt x="617" y="1016"/>
                  </a:cubicBezTo>
                  <a:cubicBezTo>
                    <a:pt x="617" y="1016"/>
                    <a:pt x="618" y="1016"/>
                    <a:pt x="620" y="1017"/>
                  </a:cubicBezTo>
                  <a:cubicBezTo>
                    <a:pt x="622" y="1017"/>
                    <a:pt x="625" y="1017"/>
                    <a:pt x="628" y="1016"/>
                  </a:cubicBezTo>
                  <a:cubicBezTo>
                    <a:pt x="634" y="1014"/>
                    <a:pt x="644" y="1013"/>
                    <a:pt x="657" y="1012"/>
                  </a:cubicBezTo>
                  <a:cubicBezTo>
                    <a:pt x="660" y="1012"/>
                    <a:pt x="663" y="1012"/>
                    <a:pt x="666" y="1011"/>
                  </a:cubicBezTo>
                  <a:cubicBezTo>
                    <a:pt x="679" y="1010"/>
                    <a:pt x="691" y="1010"/>
                    <a:pt x="700" y="1010"/>
                  </a:cubicBezTo>
                  <a:cubicBezTo>
                    <a:pt x="703" y="1010"/>
                    <a:pt x="706" y="1010"/>
                    <a:pt x="709" y="1010"/>
                  </a:cubicBezTo>
                  <a:cubicBezTo>
                    <a:pt x="711" y="1010"/>
                    <a:pt x="713" y="1008"/>
                    <a:pt x="714" y="1007"/>
                  </a:cubicBezTo>
                  <a:cubicBezTo>
                    <a:pt x="716" y="1004"/>
                    <a:pt x="718" y="1001"/>
                    <a:pt x="723" y="1002"/>
                  </a:cubicBezTo>
                  <a:cubicBezTo>
                    <a:pt x="727" y="1002"/>
                    <a:pt x="732" y="1004"/>
                    <a:pt x="738" y="1007"/>
                  </a:cubicBezTo>
                  <a:cubicBezTo>
                    <a:pt x="742" y="1009"/>
                    <a:pt x="747" y="1012"/>
                    <a:pt x="750" y="1016"/>
                  </a:cubicBezTo>
                  <a:cubicBezTo>
                    <a:pt x="756" y="1023"/>
                    <a:pt x="755" y="1027"/>
                    <a:pt x="753" y="1030"/>
                  </a:cubicBezTo>
                  <a:cubicBezTo>
                    <a:pt x="753" y="1031"/>
                    <a:pt x="753" y="1031"/>
                    <a:pt x="753" y="1031"/>
                  </a:cubicBezTo>
                  <a:cubicBezTo>
                    <a:pt x="754" y="1033"/>
                    <a:pt x="762" y="1030"/>
                    <a:pt x="772" y="1028"/>
                  </a:cubicBezTo>
                  <a:cubicBezTo>
                    <a:pt x="773" y="1027"/>
                    <a:pt x="775" y="1027"/>
                    <a:pt x="777" y="1026"/>
                  </a:cubicBezTo>
                  <a:cubicBezTo>
                    <a:pt x="783" y="1025"/>
                    <a:pt x="787" y="1023"/>
                    <a:pt x="790" y="1022"/>
                  </a:cubicBezTo>
                  <a:cubicBezTo>
                    <a:pt x="793" y="1020"/>
                    <a:pt x="795" y="1019"/>
                    <a:pt x="800" y="1019"/>
                  </a:cubicBezTo>
                  <a:cubicBezTo>
                    <a:pt x="808" y="1020"/>
                    <a:pt x="809" y="1026"/>
                    <a:pt x="810" y="1034"/>
                  </a:cubicBezTo>
                  <a:cubicBezTo>
                    <a:pt x="810" y="1034"/>
                    <a:pt x="810" y="1034"/>
                    <a:pt x="810" y="1034"/>
                  </a:cubicBezTo>
                  <a:cubicBezTo>
                    <a:pt x="810" y="1035"/>
                    <a:pt x="810" y="1036"/>
                    <a:pt x="810" y="1038"/>
                  </a:cubicBezTo>
                  <a:cubicBezTo>
                    <a:pt x="810" y="1041"/>
                    <a:pt x="812" y="1044"/>
                    <a:pt x="814" y="1047"/>
                  </a:cubicBezTo>
                  <a:cubicBezTo>
                    <a:pt x="816" y="1050"/>
                    <a:pt x="819" y="1052"/>
                    <a:pt x="821" y="1053"/>
                  </a:cubicBezTo>
                  <a:cubicBezTo>
                    <a:pt x="823" y="1054"/>
                    <a:pt x="831" y="1056"/>
                    <a:pt x="841" y="1058"/>
                  </a:cubicBezTo>
                  <a:cubicBezTo>
                    <a:pt x="855" y="1061"/>
                    <a:pt x="871" y="1064"/>
                    <a:pt x="877" y="1064"/>
                  </a:cubicBezTo>
                  <a:cubicBezTo>
                    <a:pt x="882" y="1065"/>
                    <a:pt x="888" y="1066"/>
                    <a:pt x="892" y="1065"/>
                  </a:cubicBezTo>
                  <a:cubicBezTo>
                    <a:pt x="896" y="1064"/>
                    <a:pt x="899" y="1063"/>
                    <a:pt x="901" y="1061"/>
                  </a:cubicBezTo>
                  <a:cubicBezTo>
                    <a:pt x="902" y="1059"/>
                    <a:pt x="903" y="1056"/>
                    <a:pt x="904" y="1054"/>
                  </a:cubicBezTo>
                  <a:cubicBezTo>
                    <a:pt x="907" y="1048"/>
                    <a:pt x="909" y="1044"/>
                    <a:pt x="916" y="1044"/>
                  </a:cubicBezTo>
                  <a:cubicBezTo>
                    <a:pt x="920" y="1044"/>
                    <a:pt x="924" y="1046"/>
                    <a:pt x="928" y="1051"/>
                  </a:cubicBezTo>
                  <a:cubicBezTo>
                    <a:pt x="932" y="1055"/>
                    <a:pt x="936" y="1060"/>
                    <a:pt x="939" y="1066"/>
                  </a:cubicBezTo>
                  <a:cubicBezTo>
                    <a:pt x="942" y="1071"/>
                    <a:pt x="944" y="1076"/>
                    <a:pt x="948" y="1080"/>
                  </a:cubicBezTo>
                  <a:cubicBezTo>
                    <a:pt x="951" y="1084"/>
                    <a:pt x="955" y="1087"/>
                    <a:pt x="962" y="1089"/>
                  </a:cubicBezTo>
                  <a:cubicBezTo>
                    <a:pt x="966" y="1091"/>
                    <a:pt x="972" y="1093"/>
                    <a:pt x="978" y="1094"/>
                  </a:cubicBezTo>
                  <a:cubicBezTo>
                    <a:pt x="987" y="1096"/>
                    <a:pt x="996" y="1098"/>
                    <a:pt x="1000" y="1103"/>
                  </a:cubicBezTo>
                  <a:cubicBezTo>
                    <a:pt x="1003" y="1106"/>
                    <a:pt x="1010" y="1114"/>
                    <a:pt x="1016" y="1122"/>
                  </a:cubicBezTo>
                  <a:cubicBezTo>
                    <a:pt x="1025" y="1134"/>
                    <a:pt x="1035" y="1146"/>
                    <a:pt x="1037" y="1150"/>
                  </a:cubicBezTo>
                  <a:cubicBezTo>
                    <a:pt x="1038" y="1150"/>
                    <a:pt x="1039" y="1151"/>
                    <a:pt x="1039" y="1152"/>
                  </a:cubicBezTo>
                  <a:cubicBezTo>
                    <a:pt x="1042" y="1157"/>
                    <a:pt x="1046" y="1163"/>
                    <a:pt x="1049" y="1161"/>
                  </a:cubicBezTo>
                  <a:cubicBezTo>
                    <a:pt x="1051" y="1161"/>
                    <a:pt x="1051" y="1161"/>
                    <a:pt x="1053" y="1160"/>
                  </a:cubicBezTo>
                  <a:cubicBezTo>
                    <a:pt x="1061" y="1157"/>
                    <a:pt x="1079" y="1151"/>
                    <a:pt x="1078" y="1147"/>
                  </a:cubicBezTo>
                  <a:cubicBezTo>
                    <a:pt x="1078" y="1144"/>
                    <a:pt x="1078" y="1136"/>
                    <a:pt x="1079" y="1127"/>
                  </a:cubicBezTo>
                  <a:cubicBezTo>
                    <a:pt x="1079" y="1117"/>
                    <a:pt x="1079" y="1105"/>
                    <a:pt x="1079" y="1099"/>
                  </a:cubicBezTo>
                  <a:cubicBezTo>
                    <a:pt x="1079" y="1093"/>
                    <a:pt x="1078" y="1089"/>
                    <a:pt x="1076" y="1087"/>
                  </a:cubicBezTo>
                  <a:cubicBezTo>
                    <a:pt x="1075" y="1086"/>
                    <a:pt x="1074" y="1085"/>
                    <a:pt x="1072" y="1085"/>
                  </a:cubicBezTo>
                  <a:cubicBezTo>
                    <a:pt x="1071" y="1084"/>
                    <a:pt x="1069" y="1086"/>
                    <a:pt x="1067" y="1087"/>
                  </a:cubicBezTo>
                  <a:cubicBezTo>
                    <a:pt x="1065" y="1090"/>
                    <a:pt x="1062" y="1095"/>
                    <a:pt x="1060" y="1099"/>
                  </a:cubicBezTo>
                  <a:cubicBezTo>
                    <a:pt x="1056" y="1109"/>
                    <a:pt x="1047" y="1106"/>
                    <a:pt x="1039" y="1103"/>
                  </a:cubicBezTo>
                  <a:cubicBezTo>
                    <a:pt x="1037" y="1103"/>
                    <a:pt x="1036" y="1102"/>
                    <a:pt x="1035" y="1102"/>
                  </a:cubicBezTo>
                  <a:cubicBezTo>
                    <a:pt x="1035" y="1102"/>
                    <a:pt x="1035" y="1102"/>
                    <a:pt x="1035" y="1102"/>
                  </a:cubicBezTo>
                  <a:cubicBezTo>
                    <a:pt x="1028" y="1100"/>
                    <a:pt x="1026" y="1096"/>
                    <a:pt x="1023" y="1089"/>
                  </a:cubicBezTo>
                  <a:cubicBezTo>
                    <a:pt x="1021" y="1086"/>
                    <a:pt x="1019" y="1083"/>
                    <a:pt x="1017" y="1079"/>
                  </a:cubicBezTo>
                  <a:cubicBezTo>
                    <a:pt x="1013" y="1074"/>
                    <a:pt x="1010" y="1072"/>
                    <a:pt x="1008" y="1071"/>
                  </a:cubicBezTo>
                  <a:cubicBezTo>
                    <a:pt x="1005" y="1070"/>
                    <a:pt x="1001" y="1068"/>
                    <a:pt x="998" y="1064"/>
                  </a:cubicBezTo>
                  <a:cubicBezTo>
                    <a:pt x="995" y="1060"/>
                    <a:pt x="992" y="1056"/>
                    <a:pt x="991" y="1051"/>
                  </a:cubicBezTo>
                  <a:cubicBezTo>
                    <a:pt x="989" y="1046"/>
                    <a:pt x="989" y="1041"/>
                    <a:pt x="989" y="1036"/>
                  </a:cubicBezTo>
                  <a:cubicBezTo>
                    <a:pt x="989" y="1032"/>
                    <a:pt x="992" y="1021"/>
                    <a:pt x="996" y="1010"/>
                  </a:cubicBezTo>
                  <a:cubicBezTo>
                    <a:pt x="1000" y="999"/>
                    <a:pt x="1004" y="986"/>
                    <a:pt x="1005" y="979"/>
                  </a:cubicBezTo>
                  <a:cubicBezTo>
                    <a:pt x="1006" y="971"/>
                    <a:pt x="1004" y="967"/>
                    <a:pt x="1003" y="963"/>
                  </a:cubicBezTo>
                  <a:cubicBezTo>
                    <a:pt x="1001" y="960"/>
                    <a:pt x="1000" y="958"/>
                    <a:pt x="1000" y="954"/>
                  </a:cubicBezTo>
                  <a:cubicBezTo>
                    <a:pt x="1000" y="950"/>
                    <a:pt x="1001" y="947"/>
                    <a:pt x="1003" y="943"/>
                  </a:cubicBezTo>
                  <a:cubicBezTo>
                    <a:pt x="1005" y="938"/>
                    <a:pt x="1007" y="932"/>
                    <a:pt x="1006" y="926"/>
                  </a:cubicBezTo>
                  <a:cubicBezTo>
                    <a:pt x="1005" y="921"/>
                    <a:pt x="1003" y="916"/>
                    <a:pt x="1000" y="912"/>
                  </a:cubicBezTo>
                  <a:cubicBezTo>
                    <a:pt x="997" y="906"/>
                    <a:pt x="995" y="901"/>
                    <a:pt x="996" y="896"/>
                  </a:cubicBezTo>
                  <a:cubicBezTo>
                    <a:pt x="998" y="892"/>
                    <a:pt x="1004" y="887"/>
                    <a:pt x="1010" y="881"/>
                  </a:cubicBezTo>
                  <a:cubicBezTo>
                    <a:pt x="1016" y="875"/>
                    <a:pt x="1023" y="870"/>
                    <a:pt x="1024" y="866"/>
                  </a:cubicBezTo>
                  <a:cubicBezTo>
                    <a:pt x="1025" y="863"/>
                    <a:pt x="1026" y="861"/>
                    <a:pt x="1026" y="859"/>
                  </a:cubicBezTo>
                  <a:cubicBezTo>
                    <a:pt x="1026" y="853"/>
                    <a:pt x="1027" y="849"/>
                    <a:pt x="1034" y="847"/>
                  </a:cubicBezTo>
                  <a:cubicBezTo>
                    <a:pt x="1038" y="846"/>
                    <a:pt x="1070" y="840"/>
                    <a:pt x="1098" y="836"/>
                  </a:cubicBezTo>
                  <a:cubicBezTo>
                    <a:pt x="1104" y="835"/>
                    <a:pt x="1110" y="834"/>
                    <a:pt x="1115" y="833"/>
                  </a:cubicBezTo>
                  <a:cubicBezTo>
                    <a:pt x="1115" y="829"/>
                    <a:pt x="1115" y="824"/>
                    <a:pt x="1114" y="819"/>
                  </a:cubicBezTo>
                  <a:cubicBezTo>
                    <a:pt x="1112" y="804"/>
                    <a:pt x="1110" y="807"/>
                    <a:pt x="1101" y="783"/>
                  </a:cubicBezTo>
                  <a:cubicBezTo>
                    <a:pt x="1091" y="760"/>
                    <a:pt x="1090" y="773"/>
                    <a:pt x="1076" y="760"/>
                  </a:cubicBezTo>
                  <a:cubicBezTo>
                    <a:pt x="1061" y="747"/>
                    <a:pt x="1060" y="744"/>
                    <a:pt x="1057" y="730"/>
                  </a:cubicBezTo>
                  <a:cubicBezTo>
                    <a:pt x="1054" y="715"/>
                    <a:pt x="1053" y="722"/>
                    <a:pt x="1049" y="716"/>
                  </a:cubicBezTo>
                  <a:cubicBezTo>
                    <a:pt x="1044" y="710"/>
                    <a:pt x="1042" y="703"/>
                    <a:pt x="1040" y="692"/>
                  </a:cubicBezTo>
                  <a:cubicBezTo>
                    <a:pt x="1039" y="681"/>
                    <a:pt x="1043" y="682"/>
                    <a:pt x="1043" y="671"/>
                  </a:cubicBezTo>
                  <a:cubicBezTo>
                    <a:pt x="1044" y="659"/>
                    <a:pt x="1040" y="662"/>
                    <a:pt x="1034" y="648"/>
                  </a:cubicBezTo>
                  <a:cubicBezTo>
                    <a:pt x="1029" y="634"/>
                    <a:pt x="1034" y="635"/>
                    <a:pt x="1039" y="618"/>
                  </a:cubicBezTo>
                  <a:cubicBezTo>
                    <a:pt x="1044" y="600"/>
                    <a:pt x="1042" y="604"/>
                    <a:pt x="1037" y="588"/>
                  </a:cubicBezTo>
                  <a:cubicBezTo>
                    <a:pt x="1033" y="571"/>
                    <a:pt x="1038" y="573"/>
                    <a:pt x="1042" y="565"/>
                  </a:cubicBezTo>
                  <a:cubicBezTo>
                    <a:pt x="1043" y="565"/>
                    <a:pt x="1044" y="564"/>
                    <a:pt x="1045" y="564"/>
                  </a:cubicBezTo>
                  <a:cubicBezTo>
                    <a:pt x="1045" y="561"/>
                    <a:pt x="1044" y="558"/>
                    <a:pt x="1043" y="554"/>
                  </a:cubicBezTo>
                  <a:cubicBezTo>
                    <a:pt x="1040" y="537"/>
                    <a:pt x="1040" y="527"/>
                    <a:pt x="1040" y="521"/>
                  </a:cubicBezTo>
                  <a:cubicBezTo>
                    <a:pt x="1040" y="517"/>
                    <a:pt x="1040" y="516"/>
                    <a:pt x="1039" y="514"/>
                  </a:cubicBezTo>
                  <a:cubicBezTo>
                    <a:pt x="1037" y="511"/>
                    <a:pt x="1032" y="502"/>
                    <a:pt x="1029" y="494"/>
                  </a:cubicBezTo>
                  <a:cubicBezTo>
                    <a:pt x="1027" y="488"/>
                    <a:pt x="1025" y="481"/>
                    <a:pt x="1026" y="478"/>
                  </a:cubicBezTo>
                  <a:cubicBezTo>
                    <a:pt x="1027" y="472"/>
                    <a:pt x="1032" y="468"/>
                    <a:pt x="1035" y="464"/>
                  </a:cubicBezTo>
                  <a:cubicBezTo>
                    <a:pt x="1037" y="462"/>
                    <a:pt x="1039" y="461"/>
                    <a:pt x="1039" y="461"/>
                  </a:cubicBezTo>
                  <a:cubicBezTo>
                    <a:pt x="1039" y="459"/>
                    <a:pt x="1039" y="459"/>
                    <a:pt x="1039" y="459"/>
                  </a:cubicBezTo>
                  <a:cubicBezTo>
                    <a:pt x="1039" y="459"/>
                    <a:pt x="1039" y="459"/>
                    <a:pt x="1039" y="459"/>
                  </a:cubicBezTo>
                  <a:cubicBezTo>
                    <a:pt x="1040" y="453"/>
                    <a:pt x="1040" y="436"/>
                    <a:pt x="1045" y="428"/>
                  </a:cubicBezTo>
                  <a:cubicBezTo>
                    <a:pt x="1045" y="428"/>
                    <a:pt x="1045" y="428"/>
                    <a:pt x="1045" y="428"/>
                  </a:cubicBezTo>
                  <a:cubicBezTo>
                    <a:pt x="1048" y="425"/>
                    <a:pt x="1050" y="422"/>
                    <a:pt x="1053" y="419"/>
                  </a:cubicBezTo>
                  <a:cubicBezTo>
                    <a:pt x="1057" y="415"/>
                    <a:pt x="1060" y="412"/>
                    <a:pt x="1061" y="408"/>
                  </a:cubicBezTo>
                  <a:cubicBezTo>
                    <a:pt x="1062" y="404"/>
                    <a:pt x="1062" y="401"/>
                    <a:pt x="1062" y="397"/>
                  </a:cubicBezTo>
                  <a:cubicBezTo>
                    <a:pt x="1062" y="393"/>
                    <a:pt x="1062" y="390"/>
                    <a:pt x="1062" y="385"/>
                  </a:cubicBezTo>
                  <a:cubicBezTo>
                    <a:pt x="1062" y="380"/>
                    <a:pt x="1065" y="369"/>
                    <a:pt x="1067" y="357"/>
                  </a:cubicBezTo>
                  <a:cubicBezTo>
                    <a:pt x="1069" y="346"/>
                    <a:pt x="1072" y="335"/>
                    <a:pt x="1073" y="326"/>
                  </a:cubicBezTo>
                  <a:cubicBezTo>
                    <a:pt x="1074" y="318"/>
                    <a:pt x="1076" y="311"/>
                    <a:pt x="1078" y="304"/>
                  </a:cubicBezTo>
                  <a:cubicBezTo>
                    <a:pt x="1082" y="292"/>
                    <a:pt x="1086" y="282"/>
                    <a:pt x="1087" y="278"/>
                  </a:cubicBezTo>
                  <a:cubicBezTo>
                    <a:pt x="1089" y="275"/>
                    <a:pt x="1091" y="272"/>
                    <a:pt x="1095" y="268"/>
                  </a:cubicBezTo>
                  <a:cubicBezTo>
                    <a:pt x="1099" y="264"/>
                    <a:pt x="1103" y="259"/>
                    <a:pt x="1108" y="254"/>
                  </a:cubicBezTo>
                  <a:cubicBezTo>
                    <a:pt x="1113" y="250"/>
                    <a:pt x="1119" y="244"/>
                    <a:pt x="1125" y="238"/>
                  </a:cubicBezTo>
                  <a:cubicBezTo>
                    <a:pt x="1133" y="231"/>
                    <a:pt x="1141" y="223"/>
                    <a:pt x="1146" y="218"/>
                  </a:cubicBezTo>
                  <a:cubicBezTo>
                    <a:pt x="1150" y="215"/>
                    <a:pt x="1155" y="208"/>
                    <a:pt x="1160" y="203"/>
                  </a:cubicBezTo>
                  <a:cubicBezTo>
                    <a:pt x="1164" y="197"/>
                    <a:pt x="1168" y="193"/>
                    <a:pt x="1168" y="192"/>
                  </a:cubicBezTo>
                  <a:cubicBezTo>
                    <a:pt x="1168" y="192"/>
                    <a:pt x="1167" y="191"/>
                    <a:pt x="1166" y="190"/>
                  </a:cubicBezTo>
                  <a:cubicBezTo>
                    <a:pt x="1164" y="189"/>
                    <a:pt x="1161" y="186"/>
                    <a:pt x="1157" y="184"/>
                  </a:cubicBezTo>
                  <a:cubicBezTo>
                    <a:pt x="1154" y="182"/>
                    <a:pt x="1152" y="181"/>
                    <a:pt x="1149" y="179"/>
                  </a:cubicBezTo>
                  <a:cubicBezTo>
                    <a:pt x="1142" y="176"/>
                    <a:pt x="1137" y="173"/>
                    <a:pt x="1136" y="167"/>
                  </a:cubicBezTo>
                  <a:cubicBezTo>
                    <a:pt x="1135" y="163"/>
                    <a:pt x="1136" y="151"/>
                    <a:pt x="1136" y="142"/>
                  </a:cubicBezTo>
                  <a:cubicBezTo>
                    <a:pt x="1136" y="137"/>
                    <a:pt x="1137" y="133"/>
                    <a:pt x="1137" y="131"/>
                  </a:cubicBezTo>
                  <a:cubicBezTo>
                    <a:pt x="1137" y="126"/>
                    <a:pt x="1139" y="122"/>
                    <a:pt x="1140" y="119"/>
                  </a:cubicBezTo>
                  <a:cubicBezTo>
                    <a:pt x="1142" y="116"/>
                    <a:pt x="1143" y="113"/>
                    <a:pt x="1143" y="112"/>
                  </a:cubicBezTo>
                  <a:cubicBezTo>
                    <a:pt x="1143" y="112"/>
                    <a:pt x="1142" y="111"/>
                    <a:pt x="1140" y="111"/>
                  </a:cubicBezTo>
                  <a:cubicBezTo>
                    <a:pt x="1137" y="110"/>
                    <a:pt x="1133" y="109"/>
                    <a:pt x="1128" y="105"/>
                  </a:cubicBezTo>
                  <a:cubicBezTo>
                    <a:pt x="1122" y="98"/>
                    <a:pt x="1123" y="94"/>
                    <a:pt x="1124" y="90"/>
                  </a:cubicBezTo>
                  <a:cubicBezTo>
                    <a:pt x="1124" y="89"/>
                    <a:pt x="1125" y="88"/>
                    <a:pt x="1124" y="88"/>
                  </a:cubicBezTo>
                  <a:cubicBezTo>
                    <a:pt x="1124" y="87"/>
                    <a:pt x="1125" y="88"/>
                    <a:pt x="1124" y="88"/>
                  </a:cubicBezTo>
                  <a:cubicBezTo>
                    <a:pt x="1121" y="88"/>
                    <a:pt x="1115" y="87"/>
                    <a:pt x="1102" y="81"/>
                  </a:cubicBezTo>
                  <a:cubicBezTo>
                    <a:pt x="1083" y="71"/>
                    <a:pt x="1083" y="71"/>
                    <a:pt x="1081" y="65"/>
                  </a:cubicBezTo>
                  <a:cubicBezTo>
                    <a:pt x="1080" y="64"/>
                    <a:pt x="1080" y="63"/>
                    <a:pt x="1079" y="61"/>
                  </a:cubicBezTo>
                  <a:cubicBezTo>
                    <a:pt x="1077" y="56"/>
                    <a:pt x="1077" y="52"/>
                    <a:pt x="1078" y="50"/>
                  </a:cubicBezTo>
                  <a:cubicBezTo>
                    <a:pt x="1078" y="49"/>
                    <a:pt x="1078" y="49"/>
                    <a:pt x="1078" y="49"/>
                  </a:cubicBezTo>
                  <a:cubicBezTo>
                    <a:pt x="1074" y="48"/>
                    <a:pt x="1066" y="49"/>
                    <a:pt x="1062" y="50"/>
                  </a:cubicBezTo>
                  <a:cubicBezTo>
                    <a:pt x="1062" y="50"/>
                    <a:pt x="1062" y="50"/>
                    <a:pt x="1062" y="50"/>
                  </a:cubicBezTo>
                  <a:cubicBezTo>
                    <a:pt x="1062" y="50"/>
                    <a:pt x="1062" y="50"/>
                    <a:pt x="1062" y="50"/>
                  </a:cubicBezTo>
                  <a:cubicBezTo>
                    <a:pt x="1061" y="50"/>
                    <a:pt x="1059" y="51"/>
                    <a:pt x="1057" y="53"/>
                  </a:cubicBezTo>
                  <a:cubicBezTo>
                    <a:pt x="1051" y="56"/>
                    <a:pt x="1043" y="61"/>
                    <a:pt x="1035" y="61"/>
                  </a:cubicBezTo>
                  <a:cubicBezTo>
                    <a:pt x="1030" y="60"/>
                    <a:pt x="1026" y="60"/>
                    <a:pt x="1023" y="59"/>
                  </a:cubicBezTo>
                  <a:cubicBezTo>
                    <a:pt x="1018" y="58"/>
                    <a:pt x="1014" y="57"/>
                    <a:pt x="1008" y="58"/>
                  </a:cubicBezTo>
                  <a:cubicBezTo>
                    <a:pt x="1003" y="58"/>
                    <a:pt x="1001" y="60"/>
                    <a:pt x="999" y="61"/>
                  </a:cubicBezTo>
                  <a:cubicBezTo>
                    <a:pt x="996" y="62"/>
                    <a:pt x="994" y="63"/>
                    <a:pt x="991" y="64"/>
                  </a:cubicBezTo>
                  <a:cubicBezTo>
                    <a:pt x="987" y="64"/>
                    <a:pt x="981" y="62"/>
                    <a:pt x="974" y="59"/>
                  </a:cubicBezTo>
                  <a:cubicBezTo>
                    <a:pt x="966" y="54"/>
                    <a:pt x="957" y="48"/>
                    <a:pt x="953" y="44"/>
                  </a:cubicBezTo>
                  <a:cubicBezTo>
                    <a:pt x="948" y="40"/>
                    <a:pt x="947" y="37"/>
                    <a:pt x="947" y="33"/>
                  </a:cubicBezTo>
                  <a:cubicBezTo>
                    <a:pt x="946" y="31"/>
                    <a:pt x="946" y="29"/>
                    <a:pt x="943" y="25"/>
                  </a:cubicBezTo>
                  <a:cubicBezTo>
                    <a:pt x="941" y="22"/>
                    <a:pt x="938" y="21"/>
                    <a:pt x="935" y="19"/>
                  </a:cubicBezTo>
                  <a:cubicBezTo>
                    <a:pt x="931" y="16"/>
                    <a:pt x="928" y="14"/>
                    <a:pt x="923" y="7"/>
                  </a:cubicBezTo>
                  <a:cubicBezTo>
                    <a:pt x="920" y="9"/>
                    <a:pt x="915" y="11"/>
                    <a:pt x="910" y="11"/>
                  </a:cubicBezTo>
                  <a:cubicBezTo>
                    <a:pt x="910" y="11"/>
                    <a:pt x="910" y="11"/>
                    <a:pt x="910" y="11"/>
                  </a:cubicBezTo>
                  <a:cubicBezTo>
                    <a:pt x="910" y="11"/>
                    <a:pt x="910" y="11"/>
                    <a:pt x="910" y="11"/>
                  </a:cubicBezTo>
                  <a:cubicBezTo>
                    <a:pt x="906" y="11"/>
                    <a:pt x="902" y="10"/>
                    <a:pt x="894" y="13"/>
                  </a:cubicBezTo>
                  <a:cubicBezTo>
                    <a:pt x="894" y="13"/>
                    <a:pt x="894" y="13"/>
                    <a:pt x="894" y="13"/>
                  </a:cubicBezTo>
                  <a:cubicBezTo>
                    <a:pt x="892" y="13"/>
                    <a:pt x="890" y="14"/>
                    <a:pt x="889" y="15"/>
                  </a:cubicBezTo>
                  <a:cubicBezTo>
                    <a:pt x="889" y="15"/>
                    <a:pt x="889" y="15"/>
                    <a:pt x="889" y="15"/>
                  </a:cubicBezTo>
                  <a:cubicBezTo>
                    <a:pt x="884" y="17"/>
                    <a:pt x="881" y="18"/>
                    <a:pt x="873" y="17"/>
                  </a:cubicBezTo>
                  <a:cubicBezTo>
                    <a:pt x="866" y="17"/>
                    <a:pt x="863" y="14"/>
                    <a:pt x="859" y="12"/>
                  </a:cubicBezTo>
                  <a:cubicBezTo>
                    <a:pt x="857" y="10"/>
                    <a:pt x="855" y="9"/>
                    <a:pt x="852" y="8"/>
                  </a:cubicBezTo>
                  <a:cubicBezTo>
                    <a:pt x="848" y="8"/>
                    <a:pt x="846" y="9"/>
                    <a:pt x="844" y="9"/>
                  </a:cubicBezTo>
                  <a:cubicBezTo>
                    <a:pt x="840" y="10"/>
                    <a:pt x="837" y="11"/>
                    <a:pt x="831" y="9"/>
                  </a:cubicBezTo>
                  <a:cubicBezTo>
                    <a:pt x="829" y="8"/>
                    <a:pt x="826" y="7"/>
                    <a:pt x="824" y="6"/>
                  </a:cubicBezTo>
                  <a:cubicBezTo>
                    <a:pt x="818" y="3"/>
                    <a:pt x="812" y="0"/>
                    <a:pt x="809" y="2"/>
                  </a:cubicBezTo>
                  <a:cubicBezTo>
                    <a:pt x="807" y="3"/>
                    <a:pt x="805" y="7"/>
                    <a:pt x="803" y="10"/>
                  </a:cubicBezTo>
                  <a:cubicBezTo>
                    <a:pt x="801" y="14"/>
                    <a:pt x="800" y="18"/>
                    <a:pt x="796" y="20"/>
                  </a:cubicBezTo>
                  <a:cubicBezTo>
                    <a:pt x="793" y="23"/>
                    <a:pt x="789" y="25"/>
                    <a:pt x="783" y="26"/>
                  </a:cubicBezTo>
                  <a:cubicBezTo>
                    <a:pt x="778" y="27"/>
                    <a:pt x="772" y="27"/>
                    <a:pt x="766" y="27"/>
                  </a:cubicBezTo>
                  <a:cubicBezTo>
                    <a:pt x="759" y="27"/>
                    <a:pt x="754" y="24"/>
                    <a:pt x="751" y="22"/>
                  </a:cubicBezTo>
                  <a:cubicBezTo>
                    <a:pt x="748" y="20"/>
                    <a:pt x="746" y="19"/>
                    <a:pt x="743" y="19"/>
                  </a:cubicBezTo>
                  <a:cubicBezTo>
                    <a:pt x="743" y="19"/>
                    <a:pt x="743" y="19"/>
                    <a:pt x="743" y="19"/>
                  </a:cubicBezTo>
                  <a:cubicBezTo>
                    <a:pt x="740" y="20"/>
                    <a:pt x="733" y="24"/>
                    <a:pt x="724" y="29"/>
                  </a:cubicBezTo>
                  <a:cubicBezTo>
                    <a:pt x="709" y="37"/>
                    <a:pt x="691" y="47"/>
                    <a:pt x="681" y="47"/>
                  </a:cubicBezTo>
                  <a:cubicBezTo>
                    <a:pt x="672" y="46"/>
                    <a:pt x="667" y="42"/>
                    <a:pt x="662" y="38"/>
                  </a:cubicBezTo>
                  <a:cubicBezTo>
                    <a:pt x="660" y="36"/>
                    <a:pt x="658" y="35"/>
                    <a:pt x="657" y="35"/>
                  </a:cubicBezTo>
                  <a:cubicBezTo>
                    <a:pt x="653" y="35"/>
                    <a:pt x="650" y="39"/>
                    <a:pt x="647" y="43"/>
                  </a:cubicBezTo>
                  <a:cubicBezTo>
                    <a:pt x="647" y="44"/>
                    <a:pt x="646" y="45"/>
                    <a:pt x="645" y="46"/>
                  </a:cubicBezTo>
                  <a:cubicBezTo>
                    <a:pt x="643" y="48"/>
                    <a:pt x="641" y="51"/>
                    <a:pt x="640" y="54"/>
                  </a:cubicBezTo>
                  <a:cubicBezTo>
                    <a:pt x="635" y="61"/>
                    <a:pt x="631" y="69"/>
                    <a:pt x="625" y="71"/>
                  </a:cubicBezTo>
                  <a:cubicBezTo>
                    <a:pt x="618" y="74"/>
                    <a:pt x="603" y="72"/>
                    <a:pt x="580" y="69"/>
                  </a:cubicBezTo>
                  <a:cubicBezTo>
                    <a:pt x="577" y="69"/>
                    <a:pt x="577" y="69"/>
                    <a:pt x="577" y="69"/>
                  </a:cubicBezTo>
                  <a:cubicBezTo>
                    <a:pt x="565" y="67"/>
                    <a:pt x="554" y="66"/>
                    <a:pt x="545" y="64"/>
                  </a:cubicBezTo>
                  <a:cubicBezTo>
                    <a:pt x="535" y="61"/>
                    <a:pt x="526" y="59"/>
                    <a:pt x="517" y="56"/>
                  </a:cubicBezTo>
                  <a:cubicBezTo>
                    <a:pt x="501" y="50"/>
                    <a:pt x="497" y="46"/>
                    <a:pt x="486" y="36"/>
                  </a:cubicBezTo>
                  <a:cubicBezTo>
                    <a:pt x="485" y="34"/>
                    <a:pt x="483" y="33"/>
                    <a:pt x="481" y="31"/>
                  </a:cubicBezTo>
                  <a:cubicBezTo>
                    <a:pt x="476" y="26"/>
                    <a:pt x="470" y="22"/>
                    <a:pt x="464" y="20"/>
                  </a:cubicBezTo>
                  <a:cubicBezTo>
                    <a:pt x="456" y="17"/>
                    <a:pt x="449" y="16"/>
                    <a:pt x="444" y="16"/>
                  </a:cubicBezTo>
                  <a:cubicBezTo>
                    <a:pt x="437" y="16"/>
                    <a:pt x="424" y="26"/>
                    <a:pt x="417" y="31"/>
                  </a:cubicBezTo>
                  <a:cubicBezTo>
                    <a:pt x="417" y="31"/>
                    <a:pt x="417" y="31"/>
                    <a:pt x="417" y="31"/>
                  </a:cubicBezTo>
                  <a:cubicBezTo>
                    <a:pt x="417" y="31"/>
                    <a:pt x="417" y="31"/>
                    <a:pt x="417" y="31"/>
                  </a:cubicBezTo>
                  <a:cubicBezTo>
                    <a:pt x="417" y="31"/>
                    <a:pt x="417" y="31"/>
                    <a:pt x="417" y="31"/>
                  </a:cubicBezTo>
                  <a:cubicBezTo>
                    <a:pt x="413" y="34"/>
                    <a:pt x="410" y="40"/>
                    <a:pt x="407" y="46"/>
                  </a:cubicBezTo>
                  <a:cubicBezTo>
                    <a:pt x="403" y="51"/>
                    <a:pt x="401" y="56"/>
                    <a:pt x="398" y="58"/>
                  </a:cubicBezTo>
                  <a:cubicBezTo>
                    <a:pt x="396" y="59"/>
                    <a:pt x="394" y="60"/>
                    <a:pt x="392" y="62"/>
                  </a:cubicBezTo>
                  <a:cubicBezTo>
                    <a:pt x="391" y="63"/>
                    <a:pt x="390" y="64"/>
                    <a:pt x="390" y="66"/>
                  </a:cubicBezTo>
                  <a:cubicBezTo>
                    <a:pt x="390" y="68"/>
                    <a:pt x="391" y="75"/>
                    <a:pt x="391" y="82"/>
                  </a:cubicBezTo>
                  <a:cubicBezTo>
                    <a:pt x="392" y="90"/>
                    <a:pt x="393" y="97"/>
                    <a:pt x="393" y="100"/>
                  </a:cubicBezTo>
                  <a:cubicBezTo>
                    <a:pt x="393" y="102"/>
                    <a:pt x="393" y="102"/>
                    <a:pt x="393" y="103"/>
                  </a:cubicBezTo>
                  <a:cubicBezTo>
                    <a:pt x="393" y="112"/>
                    <a:pt x="393" y="132"/>
                    <a:pt x="388" y="144"/>
                  </a:cubicBezTo>
                  <a:cubicBezTo>
                    <a:pt x="386" y="150"/>
                    <a:pt x="380" y="159"/>
                    <a:pt x="375" y="168"/>
                  </a:cubicBezTo>
                  <a:cubicBezTo>
                    <a:pt x="369" y="178"/>
                    <a:pt x="363" y="188"/>
                    <a:pt x="360" y="196"/>
                  </a:cubicBezTo>
                  <a:cubicBezTo>
                    <a:pt x="356" y="203"/>
                    <a:pt x="356" y="211"/>
                    <a:pt x="355" y="219"/>
                  </a:cubicBezTo>
                  <a:cubicBezTo>
                    <a:pt x="354" y="227"/>
                    <a:pt x="353" y="236"/>
                    <a:pt x="349" y="247"/>
                  </a:cubicBezTo>
                  <a:cubicBezTo>
                    <a:pt x="346" y="259"/>
                    <a:pt x="342" y="270"/>
                    <a:pt x="336" y="281"/>
                  </a:cubicBezTo>
                  <a:cubicBezTo>
                    <a:pt x="330" y="292"/>
                    <a:pt x="322" y="303"/>
                    <a:pt x="312" y="314"/>
                  </a:cubicBezTo>
                  <a:cubicBezTo>
                    <a:pt x="302" y="324"/>
                    <a:pt x="289" y="340"/>
                    <a:pt x="277" y="358"/>
                  </a:cubicBezTo>
                  <a:cubicBezTo>
                    <a:pt x="265" y="375"/>
                    <a:pt x="255" y="394"/>
                    <a:pt x="250" y="405"/>
                  </a:cubicBezTo>
                  <a:cubicBezTo>
                    <a:pt x="242" y="426"/>
                    <a:pt x="242" y="450"/>
                    <a:pt x="242" y="466"/>
                  </a:cubicBezTo>
                  <a:cubicBezTo>
                    <a:pt x="242" y="469"/>
                    <a:pt x="242" y="468"/>
                    <a:pt x="242" y="470"/>
                  </a:cubicBezTo>
                  <a:cubicBezTo>
                    <a:pt x="242" y="480"/>
                    <a:pt x="242" y="492"/>
                    <a:pt x="242" y="504"/>
                  </a:cubicBezTo>
                  <a:cubicBezTo>
                    <a:pt x="242" y="515"/>
                    <a:pt x="243" y="526"/>
                    <a:pt x="243" y="530"/>
                  </a:cubicBezTo>
                  <a:cubicBezTo>
                    <a:pt x="243" y="537"/>
                    <a:pt x="242" y="542"/>
                    <a:pt x="240" y="548"/>
                  </a:cubicBezTo>
                  <a:cubicBezTo>
                    <a:pt x="240" y="548"/>
                    <a:pt x="240" y="548"/>
                    <a:pt x="240" y="548"/>
                  </a:cubicBezTo>
                  <a:cubicBezTo>
                    <a:pt x="237" y="553"/>
                    <a:pt x="234" y="558"/>
                    <a:pt x="228" y="565"/>
                  </a:cubicBezTo>
                  <a:cubicBezTo>
                    <a:pt x="220" y="574"/>
                    <a:pt x="216" y="576"/>
                    <a:pt x="209" y="581"/>
                  </a:cubicBezTo>
                  <a:cubicBezTo>
                    <a:pt x="206" y="582"/>
                    <a:pt x="203" y="584"/>
                    <a:pt x="199" y="587"/>
                  </a:cubicBezTo>
                  <a:cubicBezTo>
                    <a:pt x="186" y="596"/>
                    <a:pt x="184" y="598"/>
                    <a:pt x="177" y="604"/>
                  </a:cubicBezTo>
                  <a:cubicBezTo>
                    <a:pt x="173" y="607"/>
                    <a:pt x="173" y="607"/>
                    <a:pt x="173" y="607"/>
                  </a:cubicBezTo>
                  <a:cubicBezTo>
                    <a:pt x="170" y="610"/>
                    <a:pt x="166" y="614"/>
                    <a:pt x="162" y="618"/>
                  </a:cubicBezTo>
                  <a:cubicBezTo>
                    <a:pt x="154" y="626"/>
                    <a:pt x="146" y="634"/>
                    <a:pt x="140" y="634"/>
                  </a:cubicBezTo>
                  <a:cubicBezTo>
                    <a:pt x="129" y="634"/>
                    <a:pt x="128" y="629"/>
                    <a:pt x="127" y="619"/>
                  </a:cubicBezTo>
                  <a:cubicBezTo>
                    <a:pt x="127" y="619"/>
                    <a:pt x="127" y="619"/>
                    <a:pt x="127" y="619"/>
                  </a:cubicBezTo>
                  <a:cubicBezTo>
                    <a:pt x="127" y="617"/>
                    <a:pt x="127" y="615"/>
                    <a:pt x="127" y="613"/>
                  </a:cubicBezTo>
                  <a:cubicBezTo>
                    <a:pt x="127" y="607"/>
                    <a:pt x="127" y="599"/>
                    <a:pt x="125" y="599"/>
                  </a:cubicBezTo>
                  <a:cubicBezTo>
                    <a:pt x="122" y="599"/>
                    <a:pt x="119" y="600"/>
                    <a:pt x="116" y="602"/>
                  </a:cubicBezTo>
                  <a:cubicBezTo>
                    <a:pt x="113" y="603"/>
                    <a:pt x="110" y="605"/>
                    <a:pt x="106" y="606"/>
                  </a:cubicBezTo>
                  <a:cubicBezTo>
                    <a:pt x="99" y="609"/>
                    <a:pt x="96" y="608"/>
                    <a:pt x="94" y="608"/>
                  </a:cubicBezTo>
                  <a:cubicBezTo>
                    <a:pt x="93" y="608"/>
                    <a:pt x="92" y="607"/>
                    <a:pt x="89" y="608"/>
                  </a:cubicBezTo>
                  <a:cubicBezTo>
                    <a:pt x="86" y="608"/>
                    <a:pt x="86" y="609"/>
                    <a:pt x="85" y="612"/>
                  </a:cubicBezTo>
                  <a:cubicBezTo>
                    <a:pt x="85" y="614"/>
                    <a:pt x="84" y="616"/>
                    <a:pt x="83" y="619"/>
                  </a:cubicBezTo>
                  <a:cubicBezTo>
                    <a:pt x="80" y="624"/>
                    <a:pt x="77" y="627"/>
                    <a:pt x="73" y="629"/>
                  </a:cubicBezTo>
                  <a:cubicBezTo>
                    <a:pt x="69" y="630"/>
                    <a:pt x="64" y="629"/>
                    <a:pt x="57" y="625"/>
                  </a:cubicBezTo>
                  <a:cubicBezTo>
                    <a:pt x="54" y="623"/>
                    <a:pt x="50" y="620"/>
                    <a:pt x="47" y="617"/>
                  </a:cubicBezTo>
                  <a:cubicBezTo>
                    <a:pt x="45" y="619"/>
                    <a:pt x="43" y="621"/>
                    <a:pt x="40" y="623"/>
                  </a:cubicBezTo>
                  <a:cubicBezTo>
                    <a:pt x="37" y="626"/>
                    <a:pt x="32" y="629"/>
                    <a:pt x="28" y="631"/>
                  </a:cubicBezTo>
                  <a:cubicBezTo>
                    <a:pt x="24" y="632"/>
                    <a:pt x="21" y="634"/>
                    <a:pt x="20" y="636"/>
                  </a:cubicBezTo>
                  <a:cubicBezTo>
                    <a:pt x="18" y="639"/>
                    <a:pt x="17" y="642"/>
                    <a:pt x="15" y="647"/>
                  </a:cubicBezTo>
                  <a:cubicBezTo>
                    <a:pt x="14" y="652"/>
                    <a:pt x="14" y="657"/>
                    <a:pt x="14" y="662"/>
                  </a:cubicBezTo>
                  <a:cubicBezTo>
                    <a:pt x="13" y="670"/>
                    <a:pt x="13" y="676"/>
                    <a:pt x="9" y="680"/>
                  </a:cubicBezTo>
                  <a:cubicBezTo>
                    <a:pt x="7" y="683"/>
                    <a:pt x="5" y="684"/>
                    <a:pt x="3" y="685"/>
                  </a:cubicBezTo>
                  <a:cubicBezTo>
                    <a:pt x="6" y="686"/>
                    <a:pt x="8" y="686"/>
                    <a:pt x="8" y="689"/>
                  </a:cubicBezTo>
                  <a:cubicBezTo>
                    <a:pt x="9" y="694"/>
                    <a:pt x="6" y="700"/>
                    <a:pt x="4" y="701"/>
                  </a:cubicBezTo>
                  <a:cubicBezTo>
                    <a:pt x="3" y="702"/>
                    <a:pt x="1" y="697"/>
                    <a:pt x="0" y="703"/>
                  </a:cubicBezTo>
                  <a:cubicBezTo>
                    <a:pt x="0" y="704"/>
                    <a:pt x="0" y="705"/>
                    <a:pt x="0" y="706"/>
                  </a:cubicBezTo>
                  <a:cubicBezTo>
                    <a:pt x="5" y="703"/>
                    <a:pt x="10" y="701"/>
                    <a:pt x="12" y="699"/>
                  </a:cubicBezTo>
                  <a:cubicBezTo>
                    <a:pt x="16" y="696"/>
                    <a:pt x="26" y="692"/>
                    <a:pt x="37" y="690"/>
                  </a:cubicBezTo>
                  <a:cubicBezTo>
                    <a:pt x="46" y="687"/>
                    <a:pt x="56" y="686"/>
                    <a:pt x="65" y="686"/>
                  </a:cubicBezTo>
                  <a:cubicBezTo>
                    <a:pt x="74" y="685"/>
                    <a:pt x="87" y="685"/>
                    <a:pt x="99" y="685"/>
                  </a:cubicBezTo>
                  <a:cubicBezTo>
                    <a:pt x="111" y="685"/>
                    <a:pt x="124" y="685"/>
                    <a:pt x="133" y="686"/>
                  </a:cubicBezTo>
                  <a:cubicBezTo>
                    <a:pt x="144" y="686"/>
                    <a:pt x="170" y="686"/>
                    <a:pt x="195" y="686"/>
                  </a:cubicBezTo>
                  <a:cubicBezTo>
                    <a:pt x="210" y="686"/>
                    <a:pt x="225" y="686"/>
                    <a:pt x="227" y="686"/>
                  </a:cubicBezTo>
                  <a:cubicBezTo>
                    <a:pt x="242" y="686"/>
                    <a:pt x="250" y="686"/>
                    <a:pt x="255" y="687"/>
                  </a:cubicBezTo>
                  <a:cubicBezTo>
                    <a:pt x="261" y="689"/>
                    <a:pt x="264" y="691"/>
                    <a:pt x="268" y="695"/>
                  </a:cubicBezTo>
                  <a:cubicBezTo>
                    <a:pt x="273" y="699"/>
                    <a:pt x="275" y="711"/>
                    <a:pt x="277" y="723"/>
                  </a:cubicBezTo>
                  <a:cubicBezTo>
                    <a:pt x="278" y="730"/>
                    <a:pt x="280" y="737"/>
                    <a:pt x="282" y="742"/>
                  </a:cubicBezTo>
                  <a:cubicBezTo>
                    <a:pt x="284" y="750"/>
                    <a:pt x="288" y="759"/>
                    <a:pt x="292" y="767"/>
                  </a:cubicBezTo>
                  <a:cubicBezTo>
                    <a:pt x="297" y="777"/>
                    <a:pt x="303" y="787"/>
                    <a:pt x="307" y="792"/>
                  </a:cubicBezTo>
                  <a:cubicBezTo>
                    <a:pt x="309" y="795"/>
                    <a:pt x="312" y="799"/>
                    <a:pt x="314" y="803"/>
                  </a:cubicBezTo>
                  <a:cubicBezTo>
                    <a:pt x="321" y="813"/>
                    <a:pt x="329" y="825"/>
                    <a:pt x="332" y="826"/>
                  </a:cubicBezTo>
                  <a:cubicBezTo>
                    <a:pt x="335" y="827"/>
                    <a:pt x="339" y="827"/>
                    <a:pt x="344" y="828"/>
                  </a:cubicBezTo>
                  <a:cubicBezTo>
                    <a:pt x="348" y="828"/>
                    <a:pt x="353" y="828"/>
                    <a:pt x="357" y="828"/>
                  </a:cubicBezTo>
                  <a:cubicBezTo>
                    <a:pt x="361" y="827"/>
                    <a:pt x="367" y="825"/>
                    <a:pt x="372" y="822"/>
                  </a:cubicBezTo>
                  <a:cubicBezTo>
                    <a:pt x="379" y="819"/>
                    <a:pt x="386" y="816"/>
                    <a:pt x="392" y="816"/>
                  </a:cubicBezTo>
                  <a:cubicBezTo>
                    <a:pt x="399" y="816"/>
                    <a:pt x="406" y="817"/>
                    <a:pt x="413" y="818"/>
                  </a:cubicBezTo>
                  <a:cubicBezTo>
                    <a:pt x="417" y="818"/>
                    <a:pt x="421" y="819"/>
                    <a:pt x="425" y="819"/>
                  </a:cubicBezTo>
                  <a:cubicBezTo>
                    <a:pt x="428" y="819"/>
                    <a:pt x="430" y="818"/>
                    <a:pt x="431" y="817"/>
                  </a:cubicBezTo>
                  <a:cubicBezTo>
                    <a:pt x="433" y="815"/>
                    <a:pt x="434" y="812"/>
                    <a:pt x="435" y="809"/>
                  </a:cubicBezTo>
                  <a:cubicBezTo>
                    <a:pt x="436" y="804"/>
                    <a:pt x="438" y="797"/>
                    <a:pt x="439" y="790"/>
                  </a:cubicBezTo>
                  <a:cubicBezTo>
                    <a:pt x="440" y="785"/>
                    <a:pt x="440" y="779"/>
                    <a:pt x="441" y="775"/>
                  </a:cubicBezTo>
                  <a:cubicBezTo>
                    <a:pt x="441" y="769"/>
                    <a:pt x="443" y="765"/>
                    <a:pt x="445" y="761"/>
                  </a:cubicBezTo>
                  <a:cubicBezTo>
                    <a:pt x="448" y="758"/>
                    <a:pt x="452" y="756"/>
                    <a:pt x="456" y="755"/>
                  </a:cubicBezTo>
                  <a:cubicBezTo>
                    <a:pt x="462" y="754"/>
                    <a:pt x="478" y="754"/>
                    <a:pt x="490" y="753"/>
                  </a:cubicBezTo>
                  <a:cubicBezTo>
                    <a:pt x="493" y="753"/>
                    <a:pt x="496" y="753"/>
                    <a:pt x="498" y="753"/>
                  </a:cubicBezTo>
                  <a:cubicBezTo>
                    <a:pt x="505" y="752"/>
                    <a:pt x="509" y="754"/>
                    <a:pt x="511" y="756"/>
                  </a:cubicBezTo>
                  <a:cubicBezTo>
                    <a:pt x="513" y="759"/>
                    <a:pt x="514" y="761"/>
                    <a:pt x="514" y="764"/>
                  </a:cubicBezTo>
                  <a:cubicBezTo>
                    <a:pt x="514" y="765"/>
                    <a:pt x="514" y="766"/>
                    <a:pt x="514" y="767"/>
                  </a:cubicBezTo>
                  <a:cubicBezTo>
                    <a:pt x="514" y="769"/>
                    <a:pt x="514" y="773"/>
                    <a:pt x="515" y="774"/>
                  </a:cubicBezTo>
                  <a:cubicBezTo>
                    <a:pt x="517" y="775"/>
                    <a:pt x="522" y="774"/>
                    <a:pt x="528" y="774"/>
                  </a:cubicBezTo>
                  <a:cubicBezTo>
                    <a:pt x="532" y="774"/>
                    <a:pt x="536" y="773"/>
                    <a:pt x="540" y="773"/>
                  </a:cubicBezTo>
                  <a:cubicBezTo>
                    <a:pt x="543" y="773"/>
                    <a:pt x="547" y="773"/>
                    <a:pt x="551" y="773"/>
                  </a:cubicBezTo>
                  <a:cubicBezTo>
                    <a:pt x="564" y="772"/>
                    <a:pt x="580" y="771"/>
                    <a:pt x="585" y="775"/>
                  </a:cubicBezTo>
                  <a:cubicBezTo>
                    <a:pt x="592" y="781"/>
                    <a:pt x="592" y="790"/>
                    <a:pt x="591" y="799"/>
                  </a:cubicBezTo>
                  <a:cubicBezTo>
                    <a:pt x="591" y="801"/>
                    <a:pt x="591" y="802"/>
                    <a:pt x="591" y="803"/>
                  </a:cubicBezTo>
                  <a:cubicBezTo>
                    <a:pt x="590" y="808"/>
                    <a:pt x="590" y="811"/>
                    <a:pt x="589" y="813"/>
                  </a:cubicBezTo>
                  <a:cubicBezTo>
                    <a:pt x="589" y="816"/>
                    <a:pt x="588" y="818"/>
                    <a:pt x="588" y="823"/>
                  </a:cubicBezTo>
                  <a:cubicBezTo>
                    <a:pt x="588" y="826"/>
                    <a:pt x="590" y="830"/>
                    <a:pt x="592" y="833"/>
                  </a:cubicBezTo>
                  <a:cubicBezTo>
                    <a:pt x="594" y="837"/>
                    <a:pt x="596" y="841"/>
                    <a:pt x="597" y="847"/>
                  </a:cubicBezTo>
                  <a:cubicBezTo>
                    <a:pt x="597" y="851"/>
                    <a:pt x="596" y="862"/>
                    <a:pt x="595" y="874"/>
                  </a:cubicBezTo>
                  <a:cubicBezTo>
                    <a:pt x="593" y="887"/>
                    <a:pt x="592" y="901"/>
                    <a:pt x="592" y="907"/>
                  </a:cubicBezTo>
                  <a:cubicBezTo>
                    <a:pt x="592" y="907"/>
                    <a:pt x="592" y="907"/>
                    <a:pt x="592" y="907"/>
                  </a:cubicBezTo>
                  <a:cubicBezTo>
                    <a:pt x="592" y="908"/>
                    <a:pt x="592" y="908"/>
                    <a:pt x="592" y="908"/>
                  </a:cubicBezTo>
                  <a:cubicBezTo>
                    <a:pt x="593" y="917"/>
                    <a:pt x="593" y="920"/>
                    <a:pt x="598" y="925"/>
                  </a:cubicBezTo>
                  <a:cubicBezTo>
                    <a:pt x="599" y="927"/>
                    <a:pt x="599" y="927"/>
                    <a:pt x="599" y="927"/>
                  </a:cubicBezTo>
                  <a:cubicBezTo>
                    <a:pt x="605" y="932"/>
                    <a:pt x="609" y="937"/>
                    <a:pt x="612" y="944"/>
                  </a:cubicBezTo>
                  <a:cubicBezTo>
                    <a:pt x="614" y="948"/>
                    <a:pt x="616" y="957"/>
                    <a:pt x="618" y="965"/>
                  </a:cubicBezTo>
                  <a:cubicBezTo>
                    <a:pt x="620" y="974"/>
                    <a:pt x="621" y="983"/>
                    <a:pt x="621" y="986"/>
                  </a:cubicBezTo>
                  <a:cubicBezTo>
                    <a:pt x="620" y="989"/>
                    <a:pt x="618" y="992"/>
                    <a:pt x="616" y="99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9" name="Freeform 187"/>
            <p:cNvSpPr>
              <a:spLocks/>
            </p:cNvSpPr>
            <p:nvPr/>
          </p:nvSpPr>
          <p:spPr bwMode="auto">
            <a:xfrm>
              <a:off x="4530441" y="4608407"/>
              <a:ext cx="32147" cy="21431"/>
            </a:xfrm>
            <a:custGeom>
              <a:avLst/>
              <a:gdLst>
                <a:gd name="T0" fmla="*/ 7 w 113"/>
                <a:gd name="T1" fmla="*/ 53 h 73"/>
                <a:gd name="T2" fmla="*/ 0 w 113"/>
                <a:gd name="T3" fmla="*/ 62 h 73"/>
                <a:gd name="T4" fmla="*/ 5 w 113"/>
                <a:gd name="T5" fmla="*/ 72 h 73"/>
                <a:gd name="T6" fmla="*/ 13 w 113"/>
                <a:gd name="T7" fmla="*/ 71 h 73"/>
                <a:gd name="T8" fmla="*/ 14 w 113"/>
                <a:gd name="T9" fmla="*/ 73 h 73"/>
                <a:gd name="T10" fmla="*/ 29 w 113"/>
                <a:gd name="T11" fmla="*/ 73 h 73"/>
                <a:gd name="T12" fmla="*/ 108 w 113"/>
                <a:gd name="T13" fmla="*/ 71 h 73"/>
                <a:gd name="T14" fmla="*/ 113 w 113"/>
                <a:gd name="T15" fmla="*/ 51 h 73"/>
                <a:gd name="T16" fmla="*/ 113 w 113"/>
                <a:gd name="T17" fmla="*/ 51 h 73"/>
                <a:gd name="T18" fmla="*/ 112 w 113"/>
                <a:gd name="T19" fmla="*/ 47 h 73"/>
                <a:gd name="T20" fmla="*/ 111 w 113"/>
                <a:gd name="T21" fmla="*/ 7 h 73"/>
                <a:gd name="T22" fmla="*/ 102 w 113"/>
                <a:gd name="T23" fmla="*/ 7 h 73"/>
                <a:gd name="T24" fmla="*/ 84 w 113"/>
                <a:gd name="T25" fmla="*/ 7 h 73"/>
                <a:gd name="T26" fmla="*/ 57 w 113"/>
                <a:gd name="T27" fmla="*/ 7 h 73"/>
                <a:gd name="T28" fmla="*/ 37 w 113"/>
                <a:gd name="T29" fmla="*/ 5 h 73"/>
                <a:gd name="T30" fmla="*/ 25 w 113"/>
                <a:gd name="T31" fmla="*/ 0 h 73"/>
                <a:gd name="T32" fmla="*/ 25 w 113"/>
                <a:gd name="T33" fmla="*/ 12 h 73"/>
                <a:gd name="T34" fmla="*/ 20 w 113"/>
                <a:gd name="T35" fmla="*/ 23 h 73"/>
                <a:gd name="T36" fmla="*/ 21 w 113"/>
                <a:gd name="T37" fmla="*/ 32 h 73"/>
                <a:gd name="T38" fmla="*/ 17 w 113"/>
                <a:gd name="T39" fmla="*/ 43 h 73"/>
                <a:gd name="T40" fmla="*/ 7 w 113"/>
                <a:gd name="T41" fmla="*/ 5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73">
                  <a:moveTo>
                    <a:pt x="7" y="53"/>
                  </a:moveTo>
                  <a:cubicBezTo>
                    <a:pt x="3" y="57"/>
                    <a:pt x="0" y="58"/>
                    <a:pt x="0" y="62"/>
                  </a:cubicBezTo>
                  <a:cubicBezTo>
                    <a:pt x="0" y="67"/>
                    <a:pt x="3" y="71"/>
                    <a:pt x="5" y="72"/>
                  </a:cubicBezTo>
                  <a:cubicBezTo>
                    <a:pt x="7" y="72"/>
                    <a:pt x="10" y="69"/>
                    <a:pt x="13" y="71"/>
                  </a:cubicBezTo>
                  <a:cubicBezTo>
                    <a:pt x="13" y="71"/>
                    <a:pt x="14" y="72"/>
                    <a:pt x="14" y="73"/>
                  </a:cubicBezTo>
                  <a:cubicBezTo>
                    <a:pt x="18" y="73"/>
                    <a:pt x="23" y="73"/>
                    <a:pt x="29" y="73"/>
                  </a:cubicBezTo>
                  <a:cubicBezTo>
                    <a:pt x="58" y="73"/>
                    <a:pt x="104" y="73"/>
                    <a:pt x="108" y="71"/>
                  </a:cubicBezTo>
                  <a:cubicBezTo>
                    <a:pt x="113" y="68"/>
                    <a:pt x="113" y="59"/>
                    <a:pt x="113" y="51"/>
                  </a:cubicBezTo>
                  <a:cubicBezTo>
                    <a:pt x="113" y="51"/>
                    <a:pt x="113" y="51"/>
                    <a:pt x="113" y="51"/>
                  </a:cubicBezTo>
                  <a:cubicBezTo>
                    <a:pt x="113" y="50"/>
                    <a:pt x="112" y="48"/>
                    <a:pt x="112" y="47"/>
                  </a:cubicBezTo>
                  <a:cubicBezTo>
                    <a:pt x="112" y="41"/>
                    <a:pt x="111" y="17"/>
                    <a:pt x="111" y="7"/>
                  </a:cubicBezTo>
                  <a:cubicBezTo>
                    <a:pt x="108" y="7"/>
                    <a:pt x="105" y="7"/>
                    <a:pt x="102" y="7"/>
                  </a:cubicBezTo>
                  <a:cubicBezTo>
                    <a:pt x="97" y="7"/>
                    <a:pt x="92" y="7"/>
                    <a:pt x="84" y="7"/>
                  </a:cubicBezTo>
                  <a:cubicBezTo>
                    <a:pt x="74" y="8"/>
                    <a:pt x="65" y="8"/>
                    <a:pt x="57" y="7"/>
                  </a:cubicBezTo>
                  <a:cubicBezTo>
                    <a:pt x="48" y="7"/>
                    <a:pt x="41" y="6"/>
                    <a:pt x="37" y="5"/>
                  </a:cubicBezTo>
                  <a:cubicBezTo>
                    <a:pt x="34" y="4"/>
                    <a:pt x="30" y="2"/>
                    <a:pt x="25" y="0"/>
                  </a:cubicBezTo>
                  <a:cubicBezTo>
                    <a:pt x="25" y="4"/>
                    <a:pt x="26" y="9"/>
                    <a:pt x="25" y="12"/>
                  </a:cubicBezTo>
                  <a:cubicBezTo>
                    <a:pt x="25" y="16"/>
                    <a:pt x="23" y="20"/>
                    <a:pt x="20" y="23"/>
                  </a:cubicBezTo>
                  <a:cubicBezTo>
                    <a:pt x="18" y="26"/>
                    <a:pt x="21" y="27"/>
                    <a:pt x="21" y="32"/>
                  </a:cubicBezTo>
                  <a:cubicBezTo>
                    <a:pt x="20" y="38"/>
                    <a:pt x="21" y="40"/>
                    <a:pt x="17" y="43"/>
                  </a:cubicBezTo>
                  <a:cubicBezTo>
                    <a:pt x="14" y="47"/>
                    <a:pt x="10" y="48"/>
                    <a:pt x="7" y="5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0" name="Freeform 188"/>
            <p:cNvSpPr>
              <a:spLocks noEditPoints="1"/>
            </p:cNvSpPr>
            <p:nvPr/>
          </p:nvSpPr>
          <p:spPr bwMode="auto">
            <a:xfrm>
              <a:off x="4511391" y="4416716"/>
              <a:ext cx="138112" cy="200025"/>
            </a:xfrm>
            <a:custGeom>
              <a:avLst/>
              <a:gdLst>
                <a:gd name="T0" fmla="*/ 473 w 480"/>
                <a:gd name="T1" fmla="*/ 639 h 697"/>
                <a:gd name="T2" fmla="*/ 446 w 480"/>
                <a:gd name="T3" fmla="*/ 608 h 697"/>
                <a:gd name="T4" fmla="*/ 414 w 480"/>
                <a:gd name="T5" fmla="*/ 562 h 697"/>
                <a:gd name="T6" fmla="*/ 395 w 480"/>
                <a:gd name="T7" fmla="*/ 528 h 697"/>
                <a:gd name="T8" fmla="*/ 383 w 480"/>
                <a:gd name="T9" fmla="*/ 495 h 697"/>
                <a:gd name="T10" fmla="*/ 379 w 480"/>
                <a:gd name="T11" fmla="*/ 449 h 697"/>
                <a:gd name="T12" fmla="*/ 385 w 480"/>
                <a:gd name="T13" fmla="*/ 419 h 697"/>
                <a:gd name="T14" fmla="*/ 416 w 480"/>
                <a:gd name="T15" fmla="*/ 357 h 697"/>
                <a:gd name="T16" fmla="*/ 416 w 480"/>
                <a:gd name="T17" fmla="*/ 290 h 697"/>
                <a:gd name="T18" fmla="*/ 358 w 480"/>
                <a:gd name="T19" fmla="*/ 227 h 697"/>
                <a:gd name="T20" fmla="*/ 362 w 480"/>
                <a:gd name="T21" fmla="*/ 190 h 697"/>
                <a:gd name="T22" fmla="*/ 412 w 480"/>
                <a:gd name="T23" fmla="*/ 194 h 697"/>
                <a:gd name="T24" fmla="*/ 439 w 480"/>
                <a:gd name="T25" fmla="*/ 188 h 697"/>
                <a:gd name="T26" fmla="*/ 410 w 480"/>
                <a:gd name="T27" fmla="*/ 125 h 697"/>
                <a:gd name="T28" fmla="*/ 413 w 480"/>
                <a:gd name="T29" fmla="*/ 72 h 697"/>
                <a:gd name="T30" fmla="*/ 396 w 480"/>
                <a:gd name="T31" fmla="*/ 29 h 697"/>
                <a:gd name="T32" fmla="*/ 360 w 480"/>
                <a:gd name="T33" fmla="*/ 1 h 697"/>
                <a:gd name="T34" fmla="*/ 359 w 480"/>
                <a:gd name="T35" fmla="*/ 16 h 697"/>
                <a:gd name="T36" fmla="*/ 383 w 480"/>
                <a:gd name="T37" fmla="*/ 52 h 697"/>
                <a:gd name="T38" fmla="*/ 382 w 480"/>
                <a:gd name="T39" fmla="*/ 99 h 697"/>
                <a:gd name="T40" fmla="*/ 344 w 480"/>
                <a:gd name="T41" fmla="*/ 119 h 697"/>
                <a:gd name="T42" fmla="*/ 319 w 480"/>
                <a:gd name="T43" fmla="*/ 163 h 697"/>
                <a:gd name="T44" fmla="*/ 305 w 480"/>
                <a:gd name="T45" fmla="*/ 189 h 697"/>
                <a:gd name="T46" fmla="*/ 303 w 480"/>
                <a:gd name="T47" fmla="*/ 199 h 697"/>
                <a:gd name="T48" fmla="*/ 281 w 480"/>
                <a:gd name="T49" fmla="*/ 234 h 697"/>
                <a:gd name="T50" fmla="*/ 256 w 480"/>
                <a:gd name="T51" fmla="*/ 282 h 697"/>
                <a:gd name="T52" fmla="*/ 239 w 480"/>
                <a:gd name="T53" fmla="*/ 312 h 697"/>
                <a:gd name="T54" fmla="*/ 214 w 480"/>
                <a:gd name="T55" fmla="*/ 365 h 697"/>
                <a:gd name="T56" fmla="*/ 174 w 480"/>
                <a:gd name="T57" fmla="*/ 410 h 697"/>
                <a:gd name="T58" fmla="*/ 139 w 480"/>
                <a:gd name="T59" fmla="*/ 382 h 697"/>
                <a:gd name="T60" fmla="*/ 129 w 480"/>
                <a:gd name="T61" fmla="*/ 389 h 697"/>
                <a:gd name="T62" fmla="*/ 100 w 480"/>
                <a:gd name="T63" fmla="*/ 385 h 697"/>
                <a:gd name="T64" fmla="*/ 56 w 480"/>
                <a:gd name="T65" fmla="*/ 431 h 697"/>
                <a:gd name="T66" fmla="*/ 28 w 480"/>
                <a:gd name="T67" fmla="*/ 473 h 697"/>
                <a:gd name="T68" fmla="*/ 27 w 480"/>
                <a:gd name="T69" fmla="*/ 521 h 697"/>
                <a:gd name="T70" fmla="*/ 38 w 480"/>
                <a:gd name="T71" fmla="*/ 552 h 697"/>
                <a:gd name="T72" fmla="*/ 67 w 480"/>
                <a:gd name="T73" fmla="*/ 554 h 697"/>
                <a:gd name="T74" fmla="*/ 73 w 480"/>
                <a:gd name="T75" fmla="*/ 569 h 697"/>
                <a:gd name="T76" fmla="*/ 91 w 480"/>
                <a:gd name="T77" fmla="*/ 602 h 697"/>
                <a:gd name="T78" fmla="*/ 90 w 480"/>
                <a:gd name="T79" fmla="*/ 661 h 697"/>
                <a:gd name="T80" fmla="*/ 149 w 480"/>
                <a:gd name="T81" fmla="*/ 670 h 697"/>
                <a:gd name="T82" fmla="*/ 193 w 480"/>
                <a:gd name="T83" fmla="*/ 665 h 697"/>
                <a:gd name="T84" fmla="*/ 268 w 480"/>
                <a:gd name="T85" fmla="*/ 664 h 697"/>
                <a:gd name="T86" fmla="*/ 298 w 480"/>
                <a:gd name="T87" fmla="*/ 669 h 697"/>
                <a:gd name="T88" fmla="*/ 359 w 480"/>
                <a:gd name="T89" fmla="*/ 673 h 697"/>
                <a:gd name="T90" fmla="*/ 400 w 480"/>
                <a:gd name="T91" fmla="*/ 681 h 697"/>
                <a:gd name="T92" fmla="*/ 455 w 480"/>
                <a:gd name="T93" fmla="*/ 691 h 697"/>
                <a:gd name="T94" fmla="*/ 472 w 480"/>
                <a:gd name="T95" fmla="*/ 688 h 697"/>
                <a:gd name="T96" fmla="*/ 478 w 480"/>
                <a:gd name="T97" fmla="*/ 660 h 697"/>
                <a:gd name="T98" fmla="*/ 8 w 480"/>
                <a:gd name="T99" fmla="*/ 595 h 697"/>
                <a:gd name="T100" fmla="*/ 24 w 480"/>
                <a:gd name="T101" fmla="*/ 592 h 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80" h="697">
                  <a:moveTo>
                    <a:pt x="478" y="660"/>
                  </a:moveTo>
                  <a:cubicBezTo>
                    <a:pt x="477" y="657"/>
                    <a:pt x="475" y="654"/>
                    <a:pt x="474" y="649"/>
                  </a:cubicBezTo>
                  <a:cubicBezTo>
                    <a:pt x="473" y="645"/>
                    <a:pt x="473" y="641"/>
                    <a:pt x="473" y="639"/>
                  </a:cubicBezTo>
                  <a:cubicBezTo>
                    <a:pt x="473" y="635"/>
                    <a:pt x="473" y="632"/>
                    <a:pt x="469" y="628"/>
                  </a:cubicBezTo>
                  <a:cubicBezTo>
                    <a:pt x="465" y="624"/>
                    <a:pt x="461" y="620"/>
                    <a:pt x="457" y="617"/>
                  </a:cubicBezTo>
                  <a:cubicBezTo>
                    <a:pt x="453" y="614"/>
                    <a:pt x="449" y="611"/>
                    <a:pt x="446" y="608"/>
                  </a:cubicBezTo>
                  <a:cubicBezTo>
                    <a:pt x="445" y="606"/>
                    <a:pt x="443" y="605"/>
                    <a:pt x="442" y="604"/>
                  </a:cubicBezTo>
                  <a:cubicBezTo>
                    <a:pt x="435" y="597"/>
                    <a:pt x="427" y="589"/>
                    <a:pt x="421" y="580"/>
                  </a:cubicBezTo>
                  <a:cubicBezTo>
                    <a:pt x="416" y="571"/>
                    <a:pt x="415" y="568"/>
                    <a:pt x="414" y="562"/>
                  </a:cubicBezTo>
                  <a:cubicBezTo>
                    <a:pt x="414" y="560"/>
                    <a:pt x="414" y="558"/>
                    <a:pt x="413" y="555"/>
                  </a:cubicBezTo>
                  <a:cubicBezTo>
                    <a:pt x="411" y="548"/>
                    <a:pt x="406" y="541"/>
                    <a:pt x="401" y="536"/>
                  </a:cubicBezTo>
                  <a:cubicBezTo>
                    <a:pt x="398" y="533"/>
                    <a:pt x="396" y="531"/>
                    <a:pt x="395" y="528"/>
                  </a:cubicBezTo>
                  <a:cubicBezTo>
                    <a:pt x="392" y="524"/>
                    <a:pt x="391" y="518"/>
                    <a:pt x="390" y="513"/>
                  </a:cubicBezTo>
                  <a:cubicBezTo>
                    <a:pt x="389" y="508"/>
                    <a:pt x="388" y="504"/>
                    <a:pt x="387" y="500"/>
                  </a:cubicBezTo>
                  <a:cubicBezTo>
                    <a:pt x="386" y="498"/>
                    <a:pt x="384" y="497"/>
                    <a:pt x="383" y="495"/>
                  </a:cubicBezTo>
                  <a:cubicBezTo>
                    <a:pt x="379" y="491"/>
                    <a:pt x="376" y="487"/>
                    <a:pt x="377" y="474"/>
                  </a:cubicBezTo>
                  <a:cubicBezTo>
                    <a:pt x="377" y="466"/>
                    <a:pt x="378" y="461"/>
                    <a:pt x="379" y="458"/>
                  </a:cubicBezTo>
                  <a:cubicBezTo>
                    <a:pt x="380" y="455"/>
                    <a:pt x="380" y="453"/>
                    <a:pt x="379" y="449"/>
                  </a:cubicBezTo>
                  <a:cubicBezTo>
                    <a:pt x="378" y="447"/>
                    <a:pt x="377" y="445"/>
                    <a:pt x="376" y="444"/>
                  </a:cubicBezTo>
                  <a:cubicBezTo>
                    <a:pt x="373" y="440"/>
                    <a:pt x="371" y="437"/>
                    <a:pt x="376" y="429"/>
                  </a:cubicBezTo>
                  <a:cubicBezTo>
                    <a:pt x="378" y="423"/>
                    <a:pt x="381" y="421"/>
                    <a:pt x="385" y="419"/>
                  </a:cubicBezTo>
                  <a:cubicBezTo>
                    <a:pt x="388" y="417"/>
                    <a:pt x="392" y="415"/>
                    <a:pt x="396" y="406"/>
                  </a:cubicBezTo>
                  <a:cubicBezTo>
                    <a:pt x="399" y="399"/>
                    <a:pt x="403" y="390"/>
                    <a:pt x="406" y="382"/>
                  </a:cubicBezTo>
                  <a:cubicBezTo>
                    <a:pt x="410" y="372"/>
                    <a:pt x="413" y="362"/>
                    <a:pt x="416" y="357"/>
                  </a:cubicBezTo>
                  <a:cubicBezTo>
                    <a:pt x="419" y="353"/>
                    <a:pt x="424" y="347"/>
                    <a:pt x="428" y="343"/>
                  </a:cubicBezTo>
                  <a:cubicBezTo>
                    <a:pt x="432" y="340"/>
                    <a:pt x="435" y="337"/>
                    <a:pt x="439" y="336"/>
                  </a:cubicBezTo>
                  <a:cubicBezTo>
                    <a:pt x="437" y="329"/>
                    <a:pt x="432" y="310"/>
                    <a:pt x="416" y="290"/>
                  </a:cubicBezTo>
                  <a:cubicBezTo>
                    <a:pt x="405" y="277"/>
                    <a:pt x="398" y="268"/>
                    <a:pt x="392" y="261"/>
                  </a:cubicBezTo>
                  <a:cubicBezTo>
                    <a:pt x="385" y="254"/>
                    <a:pt x="380" y="249"/>
                    <a:pt x="374" y="244"/>
                  </a:cubicBezTo>
                  <a:cubicBezTo>
                    <a:pt x="368" y="239"/>
                    <a:pt x="362" y="233"/>
                    <a:pt x="358" y="227"/>
                  </a:cubicBezTo>
                  <a:cubicBezTo>
                    <a:pt x="353" y="221"/>
                    <a:pt x="349" y="215"/>
                    <a:pt x="348" y="211"/>
                  </a:cubicBezTo>
                  <a:cubicBezTo>
                    <a:pt x="348" y="207"/>
                    <a:pt x="349" y="203"/>
                    <a:pt x="351" y="199"/>
                  </a:cubicBezTo>
                  <a:cubicBezTo>
                    <a:pt x="354" y="196"/>
                    <a:pt x="358" y="192"/>
                    <a:pt x="362" y="190"/>
                  </a:cubicBezTo>
                  <a:cubicBezTo>
                    <a:pt x="366" y="188"/>
                    <a:pt x="371" y="187"/>
                    <a:pt x="376" y="188"/>
                  </a:cubicBezTo>
                  <a:cubicBezTo>
                    <a:pt x="381" y="189"/>
                    <a:pt x="388" y="190"/>
                    <a:pt x="395" y="193"/>
                  </a:cubicBezTo>
                  <a:cubicBezTo>
                    <a:pt x="399" y="194"/>
                    <a:pt x="406" y="195"/>
                    <a:pt x="412" y="194"/>
                  </a:cubicBezTo>
                  <a:cubicBezTo>
                    <a:pt x="424" y="193"/>
                    <a:pt x="435" y="190"/>
                    <a:pt x="439" y="189"/>
                  </a:cubicBezTo>
                  <a:cubicBezTo>
                    <a:pt x="439" y="189"/>
                    <a:pt x="439" y="189"/>
                    <a:pt x="440" y="189"/>
                  </a:cubicBezTo>
                  <a:cubicBezTo>
                    <a:pt x="440" y="189"/>
                    <a:pt x="439" y="188"/>
                    <a:pt x="439" y="188"/>
                  </a:cubicBezTo>
                  <a:cubicBezTo>
                    <a:pt x="438" y="185"/>
                    <a:pt x="435" y="180"/>
                    <a:pt x="428" y="173"/>
                  </a:cubicBezTo>
                  <a:cubicBezTo>
                    <a:pt x="417" y="160"/>
                    <a:pt x="414" y="145"/>
                    <a:pt x="411" y="133"/>
                  </a:cubicBezTo>
                  <a:cubicBezTo>
                    <a:pt x="411" y="130"/>
                    <a:pt x="410" y="127"/>
                    <a:pt x="410" y="125"/>
                  </a:cubicBezTo>
                  <a:cubicBezTo>
                    <a:pt x="408" y="116"/>
                    <a:pt x="409" y="111"/>
                    <a:pt x="412" y="103"/>
                  </a:cubicBezTo>
                  <a:cubicBezTo>
                    <a:pt x="413" y="99"/>
                    <a:pt x="414" y="95"/>
                    <a:pt x="415" y="89"/>
                  </a:cubicBezTo>
                  <a:cubicBezTo>
                    <a:pt x="417" y="79"/>
                    <a:pt x="416" y="78"/>
                    <a:pt x="413" y="72"/>
                  </a:cubicBezTo>
                  <a:cubicBezTo>
                    <a:pt x="411" y="69"/>
                    <a:pt x="408" y="65"/>
                    <a:pt x="405" y="58"/>
                  </a:cubicBezTo>
                  <a:cubicBezTo>
                    <a:pt x="398" y="43"/>
                    <a:pt x="398" y="41"/>
                    <a:pt x="397" y="35"/>
                  </a:cubicBezTo>
                  <a:cubicBezTo>
                    <a:pt x="397" y="34"/>
                    <a:pt x="397" y="32"/>
                    <a:pt x="396" y="29"/>
                  </a:cubicBezTo>
                  <a:cubicBezTo>
                    <a:pt x="395" y="23"/>
                    <a:pt x="393" y="17"/>
                    <a:pt x="388" y="13"/>
                  </a:cubicBezTo>
                  <a:cubicBezTo>
                    <a:pt x="384" y="8"/>
                    <a:pt x="379" y="5"/>
                    <a:pt x="372" y="2"/>
                  </a:cubicBezTo>
                  <a:cubicBezTo>
                    <a:pt x="363" y="0"/>
                    <a:pt x="361" y="0"/>
                    <a:pt x="360" y="1"/>
                  </a:cubicBezTo>
                  <a:cubicBezTo>
                    <a:pt x="359" y="2"/>
                    <a:pt x="358" y="2"/>
                    <a:pt x="357" y="2"/>
                  </a:cubicBezTo>
                  <a:cubicBezTo>
                    <a:pt x="357" y="3"/>
                    <a:pt x="357" y="3"/>
                    <a:pt x="357" y="3"/>
                  </a:cubicBezTo>
                  <a:cubicBezTo>
                    <a:pt x="358" y="6"/>
                    <a:pt x="358" y="11"/>
                    <a:pt x="359" y="16"/>
                  </a:cubicBezTo>
                  <a:cubicBezTo>
                    <a:pt x="359" y="23"/>
                    <a:pt x="360" y="32"/>
                    <a:pt x="364" y="39"/>
                  </a:cubicBezTo>
                  <a:cubicBezTo>
                    <a:pt x="368" y="45"/>
                    <a:pt x="372" y="46"/>
                    <a:pt x="375" y="47"/>
                  </a:cubicBezTo>
                  <a:cubicBezTo>
                    <a:pt x="378" y="48"/>
                    <a:pt x="381" y="49"/>
                    <a:pt x="383" y="52"/>
                  </a:cubicBezTo>
                  <a:cubicBezTo>
                    <a:pt x="386" y="57"/>
                    <a:pt x="387" y="65"/>
                    <a:pt x="387" y="74"/>
                  </a:cubicBezTo>
                  <a:cubicBezTo>
                    <a:pt x="387" y="76"/>
                    <a:pt x="387" y="79"/>
                    <a:pt x="387" y="82"/>
                  </a:cubicBezTo>
                  <a:cubicBezTo>
                    <a:pt x="387" y="88"/>
                    <a:pt x="385" y="94"/>
                    <a:pt x="382" y="99"/>
                  </a:cubicBezTo>
                  <a:cubicBezTo>
                    <a:pt x="377" y="105"/>
                    <a:pt x="371" y="109"/>
                    <a:pt x="366" y="112"/>
                  </a:cubicBezTo>
                  <a:cubicBezTo>
                    <a:pt x="362" y="114"/>
                    <a:pt x="358" y="115"/>
                    <a:pt x="354" y="115"/>
                  </a:cubicBezTo>
                  <a:cubicBezTo>
                    <a:pt x="351" y="116"/>
                    <a:pt x="348" y="117"/>
                    <a:pt x="344" y="119"/>
                  </a:cubicBezTo>
                  <a:cubicBezTo>
                    <a:pt x="338" y="122"/>
                    <a:pt x="335" y="127"/>
                    <a:pt x="331" y="134"/>
                  </a:cubicBezTo>
                  <a:cubicBezTo>
                    <a:pt x="329" y="136"/>
                    <a:pt x="328" y="139"/>
                    <a:pt x="326" y="141"/>
                  </a:cubicBezTo>
                  <a:cubicBezTo>
                    <a:pt x="320" y="150"/>
                    <a:pt x="320" y="154"/>
                    <a:pt x="319" y="163"/>
                  </a:cubicBezTo>
                  <a:cubicBezTo>
                    <a:pt x="319" y="165"/>
                    <a:pt x="319" y="167"/>
                    <a:pt x="318" y="168"/>
                  </a:cubicBezTo>
                  <a:cubicBezTo>
                    <a:pt x="317" y="179"/>
                    <a:pt x="315" y="181"/>
                    <a:pt x="311" y="183"/>
                  </a:cubicBezTo>
                  <a:cubicBezTo>
                    <a:pt x="309" y="184"/>
                    <a:pt x="308" y="185"/>
                    <a:pt x="305" y="189"/>
                  </a:cubicBezTo>
                  <a:cubicBezTo>
                    <a:pt x="305" y="189"/>
                    <a:pt x="305" y="189"/>
                    <a:pt x="305" y="189"/>
                  </a:cubicBezTo>
                  <a:cubicBezTo>
                    <a:pt x="302" y="193"/>
                    <a:pt x="303" y="196"/>
                    <a:pt x="303" y="199"/>
                  </a:cubicBezTo>
                  <a:cubicBezTo>
                    <a:pt x="303" y="199"/>
                    <a:pt x="303" y="199"/>
                    <a:pt x="303" y="199"/>
                  </a:cubicBezTo>
                  <a:cubicBezTo>
                    <a:pt x="303" y="201"/>
                    <a:pt x="304" y="205"/>
                    <a:pt x="303" y="210"/>
                  </a:cubicBezTo>
                  <a:cubicBezTo>
                    <a:pt x="302" y="218"/>
                    <a:pt x="298" y="220"/>
                    <a:pt x="293" y="223"/>
                  </a:cubicBezTo>
                  <a:cubicBezTo>
                    <a:pt x="289" y="226"/>
                    <a:pt x="285" y="228"/>
                    <a:pt x="281" y="234"/>
                  </a:cubicBezTo>
                  <a:cubicBezTo>
                    <a:pt x="276" y="241"/>
                    <a:pt x="276" y="249"/>
                    <a:pt x="276" y="255"/>
                  </a:cubicBezTo>
                  <a:cubicBezTo>
                    <a:pt x="276" y="261"/>
                    <a:pt x="276" y="266"/>
                    <a:pt x="272" y="270"/>
                  </a:cubicBezTo>
                  <a:cubicBezTo>
                    <a:pt x="269" y="274"/>
                    <a:pt x="263" y="278"/>
                    <a:pt x="256" y="282"/>
                  </a:cubicBezTo>
                  <a:cubicBezTo>
                    <a:pt x="249" y="287"/>
                    <a:pt x="242" y="291"/>
                    <a:pt x="240" y="295"/>
                  </a:cubicBezTo>
                  <a:cubicBezTo>
                    <a:pt x="238" y="299"/>
                    <a:pt x="238" y="301"/>
                    <a:pt x="238" y="303"/>
                  </a:cubicBezTo>
                  <a:cubicBezTo>
                    <a:pt x="239" y="306"/>
                    <a:pt x="239" y="308"/>
                    <a:pt x="239" y="312"/>
                  </a:cubicBezTo>
                  <a:cubicBezTo>
                    <a:pt x="238" y="317"/>
                    <a:pt x="231" y="327"/>
                    <a:pt x="225" y="337"/>
                  </a:cubicBezTo>
                  <a:cubicBezTo>
                    <a:pt x="220" y="346"/>
                    <a:pt x="215" y="354"/>
                    <a:pt x="214" y="357"/>
                  </a:cubicBezTo>
                  <a:cubicBezTo>
                    <a:pt x="213" y="360"/>
                    <a:pt x="214" y="363"/>
                    <a:pt x="214" y="365"/>
                  </a:cubicBezTo>
                  <a:cubicBezTo>
                    <a:pt x="214" y="370"/>
                    <a:pt x="215" y="375"/>
                    <a:pt x="210" y="382"/>
                  </a:cubicBezTo>
                  <a:cubicBezTo>
                    <a:pt x="206" y="388"/>
                    <a:pt x="199" y="396"/>
                    <a:pt x="192" y="402"/>
                  </a:cubicBezTo>
                  <a:cubicBezTo>
                    <a:pt x="186" y="407"/>
                    <a:pt x="180" y="410"/>
                    <a:pt x="174" y="410"/>
                  </a:cubicBezTo>
                  <a:cubicBezTo>
                    <a:pt x="163" y="410"/>
                    <a:pt x="159" y="404"/>
                    <a:pt x="153" y="397"/>
                  </a:cubicBezTo>
                  <a:cubicBezTo>
                    <a:pt x="151" y="395"/>
                    <a:pt x="150" y="392"/>
                    <a:pt x="147" y="390"/>
                  </a:cubicBezTo>
                  <a:cubicBezTo>
                    <a:pt x="143" y="385"/>
                    <a:pt x="141" y="383"/>
                    <a:pt x="139" y="382"/>
                  </a:cubicBezTo>
                  <a:cubicBezTo>
                    <a:pt x="138" y="382"/>
                    <a:pt x="137" y="382"/>
                    <a:pt x="135" y="382"/>
                  </a:cubicBezTo>
                  <a:cubicBezTo>
                    <a:pt x="133" y="383"/>
                    <a:pt x="133" y="384"/>
                    <a:pt x="132" y="385"/>
                  </a:cubicBezTo>
                  <a:cubicBezTo>
                    <a:pt x="131" y="386"/>
                    <a:pt x="130" y="387"/>
                    <a:pt x="129" y="389"/>
                  </a:cubicBezTo>
                  <a:cubicBezTo>
                    <a:pt x="123" y="394"/>
                    <a:pt x="118" y="390"/>
                    <a:pt x="110" y="385"/>
                  </a:cubicBezTo>
                  <a:cubicBezTo>
                    <a:pt x="110" y="384"/>
                    <a:pt x="109" y="384"/>
                    <a:pt x="108" y="383"/>
                  </a:cubicBezTo>
                  <a:cubicBezTo>
                    <a:pt x="104" y="381"/>
                    <a:pt x="103" y="382"/>
                    <a:pt x="100" y="385"/>
                  </a:cubicBezTo>
                  <a:cubicBezTo>
                    <a:pt x="99" y="386"/>
                    <a:pt x="97" y="388"/>
                    <a:pt x="96" y="389"/>
                  </a:cubicBezTo>
                  <a:cubicBezTo>
                    <a:pt x="92" y="392"/>
                    <a:pt x="87" y="398"/>
                    <a:pt x="80" y="405"/>
                  </a:cubicBezTo>
                  <a:cubicBezTo>
                    <a:pt x="72" y="414"/>
                    <a:pt x="64" y="423"/>
                    <a:pt x="56" y="431"/>
                  </a:cubicBezTo>
                  <a:cubicBezTo>
                    <a:pt x="52" y="434"/>
                    <a:pt x="49" y="437"/>
                    <a:pt x="47" y="439"/>
                  </a:cubicBezTo>
                  <a:cubicBezTo>
                    <a:pt x="39" y="445"/>
                    <a:pt x="35" y="449"/>
                    <a:pt x="31" y="456"/>
                  </a:cubicBezTo>
                  <a:cubicBezTo>
                    <a:pt x="28" y="462"/>
                    <a:pt x="28" y="467"/>
                    <a:pt x="28" y="473"/>
                  </a:cubicBezTo>
                  <a:cubicBezTo>
                    <a:pt x="28" y="478"/>
                    <a:pt x="29" y="484"/>
                    <a:pt x="28" y="491"/>
                  </a:cubicBezTo>
                  <a:cubicBezTo>
                    <a:pt x="26" y="503"/>
                    <a:pt x="21" y="512"/>
                    <a:pt x="16" y="518"/>
                  </a:cubicBezTo>
                  <a:cubicBezTo>
                    <a:pt x="21" y="519"/>
                    <a:pt x="25" y="519"/>
                    <a:pt x="27" y="521"/>
                  </a:cubicBezTo>
                  <a:cubicBezTo>
                    <a:pt x="30" y="523"/>
                    <a:pt x="28" y="525"/>
                    <a:pt x="29" y="531"/>
                  </a:cubicBezTo>
                  <a:cubicBezTo>
                    <a:pt x="31" y="536"/>
                    <a:pt x="31" y="539"/>
                    <a:pt x="33" y="543"/>
                  </a:cubicBezTo>
                  <a:cubicBezTo>
                    <a:pt x="34" y="548"/>
                    <a:pt x="34" y="549"/>
                    <a:pt x="38" y="552"/>
                  </a:cubicBezTo>
                  <a:cubicBezTo>
                    <a:pt x="43" y="556"/>
                    <a:pt x="45" y="559"/>
                    <a:pt x="49" y="559"/>
                  </a:cubicBezTo>
                  <a:cubicBezTo>
                    <a:pt x="53" y="560"/>
                    <a:pt x="56" y="562"/>
                    <a:pt x="59" y="560"/>
                  </a:cubicBezTo>
                  <a:cubicBezTo>
                    <a:pt x="63" y="559"/>
                    <a:pt x="64" y="554"/>
                    <a:pt x="67" y="554"/>
                  </a:cubicBezTo>
                  <a:cubicBezTo>
                    <a:pt x="70" y="553"/>
                    <a:pt x="76" y="556"/>
                    <a:pt x="77" y="557"/>
                  </a:cubicBezTo>
                  <a:cubicBezTo>
                    <a:pt x="78" y="558"/>
                    <a:pt x="79" y="560"/>
                    <a:pt x="78" y="563"/>
                  </a:cubicBezTo>
                  <a:cubicBezTo>
                    <a:pt x="78" y="565"/>
                    <a:pt x="75" y="568"/>
                    <a:pt x="73" y="569"/>
                  </a:cubicBezTo>
                  <a:cubicBezTo>
                    <a:pt x="70" y="570"/>
                    <a:pt x="66" y="571"/>
                    <a:pt x="70" y="577"/>
                  </a:cubicBezTo>
                  <a:cubicBezTo>
                    <a:pt x="73" y="582"/>
                    <a:pt x="76" y="582"/>
                    <a:pt x="79" y="586"/>
                  </a:cubicBezTo>
                  <a:cubicBezTo>
                    <a:pt x="82" y="591"/>
                    <a:pt x="88" y="597"/>
                    <a:pt x="91" y="602"/>
                  </a:cubicBezTo>
                  <a:cubicBezTo>
                    <a:pt x="94" y="608"/>
                    <a:pt x="95" y="617"/>
                    <a:pt x="93" y="625"/>
                  </a:cubicBezTo>
                  <a:cubicBezTo>
                    <a:pt x="91" y="633"/>
                    <a:pt x="91" y="635"/>
                    <a:pt x="90" y="644"/>
                  </a:cubicBezTo>
                  <a:cubicBezTo>
                    <a:pt x="90" y="651"/>
                    <a:pt x="90" y="657"/>
                    <a:pt x="90" y="661"/>
                  </a:cubicBezTo>
                  <a:cubicBezTo>
                    <a:pt x="95" y="664"/>
                    <a:pt x="101" y="668"/>
                    <a:pt x="104" y="668"/>
                  </a:cubicBezTo>
                  <a:cubicBezTo>
                    <a:pt x="107" y="669"/>
                    <a:pt x="114" y="670"/>
                    <a:pt x="122" y="670"/>
                  </a:cubicBezTo>
                  <a:cubicBezTo>
                    <a:pt x="130" y="671"/>
                    <a:pt x="139" y="671"/>
                    <a:pt x="149" y="670"/>
                  </a:cubicBezTo>
                  <a:cubicBezTo>
                    <a:pt x="157" y="670"/>
                    <a:pt x="162" y="670"/>
                    <a:pt x="167" y="670"/>
                  </a:cubicBezTo>
                  <a:cubicBezTo>
                    <a:pt x="174" y="671"/>
                    <a:pt x="178" y="671"/>
                    <a:pt x="182" y="669"/>
                  </a:cubicBezTo>
                  <a:cubicBezTo>
                    <a:pt x="186" y="667"/>
                    <a:pt x="189" y="665"/>
                    <a:pt x="193" y="665"/>
                  </a:cubicBezTo>
                  <a:cubicBezTo>
                    <a:pt x="197" y="664"/>
                    <a:pt x="202" y="664"/>
                    <a:pt x="210" y="664"/>
                  </a:cubicBezTo>
                  <a:cubicBezTo>
                    <a:pt x="220" y="663"/>
                    <a:pt x="234" y="663"/>
                    <a:pt x="247" y="664"/>
                  </a:cubicBezTo>
                  <a:cubicBezTo>
                    <a:pt x="254" y="664"/>
                    <a:pt x="261" y="664"/>
                    <a:pt x="268" y="664"/>
                  </a:cubicBezTo>
                  <a:cubicBezTo>
                    <a:pt x="268" y="664"/>
                    <a:pt x="268" y="664"/>
                    <a:pt x="268" y="664"/>
                  </a:cubicBezTo>
                  <a:cubicBezTo>
                    <a:pt x="273" y="664"/>
                    <a:pt x="273" y="664"/>
                    <a:pt x="273" y="664"/>
                  </a:cubicBezTo>
                  <a:cubicBezTo>
                    <a:pt x="287" y="664"/>
                    <a:pt x="288" y="664"/>
                    <a:pt x="298" y="669"/>
                  </a:cubicBezTo>
                  <a:cubicBezTo>
                    <a:pt x="302" y="671"/>
                    <a:pt x="307" y="672"/>
                    <a:pt x="314" y="672"/>
                  </a:cubicBezTo>
                  <a:cubicBezTo>
                    <a:pt x="325" y="674"/>
                    <a:pt x="337" y="673"/>
                    <a:pt x="340" y="673"/>
                  </a:cubicBezTo>
                  <a:cubicBezTo>
                    <a:pt x="342" y="673"/>
                    <a:pt x="351" y="673"/>
                    <a:pt x="359" y="673"/>
                  </a:cubicBezTo>
                  <a:cubicBezTo>
                    <a:pt x="368" y="673"/>
                    <a:pt x="377" y="673"/>
                    <a:pt x="380" y="673"/>
                  </a:cubicBezTo>
                  <a:cubicBezTo>
                    <a:pt x="385" y="673"/>
                    <a:pt x="388" y="675"/>
                    <a:pt x="391" y="677"/>
                  </a:cubicBezTo>
                  <a:cubicBezTo>
                    <a:pt x="393" y="679"/>
                    <a:pt x="396" y="681"/>
                    <a:pt x="400" y="681"/>
                  </a:cubicBezTo>
                  <a:cubicBezTo>
                    <a:pt x="405" y="682"/>
                    <a:pt x="408" y="682"/>
                    <a:pt x="412" y="682"/>
                  </a:cubicBezTo>
                  <a:cubicBezTo>
                    <a:pt x="416" y="682"/>
                    <a:pt x="422" y="682"/>
                    <a:pt x="430" y="683"/>
                  </a:cubicBezTo>
                  <a:cubicBezTo>
                    <a:pt x="443" y="684"/>
                    <a:pt x="449" y="687"/>
                    <a:pt x="455" y="691"/>
                  </a:cubicBezTo>
                  <a:cubicBezTo>
                    <a:pt x="458" y="693"/>
                    <a:pt x="460" y="694"/>
                    <a:pt x="464" y="695"/>
                  </a:cubicBezTo>
                  <a:cubicBezTo>
                    <a:pt x="468" y="697"/>
                    <a:pt x="470" y="697"/>
                    <a:pt x="470" y="696"/>
                  </a:cubicBezTo>
                  <a:cubicBezTo>
                    <a:pt x="471" y="695"/>
                    <a:pt x="472" y="692"/>
                    <a:pt x="472" y="688"/>
                  </a:cubicBezTo>
                  <a:cubicBezTo>
                    <a:pt x="472" y="686"/>
                    <a:pt x="471" y="684"/>
                    <a:pt x="471" y="683"/>
                  </a:cubicBezTo>
                  <a:cubicBezTo>
                    <a:pt x="470" y="677"/>
                    <a:pt x="470" y="675"/>
                    <a:pt x="480" y="664"/>
                  </a:cubicBezTo>
                  <a:cubicBezTo>
                    <a:pt x="479" y="663"/>
                    <a:pt x="478" y="662"/>
                    <a:pt x="478" y="660"/>
                  </a:cubicBezTo>
                  <a:close/>
                  <a:moveTo>
                    <a:pt x="27" y="579"/>
                  </a:moveTo>
                  <a:cubicBezTo>
                    <a:pt x="20" y="581"/>
                    <a:pt x="13" y="580"/>
                    <a:pt x="13" y="586"/>
                  </a:cubicBezTo>
                  <a:cubicBezTo>
                    <a:pt x="13" y="592"/>
                    <a:pt x="14" y="591"/>
                    <a:pt x="8" y="595"/>
                  </a:cubicBezTo>
                  <a:cubicBezTo>
                    <a:pt x="2" y="600"/>
                    <a:pt x="0" y="605"/>
                    <a:pt x="5" y="608"/>
                  </a:cubicBezTo>
                  <a:cubicBezTo>
                    <a:pt x="11" y="611"/>
                    <a:pt x="16" y="614"/>
                    <a:pt x="19" y="609"/>
                  </a:cubicBezTo>
                  <a:cubicBezTo>
                    <a:pt x="23" y="604"/>
                    <a:pt x="20" y="595"/>
                    <a:pt x="24" y="592"/>
                  </a:cubicBezTo>
                  <a:cubicBezTo>
                    <a:pt x="29" y="588"/>
                    <a:pt x="31" y="586"/>
                    <a:pt x="32" y="584"/>
                  </a:cubicBezTo>
                  <a:cubicBezTo>
                    <a:pt x="32" y="582"/>
                    <a:pt x="33" y="578"/>
                    <a:pt x="27" y="57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1" name="Freeform 190"/>
            <p:cNvSpPr>
              <a:spLocks/>
            </p:cNvSpPr>
            <p:nvPr/>
          </p:nvSpPr>
          <p:spPr bwMode="auto">
            <a:xfrm>
              <a:off x="4061334" y="4154778"/>
              <a:ext cx="209550" cy="230981"/>
            </a:xfrm>
            <a:custGeom>
              <a:avLst/>
              <a:gdLst>
                <a:gd name="T0" fmla="*/ 34 w 729"/>
                <a:gd name="T1" fmla="*/ 696 h 807"/>
                <a:gd name="T2" fmla="*/ 64 w 729"/>
                <a:gd name="T3" fmla="*/ 690 h 807"/>
                <a:gd name="T4" fmla="*/ 104 w 729"/>
                <a:gd name="T5" fmla="*/ 686 h 807"/>
                <a:gd name="T6" fmla="*/ 144 w 729"/>
                <a:gd name="T7" fmla="*/ 682 h 807"/>
                <a:gd name="T8" fmla="*/ 178 w 729"/>
                <a:gd name="T9" fmla="*/ 697 h 807"/>
                <a:gd name="T10" fmla="*/ 205 w 729"/>
                <a:gd name="T11" fmla="*/ 710 h 807"/>
                <a:gd name="T12" fmla="*/ 224 w 729"/>
                <a:gd name="T13" fmla="*/ 726 h 807"/>
                <a:gd name="T14" fmla="*/ 243 w 729"/>
                <a:gd name="T15" fmla="*/ 753 h 807"/>
                <a:gd name="T16" fmla="*/ 280 w 729"/>
                <a:gd name="T17" fmla="*/ 791 h 807"/>
                <a:gd name="T18" fmla="*/ 295 w 729"/>
                <a:gd name="T19" fmla="*/ 807 h 807"/>
                <a:gd name="T20" fmla="*/ 319 w 729"/>
                <a:gd name="T21" fmla="*/ 770 h 807"/>
                <a:gd name="T22" fmla="*/ 328 w 729"/>
                <a:gd name="T23" fmla="*/ 747 h 807"/>
                <a:gd name="T24" fmla="*/ 362 w 729"/>
                <a:gd name="T25" fmla="*/ 762 h 807"/>
                <a:gd name="T26" fmla="*/ 380 w 729"/>
                <a:gd name="T27" fmla="*/ 769 h 807"/>
                <a:gd name="T28" fmla="*/ 415 w 729"/>
                <a:gd name="T29" fmla="*/ 757 h 807"/>
                <a:gd name="T30" fmla="*/ 462 w 729"/>
                <a:gd name="T31" fmla="*/ 754 h 807"/>
                <a:gd name="T32" fmla="*/ 484 w 729"/>
                <a:gd name="T33" fmla="*/ 749 h 807"/>
                <a:gd name="T34" fmla="*/ 569 w 729"/>
                <a:gd name="T35" fmla="*/ 753 h 807"/>
                <a:gd name="T36" fmla="*/ 706 w 729"/>
                <a:gd name="T37" fmla="*/ 745 h 807"/>
                <a:gd name="T38" fmla="*/ 709 w 729"/>
                <a:gd name="T39" fmla="*/ 725 h 807"/>
                <a:gd name="T40" fmla="*/ 708 w 729"/>
                <a:gd name="T41" fmla="*/ 699 h 807"/>
                <a:gd name="T42" fmla="*/ 652 w 729"/>
                <a:gd name="T43" fmla="*/ 268 h 807"/>
                <a:gd name="T44" fmla="*/ 640 w 729"/>
                <a:gd name="T45" fmla="*/ 148 h 807"/>
                <a:gd name="T46" fmla="*/ 729 w 729"/>
                <a:gd name="T47" fmla="*/ 141 h 807"/>
                <a:gd name="T48" fmla="*/ 517 w 729"/>
                <a:gd name="T49" fmla="*/ 67 h 807"/>
                <a:gd name="T50" fmla="*/ 502 w 729"/>
                <a:gd name="T51" fmla="*/ 83 h 807"/>
                <a:gd name="T52" fmla="*/ 316 w 729"/>
                <a:gd name="T53" fmla="*/ 83 h 807"/>
                <a:gd name="T54" fmla="*/ 312 w 729"/>
                <a:gd name="T55" fmla="*/ 86 h 807"/>
                <a:gd name="T56" fmla="*/ 312 w 729"/>
                <a:gd name="T57" fmla="*/ 234 h 807"/>
                <a:gd name="T58" fmla="*/ 313 w 729"/>
                <a:gd name="T59" fmla="*/ 235 h 807"/>
                <a:gd name="T60" fmla="*/ 296 w 729"/>
                <a:gd name="T61" fmla="*/ 253 h 807"/>
                <a:gd name="T62" fmla="*/ 251 w 729"/>
                <a:gd name="T63" fmla="*/ 278 h 807"/>
                <a:gd name="T64" fmla="*/ 243 w 729"/>
                <a:gd name="T65" fmla="*/ 310 h 807"/>
                <a:gd name="T66" fmla="*/ 248 w 729"/>
                <a:gd name="T67" fmla="*/ 366 h 807"/>
                <a:gd name="T68" fmla="*/ 247 w 729"/>
                <a:gd name="T69" fmla="*/ 383 h 807"/>
                <a:gd name="T70" fmla="*/ 0 w 729"/>
                <a:gd name="T71" fmla="*/ 389 h 807"/>
                <a:gd name="T72" fmla="*/ 13 w 729"/>
                <a:gd name="T73" fmla="*/ 415 h 807"/>
                <a:gd name="T74" fmla="*/ 30 w 729"/>
                <a:gd name="T75" fmla="*/ 430 h 807"/>
                <a:gd name="T76" fmla="*/ 45 w 729"/>
                <a:gd name="T77" fmla="*/ 452 h 807"/>
                <a:gd name="T78" fmla="*/ 41 w 729"/>
                <a:gd name="T79" fmla="*/ 487 h 807"/>
                <a:gd name="T80" fmla="*/ 33 w 729"/>
                <a:gd name="T81" fmla="*/ 514 h 807"/>
                <a:gd name="T82" fmla="*/ 49 w 729"/>
                <a:gd name="T83" fmla="*/ 540 h 807"/>
                <a:gd name="T84" fmla="*/ 57 w 729"/>
                <a:gd name="T85" fmla="*/ 610 h 807"/>
                <a:gd name="T86" fmla="*/ 42 w 729"/>
                <a:gd name="T87" fmla="*/ 673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29" h="807">
                  <a:moveTo>
                    <a:pt x="42" y="673"/>
                  </a:moveTo>
                  <a:cubicBezTo>
                    <a:pt x="38" y="685"/>
                    <a:pt x="36" y="691"/>
                    <a:pt x="34" y="696"/>
                  </a:cubicBezTo>
                  <a:cubicBezTo>
                    <a:pt x="38" y="694"/>
                    <a:pt x="43" y="692"/>
                    <a:pt x="47" y="691"/>
                  </a:cubicBezTo>
                  <a:cubicBezTo>
                    <a:pt x="54" y="689"/>
                    <a:pt x="58" y="689"/>
                    <a:pt x="64" y="690"/>
                  </a:cubicBezTo>
                  <a:cubicBezTo>
                    <a:pt x="68" y="690"/>
                    <a:pt x="73" y="690"/>
                    <a:pt x="80" y="690"/>
                  </a:cubicBezTo>
                  <a:cubicBezTo>
                    <a:pt x="89" y="689"/>
                    <a:pt x="97" y="688"/>
                    <a:pt x="104" y="686"/>
                  </a:cubicBezTo>
                  <a:cubicBezTo>
                    <a:pt x="113" y="684"/>
                    <a:pt x="121" y="683"/>
                    <a:pt x="131" y="683"/>
                  </a:cubicBezTo>
                  <a:cubicBezTo>
                    <a:pt x="136" y="682"/>
                    <a:pt x="140" y="682"/>
                    <a:pt x="144" y="682"/>
                  </a:cubicBezTo>
                  <a:cubicBezTo>
                    <a:pt x="153" y="680"/>
                    <a:pt x="159" y="680"/>
                    <a:pt x="167" y="685"/>
                  </a:cubicBezTo>
                  <a:cubicBezTo>
                    <a:pt x="173" y="689"/>
                    <a:pt x="175" y="693"/>
                    <a:pt x="178" y="697"/>
                  </a:cubicBezTo>
                  <a:cubicBezTo>
                    <a:pt x="180" y="701"/>
                    <a:pt x="183" y="705"/>
                    <a:pt x="189" y="707"/>
                  </a:cubicBezTo>
                  <a:cubicBezTo>
                    <a:pt x="195" y="709"/>
                    <a:pt x="200" y="710"/>
                    <a:pt x="205" y="710"/>
                  </a:cubicBezTo>
                  <a:cubicBezTo>
                    <a:pt x="211" y="711"/>
                    <a:pt x="215" y="712"/>
                    <a:pt x="219" y="715"/>
                  </a:cubicBezTo>
                  <a:cubicBezTo>
                    <a:pt x="223" y="718"/>
                    <a:pt x="223" y="721"/>
                    <a:pt x="224" y="726"/>
                  </a:cubicBezTo>
                  <a:cubicBezTo>
                    <a:pt x="225" y="731"/>
                    <a:pt x="226" y="737"/>
                    <a:pt x="234" y="744"/>
                  </a:cubicBezTo>
                  <a:cubicBezTo>
                    <a:pt x="238" y="748"/>
                    <a:pt x="241" y="751"/>
                    <a:pt x="243" y="753"/>
                  </a:cubicBezTo>
                  <a:cubicBezTo>
                    <a:pt x="249" y="759"/>
                    <a:pt x="252" y="761"/>
                    <a:pt x="263" y="773"/>
                  </a:cubicBezTo>
                  <a:cubicBezTo>
                    <a:pt x="270" y="781"/>
                    <a:pt x="276" y="787"/>
                    <a:pt x="280" y="791"/>
                  </a:cubicBezTo>
                  <a:cubicBezTo>
                    <a:pt x="286" y="797"/>
                    <a:pt x="290" y="802"/>
                    <a:pt x="294" y="806"/>
                  </a:cubicBezTo>
                  <a:cubicBezTo>
                    <a:pt x="295" y="807"/>
                    <a:pt x="295" y="807"/>
                    <a:pt x="295" y="807"/>
                  </a:cubicBezTo>
                  <a:cubicBezTo>
                    <a:pt x="300" y="804"/>
                    <a:pt x="311" y="797"/>
                    <a:pt x="315" y="790"/>
                  </a:cubicBezTo>
                  <a:cubicBezTo>
                    <a:pt x="317" y="784"/>
                    <a:pt x="318" y="776"/>
                    <a:pt x="319" y="770"/>
                  </a:cubicBezTo>
                  <a:cubicBezTo>
                    <a:pt x="319" y="765"/>
                    <a:pt x="320" y="761"/>
                    <a:pt x="321" y="757"/>
                  </a:cubicBezTo>
                  <a:cubicBezTo>
                    <a:pt x="323" y="751"/>
                    <a:pt x="324" y="748"/>
                    <a:pt x="328" y="747"/>
                  </a:cubicBezTo>
                  <a:cubicBezTo>
                    <a:pt x="331" y="745"/>
                    <a:pt x="335" y="745"/>
                    <a:pt x="340" y="745"/>
                  </a:cubicBezTo>
                  <a:cubicBezTo>
                    <a:pt x="347" y="746"/>
                    <a:pt x="355" y="754"/>
                    <a:pt x="362" y="762"/>
                  </a:cubicBezTo>
                  <a:cubicBezTo>
                    <a:pt x="368" y="768"/>
                    <a:pt x="374" y="774"/>
                    <a:pt x="376" y="774"/>
                  </a:cubicBezTo>
                  <a:cubicBezTo>
                    <a:pt x="378" y="774"/>
                    <a:pt x="379" y="772"/>
                    <a:pt x="380" y="769"/>
                  </a:cubicBezTo>
                  <a:cubicBezTo>
                    <a:pt x="382" y="763"/>
                    <a:pt x="385" y="757"/>
                    <a:pt x="393" y="756"/>
                  </a:cubicBezTo>
                  <a:cubicBezTo>
                    <a:pt x="396" y="756"/>
                    <a:pt x="405" y="757"/>
                    <a:pt x="415" y="757"/>
                  </a:cubicBezTo>
                  <a:cubicBezTo>
                    <a:pt x="432" y="757"/>
                    <a:pt x="452" y="758"/>
                    <a:pt x="458" y="757"/>
                  </a:cubicBezTo>
                  <a:cubicBezTo>
                    <a:pt x="461" y="756"/>
                    <a:pt x="461" y="755"/>
                    <a:pt x="462" y="754"/>
                  </a:cubicBezTo>
                  <a:cubicBezTo>
                    <a:pt x="463" y="751"/>
                    <a:pt x="464" y="749"/>
                    <a:pt x="468" y="746"/>
                  </a:cubicBezTo>
                  <a:cubicBezTo>
                    <a:pt x="473" y="743"/>
                    <a:pt x="478" y="746"/>
                    <a:pt x="484" y="749"/>
                  </a:cubicBezTo>
                  <a:cubicBezTo>
                    <a:pt x="487" y="751"/>
                    <a:pt x="490" y="753"/>
                    <a:pt x="493" y="753"/>
                  </a:cubicBezTo>
                  <a:cubicBezTo>
                    <a:pt x="498" y="753"/>
                    <a:pt x="531" y="753"/>
                    <a:pt x="569" y="753"/>
                  </a:cubicBezTo>
                  <a:cubicBezTo>
                    <a:pt x="623" y="752"/>
                    <a:pt x="686" y="752"/>
                    <a:pt x="693" y="752"/>
                  </a:cubicBezTo>
                  <a:cubicBezTo>
                    <a:pt x="704" y="752"/>
                    <a:pt x="704" y="751"/>
                    <a:pt x="706" y="745"/>
                  </a:cubicBezTo>
                  <a:cubicBezTo>
                    <a:pt x="706" y="744"/>
                    <a:pt x="706" y="743"/>
                    <a:pt x="706" y="742"/>
                  </a:cubicBezTo>
                  <a:cubicBezTo>
                    <a:pt x="708" y="737"/>
                    <a:pt x="708" y="731"/>
                    <a:pt x="709" y="725"/>
                  </a:cubicBezTo>
                  <a:cubicBezTo>
                    <a:pt x="710" y="718"/>
                    <a:pt x="710" y="712"/>
                    <a:pt x="710" y="706"/>
                  </a:cubicBezTo>
                  <a:cubicBezTo>
                    <a:pt x="710" y="703"/>
                    <a:pt x="709" y="701"/>
                    <a:pt x="708" y="699"/>
                  </a:cubicBezTo>
                  <a:cubicBezTo>
                    <a:pt x="705" y="696"/>
                    <a:pt x="703" y="692"/>
                    <a:pt x="701" y="683"/>
                  </a:cubicBezTo>
                  <a:cubicBezTo>
                    <a:pt x="700" y="672"/>
                    <a:pt x="670" y="418"/>
                    <a:pt x="652" y="268"/>
                  </a:cubicBezTo>
                  <a:cubicBezTo>
                    <a:pt x="645" y="207"/>
                    <a:pt x="640" y="163"/>
                    <a:pt x="640" y="161"/>
                  </a:cubicBezTo>
                  <a:cubicBezTo>
                    <a:pt x="639" y="155"/>
                    <a:pt x="639" y="151"/>
                    <a:pt x="640" y="148"/>
                  </a:cubicBezTo>
                  <a:cubicBezTo>
                    <a:pt x="641" y="144"/>
                    <a:pt x="644" y="141"/>
                    <a:pt x="650" y="141"/>
                  </a:cubicBezTo>
                  <a:cubicBezTo>
                    <a:pt x="658" y="141"/>
                    <a:pt x="705" y="141"/>
                    <a:pt x="729" y="141"/>
                  </a:cubicBezTo>
                  <a:cubicBezTo>
                    <a:pt x="627" y="73"/>
                    <a:pt x="540" y="15"/>
                    <a:pt x="518" y="0"/>
                  </a:cubicBezTo>
                  <a:cubicBezTo>
                    <a:pt x="518" y="34"/>
                    <a:pt x="517" y="64"/>
                    <a:pt x="517" y="67"/>
                  </a:cubicBezTo>
                  <a:cubicBezTo>
                    <a:pt x="517" y="67"/>
                    <a:pt x="517" y="67"/>
                    <a:pt x="517" y="67"/>
                  </a:cubicBezTo>
                  <a:cubicBezTo>
                    <a:pt x="517" y="74"/>
                    <a:pt x="517" y="83"/>
                    <a:pt x="502" y="83"/>
                  </a:cubicBezTo>
                  <a:cubicBezTo>
                    <a:pt x="490" y="83"/>
                    <a:pt x="317" y="83"/>
                    <a:pt x="317" y="83"/>
                  </a:cubicBezTo>
                  <a:cubicBezTo>
                    <a:pt x="316" y="83"/>
                    <a:pt x="316" y="83"/>
                    <a:pt x="316" y="83"/>
                  </a:cubicBezTo>
                  <a:cubicBezTo>
                    <a:pt x="316" y="83"/>
                    <a:pt x="316" y="83"/>
                    <a:pt x="316" y="83"/>
                  </a:cubicBezTo>
                  <a:cubicBezTo>
                    <a:pt x="316" y="83"/>
                    <a:pt x="312" y="82"/>
                    <a:pt x="312" y="86"/>
                  </a:cubicBezTo>
                  <a:cubicBezTo>
                    <a:pt x="313" y="94"/>
                    <a:pt x="312" y="207"/>
                    <a:pt x="312" y="230"/>
                  </a:cubicBezTo>
                  <a:cubicBezTo>
                    <a:pt x="312" y="234"/>
                    <a:pt x="312" y="234"/>
                    <a:pt x="312" y="234"/>
                  </a:cubicBezTo>
                  <a:cubicBezTo>
                    <a:pt x="312" y="234"/>
                    <a:pt x="312" y="234"/>
                    <a:pt x="312" y="234"/>
                  </a:cubicBezTo>
                  <a:cubicBezTo>
                    <a:pt x="312" y="234"/>
                    <a:pt x="312" y="234"/>
                    <a:pt x="313" y="235"/>
                  </a:cubicBezTo>
                  <a:cubicBezTo>
                    <a:pt x="313" y="239"/>
                    <a:pt x="314" y="246"/>
                    <a:pt x="305" y="250"/>
                  </a:cubicBezTo>
                  <a:cubicBezTo>
                    <a:pt x="303" y="250"/>
                    <a:pt x="300" y="252"/>
                    <a:pt x="296" y="253"/>
                  </a:cubicBezTo>
                  <a:cubicBezTo>
                    <a:pt x="287" y="256"/>
                    <a:pt x="273" y="261"/>
                    <a:pt x="268" y="264"/>
                  </a:cubicBezTo>
                  <a:cubicBezTo>
                    <a:pt x="263" y="267"/>
                    <a:pt x="256" y="272"/>
                    <a:pt x="251" y="278"/>
                  </a:cubicBezTo>
                  <a:cubicBezTo>
                    <a:pt x="247" y="282"/>
                    <a:pt x="245" y="286"/>
                    <a:pt x="244" y="289"/>
                  </a:cubicBezTo>
                  <a:cubicBezTo>
                    <a:pt x="243" y="294"/>
                    <a:pt x="243" y="302"/>
                    <a:pt x="243" y="310"/>
                  </a:cubicBezTo>
                  <a:cubicBezTo>
                    <a:pt x="244" y="320"/>
                    <a:pt x="244" y="331"/>
                    <a:pt x="246" y="339"/>
                  </a:cubicBezTo>
                  <a:cubicBezTo>
                    <a:pt x="247" y="348"/>
                    <a:pt x="247" y="359"/>
                    <a:pt x="248" y="366"/>
                  </a:cubicBezTo>
                  <a:cubicBezTo>
                    <a:pt x="248" y="370"/>
                    <a:pt x="248" y="374"/>
                    <a:pt x="248" y="375"/>
                  </a:cubicBezTo>
                  <a:cubicBezTo>
                    <a:pt x="249" y="378"/>
                    <a:pt x="249" y="381"/>
                    <a:pt x="247" y="383"/>
                  </a:cubicBezTo>
                  <a:cubicBezTo>
                    <a:pt x="246" y="385"/>
                    <a:pt x="243" y="386"/>
                    <a:pt x="240" y="387"/>
                  </a:cubicBezTo>
                  <a:cubicBezTo>
                    <a:pt x="235" y="388"/>
                    <a:pt x="45" y="389"/>
                    <a:pt x="0" y="389"/>
                  </a:cubicBezTo>
                  <a:cubicBezTo>
                    <a:pt x="1" y="393"/>
                    <a:pt x="2" y="396"/>
                    <a:pt x="3" y="399"/>
                  </a:cubicBezTo>
                  <a:cubicBezTo>
                    <a:pt x="5" y="404"/>
                    <a:pt x="10" y="410"/>
                    <a:pt x="13" y="415"/>
                  </a:cubicBezTo>
                  <a:cubicBezTo>
                    <a:pt x="17" y="419"/>
                    <a:pt x="20" y="427"/>
                    <a:pt x="21" y="429"/>
                  </a:cubicBezTo>
                  <a:cubicBezTo>
                    <a:pt x="23" y="431"/>
                    <a:pt x="25" y="427"/>
                    <a:pt x="30" y="430"/>
                  </a:cubicBezTo>
                  <a:cubicBezTo>
                    <a:pt x="36" y="432"/>
                    <a:pt x="38" y="435"/>
                    <a:pt x="40" y="438"/>
                  </a:cubicBezTo>
                  <a:cubicBezTo>
                    <a:pt x="42" y="441"/>
                    <a:pt x="42" y="444"/>
                    <a:pt x="45" y="452"/>
                  </a:cubicBezTo>
                  <a:cubicBezTo>
                    <a:pt x="49" y="460"/>
                    <a:pt x="52" y="459"/>
                    <a:pt x="48" y="471"/>
                  </a:cubicBezTo>
                  <a:cubicBezTo>
                    <a:pt x="45" y="482"/>
                    <a:pt x="43" y="480"/>
                    <a:pt x="41" y="487"/>
                  </a:cubicBezTo>
                  <a:cubicBezTo>
                    <a:pt x="39" y="495"/>
                    <a:pt x="41" y="498"/>
                    <a:pt x="39" y="502"/>
                  </a:cubicBezTo>
                  <a:cubicBezTo>
                    <a:pt x="37" y="507"/>
                    <a:pt x="33" y="509"/>
                    <a:pt x="33" y="514"/>
                  </a:cubicBezTo>
                  <a:cubicBezTo>
                    <a:pt x="33" y="518"/>
                    <a:pt x="38" y="524"/>
                    <a:pt x="42" y="528"/>
                  </a:cubicBezTo>
                  <a:cubicBezTo>
                    <a:pt x="47" y="533"/>
                    <a:pt x="49" y="533"/>
                    <a:pt x="49" y="540"/>
                  </a:cubicBezTo>
                  <a:cubicBezTo>
                    <a:pt x="49" y="546"/>
                    <a:pt x="51" y="568"/>
                    <a:pt x="53" y="581"/>
                  </a:cubicBezTo>
                  <a:cubicBezTo>
                    <a:pt x="55" y="594"/>
                    <a:pt x="56" y="601"/>
                    <a:pt x="57" y="610"/>
                  </a:cubicBezTo>
                  <a:cubicBezTo>
                    <a:pt x="58" y="619"/>
                    <a:pt x="53" y="628"/>
                    <a:pt x="52" y="635"/>
                  </a:cubicBezTo>
                  <a:cubicBezTo>
                    <a:pt x="51" y="641"/>
                    <a:pt x="49" y="649"/>
                    <a:pt x="42" y="67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2" name="Freeform 191"/>
            <p:cNvSpPr>
              <a:spLocks/>
            </p:cNvSpPr>
            <p:nvPr/>
          </p:nvSpPr>
          <p:spPr bwMode="auto">
            <a:xfrm>
              <a:off x="4266122" y="4379807"/>
              <a:ext cx="136922" cy="97631"/>
            </a:xfrm>
            <a:custGeom>
              <a:avLst/>
              <a:gdLst>
                <a:gd name="T0" fmla="*/ 180 w 477"/>
                <a:gd name="T1" fmla="*/ 255 h 341"/>
                <a:gd name="T2" fmla="*/ 218 w 477"/>
                <a:gd name="T3" fmla="*/ 256 h 341"/>
                <a:gd name="T4" fmla="*/ 278 w 477"/>
                <a:gd name="T5" fmla="*/ 256 h 341"/>
                <a:gd name="T6" fmla="*/ 305 w 477"/>
                <a:gd name="T7" fmla="*/ 250 h 341"/>
                <a:gd name="T8" fmla="*/ 336 w 477"/>
                <a:gd name="T9" fmla="*/ 246 h 341"/>
                <a:gd name="T10" fmla="*/ 391 w 477"/>
                <a:gd name="T11" fmla="*/ 255 h 341"/>
                <a:gd name="T12" fmla="*/ 414 w 477"/>
                <a:gd name="T13" fmla="*/ 230 h 341"/>
                <a:gd name="T14" fmla="*/ 450 w 477"/>
                <a:gd name="T15" fmla="*/ 224 h 341"/>
                <a:gd name="T16" fmla="*/ 466 w 477"/>
                <a:gd name="T17" fmla="*/ 219 h 341"/>
                <a:gd name="T18" fmla="*/ 477 w 477"/>
                <a:gd name="T19" fmla="*/ 204 h 341"/>
                <a:gd name="T20" fmla="*/ 466 w 477"/>
                <a:gd name="T21" fmla="*/ 182 h 341"/>
                <a:gd name="T22" fmla="*/ 471 w 477"/>
                <a:gd name="T23" fmla="*/ 163 h 341"/>
                <a:gd name="T24" fmla="*/ 466 w 477"/>
                <a:gd name="T25" fmla="*/ 154 h 341"/>
                <a:gd name="T26" fmla="*/ 444 w 477"/>
                <a:gd name="T27" fmla="*/ 155 h 341"/>
                <a:gd name="T28" fmla="*/ 420 w 477"/>
                <a:gd name="T29" fmla="*/ 145 h 341"/>
                <a:gd name="T30" fmla="*/ 398 w 477"/>
                <a:gd name="T31" fmla="*/ 127 h 341"/>
                <a:gd name="T32" fmla="*/ 401 w 477"/>
                <a:gd name="T33" fmla="*/ 106 h 341"/>
                <a:gd name="T34" fmla="*/ 394 w 477"/>
                <a:gd name="T35" fmla="*/ 96 h 341"/>
                <a:gd name="T36" fmla="*/ 373 w 477"/>
                <a:gd name="T37" fmla="*/ 89 h 341"/>
                <a:gd name="T38" fmla="*/ 362 w 477"/>
                <a:gd name="T39" fmla="*/ 64 h 341"/>
                <a:gd name="T40" fmla="*/ 351 w 477"/>
                <a:gd name="T41" fmla="*/ 44 h 341"/>
                <a:gd name="T42" fmla="*/ 345 w 477"/>
                <a:gd name="T43" fmla="*/ 15 h 341"/>
                <a:gd name="T44" fmla="*/ 288 w 477"/>
                <a:gd name="T45" fmla="*/ 6 h 341"/>
                <a:gd name="T46" fmla="*/ 260 w 477"/>
                <a:gd name="T47" fmla="*/ 28 h 341"/>
                <a:gd name="T48" fmla="*/ 221 w 477"/>
                <a:gd name="T49" fmla="*/ 44 h 341"/>
                <a:gd name="T50" fmla="*/ 214 w 477"/>
                <a:gd name="T51" fmla="*/ 50 h 341"/>
                <a:gd name="T52" fmla="*/ 189 w 477"/>
                <a:gd name="T53" fmla="*/ 58 h 341"/>
                <a:gd name="T54" fmla="*/ 167 w 477"/>
                <a:gd name="T55" fmla="*/ 71 h 341"/>
                <a:gd name="T56" fmla="*/ 143 w 477"/>
                <a:gd name="T57" fmla="*/ 92 h 341"/>
                <a:gd name="T58" fmla="*/ 138 w 477"/>
                <a:gd name="T59" fmla="*/ 101 h 341"/>
                <a:gd name="T60" fmla="*/ 137 w 477"/>
                <a:gd name="T61" fmla="*/ 110 h 341"/>
                <a:gd name="T62" fmla="*/ 137 w 477"/>
                <a:gd name="T63" fmla="*/ 111 h 341"/>
                <a:gd name="T64" fmla="*/ 113 w 477"/>
                <a:gd name="T65" fmla="*/ 121 h 341"/>
                <a:gd name="T66" fmla="*/ 94 w 477"/>
                <a:gd name="T67" fmla="*/ 112 h 341"/>
                <a:gd name="T68" fmla="*/ 83 w 477"/>
                <a:gd name="T69" fmla="*/ 114 h 341"/>
                <a:gd name="T70" fmla="*/ 79 w 477"/>
                <a:gd name="T71" fmla="*/ 132 h 341"/>
                <a:gd name="T72" fmla="*/ 67 w 477"/>
                <a:gd name="T73" fmla="*/ 151 h 341"/>
                <a:gd name="T74" fmla="*/ 64 w 477"/>
                <a:gd name="T75" fmla="*/ 161 h 341"/>
                <a:gd name="T76" fmla="*/ 53 w 477"/>
                <a:gd name="T77" fmla="*/ 187 h 341"/>
                <a:gd name="T78" fmla="*/ 41 w 477"/>
                <a:gd name="T79" fmla="*/ 195 h 341"/>
                <a:gd name="T80" fmla="*/ 24 w 477"/>
                <a:gd name="T81" fmla="*/ 200 h 341"/>
                <a:gd name="T82" fmla="*/ 12 w 477"/>
                <a:gd name="T83" fmla="*/ 211 h 341"/>
                <a:gd name="T84" fmla="*/ 14 w 477"/>
                <a:gd name="T85" fmla="*/ 242 h 341"/>
                <a:gd name="T86" fmla="*/ 2 w 477"/>
                <a:gd name="T87" fmla="*/ 259 h 341"/>
                <a:gd name="T88" fmla="*/ 2 w 477"/>
                <a:gd name="T89" fmla="*/ 288 h 341"/>
                <a:gd name="T90" fmla="*/ 15 w 477"/>
                <a:gd name="T91" fmla="*/ 295 h 341"/>
                <a:gd name="T92" fmla="*/ 33 w 477"/>
                <a:gd name="T93" fmla="*/ 321 h 341"/>
                <a:gd name="T94" fmla="*/ 56 w 477"/>
                <a:gd name="T95" fmla="*/ 334 h 341"/>
                <a:gd name="T96" fmla="*/ 71 w 477"/>
                <a:gd name="T97" fmla="*/ 331 h 341"/>
                <a:gd name="T98" fmla="*/ 96 w 477"/>
                <a:gd name="T99" fmla="*/ 320 h 341"/>
                <a:gd name="T100" fmla="*/ 144 w 477"/>
                <a:gd name="T101" fmla="*/ 328 h 341"/>
                <a:gd name="T102" fmla="*/ 159 w 477"/>
                <a:gd name="T103" fmla="*/ 333 h 341"/>
                <a:gd name="T104" fmla="*/ 156 w 477"/>
                <a:gd name="T105" fmla="*/ 301 h 341"/>
                <a:gd name="T106" fmla="*/ 155 w 477"/>
                <a:gd name="T107" fmla="*/ 265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77" h="341">
                  <a:moveTo>
                    <a:pt x="165" y="256"/>
                  </a:moveTo>
                  <a:cubicBezTo>
                    <a:pt x="170" y="254"/>
                    <a:pt x="174" y="254"/>
                    <a:pt x="180" y="255"/>
                  </a:cubicBezTo>
                  <a:cubicBezTo>
                    <a:pt x="184" y="255"/>
                    <a:pt x="190" y="255"/>
                    <a:pt x="199" y="255"/>
                  </a:cubicBezTo>
                  <a:cubicBezTo>
                    <a:pt x="204" y="255"/>
                    <a:pt x="211" y="256"/>
                    <a:pt x="218" y="256"/>
                  </a:cubicBezTo>
                  <a:cubicBezTo>
                    <a:pt x="230" y="256"/>
                    <a:pt x="242" y="256"/>
                    <a:pt x="258" y="255"/>
                  </a:cubicBezTo>
                  <a:cubicBezTo>
                    <a:pt x="267" y="255"/>
                    <a:pt x="273" y="255"/>
                    <a:pt x="278" y="256"/>
                  </a:cubicBezTo>
                  <a:cubicBezTo>
                    <a:pt x="289" y="256"/>
                    <a:pt x="294" y="256"/>
                    <a:pt x="301" y="253"/>
                  </a:cubicBezTo>
                  <a:cubicBezTo>
                    <a:pt x="303" y="252"/>
                    <a:pt x="305" y="251"/>
                    <a:pt x="305" y="250"/>
                  </a:cubicBezTo>
                  <a:cubicBezTo>
                    <a:pt x="308" y="247"/>
                    <a:pt x="309" y="246"/>
                    <a:pt x="323" y="246"/>
                  </a:cubicBezTo>
                  <a:cubicBezTo>
                    <a:pt x="329" y="246"/>
                    <a:pt x="332" y="246"/>
                    <a:pt x="336" y="246"/>
                  </a:cubicBezTo>
                  <a:cubicBezTo>
                    <a:pt x="346" y="245"/>
                    <a:pt x="351" y="245"/>
                    <a:pt x="362" y="249"/>
                  </a:cubicBezTo>
                  <a:cubicBezTo>
                    <a:pt x="372" y="252"/>
                    <a:pt x="386" y="255"/>
                    <a:pt x="391" y="255"/>
                  </a:cubicBezTo>
                  <a:cubicBezTo>
                    <a:pt x="393" y="254"/>
                    <a:pt x="394" y="252"/>
                    <a:pt x="395" y="250"/>
                  </a:cubicBezTo>
                  <a:cubicBezTo>
                    <a:pt x="402" y="241"/>
                    <a:pt x="409" y="233"/>
                    <a:pt x="414" y="230"/>
                  </a:cubicBezTo>
                  <a:cubicBezTo>
                    <a:pt x="420" y="224"/>
                    <a:pt x="430" y="224"/>
                    <a:pt x="440" y="224"/>
                  </a:cubicBezTo>
                  <a:cubicBezTo>
                    <a:pt x="444" y="224"/>
                    <a:pt x="447" y="224"/>
                    <a:pt x="450" y="224"/>
                  </a:cubicBezTo>
                  <a:cubicBezTo>
                    <a:pt x="453" y="223"/>
                    <a:pt x="456" y="223"/>
                    <a:pt x="458" y="223"/>
                  </a:cubicBezTo>
                  <a:cubicBezTo>
                    <a:pt x="461" y="224"/>
                    <a:pt x="462" y="224"/>
                    <a:pt x="466" y="219"/>
                  </a:cubicBezTo>
                  <a:cubicBezTo>
                    <a:pt x="468" y="216"/>
                    <a:pt x="470" y="213"/>
                    <a:pt x="472" y="211"/>
                  </a:cubicBezTo>
                  <a:cubicBezTo>
                    <a:pt x="475" y="208"/>
                    <a:pt x="477" y="206"/>
                    <a:pt x="477" y="204"/>
                  </a:cubicBezTo>
                  <a:cubicBezTo>
                    <a:pt x="477" y="202"/>
                    <a:pt x="475" y="198"/>
                    <a:pt x="472" y="194"/>
                  </a:cubicBezTo>
                  <a:cubicBezTo>
                    <a:pt x="470" y="190"/>
                    <a:pt x="467" y="186"/>
                    <a:pt x="466" y="182"/>
                  </a:cubicBezTo>
                  <a:cubicBezTo>
                    <a:pt x="463" y="174"/>
                    <a:pt x="465" y="171"/>
                    <a:pt x="468" y="167"/>
                  </a:cubicBezTo>
                  <a:cubicBezTo>
                    <a:pt x="469" y="166"/>
                    <a:pt x="471" y="165"/>
                    <a:pt x="471" y="163"/>
                  </a:cubicBezTo>
                  <a:cubicBezTo>
                    <a:pt x="471" y="160"/>
                    <a:pt x="470" y="158"/>
                    <a:pt x="469" y="156"/>
                  </a:cubicBezTo>
                  <a:cubicBezTo>
                    <a:pt x="468" y="155"/>
                    <a:pt x="467" y="154"/>
                    <a:pt x="466" y="154"/>
                  </a:cubicBezTo>
                  <a:cubicBezTo>
                    <a:pt x="464" y="154"/>
                    <a:pt x="463" y="154"/>
                    <a:pt x="460" y="154"/>
                  </a:cubicBezTo>
                  <a:cubicBezTo>
                    <a:pt x="457" y="155"/>
                    <a:pt x="452" y="156"/>
                    <a:pt x="444" y="155"/>
                  </a:cubicBezTo>
                  <a:cubicBezTo>
                    <a:pt x="434" y="154"/>
                    <a:pt x="432" y="153"/>
                    <a:pt x="425" y="148"/>
                  </a:cubicBezTo>
                  <a:cubicBezTo>
                    <a:pt x="424" y="147"/>
                    <a:pt x="422" y="146"/>
                    <a:pt x="420" y="145"/>
                  </a:cubicBezTo>
                  <a:cubicBezTo>
                    <a:pt x="417" y="143"/>
                    <a:pt x="414" y="141"/>
                    <a:pt x="412" y="140"/>
                  </a:cubicBezTo>
                  <a:cubicBezTo>
                    <a:pt x="405" y="136"/>
                    <a:pt x="402" y="134"/>
                    <a:pt x="398" y="127"/>
                  </a:cubicBezTo>
                  <a:cubicBezTo>
                    <a:pt x="395" y="122"/>
                    <a:pt x="394" y="118"/>
                    <a:pt x="395" y="115"/>
                  </a:cubicBezTo>
                  <a:cubicBezTo>
                    <a:pt x="395" y="112"/>
                    <a:pt x="397" y="110"/>
                    <a:pt x="401" y="106"/>
                  </a:cubicBezTo>
                  <a:cubicBezTo>
                    <a:pt x="402" y="105"/>
                    <a:pt x="402" y="104"/>
                    <a:pt x="402" y="103"/>
                  </a:cubicBezTo>
                  <a:cubicBezTo>
                    <a:pt x="400" y="101"/>
                    <a:pt x="397" y="99"/>
                    <a:pt x="394" y="96"/>
                  </a:cubicBezTo>
                  <a:cubicBezTo>
                    <a:pt x="391" y="94"/>
                    <a:pt x="388" y="94"/>
                    <a:pt x="385" y="93"/>
                  </a:cubicBezTo>
                  <a:cubicBezTo>
                    <a:pt x="380" y="93"/>
                    <a:pt x="376" y="92"/>
                    <a:pt x="373" y="89"/>
                  </a:cubicBezTo>
                  <a:cubicBezTo>
                    <a:pt x="367" y="84"/>
                    <a:pt x="366" y="79"/>
                    <a:pt x="364" y="72"/>
                  </a:cubicBezTo>
                  <a:cubicBezTo>
                    <a:pt x="364" y="70"/>
                    <a:pt x="363" y="67"/>
                    <a:pt x="362" y="64"/>
                  </a:cubicBezTo>
                  <a:cubicBezTo>
                    <a:pt x="359" y="55"/>
                    <a:pt x="357" y="52"/>
                    <a:pt x="354" y="48"/>
                  </a:cubicBezTo>
                  <a:cubicBezTo>
                    <a:pt x="353" y="46"/>
                    <a:pt x="352" y="45"/>
                    <a:pt x="351" y="44"/>
                  </a:cubicBezTo>
                  <a:cubicBezTo>
                    <a:pt x="349" y="40"/>
                    <a:pt x="347" y="35"/>
                    <a:pt x="346" y="29"/>
                  </a:cubicBezTo>
                  <a:cubicBezTo>
                    <a:pt x="345" y="24"/>
                    <a:pt x="345" y="19"/>
                    <a:pt x="345" y="15"/>
                  </a:cubicBezTo>
                  <a:cubicBezTo>
                    <a:pt x="335" y="11"/>
                    <a:pt x="310" y="0"/>
                    <a:pt x="299" y="1"/>
                  </a:cubicBezTo>
                  <a:cubicBezTo>
                    <a:pt x="292" y="1"/>
                    <a:pt x="291" y="3"/>
                    <a:pt x="288" y="6"/>
                  </a:cubicBezTo>
                  <a:cubicBezTo>
                    <a:pt x="286" y="8"/>
                    <a:pt x="284" y="11"/>
                    <a:pt x="279" y="15"/>
                  </a:cubicBezTo>
                  <a:cubicBezTo>
                    <a:pt x="271" y="21"/>
                    <a:pt x="266" y="25"/>
                    <a:pt x="260" y="28"/>
                  </a:cubicBezTo>
                  <a:cubicBezTo>
                    <a:pt x="254" y="31"/>
                    <a:pt x="248" y="33"/>
                    <a:pt x="239" y="35"/>
                  </a:cubicBezTo>
                  <a:cubicBezTo>
                    <a:pt x="227" y="38"/>
                    <a:pt x="224" y="41"/>
                    <a:pt x="221" y="44"/>
                  </a:cubicBezTo>
                  <a:cubicBezTo>
                    <a:pt x="220" y="44"/>
                    <a:pt x="219" y="45"/>
                    <a:pt x="218" y="46"/>
                  </a:cubicBezTo>
                  <a:cubicBezTo>
                    <a:pt x="216" y="47"/>
                    <a:pt x="215" y="49"/>
                    <a:pt x="214" y="50"/>
                  </a:cubicBezTo>
                  <a:cubicBezTo>
                    <a:pt x="211" y="54"/>
                    <a:pt x="208" y="57"/>
                    <a:pt x="202" y="58"/>
                  </a:cubicBezTo>
                  <a:cubicBezTo>
                    <a:pt x="199" y="59"/>
                    <a:pt x="194" y="59"/>
                    <a:pt x="189" y="58"/>
                  </a:cubicBezTo>
                  <a:cubicBezTo>
                    <a:pt x="184" y="57"/>
                    <a:pt x="178" y="56"/>
                    <a:pt x="175" y="58"/>
                  </a:cubicBezTo>
                  <a:cubicBezTo>
                    <a:pt x="173" y="60"/>
                    <a:pt x="170" y="65"/>
                    <a:pt x="167" y="71"/>
                  </a:cubicBezTo>
                  <a:cubicBezTo>
                    <a:pt x="163" y="78"/>
                    <a:pt x="159" y="85"/>
                    <a:pt x="154" y="88"/>
                  </a:cubicBezTo>
                  <a:cubicBezTo>
                    <a:pt x="149" y="92"/>
                    <a:pt x="146" y="92"/>
                    <a:pt x="143" y="92"/>
                  </a:cubicBezTo>
                  <a:cubicBezTo>
                    <a:pt x="142" y="92"/>
                    <a:pt x="141" y="92"/>
                    <a:pt x="139" y="94"/>
                  </a:cubicBezTo>
                  <a:cubicBezTo>
                    <a:pt x="137" y="95"/>
                    <a:pt x="138" y="98"/>
                    <a:pt x="138" y="101"/>
                  </a:cubicBezTo>
                  <a:cubicBezTo>
                    <a:pt x="138" y="104"/>
                    <a:pt x="138" y="107"/>
                    <a:pt x="137" y="110"/>
                  </a:cubicBezTo>
                  <a:cubicBezTo>
                    <a:pt x="137" y="110"/>
                    <a:pt x="137" y="110"/>
                    <a:pt x="137" y="110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6" y="116"/>
                    <a:pt x="133" y="119"/>
                    <a:pt x="129" y="121"/>
                  </a:cubicBezTo>
                  <a:cubicBezTo>
                    <a:pt x="125" y="122"/>
                    <a:pt x="119" y="123"/>
                    <a:pt x="113" y="121"/>
                  </a:cubicBezTo>
                  <a:cubicBezTo>
                    <a:pt x="112" y="121"/>
                    <a:pt x="111" y="121"/>
                    <a:pt x="110" y="121"/>
                  </a:cubicBezTo>
                  <a:cubicBezTo>
                    <a:pt x="102" y="119"/>
                    <a:pt x="98" y="115"/>
                    <a:pt x="94" y="112"/>
                  </a:cubicBezTo>
                  <a:cubicBezTo>
                    <a:pt x="92" y="110"/>
                    <a:pt x="91" y="109"/>
                    <a:pt x="89" y="109"/>
                  </a:cubicBezTo>
                  <a:cubicBezTo>
                    <a:pt x="86" y="111"/>
                    <a:pt x="85" y="112"/>
                    <a:pt x="83" y="114"/>
                  </a:cubicBezTo>
                  <a:cubicBezTo>
                    <a:pt x="82" y="116"/>
                    <a:pt x="80" y="119"/>
                    <a:pt x="79" y="123"/>
                  </a:cubicBezTo>
                  <a:cubicBezTo>
                    <a:pt x="78" y="127"/>
                    <a:pt x="78" y="130"/>
                    <a:pt x="79" y="132"/>
                  </a:cubicBezTo>
                  <a:cubicBezTo>
                    <a:pt x="80" y="136"/>
                    <a:pt x="80" y="140"/>
                    <a:pt x="78" y="144"/>
                  </a:cubicBezTo>
                  <a:cubicBezTo>
                    <a:pt x="76" y="151"/>
                    <a:pt x="71" y="151"/>
                    <a:pt x="67" y="151"/>
                  </a:cubicBezTo>
                  <a:cubicBezTo>
                    <a:pt x="66" y="151"/>
                    <a:pt x="64" y="151"/>
                    <a:pt x="64" y="152"/>
                  </a:cubicBezTo>
                  <a:cubicBezTo>
                    <a:pt x="63" y="154"/>
                    <a:pt x="63" y="157"/>
                    <a:pt x="64" y="161"/>
                  </a:cubicBezTo>
                  <a:cubicBezTo>
                    <a:pt x="64" y="164"/>
                    <a:pt x="64" y="167"/>
                    <a:pt x="64" y="170"/>
                  </a:cubicBezTo>
                  <a:cubicBezTo>
                    <a:pt x="64" y="178"/>
                    <a:pt x="58" y="183"/>
                    <a:pt x="53" y="187"/>
                  </a:cubicBezTo>
                  <a:cubicBezTo>
                    <a:pt x="53" y="188"/>
                    <a:pt x="52" y="188"/>
                    <a:pt x="51" y="189"/>
                  </a:cubicBezTo>
                  <a:cubicBezTo>
                    <a:pt x="49" y="191"/>
                    <a:pt x="45" y="193"/>
                    <a:pt x="41" y="195"/>
                  </a:cubicBezTo>
                  <a:cubicBezTo>
                    <a:pt x="36" y="197"/>
                    <a:pt x="32" y="198"/>
                    <a:pt x="27" y="199"/>
                  </a:cubicBezTo>
                  <a:cubicBezTo>
                    <a:pt x="26" y="200"/>
                    <a:pt x="25" y="200"/>
                    <a:pt x="24" y="200"/>
                  </a:cubicBezTo>
                  <a:cubicBezTo>
                    <a:pt x="24" y="200"/>
                    <a:pt x="24" y="200"/>
                    <a:pt x="24" y="200"/>
                  </a:cubicBezTo>
                  <a:cubicBezTo>
                    <a:pt x="18" y="201"/>
                    <a:pt x="13" y="203"/>
                    <a:pt x="12" y="211"/>
                  </a:cubicBezTo>
                  <a:cubicBezTo>
                    <a:pt x="12" y="216"/>
                    <a:pt x="12" y="220"/>
                    <a:pt x="13" y="224"/>
                  </a:cubicBezTo>
                  <a:cubicBezTo>
                    <a:pt x="15" y="229"/>
                    <a:pt x="16" y="234"/>
                    <a:pt x="14" y="242"/>
                  </a:cubicBezTo>
                  <a:cubicBezTo>
                    <a:pt x="11" y="252"/>
                    <a:pt x="8" y="254"/>
                    <a:pt x="5" y="256"/>
                  </a:cubicBezTo>
                  <a:cubicBezTo>
                    <a:pt x="4" y="256"/>
                    <a:pt x="3" y="257"/>
                    <a:pt x="2" y="259"/>
                  </a:cubicBezTo>
                  <a:cubicBezTo>
                    <a:pt x="0" y="263"/>
                    <a:pt x="1" y="272"/>
                    <a:pt x="1" y="280"/>
                  </a:cubicBezTo>
                  <a:cubicBezTo>
                    <a:pt x="1" y="283"/>
                    <a:pt x="1" y="286"/>
                    <a:pt x="2" y="288"/>
                  </a:cubicBezTo>
                  <a:cubicBezTo>
                    <a:pt x="5" y="289"/>
                    <a:pt x="8" y="290"/>
                    <a:pt x="10" y="291"/>
                  </a:cubicBezTo>
                  <a:cubicBezTo>
                    <a:pt x="12" y="293"/>
                    <a:pt x="14" y="294"/>
                    <a:pt x="15" y="295"/>
                  </a:cubicBezTo>
                  <a:cubicBezTo>
                    <a:pt x="20" y="297"/>
                    <a:pt x="25" y="300"/>
                    <a:pt x="28" y="309"/>
                  </a:cubicBezTo>
                  <a:cubicBezTo>
                    <a:pt x="29" y="314"/>
                    <a:pt x="31" y="318"/>
                    <a:pt x="33" y="321"/>
                  </a:cubicBezTo>
                  <a:cubicBezTo>
                    <a:pt x="35" y="323"/>
                    <a:pt x="38" y="326"/>
                    <a:pt x="43" y="328"/>
                  </a:cubicBezTo>
                  <a:cubicBezTo>
                    <a:pt x="48" y="331"/>
                    <a:pt x="52" y="333"/>
                    <a:pt x="56" y="334"/>
                  </a:cubicBezTo>
                  <a:cubicBezTo>
                    <a:pt x="59" y="336"/>
                    <a:pt x="61" y="336"/>
                    <a:pt x="64" y="336"/>
                  </a:cubicBezTo>
                  <a:cubicBezTo>
                    <a:pt x="65" y="336"/>
                    <a:pt x="67" y="334"/>
                    <a:pt x="71" y="331"/>
                  </a:cubicBezTo>
                  <a:cubicBezTo>
                    <a:pt x="76" y="327"/>
                    <a:pt x="82" y="322"/>
                    <a:pt x="90" y="321"/>
                  </a:cubicBezTo>
                  <a:cubicBezTo>
                    <a:pt x="91" y="321"/>
                    <a:pt x="94" y="320"/>
                    <a:pt x="96" y="320"/>
                  </a:cubicBezTo>
                  <a:cubicBezTo>
                    <a:pt x="104" y="319"/>
                    <a:pt x="110" y="318"/>
                    <a:pt x="122" y="319"/>
                  </a:cubicBezTo>
                  <a:cubicBezTo>
                    <a:pt x="130" y="320"/>
                    <a:pt x="138" y="324"/>
                    <a:pt x="144" y="328"/>
                  </a:cubicBezTo>
                  <a:cubicBezTo>
                    <a:pt x="149" y="331"/>
                    <a:pt x="154" y="336"/>
                    <a:pt x="158" y="341"/>
                  </a:cubicBezTo>
                  <a:cubicBezTo>
                    <a:pt x="159" y="338"/>
                    <a:pt x="159" y="336"/>
                    <a:pt x="159" y="333"/>
                  </a:cubicBezTo>
                  <a:cubicBezTo>
                    <a:pt x="160" y="327"/>
                    <a:pt x="160" y="320"/>
                    <a:pt x="159" y="316"/>
                  </a:cubicBezTo>
                  <a:cubicBezTo>
                    <a:pt x="159" y="311"/>
                    <a:pt x="158" y="306"/>
                    <a:pt x="156" y="301"/>
                  </a:cubicBezTo>
                  <a:cubicBezTo>
                    <a:pt x="155" y="295"/>
                    <a:pt x="153" y="289"/>
                    <a:pt x="153" y="282"/>
                  </a:cubicBezTo>
                  <a:cubicBezTo>
                    <a:pt x="152" y="275"/>
                    <a:pt x="153" y="270"/>
                    <a:pt x="155" y="265"/>
                  </a:cubicBezTo>
                  <a:cubicBezTo>
                    <a:pt x="157" y="260"/>
                    <a:pt x="161" y="257"/>
                    <a:pt x="165" y="25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3" name="Freeform 192"/>
            <p:cNvSpPr>
              <a:spLocks/>
            </p:cNvSpPr>
            <p:nvPr/>
          </p:nvSpPr>
          <p:spPr bwMode="auto">
            <a:xfrm>
              <a:off x="4147059" y="4196450"/>
              <a:ext cx="289322" cy="270272"/>
            </a:xfrm>
            <a:custGeom>
              <a:avLst/>
              <a:gdLst>
                <a:gd name="T0" fmla="*/ 422 w 1010"/>
                <a:gd name="T1" fmla="*/ 862 h 939"/>
                <a:gd name="T2" fmla="*/ 441 w 1010"/>
                <a:gd name="T3" fmla="*/ 828 h 939"/>
                <a:gd name="T4" fmla="*/ 464 w 1010"/>
                <a:gd name="T5" fmla="*/ 817 h 939"/>
                <a:gd name="T6" fmla="*/ 474 w 1010"/>
                <a:gd name="T7" fmla="*/ 783 h 939"/>
                <a:gd name="T8" fmla="*/ 487 w 1010"/>
                <a:gd name="T9" fmla="*/ 770 h 939"/>
                <a:gd name="T10" fmla="*/ 502 w 1010"/>
                <a:gd name="T11" fmla="*/ 738 h 939"/>
                <a:gd name="T12" fmla="*/ 530 w 1010"/>
                <a:gd name="T13" fmla="*/ 749 h 939"/>
                <a:gd name="T14" fmla="*/ 545 w 1010"/>
                <a:gd name="T15" fmla="*/ 745 h 939"/>
                <a:gd name="T16" fmla="*/ 546 w 1010"/>
                <a:gd name="T17" fmla="*/ 738 h 939"/>
                <a:gd name="T18" fmla="*/ 565 w 1010"/>
                <a:gd name="T19" fmla="*/ 718 h 939"/>
                <a:gd name="T20" fmla="*/ 606 w 1010"/>
                <a:gd name="T21" fmla="*/ 686 h 939"/>
                <a:gd name="T22" fmla="*/ 629 w 1010"/>
                <a:gd name="T23" fmla="*/ 676 h 939"/>
                <a:gd name="T24" fmla="*/ 672 w 1010"/>
                <a:gd name="T25" fmla="*/ 657 h 939"/>
                <a:gd name="T26" fmla="*/ 715 w 1010"/>
                <a:gd name="T27" fmla="*/ 629 h 939"/>
                <a:gd name="T28" fmla="*/ 774 w 1010"/>
                <a:gd name="T29" fmla="*/ 637 h 939"/>
                <a:gd name="T30" fmla="*/ 849 w 1010"/>
                <a:gd name="T31" fmla="*/ 616 h 939"/>
                <a:gd name="T32" fmla="*/ 954 w 1010"/>
                <a:gd name="T33" fmla="*/ 614 h 939"/>
                <a:gd name="T34" fmla="*/ 1003 w 1010"/>
                <a:gd name="T35" fmla="*/ 562 h 939"/>
                <a:gd name="T36" fmla="*/ 1010 w 1010"/>
                <a:gd name="T37" fmla="*/ 383 h 939"/>
                <a:gd name="T38" fmla="*/ 949 w 1010"/>
                <a:gd name="T39" fmla="*/ 365 h 939"/>
                <a:gd name="T40" fmla="*/ 946 w 1010"/>
                <a:gd name="T41" fmla="*/ 338 h 939"/>
                <a:gd name="T42" fmla="*/ 880 w 1010"/>
                <a:gd name="T43" fmla="*/ 308 h 939"/>
                <a:gd name="T44" fmla="*/ 855 w 1010"/>
                <a:gd name="T45" fmla="*/ 295 h 939"/>
                <a:gd name="T46" fmla="*/ 824 w 1010"/>
                <a:gd name="T47" fmla="*/ 279 h 939"/>
                <a:gd name="T48" fmla="*/ 443 w 1010"/>
                <a:gd name="T49" fmla="*/ 0 h 939"/>
                <a:gd name="T50" fmla="*/ 350 w 1010"/>
                <a:gd name="T51" fmla="*/ 11 h 939"/>
                <a:gd name="T52" fmla="*/ 416 w 1010"/>
                <a:gd name="T53" fmla="*/ 545 h 939"/>
                <a:gd name="T54" fmla="*/ 416 w 1010"/>
                <a:gd name="T55" fmla="*/ 595 h 939"/>
                <a:gd name="T56" fmla="*/ 272 w 1010"/>
                <a:gd name="T57" fmla="*/ 612 h 939"/>
                <a:gd name="T58" fmla="*/ 174 w 1010"/>
                <a:gd name="T59" fmla="*/ 604 h 939"/>
                <a:gd name="T60" fmla="*/ 117 w 1010"/>
                <a:gd name="T61" fmla="*/ 616 h 939"/>
                <a:gd name="T62" fmla="*/ 78 w 1010"/>
                <a:gd name="T63" fmla="*/ 633 h 939"/>
                <a:gd name="T64" fmla="*/ 33 w 1010"/>
                <a:gd name="T65" fmla="*/ 605 h 939"/>
                <a:gd name="T66" fmla="*/ 24 w 1010"/>
                <a:gd name="T67" fmla="*/ 644 h 939"/>
                <a:gd name="T68" fmla="*/ 7 w 1010"/>
                <a:gd name="T69" fmla="*/ 688 h 939"/>
                <a:gd name="T70" fmla="*/ 16 w 1010"/>
                <a:gd name="T71" fmla="*/ 728 h 939"/>
                <a:gd name="T72" fmla="*/ 28 w 1010"/>
                <a:gd name="T73" fmla="*/ 739 h 939"/>
                <a:gd name="T74" fmla="*/ 50 w 1010"/>
                <a:gd name="T75" fmla="*/ 779 h 939"/>
                <a:gd name="T76" fmla="*/ 47 w 1010"/>
                <a:gd name="T77" fmla="*/ 815 h 939"/>
                <a:gd name="T78" fmla="*/ 65 w 1010"/>
                <a:gd name="T79" fmla="*/ 822 h 939"/>
                <a:gd name="T80" fmla="*/ 94 w 1010"/>
                <a:gd name="T81" fmla="*/ 829 h 939"/>
                <a:gd name="T82" fmla="*/ 141 w 1010"/>
                <a:gd name="T83" fmla="*/ 822 h 939"/>
                <a:gd name="T84" fmla="*/ 173 w 1010"/>
                <a:gd name="T85" fmla="*/ 811 h 939"/>
                <a:gd name="T86" fmla="*/ 182 w 1010"/>
                <a:gd name="T87" fmla="*/ 794 h 939"/>
                <a:gd name="T88" fmla="*/ 210 w 1010"/>
                <a:gd name="T89" fmla="*/ 834 h 939"/>
                <a:gd name="T90" fmla="*/ 233 w 1010"/>
                <a:gd name="T91" fmla="*/ 869 h 939"/>
                <a:gd name="T92" fmla="*/ 228 w 1010"/>
                <a:gd name="T93" fmla="*/ 888 h 939"/>
                <a:gd name="T94" fmla="*/ 246 w 1010"/>
                <a:gd name="T95" fmla="*/ 913 h 939"/>
                <a:gd name="T96" fmla="*/ 279 w 1010"/>
                <a:gd name="T97" fmla="*/ 926 h 939"/>
                <a:gd name="T98" fmla="*/ 314 w 1010"/>
                <a:gd name="T99" fmla="*/ 938 h 939"/>
                <a:gd name="T100" fmla="*/ 333 w 1010"/>
                <a:gd name="T101" fmla="*/ 928 h 939"/>
                <a:gd name="T102" fmla="*/ 354 w 1010"/>
                <a:gd name="T103" fmla="*/ 909 h 939"/>
                <a:gd name="T104" fmla="*/ 371 w 1010"/>
                <a:gd name="T105" fmla="*/ 919 h 939"/>
                <a:gd name="T106" fmla="*/ 388 w 1010"/>
                <a:gd name="T107" fmla="*/ 931 h 939"/>
                <a:gd name="T108" fmla="*/ 410 w 1010"/>
                <a:gd name="T109" fmla="*/ 924 h 939"/>
                <a:gd name="T110" fmla="*/ 417 w 1010"/>
                <a:gd name="T111" fmla="*/ 885 h 9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10" h="939">
                  <a:moveTo>
                    <a:pt x="417" y="885"/>
                  </a:moveTo>
                  <a:cubicBezTo>
                    <a:pt x="419" y="884"/>
                    <a:pt x="420" y="883"/>
                    <a:pt x="422" y="876"/>
                  </a:cubicBezTo>
                  <a:cubicBezTo>
                    <a:pt x="424" y="870"/>
                    <a:pt x="423" y="866"/>
                    <a:pt x="422" y="862"/>
                  </a:cubicBezTo>
                  <a:cubicBezTo>
                    <a:pt x="421" y="857"/>
                    <a:pt x="419" y="853"/>
                    <a:pt x="420" y="846"/>
                  </a:cubicBezTo>
                  <a:cubicBezTo>
                    <a:pt x="422" y="832"/>
                    <a:pt x="429" y="830"/>
                    <a:pt x="439" y="828"/>
                  </a:cubicBezTo>
                  <a:cubicBezTo>
                    <a:pt x="440" y="828"/>
                    <a:pt x="440" y="828"/>
                    <a:pt x="441" y="828"/>
                  </a:cubicBezTo>
                  <a:cubicBezTo>
                    <a:pt x="446" y="826"/>
                    <a:pt x="450" y="825"/>
                    <a:pt x="454" y="824"/>
                  </a:cubicBezTo>
                  <a:cubicBezTo>
                    <a:pt x="457" y="822"/>
                    <a:pt x="460" y="821"/>
                    <a:pt x="462" y="819"/>
                  </a:cubicBezTo>
                  <a:cubicBezTo>
                    <a:pt x="462" y="819"/>
                    <a:pt x="463" y="818"/>
                    <a:pt x="464" y="817"/>
                  </a:cubicBezTo>
                  <a:cubicBezTo>
                    <a:pt x="468" y="814"/>
                    <a:pt x="472" y="810"/>
                    <a:pt x="472" y="805"/>
                  </a:cubicBezTo>
                  <a:cubicBezTo>
                    <a:pt x="472" y="803"/>
                    <a:pt x="472" y="801"/>
                    <a:pt x="472" y="798"/>
                  </a:cubicBezTo>
                  <a:cubicBezTo>
                    <a:pt x="471" y="793"/>
                    <a:pt x="470" y="787"/>
                    <a:pt x="474" y="783"/>
                  </a:cubicBezTo>
                  <a:cubicBezTo>
                    <a:pt x="476" y="779"/>
                    <a:pt x="480" y="779"/>
                    <a:pt x="483" y="779"/>
                  </a:cubicBezTo>
                  <a:cubicBezTo>
                    <a:pt x="485" y="779"/>
                    <a:pt x="486" y="779"/>
                    <a:pt x="487" y="777"/>
                  </a:cubicBezTo>
                  <a:cubicBezTo>
                    <a:pt x="488" y="775"/>
                    <a:pt x="487" y="773"/>
                    <a:pt x="487" y="770"/>
                  </a:cubicBezTo>
                  <a:cubicBezTo>
                    <a:pt x="486" y="766"/>
                    <a:pt x="485" y="762"/>
                    <a:pt x="487" y="757"/>
                  </a:cubicBezTo>
                  <a:cubicBezTo>
                    <a:pt x="489" y="752"/>
                    <a:pt x="491" y="748"/>
                    <a:pt x="493" y="746"/>
                  </a:cubicBezTo>
                  <a:cubicBezTo>
                    <a:pt x="495" y="742"/>
                    <a:pt x="498" y="740"/>
                    <a:pt x="502" y="738"/>
                  </a:cubicBezTo>
                  <a:cubicBezTo>
                    <a:pt x="508" y="735"/>
                    <a:pt x="511" y="738"/>
                    <a:pt x="516" y="742"/>
                  </a:cubicBezTo>
                  <a:cubicBezTo>
                    <a:pt x="519" y="744"/>
                    <a:pt x="522" y="748"/>
                    <a:pt x="528" y="749"/>
                  </a:cubicBezTo>
                  <a:cubicBezTo>
                    <a:pt x="529" y="749"/>
                    <a:pt x="529" y="749"/>
                    <a:pt x="530" y="749"/>
                  </a:cubicBezTo>
                  <a:cubicBezTo>
                    <a:pt x="535" y="750"/>
                    <a:pt x="539" y="750"/>
                    <a:pt x="542" y="749"/>
                  </a:cubicBezTo>
                  <a:cubicBezTo>
                    <a:pt x="544" y="749"/>
                    <a:pt x="545" y="747"/>
                    <a:pt x="545" y="745"/>
                  </a:cubicBezTo>
                  <a:cubicBezTo>
                    <a:pt x="545" y="745"/>
                    <a:pt x="545" y="745"/>
                    <a:pt x="545" y="745"/>
                  </a:cubicBezTo>
                  <a:cubicBezTo>
                    <a:pt x="545" y="745"/>
                    <a:pt x="545" y="745"/>
                    <a:pt x="545" y="745"/>
                  </a:cubicBezTo>
                  <a:cubicBezTo>
                    <a:pt x="545" y="745"/>
                    <a:pt x="545" y="745"/>
                    <a:pt x="545" y="745"/>
                  </a:cubicBezTo>
                  <a:cubicBezTo>
                    <a:pt x="546" y="742"/>
                    <a:pt x="546" y="740"/>
                    <a:pt x="546" y="738"/>
                  </a:cubicBezTo>
                  <a:cubicBezTo>
                    <a:pt x="545" y="732"/>
                    <a:pt x="545" y="728"/>
                    <a:pt x="550" y="724"/>
                  </a:cubicBezTo>
                  <a:cubicBezTo>
                    <a:pt x="554" y="721"/>
                    <a:pt x="556" y="720"/>
                    <a:pt x="559" y="720"/>
                  </a:cubicBezTo>
                  <a:cubicBezTo>
                    <a:pt x="560" y="720"/>
                    <a:pt x="562" y="720"/>
                    <a:pt x="565" y="718"/>
                  </a:cubicBezTo>
                  <a:cubicBezTo>
                    <a:pt x="569" y="716"/>
                    <a:pt x="572" y="709"/>
                    <a:pt x="576" y="703"/>
                  </a:cubicBezTo>
                  <a:cubicBezTo>
                    <a:pt x="579" y="697"/>
                    <a:pt x="583" y="691"/>
                    <a:pt x="587" y="688"/>
                  </a:cubicBezTo>
                  <a:cubicBezTo>
                    <a:pt x="592" y="684"/>
                    <a:pt x="599" y="685"/>
                    <a:pt x="606" y="686"/>
                  </a:cubicBezTo>
                  <a:cubicBezTo>
                    <a:pt x="610" y="687"/>
                    <a:pt x="614" y="687"/>
                    <a:pt x="616" y="687"/>
                  </a:cubicBezTo>
                  <a:cubicBezTo>
                    <a:pt x="620" y="686"/>
                    <a:pt x="622" y="683"/>
                    <a:pt x="624" y="681"/>
                  </a:cubicBezTo>
                  <a:cubicBezTo>
                    <a:pt x="625" y="679"/>
                    <a:pt x="627" y="677"/>
                    <a:pt x="629" y="676"/>
                  </a:cubicBezTo>
                  <a:cubicBezTo>
                    <a:pt x="630" y="675"/>
                    <a:pt x="631" y="674"/>
                    <a:pt x="632" y="674"/>
                  </a:cubicBezTo>
                  <a:cubicBezTo>
                    <a:pt x="636" y="670"/>
                    <a:pt x="640" y="667"/>
                    <a:pt x="653" y="664"/>
                  </a:cubicBezTo>
                  <a:cubicBezTo>
                    <a:pt x="661" y="662"/>
                    <a:pt x="667" y="660"/>
                    <a:pt x="672" y="657"/>
                  </a:cubicBezTo>
                  <a:cubicBezTo>
                    <a:pt x="678" y="654"/>
                    <a:pt x="683" y="650"/>
                    <a:pt x="689" y="645"/>
                  </a:cubicBezTo>
                  <a:cubicBezTo>
                    <a:pt x="694" y="641"/>
                    <a:pt x="697" y="638"/>
                    <a:pt x="698" y="636"/>
                  </a:cubicBezTo>
                  <a:cubicBezTo>
                    <a:pt x="703" y="631"/>
                    <a:pt x="704" y="630"/>
                    <a:pt x="715" y="629"/>
                  </a:cubicBezTo>
                  <a:cubicBezTo>
                    <a:pt x="727" y="628"/>
                    <a:pt x="755" y="640"/>
                    <a:pt x="765" y="644"/>
                  </a:cubicBezTo>
                  <a:cubicBezTo>
                    <a:pt x="767" y="642"/>
                    <a:pt x="770" y="640"/>
                    <a:pt x="774" y="637"/>
                  </a:cubicBezTo>
                  <a:cubicBezTo>
                    <a:pt x="774" y="637"/>
                    <a:pt x="774" y="637"/>
                    <a:pt x="774" y="637"/>
                  </a:cubicBezTo>
                  <a:cubicBezTo>
                    <a:pt x="782" y="633"/>
                    <a:pt x="793" y="628"/>
                    <a:pt x="801" y="625"/>
                  </a:cubicBezTo>
                  <a:cubicBezTo>
                    <a:pt x="808" y="623"/>
                    <a:pt x="816" y="621"/>
                    <a:pt x="825" y="619"/>
                  </a:cubicBezTo>
                  <a:cubicBezTo>
                    <a:pt x="833" y="617"/>
                    <a:pt x="842" y="616"/>
                    <a:pt x="849" y="616"/>
                  </a:cubicBezTo>
                  <a:cubicBezTo>
                    <a:pt x="856" y="615"/>
                    <a:pt x="871" y="615"/>
                    <a:pt x="888" y="615"/>
                  </a:cubicBezTo>
                  <a:cubicBezTo>
                    <a:pt x="910" y="615"/>
                    <a:pt x="934" y="615"/>
                    <a:pt x="942" y="614"/>
                  </a:cubicBezTo>
                  <a:cubicBezTo>
                    <a:pt x="947" y="614"/>
                    <a:pt x="951" y="614"/>
                    <a:pt x="954" y="614"/>
                  </a:cubicBezTo>
                  <a:cubicBezTo>
                    <a:pt x="959" y="615"/>
                    <a:pt x="962" y="615"/>
                    <a:pt x="967" y="612"/>
                  </a:cubicBezTo>
                  <a:cubicBezTo>
                    <a:pt x="972" y="608"/>
                    <a:pt x="982" y="597"/>
                    <a:pt x="991" y="585"/>
                  </a:cubicBezTo>
                  <a:cubicBezTo>
                    <a:pt x="997" y="577"/>
                    <a:pt x="1002" y="568"/>
                    <a:pt x="1003" y="562"/>
                  </a:cubicBezTo>
                  <a:cubicBezTo>
                    <a:pt x="1004" y="553"/>
                    <a:pt x="1006" y="532"/>
                    <a:pt x="1008" y="512"/>
                  </a:cubicBezTo>
                  <a:cubicBezTo>
                    <a:pt x="1009" y="498"/>
                    <a:pt x="1010" y="485"/>
                    <a:pt x="1010" y="477"/>
                  </a:cubicBezTo>
                  <a:cubicBezTo>
                    <a:pt x="1010" y="460"/>
                    <a:pt x="1010" y="399"/>
                    <a:pt x="1010" y="383"/>
                  </a:cubicBezTo>
                  <a:cubicBezTo>
                    <a:pt x="1002" y="384"/>
                    <a:pt x="992" y="386"/>
                    <a:pt x="982" y="387"/>
                  </a:cubicBezTo>
                  <a:cubicBezTo>
                    <a:pt x="973" y="387"/>
                    <a:pt x="965" y="387"/>
                    <a:pt x="959" y="385"/>
                  </a:cubicBezTo>
                  <a:cubicBezTo>
                    <a:pt x="946" y="381"/>
                    <a:pt x="947" y="374"/>
                    <a:pt x="949" y="365"/>
                  </a:cubicBezTo>
                  <a:cubicBezTo>
                    <a:pt x="949" y="363"/>
                    <a:pt x="949" y="362"/>
                    <a:pt x="949" y="360"/>
                  </a:cubicBezTo>
                  <a:cubicBezTo>
                    <a:pt x="950" y="359"/>
                    <a:pt x="950" y="358"/>
                    <a:pt x="950" y="357"/>
                  </a:cubicBezTo>
                  <a:cubicBezTo>
                    <a:pt x="951" y="351"/>
                    <a:pt x="951" y="346"/>
                    <a:pt x="946" y="338"/>
                  </a:cubicBezTo>
                  <a:cubicBezTo>
                    <a:pt x="944" y="334"/>
                    <a:pt x="936" y="328"/>
                    <a:pt x="927" y="323"/>
                  </a:cubicBezTo>
                  <a:cubicBezTo>
                    <a:pt x="914" y="316"/>
                    <a:pt x="900" y="310"/>
                    <a:pt x="894" y="308"/>
                  </a:cubicBezTo>
                  <a:cubicBezTo>
                    <a:pt x="890" y="307"/>
                    <a:pt x="885" y="307"/>
                    <a:pt x="880" y="308"/>
                  </a:cubicBezTo>
                  <a:cubicBezTo>
                    <a:pt x="874" y="308"/>
                    <a:pt x="869" y="308"/>
                    <a:pt x="864" y="306"/>
                  </a:cubicBezTo>
                  <a:cubicBezTo>
                    <a:pt x="864" y="306"/>
                    <a:pt x="864" y="306"/>
                    <a:pt x="864" y="306"/>
                  </a:cubicBezTo>
                  <a:cubicBezTo>
                    <a:pt x="859" y="304"/>
                    <a:pt x="857" y="299"/>
                    <a:pt x="855" y="295"/>
                  </a:cubicBezTo>
                  <a:cubicBezTo>
                    <a:pt x="853" y="292"/>
                    <a:pt x="852" y="288"/>
                    <a:pt x="848" y="287"/>
                  </a:cubicBezTo>
                  <a:cubicBezTo>
                    <a:pt x="845" y="286"/>
                    <a:pt x="842" y="286"/>
                    <a:pt x="839" y="285"/>
                  </a:cubicBezTo>
                  <a:cubicBezTo>
                    <a:pt x="833" y="285"/>
                    <a:pt x="828" y="284"/>
                    <a:pt x="824" y="279"/>
                  </a:cubicBezTo>
                  <a:cubicBezTo>
                    <a:pt x="822" y="275"/>
                    <a:pt x="822" y="270"/>
                    <a:pt x="822" y="265"/>
                  </a:cubicBezTo>
                  <a:cubicBezTo>
                    <a:pt x="822" y="260"/>
                    <a:pt x="822" y="255"/>
                    <a:pt x="818" y="251"/>
                  </a:cubicBezTo>
                  <a:cubicBezTo>
                    <a:pt x="813" y="247"/>
                    <a:pt x="612" y="112"/>
                    <a:pt x="443" y="0"/>
                  </a:cubicBezTo>
                  <a:cubicBezTo>
                    <a:pt x="432" y="0"/>
                    <a:pt x="358" y="0"/>
                    <a:pt x="352" y="0"/>
                  </a:cubicBezTo>
                  <a:cubicBezTo>
                    <a:pt x="350" y="0"/>
                    <a:pt x="349" y="1"/>
                    <a:pt x="349" y="1"/>
                  </a:cubicBezTo>
                  <a:cubicBezTo>
                    <a:pt x="349" y="3"/>
                    <a:pt x="349" y="6"/>
                    <a:pt x="350" y="11"/>
                  </a:cubicBezTo>
                  <a:cubicBezTo>
                    <a:pt x="350" y="14"/>
                    <a:pt x="355" y="58"/>
                    <a:pt x="362" y="118"/>
                  </a:cubicBezTo>
                  <a:cubicBezTo>
                    <a:pt x="380" y="268"/>
                    <a:pt x="409" y="522"/>
                    <a:pt x="411" y="533"/>
                  </a:cubicBezTo>
                  <a:cubicBezTo>
                    <a:pt x="412" y="540"/>
                    <a:pt x="414" y="543"/>
                    <a:pt x="416" y="545"/>
                  </a:cubicBezTo>
                  <a:cubicBezTo>
                    <a:pt x="418" y="549"/>
                    <a:pt x="420" y="551"/>
                    <a:pt x="420" y="557"/>
                  </a:cubicBezTo>
                  <a:cubicBezTo>
                    <a:pt x="420" y="563"/>
                    <a:pt x="420" y="570"/>
                    <a:pt x="419" y="577"/>
                  </a:cubicBezTo>
                  <a:cubicBezTo>
                    <a:pt x="418" y="583"/>
                    <a:pt x="417" y="589"/>
                    <a:pt x="416" y="595"/>
                  </a:cubicBezTo>
                  <a:cubicBezTo>
                    <a:pt x="416" y="595"/>
                    <a:pt x="416" y="596"/>
                    <a:pt x="416" y="597"/>
                  </a:cubicBezTo>
                  <a:cubicBezTo>
                    <a:pt x="413" y="609"/>
                    <a:pt x="413" y="611"/>
                    <a:pt x="395" y="611"/>
                  </a:cubicBezTo>
                  <a:cubicBezTo>
                    <a:pt x="384" y="611"/>
                    <a:pt x="323" y="611"/>
                    <a:pt x="272" y="612"/>
                  </a:cubicBezTo>
                  <a:cubicBezTo>
                    <a:pt x="231" y="612"/>
                    <a:pt x="196" y="612"/>
                    <a:pt x="195" y="612"/>
                  </a:cubicBezTo>
                  <a:cubicBezTo>
                    <a:pt x="190" y="612"/>
                    <a:pt x="185" y="610"/>
                    <a:pt x="181" y="607"/>
                  </a:cubicBezTo>
                  <a:cubicBezTo>
                    <a:pt x="178" y="605"/>
                    <a:pt x="175" y="603"/>
                    <a:pt x="174" y="604"/>
                  </a:cubicBezTo>
                  <a:cubicBezTo>
                    <a:pt x="172" y="605"/>
                    <a:pt x="172" y="606"/>
                    <a:pt x="171" y="607"/>
                  </a:cubicBezTo>
                  <a:cubicBezTo>
                    <a:pt x="170" y="611"/>
                    <a:pt x="169" y="614"/>
                    <a:pt x="162" y="615"/>
                  </a:cubicBezTo>
                  <a:cubicBezTo>
                    <a:pt x="155" y="617"/>
                    <a:pt x="134" y="616"/>
                    <a:pt x="117" y="616"/>
                  </a:cubicBezTo>
                  <a:cubicBezTo>
                    <a:pt x="107" y="615"/>
                    <a:pt x="99" y="615"/>
                    <a:pt x="95" y="615"/>
                  </a:cubicBezTo>
                  <a:cubicBezTo>
                    <a:pt x="92" y="616"/>
                    <a:pt x="91" y="619"/>
                    <a:pt x="89" y="623"/>
                  </a:cubicBezTo>
                  <a:cubicBezTo>
                    <a:pt x="87" y="628"/>
                    <a:pt x="85" y="633"/>
                    <a:pt x="78" y="633"/>
                  </a:cubicBezTo>
                  <a:cubicBezTo>
                    <a:pt x="72" y="633"/>
                    <a:pt x="66" y="626"/>
                    <a:pt x="58" y="618"/>
                  </a:cubicBezTo>
                  <a:cubicBezTo>
                    <a:pt x="52" y="612"/>
                    <a:pt x="46" y="605"/>
                    <a:pt x="42" y="604"/>
                  </a:cubicBezTo>
                  <a:cubicBezTo>
                    <a:pt x="38" y="604"/>
                    <a:pt x="35" y="604"/>
                    <a:pt x="33" y="605"/>
                  </a:cubicBezTo>
                  <a:cubicBezTo>
                    <a:pt x="32" y="605"/>
                    <a:pt x="31" y="607"/>
                    <a:pt x="31" y="610"/>
                  </a:cubicBezTo>
                  <a:cubicBezTo>
                    <a:pt x="30" y="613"/>
                    <a:pt x="29" y="617"/>
                    <a:pt x="29" y="621"/>
                  </a:cubicBezTo>
                  <a:cubicBezTo>
                    <a:pt x="28" y="629"/>
                    <a:pt x="27" y="637"/>
                    <a:pt x="24" y="644"/>
                  </a:cubicBezTo>
                  <a:cubicBezTo>
                    <a:pt x="20" y="654"/>
                    <a:pt x="6" y="662"/>
                    <a:pt x="0" y="665"/>
                  </a:cubicBezTo>
                  <a:cubicBezTo>
                    <a:pt x="1" y="667"/>
                    <a:pt x="2" y="669"/>
                    <a:pt x="2" y="671"/>
                  </a:cubicBezTo>
                  <a:cubicBezTo>
                    <a:pt x="3" y="675"/>
                    <a:pt x="4" y="680"/>
                    <a:pt x="7" y="688"/>
                  </a:cubicBezTo>
                  <a:cubicBezTo>
                    <a:pt x="10" y="699"/>
                    <a:pt x="10" y="705"/>
                    <a:pt x="10" y="709"/>
                  </a:cubicBezTo>
                  <a:cubicBezTo>
                    <a:pt x="9" y="712"/>
                    <a:pt x="9" y="715"/>
                    <a:pt x="13" y="721"/>
                  </a:cubicBezTo>
                  <a:cubicBezTo>
                    <a:pt x="14" y="724"/>
                    <a:pt x="15" y="726"/>
                    <a:pt x="16" y="728"/>
                  </a:cubicBezTo>
                  <a:cubicBezTo>
                    <a:pt x="18" y="731"/>
                    <a:pt x="19" y="732"/>
                    <a:pt x="20" y="733"/>
                  </a:cubicBezTo>
                  <a:cubicBezTo>
                    <a:pt x="21" y="735"/>
                    <a:pt x="23" y="736"/>
                    <a:pt x="27" y="739"/>
                  </a:cubicBezTo>
                  <a:cubicBezTo>
                    <a:pt x="28" y="739"/>
                    <a:pt x="28" y="739"/>
                    <a:pt x="28" y="739"/>
                  </a:cubicBezTo>
                  <a:cubicBezTo>
                    <a:pt x="34" y="743"/>
                    <a:pt x="38" y="745"/>
                    <a:pt x="41" y="749"/>
                  </a:cubicBezTo>
                  <a:cubicBezTo>
                    <a:pt x="44" y="753"/>
                    <a:pt x="45" y="757"/>
                    <a:pt x="47" y="763"/>
                  </a:cubicBezTo>
                  <a:cubicBezTo>
                    <a:pt x="49" y="769"/>
                    <a:pt x="50" y="774"/>
                    <a:pt x="50" y="779"/>
                  </a:cubicBezTo>
                  <a:cubicBezTo>
                    <a:pt x="51" y="785"/>
                    <a:pt x="51" y="790"/>
                    <a:pt x="51" y="794"/>
                  </a:cubicBezTo>
                  <a:cubicBezTo>
                    <a:pt x="51" y="799"/>
                    <a:pt x="50" y="803"/>
                    <a:pt x="49" y="806"/>
                  </a:cubicBezTo>
                  <a:cubicBezTo>
                    <a:pt x="47" y="810"/>
                    <a:pt x="46" y="813"/>
                    <a:pt x="47" y="815"/>
                  </a:cubicBezTo>
                  <a:cubicBezTo>
                    <a:pt x="48" y="817"/>
                    <a:pt x="50" y="820"/>
                    <a:pt x="53" y="823"/>
                  </a:cubicBezTo>
                  <a:cubicBezTo>
                    <a:pt x="55" y="824"/>
                    <a:pt x="57" y="826"/>
                    <a:pt x="59" y="825"/>
                  </a:cubicBezTo>
                  <a:cubicBezTo>
                    <a:pt x="62" y="825"/>
                    <a:pt x="63" y="823"/>
                    <a:pt x="65" y="822"/>
                  </a:cubicBezTo>
                  <a:cubicBezTo>
                    <a:pt x="67" y="818"/>
                    <a:pt x="70" y="815"/>
                    <a:pt x="76" y="816"/>
                  </a:cubicBezTo>
                  <a:cubicBezTo>
                    <a:pt x="80" y="817"/>
                    <a:pt x="83" y="820"/>
                    <a:pt x="85" y="823"/>
                  </a:cubicBezTo>
                  <a:cubicBezTo>
                    <a:pt x="87" y="826"/>
                    <a:pt x="90" y="829"/>
                    <a:pt x="94" y="829"/>
                  </a:cubicBezTo>
                  <a:cubicBezTo>
                    <a:pt x="97" y="829"/>
                    <a:pt x="102" y="826"/>
                    <a:pt x="107" y="823"/>
                  </a:cubicBezTo>
                  <a:cubicBezTo>
                    <a:pt x="114" y="819"/>
                    <a:pt x="122" y="814"/>
                    <a:pt x="128" y="816"/>
                  </a:cubicBezTo>
                  <a:cubicBezTo>
                    <a:pt x="133" y="817"/>
                    <a:pt x="137" y="819"/>
                    <a:pt x="141" y="822"/>
                  </a:cubicBezTo>
                  <a:cubicBezTo>
                    <a:pt x="144" y="824"/>
                    <a:pt x="147" y="826"/>
                    <a:pt x="149" y="825"/>
                  </a:cubicBezTo>
                  <a:cubicBezTo>
                    <a:pt x="152" y="823"/>
                    <a:pt x="156" y="821"/>
                    <a:pt x="160" y="819"/>
                  </a:cubicBezTo>
                  <a:cubicBezTo>
                    <a:pt x="166" y="816"/>
                    <a:pt x="173" y="813"/>
                    <a:pt x="173" y="811"/>
                  </a:cubicBezTo>
                  <a:cubicBezTo>
                    <a:pt x="173" y="810"/>
                    <a:pt x="173" y="809"/>
                    <a:pt x="173" y="808"/>
                  </a:cubicBezTo>
                  <a:cubicBezTo>
                    <a:pt x="173" y="807"/>
                    <a:pt x="173" y="806"/>
                    <a:pt x="173" y="805"/>
                  </a:cubicBezTo>
                  <a:cubicBezTo>
                    <a:pt x="173" y="799"/>
                    <a:pt x="174" y="794"/>
                    <a:pt x="182" y="794"/>
                  </a:cubicBezTo>
                  <a:cubicBezTo>
                    <a:pt x="187" y="794"/>
                    <a:pt x="191" y="796"/>
                    <a:pt x="194" y="800"/>
                  </a:cubicBezTo>
                  <a:cubicBezTo>
                    <a:pt x="198" y="804"/>
                    <a:pt x="201" y="809"/>
                    <a:pt x="205" y="816"/>
                  </a:cubicBezTo>
                  <a:cubicBezTo>
                    <a:pt x="209" y="823"/>
                    <a:pt x="210" y="829"/>
                    <a:pt x="210" y="834"/>
                  </a:cubicBezTo>
                  <a:cubicBezTo>
                    <a:pt x="210" y="838"/>
                    <a:pt x="210" y="843"/>
                    <a:pt x="215" y="848"/>
                  </a:cubicBezTo>
                  <a:cubicBezTo>
                    <a:pt x="219" y="853"/>
                    <a:pt x="223" y="856"/>
                    <a:pt x="226" y="858"/>
                  </a:cubicBezTo>
                  <a:cubicBezTo>
                    <a:pt x="231" y="861"/>
                    <a:pt x="233" y="863"/>
                    <a:pt x="233" y="869"/>
                  </a:cubicBezTo>
                  <a:cubicBezTo>
                    <a:pt x="232" y="873"/>
                    <a:pt x="230" y="876"/>
                    <a:pt x="227" y="880"/>
                  </a:cubicBezTo>
                  <a:cubicBezTo>
                    <a:pt x="225" y="883"/>
                    <a:pt x="222" y="887"/>
                    <a:pt x="223" y="888"/>
                  </a:cubicBezTo>
                  <a:cubicBezTo>
                    <a:pt x="223" y="888"/>
                    <a:pt x="226" y="888"/>
                    <a:pt x="228" y="888"/>
                  </a:cubicBezTo>
                  <a:cubicBezTo>
                    <a:pt x="234" y="888"/>
                    <a:pt x="240" y="887"/>
                    <a:pt x="243" y="893"/>
                  </a:cubicBezTo>
                  <a:cubicBezTo>
                    <a:pt x="245" y="897"/>
                    <a:pt x="245" y="899"/>
                    <a:pt x="245" y="902"/>
                  </a:cubicBezTo>
                  <a:cubicBezTo>
                    <a:pt x="245" y="904"/>
                    <a:pt x="245" y="907"/>
                    <a:pt x="246" y="913"/>
                  </a:cubicBezTo>
                  <a:cubicBezTo>
                    <a:pt x="247" y="921"/>
                    <a:pt x="255" y="931"/>
                    <a:pt x="260" y="936"/>
                  </a:cubicBezTo>
                  <a:cubicBezTo>
                    <a:pt x="264" y="933"/>
                    <a:pt x="267" y="930"/>
                    <a:pt x="269" y="929"/>
                  </a:cubicBezTo>
                  <a:cubicBezTo>
                    <a:pt x="272" y="927"/>
                    <a:pt x="275" y="926"/>
                    <a:pt x="279" y="926"/>
                  </a:cubicBezTo>
                  <a:cubicBezTo>
                    <a:pt x="283" y="926"/>
                    <a:pt x="287" y="927"/>
                    <a:pt x="293" y="930"/>
                  </a:cubicBezTo>
                  <a:cubicBezTo>
                    <a:pt x="296" y="932"/>
                    <a:pt x="297" y="933"/>
                    <a:pt x="299" y="933"/>
                  </a:cubicBezTo>
                  <a:cubicBezTo>
                    <a:pt x="305" y="937"/>
                    <a:pt x="308" y="939"/>
                    <a:pt x="314" y="938"/>
                  </a:cubicBezTo>
                  <a:cubicBezTo>
                    <a:pt x="317" y="937"/>
                    <a:pt x="319" y="936"/>
                    <a:pt x="321" y="934"/>
                  </a:cubicBezTo>
                  <a:cubicBezTo>
                    <a:pt x="321" y="934"/>
                    <a:pt x="321" y="934"/>
                    <a:pt x="321" y="934"/>
                  </a:cubicBezTo>
                  <a:cubicBezTo>
                    <a:pt x="324" y="932"/>
                    <a:pt x="327" y="930"/>
                    <a:pt x="333" y="928"/>
                  </a:cubicBezTo>
                  <a:cubicBezTo>
                    <a:pt x="336" y="927"/>
                    <a:pt x="337" y="924"/>
                    <a:pt x="338" y="921"/>
                  </a:cubicBezTo>
                  <a:cubicBezTo>
                    <a:pt x="339" y="917"/>
                    <a:pt x="341" y="913"/>
                    <a:pt x="346" y="911"/>
                  </a:cubicBezTo>
                  <a:cubicBezTo>
                    <a:pt x="348" y="910"/>
                    <a:pt x="351" y="909"/>
                    <a:pt x="354" y="909"/>
                  </a:cubicBezTo>
                  <a:cubicBezTo>
                    <a:pt x="357" y="909"/>
                    <a:pt x="360" y="909"/>
                    <a:pt x="363" y="910"/>
                  </a:cubicBezTo>
                  <a:cubicBezTo>
                    <a:pt x="367" y="912"/>
                    <a:pt x="369" y="914"/>
                    <a:pt x="370" y="916"/>
                  </a:cubicBezTo>
                  <a:cubicBezTo>
                    <a:pt x="370" y="917"/>
                    <a:pt x="371" y="918"/>
                    <a:pt x="371" y="919"/>
                  </a:cubicBezTo>
                  <a:cubicBezTo>
                    <a:pt x="371" y="920"/>
                    <a:pt x="370" y="922"/>
                    <a:pt x="370" y="924"/>
                  </a:cubicBezTo>
                  <a:cubicBezTo>
                    <a:pt x="369" y="929"/>
                    <a:pt x="368" y="934"/>
                    <a:pt x="372" y="935"/>
                  </a:cubicBezTo>
                  <a:cubicBezTo>
                    <a:pt x="379" y="938"/>
                    <a:pt x="383" y="935"/>
                    <a:pt x="388" y="931"/>
                  </a:cubicBezTo>
                  <a:cubicBezTo>
                    <a:pt x="390" y="930"/>
                    <a:pt x="390" y="930"/>
                    <a:pt x="390" y="930"/>
                  </a:cubicBezTo>
                  <a:cubicBezTo>
                    <a:pt x="395" y="927"/>
                    <a:pt x="403" y="924"/>
                    <a:pt x="409" y="924"/>
                  </a:cubicBezTo>
                  <a:cubicBezTo>
                    <a:pt x="410" y="924"/>
                    <a:pt x="410" y="924"/>
                    <a:pt x="410" y="924"/>
                  </a:cubicBezTo>
                  <a:cubicBezTo>
                    <a:pt x="409" y="922"/>
                    <a:pt x="409" y="919"/>
                    <a:pt x="409" y="917"/>
                  </a:cubicBezTo>
                  <a:cubicBezTo>
                    <a:pt x="409" y="907"/>
                    <a:pt x="408" y="897"/>
                    <a:pt x="411" y="891"/>
                  </a:cubicBezTo>
                  <a:cubicBezTo>
                    <a:pt x="413" y="887"/>
                    <a:pt x="415" y="886"/>
                    <a:pt x="417" y="8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4" name="Freeform 193"/>
            <p:cNvSpPr>
              <a:spLocks/>
            </p:cNvSpPr>
            <p:nvPr/>
          </p:nvSpPr>
          <p:spPr bwMode="auto">
            <a:xfrm>
              <a:off x="4367325" y="4223835"/>
              <a:ext cx="277416" cy="213122"/>
            </a:xfrm>
            <a:custGeom>
              <a:avLst/>
              <a:gdLst>
                <a:gd name="T0" fmla="*/ 831 w 965"/>
                <a:gd name="T1" fmla="*/ 558 h 744"/>
                <a:gd name="T2" fmla="*/ 851 w 965"/>
                <a:gd name="T3" fmla="*/ 529 h 744"/>
                <a:gd name="T4" fmla="*/ 901 w 965"/>
                <a:gd name="T5" fmla="*/ 464 h 744"/>
                <a:gd name="T6" fmla="*/ 936 w 965"/>
                <a:gd name="T7" fmla="*/ 423 h 744"/>
                <a:gd name="T8" fmla="*/ 940 w 965"/>
                <a:gd name="T9" fmla="*/ 380 h 744"/>
                <a:gd name="T10" fmla="*/ 945 w 965"/>
                <a:gd name="T11" fmla="*/ 318 h 744"/>
                <a:gd name="T12" fmla="*/ 951 w 965"/>
                <a:gd name="T13" fmla="*/ 257 h 744"/>
                <a:gd name="T14" fmla="*/ 961 w 965"/>
                <a:gd name="T15" fmla="*/ 221 h 744"/>
                <a:gd name="T16" fmla="*/ 956 w 965"/>
                <a:gd name="T17" fmla="*/ 200 h 744"/>
                <a:gd name="T18" fmla="*/ 942 w 965"/>
                <a:gd name="T19" fmla="*/ 170 h 744"/>
                <a:gd name="T20" fmla="*/ 933 w 965"/>
                <a:gd name="T21" fmla="*/ 152 h 744"/>
                <a:gd name="T22" fmla="*/ 919 w 965"/>
                <a:gd name="T23" fmla="*/ 109 h 744"/>
                <a:gd name="T24" fmla="*/ 918 w 965"/>
                <a:gd name="T25" fmla="*/ 86 h 744"/>
                <a:gd name="T26" fmla="*/ 911 w 965"/>
                <a:gd name="T27" fmla="*/ 41 h 744"/>
                <a:gd name="T28" fmla="*/ 853 w 965"/>
                <a:gd name="T29" fmla="*/ 50 h 744"/>
                <a:gd name="T30" fmla="*/ 830 w 965"/>
                <a:gd name="T31" fmla="*/ 31 h 744"/>
                <a:gd name="T32" fmla="*/ 777 w 965"/>
                <a:gd name="T33" fmla="*/ 14 h 744"/>
                <a:gd name="T34" fmla="*/ 724 w 965"/>
                <a:gd name="T35" fmla="*/ 0 h 744"/>
                <a:gd name="T36" fmla="*/ 418 w 965"/>
                <a:gd name="T37" fmla="*/ 198 h 744"/>
                <a:gd name="T38" fmla="*/ 322 w 965"/>
                <a:gd name="T39" fmla="*/ 268 h 744"/>
                <a:gd name="T40" fmla="*/ 249 w 965"/>
                <a:gd name="T41" fmla="*/ 384 h 744"/>
                <a:gd name="T42" fmla="*/ 242 w 965"/>
                <a:gd name="T43" fmla="*/ 470 h 744"/>
                <a:gd name="T44" fmla="*/ 203 w 965"/>
                <a:gd name="T45" fmla="*/ 525 h 744"/>
                <a:gd name="T46" fmla="*/ 173 w 965"/>
                <a:gd name="T47" fmla="*/ 529 h 744"/>
                <a:gd name="T48" fmla="*/ 81 w 965"/>
                <a:gd name="T49" fmla="*/ 531 h 744"/>
                <a:gd name="T50" fmla="*/ 35 w 965"/>
                <a:gd name="T51" fmla="*/ 540 h 744"/>
                <a:gd name="T52" fmla="*/ 9 w 965"/>
                <a:gd name="T53" fmla="*/ 551 h 744"/>
                <a:gd name="T54" fmla="*/ 1 w 965"/>
                <a:gd name="T55" fmla="*/ 571 h 744"/>
                <a:gd name="T56" fmla="*/ 7 w 965"/>
                <a:gd name="T57" fmla="*/ 586 h 744"/>
                <a:gd name="T58" fmla="*/ 19 w 965"/>
                <a:gd name="T59" fmla="*/ 613 h 744"/>
                <a:gd name="T60" fmla="*/ 32 w 965"/>
                <a:gd name="T61" fmla="*/ 628 h 744"/>
                <a:gd name="T62" fmla="*/ 55 w 965"/>
                <a:gd name="T63" fmla="*/ 642 h 744"/>
                <a:gd name="T64" fmla="*/ 50 w 965"/>
                <a:gd name="T65" fmla="*/ 660 h 744"/>
                <a:gd name="T66" fmla="*/ 63 w 965"/>
                <a:gd name="T67" fmla="*/ 676 h 744"/>
                <a:gd name="T68" fmla="*/ 77 w 965"/>
                <a:gd name="T69" fmla="*/ 685 h 744"/>
                <a:gd name="T70" fmla="*/ 106 w 965"/>
                <a:gd name="T71" fmla="*/ 689 h 744"/>
                <a:gd name="T72" fmla="*/ 123 w 965"/>
                <a:gd name="T73" fmla="*/ 695 h 744"/>
                <a:gd name="T74" fmla="*/ 121 w 965"/>
                <a:gd name="T75" fmla="*/ 716 h 744"/>
                <a:gd name="T76" fmla="*/ 120 w 965"/>
                <a:gd name="T77" fmla="*/ 722 h 744"/>
                <a:gd name="T78" fmla="*/ 145 w 965"/>
                <a:gd name="T79" fmla="*/ 711 h 744"/>
                <a:gd name="T80" fmla="*/ 168 w 965"/>
                <a:gd name="T81" fmla="*/ 716 h 744"/>
                <a:gd name="T82" fmla="*/ 202 w 965"/>
                <a:gd name="T83" fmla="*/ 744 h 744"/>
                <a:gd name="T84" fmla="*/ 206 w 965"/>
                <a:gd name="T85" fmla="*/ 721 h 744"/>
                <a:gd name="T86" fmla="*/ 225 w 965"/>
                <a:gd name="T87" fmla="*/ 676 h 744"/>
                <a:gd name="T88" fmla="*/ 234 w 965"/>
                <a:gd name="T89" fmla="*/ 652 h 744"/>
                <a:gd name="T90" fmla="*/ 280 w 965"/>
                <a:gd name="T91" fmla="*/ 619 h 744"/>
                <a:gd name="T92" fmla="*/ 327 w 965"/>
                <a:gd name="T93" fmla="*/ 615 h 744"/>
                <a:gd name="T94" fmla="*/ 392 w 965"/>
                <a:gd name="T95" fmla="*/ 646 h 744"/>
                <a:gd name="T96" fmla="*/ 423 w 965"/>
                <a:gd name="T97" fmla="*/ 664 h 744"/>
                <a:gd name="T98" fmla="*/ 471 w 965"/>
                <a:gd name="T99" fmla="*/ 652 h 744"/>
                <a:gd name="T100" fmla="*/ 507 w 965"/>
                <a:gd name="T101" fmla="*/ 663 h 744"/>
                <a:gd name="T102" fmla="*/ 547 w 965"/>
                <a:gd name="T103" fmla="*/ 676 h 744"/>
                <a:gd name="T104" fmla="*/ 600 w 965"/>
                <a:gd name="T105" fmla="*/ 664 h 744"/>
                <a:gd name="T106" fmla="*/ 667 w 965"/>
                <a:gd name="T107" fmla="*/ 643 h 744"/>
                <a:gd name="T108" fmla="*/ 717 w 965"/>
                <a:gd name="T109" fmla="*/ 654 h 744"/>
                <a:gd name="T110" fmla="*/ 754 w 965"/>
                <a:gd name="T111" fmla="*/ 658 h 744"/>
                <a:gd name="T112" fmla="*/ 800 w 965"/>
                <a:gd name="T113" fmla="*/ 630 h 744"/>
                <a:gd name="T114" fmla="*/ 819 w 965"/>
                <a:gd name="T115" fmla="*/ 619 h 744"/>
                <a:gd name="T116" fmla="*/ 821 w 965"/>
                <a:gd name="T117" fmla="*/ 574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65" h="744">
                  <a:moveTo>
                    <a:pt x="821" y="574"/>
                  </a:moveTo>
                  <a:cubicBezTo>
                    <a:pt x="823" y="570"/>
                    <a:pt x="827" y="564"/>
                    <a:pt x="831" y="558"/>
                  </a:cubicBezTo>
                  <a:cubicBezTo>
                    <a:pt x="835" y="552"/>
                    <a:pt x="839" y="546"/>
                    <a:pt x="842" y="543"/>
                  </a:cubicBezTo>
                  <a:cubicBezTo>
                    <a:pt x="843" y="541"/>
                    <a:pt x="847" y="536"/>
                    <a:pt x="851" y="529"/>
                  </a:cubicBezTo>
                  <a:cubicBezTo>
                    <a:pt x="857" y="518"/>
                    <a:pt x="866" y="504"/>
                    <a:pt x="874" y="494"/>
                  </a:cubicBezTo>
                  <a:cubicBezTo>
                    <a:pt x="881" y="486"/>
                    <a:pt x="891" y="475"/>
                    <a:pt x="901" y="464"/>
                  </a:cubicBezTo>
                  <a:cubicBezTo>
                    <a:pt x="912" y="452"/>
                    <a:pt x="923" y="440"/>
                    <a:pt x="927" y="436"/>
                  </a:cubicBezTo>
                  <a:cubicBezTo>
                    <a:pt x="931" y="433"/>
                    <a:pt x="934" y="428"/>
                    <a:pt x="936" y="423"/>
                  </a:cubicBezTo>
                  <a:cubicBezTo>
                    <a:pt x="938" y="418"/>
                    <a:pt x="940" y="413"/>
                    <a:pt x="939" y="410"/>
                  </a:cubicBezTo>
                  <a:cubicBezTo>
                    <a:pt x="939" y="406"/>
                    <a:pt x="939" y="393"/>
                    <a:pt x="940" y="380"/>
                  </a:cubicBezTo>
                  <a:cubicBezTo>
                    <a:pt x="940" y="364"/>
                    <a:pt x="942" y="346"/>
                    <a:pt x="943" y="337"/>
                  </a:cubicBezTo>
                  <a:cubicBezTo>
                    <a:pt x="943" y="333"/>
                    <a:pt x="944" y="326"/>
                    <a:pt x="945" y="318"/>
                  </a:cubicBezTo>
                  <a:cubicBezTo>
                    <a:pt x="947" y="298"/>
                    <a:pt x="950" y="273"/>
                    <a:pt x="951" y="266"/>
                  </a:cubicBezTo>
                  <a:cubicBezTo>
                    <a:pt x="951" y="264"/>
                    <a:pt x="951" y="261"/>
                    <a:pt x="951" y="257"/>
                  </a:cubicBezTo>
                  <a:cubicBezTo>
                    <a:pt x="951" y="249"/>
                    <a:pt x="951" y="240"/>
                    <a:pt x="955" y="231"/>
                  </a:cubicBezTo>
                  <a:cubicBezTo>
                    <a:pt x="958" y="226"/>
                    <a:pt x="959" y="223"/>
                    <a:pt x="961" y="221"/>
                  </a:cubicBezTo>
                  <a:cubicBezTo>
                    <a:pt x="963" y="217"/>
                    <a:pt x="964" y="215"/>
                    <a:pt x="964" y="211"/>
                  </a:cubicBezTo>
                  <a:cubicBezTo>
                    <a:pt x="965" y="208"/>
                    <a:pt x="961" y="204"/>
                    <a:pt x="956" y="200"/>
                  </a:cubicBezTo>
                  <a:cubicBezTo>
                    <a:pt x="951" y="196"/>
                    <a:pt x="946" y="190"/>
                    <a:pt x="944" y="184"/>
                  </a:cubicBezTo>
                  <a:cubicBezTo>
                    <a:pt x="942" y="177"/>
                    <a:pt x="942" y="174"/>
                    <a:pt x="942" y="170"/>
                  </a:cubicBezTo>
                  <a:cubicBezTo>
                    <a:pt x="942" y="168"/>
                    <a:pt x="942" y="166"/>
                    <a:pt x="941" y="163"/>
                  </a:cubicBezTo>
                  <a:cubicBezTo>
                    <a:pt x="940" y="161"/>
                    <a:pt x="937" y="157"/>
                    <a:pt x="933" y="152"/>
                  </a:cubicBezTo>
                  <a:cubicBezTo>
                    <a:pt x="927" y="146"/>
                    <a:pt x="922" y="140"/>
                    <a:pt x="921" y="134"/>
                  </a:cubicBezTo>
                  <a:cubicBezTo>
                    <a:pt x="919" y="127"/>
                    <a:pt x="919" y="117"/>
                    <a:pt x="919" y="109"/>
                  </a:cubicBezTo>
                  <a:cubicBezTo>
                    <a:pt x="919" y="105"/>
                    <a:pt x="919" y="102"/>
                    <a:pt x="918" y="99"/>
                  </a:cubicBezTo>
                  <a:cubicBezTo>
                    <a:pt x="918" y="95"/>
                    <a:pt x="918" y="91"/>
                    <a:pt x="918" y="86"/>
                  </a:cubicBezTo>
                  <a:cubicBezTo>
                    <a:pt x="918" y="78"/>
                    <a:pt x="918" y="69"/>
                    <a:pt x="917" y="62"/>
                  </a:cubicBezTo>
                  <a:cubicBezTo>
                    <a:pt x="916" y="54"/>
                    <a:pt x="913" y="45"/>
                    <a:pt x="911" y="41"/>
                  </a:cubicBezTo>
                  <a:cubicBezTo>
                    <a:pt x="896" y="48"/>
                    <a:pt x="881" y="55"/>
                    <a:pt x="876" y="57"/>
                  </a:cubicBezTo>
                  <a:cubicBezTo>
                    <a:pt x="864" y="61"/>
                    <a:pt x="863" y="60"/>
                    <a:pt x="853" y="50"/>
                  </a:cubicBezTo>
                  <a:cubicBezTo>
                    <a:pt x="852" y="48"/>
                    <a:pt x="850" y="47"/>
                    <a:pt x="849" y="45"/>
                  </a:cubicBezTo>
                  <a:cubicBezTo>
                    <a:pt x="843" y="39"/>
                    <a:pt x="836" y="34"/>
                    <a:pt x="830" y="31"/>
                  </a:cubicBezTo>
                  <a:cubicBezTo>
                    <a:pt x="823" y="27"/>
                    <a:pt x="816" y="24"/>
                    <a:pt x="809" y="21"/>
                  </a:cubicBezTo>
                  <a:cubicBezTo>
                    <a:pt x="802" y="18"/>
                    <a:pt x="790" y="16"/>
                    <a:pt x="777" y="14"/>
                  </a:cubicBezTo>
                  <a:cubicBezTo>
                    <a:pt x="761" y="11"/>
                    <a:pt x="743" y="8"/>
                    <a:pt x="731" y="4"/>
                  </a:cubicBezTo>
                  <a:cubicBezTo>
                    <a:pt x="729" y="3"/>
                    <a:pt x="726" y="1"/>
                    <a:pt x="724" y="0"/>
                  </a:cubicBezTo>
                  <a:cubicBezTo>
                    <a:pt x="702" y="14"/>
                    <a:pt x="475" y="154"/>
                    <a:pt x="455" y="168"/>
                  </a:cubicBezTo>
                  <a:cubicBezTo>
                    <a:pt x="448" y="173"/>
                    <a:pt x="433" y="185"/>
                    <a:pt x="418" y="198"/>
                  </a:cubicBezTo>
                  <a:cubicBezTo>
                    <a:pt x="394" y="219"/>
                    <a:pt x="368" y="244"/>
                    <a:pt x="359" y="252"/>
                  </a:cubicBezTo>
                  <a:cubicBezTo>
                    <a:pt x="354" y="257"/>
                    <a:pt x="339" y="263"/>
                    <a:pt x="322" y="268"/>
                  </a:cubicBezTo>
                  <a:cubicBezTo>
                    <a:pt x="295" y="278"/>
                    <a:pt x="260" y="286"/>
                    <a:pt x="249" y="288"/>
                  </a:cubicBezTo>
                  <a:cubicBezTo>
                    <a:pt x="249" y="301"/>
                    <a:pt x="249" y="366"/>
                    <a:pt x="249" y="384"/>
                  </a:cubicBezTo>
                  <a:cubicBezTo>
                    <a:pt x="249" y="392"/>
                    <a:pt x="248" y="406"/>
                    <a:pt x="247" y="420"/>
                  </a:cubicBezTo>
                  <a:cubicBezTo>
                    <a:pt x="245" y="440"/>
                    <a:pt x="243" y="461"/>
                    <a:pt x="242" y="470"/>
                  </a:cubicBezTo>
                  <a:cubicBezTo>
                    <a:pt x="240" y="477"/>
                    <a:pt x="235" y="487"/>
                    <a:pt x="228" y="497"/>
                  </a:cubicBezTo>
                  <a:cubicBezTo>
                    <a:pt x="219" y="509"/>
                    <a:pt x="208" y="521"/>
                    <a:pt x="203" y="525"/>
                  </a:cubicBezTo>
                  <a:cubicBezTo>
                    <a:pt x="196" y="530"/>
                    <a:pt x="191" y="530"/>
                    <a:pt x="185" y="529"/>
                  </a:cubicBezTo>
                  <a:cubicBezTo>
                    <a:pt x="181" y="529"/>
                    <a:pt x="178" y="529"/>
                    <a:pt x="173" y="529"/>
                  </a:cubicBezTo>
                  <a:cubicBezTo>
                    <a:pt x="166" y="530"/>
                    <a:pt x="141" y="530"/>
                    <a:pt x="119" y="530"/>
                  </a:cubicBezTo>
                  <a:cubicBezTo>
                    <a:pt x="102" y="530"/>
                    <a:pt x="87" y="530"/>
                    <a:pt x="81" y="531"/>
                  </a:cubicBezTo>
                  <a:cubicBezTo>
                    <a:pt x="73" y="531"/>
                    <a:pt x="65" y="532"/>
                    <a:pt x="57" y="534"/>
                  </a:cubicBezTo>
                  <a:cubicBezTo>
                    <a:pt x="49" y="535"/>
                    <a:pt x="41" y="537"/>
                    <a:pt x="35" y="540"/>
                  </a:cubicBezTo>
                  <a:cubicBezTo>
                    <a:pt x="27" y="543"/>
                    <a:pt x="16" y="547"/>
                    <a:pt x="9" y="551"/>
                  </a:cubicBezTo>
                  <a:cubicBezTo>
                    <a:pt x="9" y="551"/>
                    <a:pt x="9" y="551"/>
                    <a:pt x="9" y="551"/>
                  </a:cubicBezTo>
                  <a:cubicBezTo>
                    <a:pt x="4" y="554"/>
                    <a:pt x="1" y="556"/>
                    <a:pt x="0" y="558"/>
                  </a:cubicBezTo>
                  <a:cubicBezTo>
                    <a:pt x="0" y="561"/>
                    <a:pt x="0" y="566"/>
                    <a:pt x="1" y="571"/>
                  </a:cubicBezTo>
                  <a:cubicBezTo>
                    <a:pt x="2" y="575"/>
                    <a:pt x="3" y="579"/>
                    <a:pt x="5" y="582"/>
                  </a:cubicBezTo>
                  <a:cubicBezTo>
                    <a:pt x="5" y="583"/>
                    <a:pt x="6" y="585"/>
                    <a:pt x="7" y="586"/>
                  </a:cubicBezTo>
                  <a:cubicBezTo>
                    <a:pt x="11" y="591"/>
                    <a:pt x="13" y="594"/>
                    <a:pt x="16" y="604"/>
                  </a:cubicBezTo>
                  <a:cubicBezTo>
                    <a:pt x="18" y="608"/>
                    <a:pt x="18" y="611"/>
                    <a:pt x="19" y="613"/>
                  </a:cubicBezTo>
                  <a:cubicBezTo>
                    <a:pt x="20" y="619"/>
                    <a:pt x="21" y="623"/>
                    <a:pt x="25" y="626"/>
                  </a:cubicBezTo>
                  <a:cubicBezTo>
                    <a:pt x="27" y="628"/>
                    <a:pt x="30" y="628"/>
                    <a:pt x="32" y="628"/>
                  </a:cubicBezTo>
                  <a:cubicBezTo>
                    <a:pt x="37" y="629"/>
                    <a:pt x="41" y="629"/>
                    <a:pt x="46" y="633"/>
                  </a:cubicBezTo>
                  <a:cubicBezTo>
                    <a:pt x="50" y="636"/>
                    <a:pt x="54" y="639"/>
                    <a:pt x="55" y="642"/>
                  </a:cubicBezTo>
                  <a:cubicBezTo>
                    <a:pt x="58" y="647"/>
                    <a:pt x="58" y="651"/>
                    <a:pt x="53" y="655"/>
                  </a:cubicBezTo>
                  <a:cubicBezTo>
                    <a:pt x="51" y="657"/>
                    <a:pt x="50" y="659"/>
                    <a:pt x="50" y="660"/>
                  </a:cubicBezTo>
                  <a:cubicBezTo>
                    <a:pt x="49" y="661"/>
                    <a:pt x="50" y="663"/>
                    <a:pt x="52" y="666"/>
                  </a:cubicBezTo>
                  <a:cubicBezTo>
                    <a:pt x="55" y="671"/>
                    <a:pt x="58" y="673"/>
                    <a:pt x="63" y="676"/>
                  </a:cubicBezTo>
                  <a:cubicBezTo>
                    <a:pt x="66" y="677"/>
                    <a:pt x="68" y="679"/>
                    <a:pt x="71" y="681"/>
                  </a:cubicBezTo>
                  <a:cubicBezTo>
                    <a:pt x="74" y="683"/>
                    <a:pt x="75" y="684"/>
                    <a:pt x="77" y="685"/>
                  </a:cubicBezTo>
                  <a:cubicBezTo>
                    <a:pt x="82" y="688"/>
                    <a:pt x="83" y="689"/>
                    <a:pt x="92" y="690"/>
                  </a:cubicBezTo>
                  <a:cubicBezTo>
                    <a:pt x="99" y="691"/>
                    <a:pt x="103" y="690"/>
                    <a:pt x="106" y="689"/>
                  </a:cubicBezTo>
                  <a:cubicBezTo>
                    <a:pt x="109" y="689"/>
                    <a:pt x="111" y="688"/>
                    <a:pt x="114" y="689"/>
                  </a:cubicBezTo>
                  <a:cubicBezTo>
                    <a:pt x="118" y="689"/>
                    <a:pt x="121" y="692"/>
                    <a:pt x="123" y="695"/>
                  </a:cubicBezTo>
                  <a:cubicBezTo>
                    <a:pt x="125" y="698"/>
                    <a:pt x="126" y="702"/>
                    <a:pt x="126" y="706"/>
                  </a:cubicBezTo>
                  <a:cubicBezTo>
                    <a:pt x="125" y="711"/>
                    <a:pt x="123" y="713"/>
                    <a:pt x="121" y="716"/>
                  </a:cubicBezTo>
                  <a:cubicBezTo>
                    <a:pt x="120" y="717"/>
                    <a:pt x="119" y="719"/>
                    <a:pt x="120" y="722"/>
                  </a:cubicBezTo>
                  <a:cubicBezTo>
                    <a:pt x="120" y="722"/>
                    <a:pt x="120" y="722"/>
                    <a:pt x="120" y="722"/>
                  </a:cubicBezTo>
                  <a:cubicBezTo>
                    <a:pt x="124" y="720"/>
                    <a:pt x="128" y="718"/>
                    <a:pt x="133" y="716"/>
                  </a:cubicBezTo>
                  <a:cubicBezTo>
                    <a:pt x="137" y="715"/>
                    <a:pt x="141" y="713"/>
                    <a:pt x="145" y="711"/>
                  </a:cubicBezTo>
                  <a:cubicBezTo>
                    <a:pt x="156" y="705"/>
                    <a:pt x="159" y="707"/>
                    <a:pt x="165" y="714"/>
                  </a:cubicBezTo>
                  <a:cubicBezTo>
                    <a:pt x="166" y="715"/>
                    <a:pt x="167" y="715"/>
                    <a:pt x="168" y="716"/>
                  </a:cubicBezTo>
                  <a:cubicBezTo>
                    <a:pt x="168" y="717"/>
                    <a:pt x="168" y="717"/>
                    <a:pt x="168" y="717"/>
                  </a:cubicBezTo>
                  <a:cubicBezTo>
                    <a:pt x="174" y="722"/>
                    <a:pt x="193" y="737"/>
                    <a:pt x="202" y="744"/>
                  </a:cubicBezTo>
                  <a:cubicBezTo>
                    <a:pt x="202" y="743"/>
                    <a:pt x="202" y="741"/>
                    <a:pt x="203" y="740"/>
                  </a:cubicBezTo>
                  <a:cubicBezTo>
                    <a:pt x="204" y="732"/>
                    <a:pt x="205" y="726"/>
                    <a:pt x="206" y="721"/>
                  </a:cubicBezTo>
                  <a:cubicBezTo>
                    <a:pt x="208" y="709"/>
                    <a:pt x="209" y="702"/>
                    <a:pt x="215" y="691"/>
                  </a:cubicBezTo>
                  <a:cubicBezTo>
                    <a:pt x="218" y="683"/>
                    <a:pt x="222" y="679"/>
                    <a:pt x="225" y="676"/>
                  </a:cubicBezTo>
                  <a:cubicBezTo>
                    <a:pt x="229" y="672"/>
                    <a:pt x="232" y="669"/>
                    <a:pt x="233" y="662"/>
                  </a:cubicBezTo>
                  <a:cubicBezTo>
                    <a:pt x="234" y="658"/>
                    <a:pt x="234" y="655"/>
                    <a:pt x="234" y="652"/>
                  </a:cubicBezTo>
                  <a:cubicBezTo>
                    <a:pt x="235" y="643"/>
                    <a:pt x="235" y="640"/>
                    <a:pt x="250" y="631"/>
                  </a:cubicBezTo>
                  <a:cubicBezTo>
                    <a:pt x="260" y="626"/>
                    <a:pt x="269" y="622"/>
                    <a:pt x="280" y="619"/>
                  </a:cubicBezTo>
                  <a:cubicBezTo>
                    <a:pt x="290" y="616"/>
                    <a:pt x="301" y="615"/>
                    <a:pt x="314" y="615"/>
                  </a:cubicBezTo>
                  <a:cubicBezTo>
                    <a:pt x="319" y="615"/>
                    <a:pt x="323" y="615"/>
                    <a:pt x="327" y="615"/>
                  </a:cubicBezTo>
                  <a:cubicBezTo>
                    <a:pt x="343" y="614"/>
                    <a:pt x="353" y="614"/>
                    <a:pt x="366" y="623"/>
                  </a:cubicBezTo>
                  <a:cubicBezTo>
                    <a:pt x="375" y="628"/>
                    <a:pt x="384" y="637"/>
                    <a:pt x="392" y="646"/>
                  </a:cubicBezTo>
                  <a:cubicBezTo>
                    <a:pt x="399" y="652"/>
                    <a:pt x="404" y="657"/>
                    <a:pt x="409" y="661"/>
                  </a:cubicBezTo>
                  <a:cubicBezTo>
                    <a:pt x="413" y="663"/>
                    <a:pt x="418" y="664"/>
                    <a:pt x="423" y="664"/>
                  </a:cubicBezTo>
                  <a:cubicBezTo>
                    <a:pt x="431" y="663"/>
                    <a:pt x="439" y="660"/>
                    <a:pt x="444" y="656"/>
                  </a:cubicBezTo>
                  <a:cubicBezTo>
                    <a:pt x="450" y="653"/>
                    <a:pt x="460" y="651"/>
                    <a:pt x="471" y="652"/>
                  </a:cubicBezTo>
                  <a:cubicBezTo>
                    <a:pt x="481" y="652"/>
                    <a:pt x="491" y="654"/>
                    <a:pt x="499" y="658"/>
                  </a:cubicBezTo>
                  <a:cubicBezTo>
                    <a:pt x="502" y="660"/>
                    <a:pt x="505" y="661"/>
                    <a:pt x="507" y="663"/>
                  </a:cubicBezTo>
                  <a:cubicBezTo>
                    <a:pt x="517" y="668"/>
                    <a:pt x="524" y="672"/>
                    <a:pt x="538" y="674"/>
                  </a:cubicBezTo>
                  <a:cubicBezTo>
                    <a:pt x="541" y="675"/>
                    <a:pt x="544" y="676"/>
                    <a:pt x="547" y="676"/>
                  </a:cubicBezTo>
                  <a:cubicBezTo>
                    <a:pt x="559" y="679"/>
                    <a:pt x="566" y="680"/>
                    <a:pt x="577" y="676"/>
                  </a:cubicBezTo>
                  <a:cubicBezTo>
                    <a:pt x="584" y="674"/>
                    <a:pt x="592" y="669"/>
                    <a:pt x="600" y="664"/>
                  </a:cubicBezTo>
                  <a:cubicBezTo>
                    <a:pt x="610" y="658"/>
                    <a:pt x="621" y="651"/>
                    <a:pt x="630" y="649"/>
                  </a:cubicBezTo>
                  <a:cubicBezTo>
                    <a:pt x="639" y="647"/>
                    <a:pt x="653" y="644"/>
                    <a:pt x="667" y="643"/>
                  </a:cubicBezTo>
                  <a:cubicBezTo>
                    <a:pt x="678" y="643"/>
                    <a:pt x="689" y="643"/>
                    <a:pt x="696" y="645"/>
                  </a:cubicBezTo>
                  <a:cubicBezTo>
                    <a:pt x="704" y="647"/>
                    <a:pt x="710" y="651"/>
                    <a:pt x="717" y="654"/>
                  </a:cubicBezTo>
                  <a:cubicBezTo>
                    <a:pt x="725" y="658"/>
                    <a:pt x="733" y="662"/>
                    <a:pt x="741" y="662"/>
                  </a:cubicBezTo>
                  <a:cubicBezTo>
                    <a:pt x="749" y="662"/>
                    <a:pt x="750" y="661"/>
                    <a:pt x="754" y="658"/>
                  </a:cubicBezTo>
                  <a:cubicBezTo>
                    <a:pt x="757" y="655"/>
                    <a:pt x="762" y="651"/>
                    <a:pt x="772" y="645"/>
                  </a:cubicBezTo>
                  <a:cubicBezTo>
                    <a:pt x="784" y="637"/>
                    <a:pt x="792" y="633"/>
                    <a:pt x="800" y="630"/>
                  </a:cubicBezTo>
                  <a:cubicBezTo>
                    <a:pt x="807" y="628"/>
                    <a:pt x="813" y="627"/>
                    <a:pt x="822" y="627"/>
                  </a:cubicBezTo>
                  <a:cubicBezTo>
                    <a:pt x="821" y="624"/>
                    <a:pt x="820" y="622"/>
                    <a:pt x="819" y="619"/>
                  </a:cubicBezTo>
                  <a:cubicBezTo>
                    <a:pt x="812" y="591"/>
                    <a:pt x="815" y="584"/>
                    <a:pt x="819" y="577"/>
                  </a:cubicBezTo>
                  <a:cubicBezTo>
                    <a:pt x="820" y="576"/>
                    <a:pt x="820" y="575"/>
                    <a:pt x="821" y="57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5" name="Freeform 194"/>
            <p:cNvSpPr>
              <a:spLocks/>
            </p:cNvSpPr>
            <p:nvPr/>
          </p:nvSpPr>
          <p:spPr bwMode="auto">
            <a:xfrm>
              <a:off x="4847147" y="3964278"/>
              <a:ext cx="9525" cy="3572"/>
            </a:xfrm>
            <a:custGeom>
              <a:avLst/>
              <a:gdLst>
                <a:gd name="T0" fmla="*/ 24 w 31"/>
                <a:gd name="T1" fmla="*/ 2 h 14"/>
                <a:gd name="T2" fmla="*/ 12 w 31"/>
                <a:gd name="T3" fmla="*/ 6 h 14"/>
                <a:gd name="T4" fmla="*/ 3 w 31"/>
                <a:gd name="T5" fmla="*/ 11 h 14"/>
                <a:gd name="T6" fmla="*/ 11 w 31"/>
                <a:gd name="T7" fmla="*/ 12 h 14"/>
                <a:gd name="T8" fmla="*/ 20 w 31"/>
                <a:gd name="T9" fmla="*/ 9 h 14"/>
                <a:gd name="T10" fmla="*/ 28 w 31"/>
                <a:gd name="T11" fmla="*/ 6 h 14"/>
                <a:gd name="T12" fmla="*/ 24 w 31"/>
                <a:gd name="T13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4">
                  <a:moveTo>
                    <a:pt x="24" y="2"/>
                  </a:moveTo>
                  <a:cubicBezTo>
                    <a:pt x="22" y="6"/>
                    <a:pt x="20" y="5"/>
                    <a:pt x="12" y="6"/>
                  </a:cubicBezTo>
                  <a:cubicBezTo>
                    <a:pt x="4" y="8"/>
                    <a:pt x="0" y="8"/>
                    <a:pt x="3" y="11"/>
                  </a:cubicBezTo>
                  <a:cubicBezTo>
                    <a:pt x="7" y="14"/>
                    <a:pt x="6" y="14"/>
                    <a:pt x="11" y="12"/>
                  </a:cubicBezTo>
                  <a:cubicBezTo>
                    <a:pt x="15" y="11"/>
                    <a:pt x="17" y="10"/>
                    <a:pt x="20" y="9"/>
                  </a:cubicBezTo>
                  <a:cubicBezTo>
                    <a:pt x="23" y="9"/>
                    <a:pt x="24" y="9"/>
                    <a:pt x="28" y="6"/>
                  </a:cubicBezTo>
                  <a:cubicBezTo>
                    <a:pt x="31" y="3"/>
                    <a:pt x="27" y="0"/>
                    <a:pt x="24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6" name="Freeform 195"/>
            <p:cNvSpPr>
              <a:spLocks/>
            </p:cNvSpPr>
            <p:nvPr/>
          </p:nvSpPr>
          <p:spPr bwMode="auto">
            <a:xfrm>
              <a:off x="4834050" y="3944038"/>
              <a:ext cx="7144" cy="3572"/>
            </a:xfrm>
            <a:custGeom>
              <a:avLst/>
              <a:gdLst>
                <a:gd name="T0" fmla="*/ 11 w 23"/>
                <a:gd name="T1" fmla="*/ 0 h 11"/>
                <a:gd name="T2" fmla="*/ 5 w 23"/>
                <a:gd name="T3" fmla="*/ 5 h 11"/>
                <a:gd name="T4" fmla="*/ 14 w 23"/>
                <a:gd name="T5" fmla="*/ 10 h 11"/>
                <a:gd name="T6" fmla="*/ 22 w 23"/>
                <a:gd name="T7" fmla="*/ 4 h 11"/>
                <a:gd name="T8" fmla="*/ 11 w 23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1">
                  <a:moveTo>
                    <a:pt x="11" y="0"/>
                  </a:moveTo>
                  <a:cubicBezTo>
                    <a:pt x="3" y="0"/>
                    <a:pt x="0" y="2"/>
                    <a:pt x="5" y="5"/>
                  </a:cubicBezTo>
                  <a:cubicBezTo>
                    <a:pt x="10" y="8"/>
                    <a:pt x="11" y="11"/>
                    <a:pt x="14" y="10"/>
                  </a:cubicBezTo>
                  <a:cubicBezTo>
                    <a:pt x="17" y="8"/>
                    <a:pt x="23" y="7"/>
                    <a:pt x="22" y="4"/>
                  </a:cubicBezTo>
                  <a:cubicBezTo>
                    <a:pt x="21" y="1"/>
                    <a:pt x="15" y="0"/>
                    <a:pt x="11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7" name="Freeform 196"/>
            <p:cNvSpPr>
              <a:spLocks/>
            </p:cNvSpPr>
            <p:nvPr/>
          </p:nvSpPr>
          <p:spPr bwMode="auto">
            <a:xfrm>
              <a:off x="4838813" y="3957135"/>
              <a:ext cx="3572" cy="4763"/>
            </a:xfrm>
            <a:custGeom>
              <a:avLst/>
              <a:gdLst>
                <a:gd name="T0" fmla="*/ 1 w 12"/>
                <a:gd name="T1" fmla="*/ 4 h 16"/>
                <a:gd name="T2" fmla="*/ 4 w 12"/>
                <a:gd name="T3" fmla="*/ 9 h 16"/>
                <a:gd name="T4" fmla="*/ 9 w 12"/>
                <a:gd name="T5" fmla="*/ 14 h 16"/>
                <a:gd name="T6" fmla="*/ 11 w 12"/>
                <a:gd name="T7" fmla="*/ 8 h 16"/>
                <a:gd name="T8" fmla="*/ 1 w 12"/>
                <a:gd name="T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6">
                  <a:moveTo>
                    <a:pt x="1" y="4"/>
                  </a:moveTo>
                  <a:cubicBezTo>
                    <a:pt x="0" y="7"/>
                    <a:pt x="3" y="6"/>
                    <a:pt x="4" y="9"/>
                  </a:cubicBezTo>
                  <a:cubicBezTo>
                    <a:pt x="5" y="13"/>
                    <a:pt x="7" y="16"/>
                    <a:pt x="9" y="14"/>
                  </a:cubicBezTo>
                  <a:cubicBezTo>
                    <a:pt x="10" y="12"/>
                    <a:pt x="12" y="11"/>
                    <a:pt x="11" y="8"/>
                  </a:cubicBezTo>
                  <a:cubicBezTo>
                    <a:pt x="11" y="4"/>
                    <a:pt x="2" y="0"/>
                    <a:pt x="1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8" name="Freeform 197"/>
            <p:cNvSpPr>
              <a:spLocks/>
            </p:cNvSpPr>
            <p:nvPr/>
          </p:nvSpPr>
          <p:spPr bwMode="auto">
            <a:xfrm>
              <a:off x="4842384" y="3985710"/>
              <a:ext cx="4762" cy="7144"/>
            </a:xfrm>
            <a:custGeom>
              <a:avLst/>
              <a:gdLst>
                <a:gd name="T0" fmla="*/ 6 w 17"/>
                <a:gd name="T1" fmla="*/ 1 h 27"/>
                <a:gd name="T2" fmla="*/ 1 w 17"/>
                <a:gd name="T3" fmla="*/ 9 h 27"/>
                <a:gd name="T4" fmla="*/ 3 w 17"/>
                <a:gd name="T5" fmla="*/ 17 h 27"/>
                <a:gd name="T6" fmla="*/ 8 w 17"/>
                <a:gd name="T7" fmla="*/ 27 h 27"/>
                <a:gd name="T8" fmla="*/ 17 w 17"/>
                <a:gd name="T9" fmla="*/ 23 h 27"/>
                <a:gd name="T10" fmla="*/ 12 w 17"/>
                <a:gd name="T11" fmla="*/ 16 h 27"/>
                <a:gd name="T12" fmla="*/ 11 w 17"/>
                <a:gd name="T13" fmla="*/ 9 h 27"/>
                <a:gd name="T14" fmla="*/ 6 w 17"/>
                <a:gd name="T15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7">
                  <a:moveTo>
                    <a:pt x="6" y="1"/>
                  </a:moveTo>
                  <a:cubicBezTo>
                    <a:pt x="4" y="4"/>
                    <a:pt x="1" y="5"/>
                    <a:pt x="1" y="9"/>
                  </a:cubicBezTo>
                  <a:cubicBezTo>
                    <a:pt x="0" y="13"/>
                    <a:pt x="1" y="12"/>
                    <a:pt x="3" y="17"/>
                  </a:cubicBezTo>
                  <a:cubicBezTo>
                    <a:pt x="5" y="22"/>
                    <a:pt x="3" y="27"/>
                    <a:pt x="8" y="27"/>
                  </a:cubicBezTo>
                  <a:cubicBezTo>
                    <a:pt x="13" y="27"/>
                    <a:pt x="17" y="26"/>
                    <a:pt x="17" y="23"/>
                  </a:cubicBezTo>
                  <a:cubicBezTo>
                    <a:pt x="17" y="20"/>
                    <a:pt x="13" y="19"/>
                    <a:pt x="12" y="16"/>
                  </a:cubicBezTo>
                  <a:cubicBezTo>
                    <a:pt x="11" y="13"/>
                    <a:pt x="11" y="12"/>
                    <a:pt x="11" y="9"/>
                  </a:cubicBezTo>
                  <a:cubicBezTo>
                    <a:pt x="12" y="6"/>
                    <a:pt x="11" y="0"/>
                    <a:pt x="6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9" name="Freeform 199"/>
            <p:cNvSpPr>
              <a:spLocks/>
            </p:cNvSpPr>
            <p:nvPr/>
          </p:nvSpPr>
          <p:spPr bwMode="auto">
            <a:xfrm>
              <a:off x="4826906" y="3913082"/>
              <a:ext cx="7144" cy="5953"/>
            </a:xfrm>
            <a:custGeom>
              <a:avLst/>
              <a:gdLst>
                <a:gd name="T0" fmla="*/ 11 w 25"/>
                <a:gd name="T1" fmla="*/ 17 h 22"/>
                <a:gd name="T2" fmla="*/ 21 w 25"/>
                <a:gd name="T3" fmla="*/ 22 h 22"/>
                <a:gd name="T4" fmla="*/ 24 w 25"/>
                <a:gd name="T5" fmla="*/ 15 h 22"/>
                <a:gd name="T6" fmla="*/ 19 w 25"/>
                <a:gd name="T7" fmla="*/ 8 h 22"/>
                <a:gd name="T8" fmla="*/ 7 w 25"/>
                <a:gd name="T9" fmla="*/ 0 h 22"/>
                <a:gd name="T10" fmla="*/ 4 w 25"/>
                <a:gd name="T11" fmla="*/ 7 h 22"/>
                <a:gd name="T12" fmla="*/ 11 w 25"/>
                <a:gd name="T13" fmla="*/ 1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2">
                  <a:moveTo>
                    <a:pt x="11" y="17"/>
                  </a:moveTo>
                  <a:cubicBezTo>
                    <a:pt x="19" y="19"/>
                    <a:pt x="16" y="22"/>
                    <a:pt x="21" y="22"/>
                  </a:cubicBezTo>
                  <a:cubicBezTo>
                    <a:pt x="25" y="22"/>
                    <a:pt x="25" y="19"/>
                    <a:pt x="24" y="15"/>
                  </a:cubicBezTo>
                  <a:cubicBezTo>
                    <a:pt x="24" y="10"/>
                    <a:pt x="20" y="12"/>
                    <a:pt x="19" y="8"/>
                  </a:cubicBezTo>
                  <a:cubicBezTo>
                    <a:pt x="18" y="4"/>
                    <a:pt x="14" y="1"/>
                    <a:pt x="7" y="0"/>
                  </a:cubicBezTo>
                  <a:cubicBezTo>
                    <a:pt x="0" y="0"/>
                    <a:pt x="0" y="6"/>
                    <a:pt x="4" y="7"/>
                  </a:cubicBezTo>
                  <a:cubicBezTo>
                    <a:pt x="9" y="8"/>
                    <a:pt x="3" y="15"/>
                    <a:pt x="11" y="1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0" name="Freeform 200"/>
            <p:cNvSpPr>
              <a:spLocks/>
            </p:cNvSpPr>
            <p:nvPr/>
          </p:nvSpPr>
          <p:spPr bwMode="auto">
            <a:xfrm>
              <a:off x="4822144" y="3945228"/>
              <a:ext cx="8334" cy="5953"/>
            </a:xfrm>
            <a:custGeom>
              <a:avLst/>
              <a:gdLst>
                <a:gd name="T0" fmla="*/ 3 w 29"/>
                <a:gd name="T1" fmla="*/ 16 h 19"/>
                <a:gd name="T2" fmla="*/ 9 w 29"/>
                <a:gd name="T3" fmla="*/ 16 h 19"/>
                <a:gd name="T4" fmla="*/ 18 w 29"/>
                <a:gd name="T5" fmla="*/ 11 h 19"/>
                <a:gd name="T6" fmla="*/ 28 w 29"/>
                <a:gd name="T7" fmla="*/ 7 h 19"/>
                <a:gd name="T8" fmla="*/ 24 w 29"/>
                <a:gd name="T9" fmla="*/ 3 h 19"/>
                <a:gd name="T10" fmla="*/ 13 w 29"/>
                <a:gd name="T11" fmla="*/ 9 h 19"/>
                <a:gd name="T12" fmla="*/ 3 w 29"/>
                <a:gd name="T13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9">
                  <a:moveTo>
                    <a:pt x="3" y="16"/>
                  </a:moveTo>
                  <a:cubicBezTo>
                    <a:pt x="5" y="18"/>
                    <a:pt x="6" y="19"/>
                    <a:pt x="9" y="16"/>
                  </a:cubicBezTo>
                  <a:cubicBezTo>
                    <a:pt x="13" y="12"/>
                    <a:pt x="15" y="11"/>
                    <a:pt x="18" y="11"/>
                  </a:cubicBezTo>
                  <a:cubicBezTo>
                    <a:pt x="22" y="11"/>
                    <a:pt x="27" y="11"/>
                    <a:pt x="28" y="7"/>
                  </a:cubicBezTo>
                  <a:cubicBezTo>
                    <a:pt x="29" y="4"/>
                    <a:pt x="28" y="0"/>
                    <a:pt x="24" y="3"/>
                  </a:cubicBezTo>
                  <a:cubicBezTo>
                    <a:pt x="20" y="7"/>
                    <a:pt x="21" y="8"/>
                    <a:pt x="13" y="9"/>
                  </a:cubicBezTo>
                  <a:cubicBezTo>
                    <a:pt x="6" y="9"/>
                    <a:pt x="0" y="14"/>
                    <a:pt x="3" y="1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1" name="Freeform 201"/>
            <p:cNvSpPr>
              <a:spLocks/>
            </p:cNvSpPr>
            <p:nvPr/>
          </p:nvSpPr>
          <p:spPr bwMode="auto">
            <a:xfrm>
              <a:off x="4841194" y="3963088"/>
              <a:ext cx="5953" cy="4763"/>
            </a:xfrm>
            <a:custGeom>
              <a:avLst/>
              <a:gdLst>
                <a:gd name="T0" fmla="*/ 14 w 20"/>
                <a:gd name="T1" fmla="*/ 2 h 20"/>
                <a:gd name="T2" fmla="*/ 4 w 20"/>
                <a:gd name="T3" fmla="*/ 3 h 20"/>
                <a:gd name="T4" fmla="*/ 0 w 20"/>
                <a:gd name="T5" fmla="*/ 12 h 20"/>
                <a:gd name="T6" fmla="*/ 3 w 20"/>
                <a:gd name="T7" fmla="*/ 18 h 20"/>
                <a:gd name="T8" fmla="*/ 7 w 20"/>
                <a:gd name="T9" fmla="*/ 9 h 20"/>
                <a:gd name="T10" fmla="*/ 16 w 20"/>
                <a:gd name="T11" fmla="*/ 6 h 20"/>
                <a:gd name="T12" fmla="*/ 14 w 20"/>
                <a:gd name="T13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14" y="2"/>
                  </a:moveTo>
                  <a:cubicBezTo>
                    <a:pt x="10" y="3"/>
                    <a:pt x="7" y="0"/>
                    <a:pt x="4" y="3"/>
                  </a:cubicBezTo>
                  <a:cubicBezTo>
                    <a:pt x="2" y="5"/>
                    <a:pt x="0" y="8"/>
                    <a:pt x="0" y="12"/>
                  </a:cubicBezTo>
                  <a:cubicBezTo>
                    <a:pt x="1" y="17"/>
                    <a:pt x="0" y="20"/>
                    <a:pt x="3" y="18"/>
                  </a:cubicBezTo>
                  <a:cubicBezTo>
                    <a:pt x="5" y="16"/>
                    <a:pt x="4" y="11"/>
                    <a:pt x="7" y="9"/>
                  </a:cubicBezTo>
                  <a:cubicBezTo>
                    <a:pt x="10" y="7"/>
                    <a:pt x="15" y="8"/>
                    <a:pt x="16" y="6"/>
                  </a:cubicBezTo>
                  <a:cubicBezTo>
                    <a:pt x="18" y="5"/>
                    <a:pt x="20" y="2"/>
                    <a:pt x="14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2" name="Freeform 203"/>
            <p:cNvSpPr>
              <a:spLocks/>
            </p:cNvSpPr>
            <p:nvPr/>
          </p:nvSpPr>
          <p:spPr bwMode="auto">
            <a:xfrm>
              <a:off x="4803094" y="4067863"/>
              <a:ext cx="194072" cy="189309"/>
            </a:xfrm>
            <a:custGeom>
              <a:avLst/>
              <a:gdLst>
                <a:gd name="T0" fmla="*/ 20 w 678"/>
                <a:gd name="T1" fmla="*/ 6 h 661"/>
                <a:gd name="T2" fmla="*/ 10 w 678"/>
                <a:gd name="T3" fmla="*/ 37 h 661"/>
                <a:gd name="T4" fmla="*/ 5 w 678"/>
                <a:gd name="T5" fmla="*/ 86 h 661"/>
                <a:gd name="T6" fmla="*/ 5 w 678"/>
                <a:gd name="T7" fmla="*/ 124 h 661"/>
                <a:gd name="T8" fmla="*/ 12 w 678"/>
                <a:gd name="T9" fmla="*/ 191 h 661"/>
                <a:gd name="T10" fmla="*/ 14 w 678"/>
                <a:gd name="T11" fmla="*/ 605 h 661"/>
                <a:gd name="T12" fmla="*/ 384 w 678"/>
                <a:gd name="T13" fmla="*/ 631 h 661"/>
                <a:gd name="T14" fmla="*/ 406 w 678"/>
                <a:gd name="T15" fmla="*/ 625 h 661"/>
                <a:gd name="T16" fmla="*/ 420 w 678"/>
                <a:gd name="T17" fmla="*/ 638 h 661"/>
                <a:gd name="T18" fmla="*/ 516 w 678"/>
                <a:gd name="T19" fmla="*/ 638 h 661"/>
                <a:gd name="T20" fmla="*/ 542 w 678"/>
                <a:gd name="T21" fmla="*/ 656 h 661"/>
                <a:gd name="T22" fmla="*/ 568 w 678"/>
                <a:gd name="T23" fmla="*/ 651 h 661"/>
                <a:gd name="T24" fmla="*/ 579 w 678"/>
                <a:gd name="T25" fmla="*/ 627 h 661"/>
                <a:gd name="T26" fmla="*/ 615 w 678"/>
                <a:gd name="T27" fmla="*/ 617 h 661"/>
                <a:gd name="T28" fmla="*/ 631 w 678"/>
                <a:gd name="T29" fmla="*/ 584 h 661"/>
                <a:gd name="T30" fmla="*/ 670 w 678"/>
                <a:gd name="T31" fmla="*/ 566 h 661"/>
                <a:gd name="T32" fmla="*/ 664 w 678"/>
                <a:gd name="T33" fmla="*/ 523 h 661"/>
                <a:gd name="T34" fmla="*/ 677 w 678"/>
                <a:gd name="T35" fmla="*/ 512 h 661"/>
                <a:gd name="T36" fmla="*/ 644 w 678"/>
                <a:gd name="T37" fmla="*/ 482 h 661"/>
                <a:gd name="T38" fmla="*/ 587 w 678"/>
                <a:gd name="T39" fmla="*/ 376 h 661"/>
                <a:gd name="T40" fmla="*/ 567 w 678"/>
                <a:gd name="T41" fmla="*/ 324 h 661"/>
                <a:gd name="T42" fmla="*/ 539 w 678"/>
                <a:gd name="T43" fmla="*/ 253 h 661"/>
                <a:gd name="T44" fmla="*/ 497 w 678"/>
                <a:gd name="T45" fmla="*/ 209 h 661"/>
                <a:gd name="T46" fmla="*/ 478 w 678"/>
                <a:gd name="T47" fmla="*/ 165 h 661"/>
                <a:gd name="T48" fmla="*/ 470 w 678"/>
                <a:gd name="T49" fmla="*/ 127 h 661"/>
                <a:gd name="T50" fmla="*/ 476 w 678"/>
                <a:gd name="T51" fmla="*/ 118 h 661"/>
                <a:gd name="T52" fmla="*/ 497 w 678"/>
                <a:gd name="T53" fmla="*/ 159 h 661"/>
                <a:gd name="T54" fmla="*/ 520 w 678"/>
                <a:gd name="T55" fmla="*/ 197 h 661"/>
                <a:gd name="T56" fmla="*/ 566 w 678"/>
                <a:gd name="T57" fmla="*/ 252 h 661"/>
                <a:gd name="T58" fmla="*/ 596 w 678"/>
                <a:gd name="T59" fmla="*/ 219 h 661"/>
                <a:gd name="T60" fmla="*/ 618 w 678"/>
                <a:gd name="T61" fmla="*/ 160 h 661"/>
                <a:gd name="T62" fmla="*/ 560 w 678"/>
                <a:gd name="T63" fmla="*/ 33 h 661"/>
                <a:gd name="T64" fmla="*/ 528 w 678"/>
                <a:gd name="T65" fmla="*/ 33 h 661"/>
                <a:gd name="T66" fmla="*/ 517 w 678"/>
                <a:gd name="T67" fmla="*/ 39 h 661"/>
                <a:gd name="T68" fmla="*/ 510 w 678"/>
                <a:gd name="T69" fmla="*/ 32 h 661"/>
                <a:gd name="T70" fmla="*/ 482 w 678"/>
                <a:gd name="T71" fmla="*/ 40 h 661"/>
                <a:gd name="T72" fmla="*/ 459 w 678"/>
                <a:gd name="T73" fmla="*/ 24 h 661"/>
                <a:gd name="T74" fmla="*/ 460 w 678"/>
                <a:gd name="T75" fmla="*/ 30 h 661"/>
                <a:gd name="T76" fmla="*/ 445 w 678"/>
                <a:gd name="T77" fmla="*/ 35 h 661"/>
                <a:gd name="T78" fmla="*/ 431 w 678"/>
                <a:gd name="T79" fmla="*/ 14 h 661"/>
                <a:gd name="T80" fmla="*/ 418 w 678"/>
                <a:gd name="T81" fmla="*/ 16 h 661"/>
                <a:gd name="T82" fmla="*/ 395 w 678"/>
                <a:gd name="T83" fmla="*/ 5 h 661"/>
                <a:gd name="T84" fmla="*/ 366 w 678"/>
                <a:gd name="T85" fmla="*/ 10 h 661"/>
                <a:gd name="T86" fmla="*/ 340 w 678"/>
                <a:gd name="T87" fmla="*/ 23 h 661"/>
                <a:gd name="T88" fmla="*/ 326 w 678"/>
                <a:gd name="T89" fmla="*/ 29 h 661"/>
                <a:gd name="T90" fmla="*/ 298 w 678"/>
                <a:gd name="T91" fmla="*/ 43 h 661"/>
                <a:gd name="T92" fmla="*/ 224 w 678"/>
                <a:gd name="T93" fmla="*/ 41 h 661"/>
                <a:gd name="T94" fmla="*/ 141 w 678"/>
                <a:gd name="T95" fmla="*/ 20 h 661"/>
                <a:gd name="T96" fmla="*/ 25 w 678"/>
                <a:gd name="T97" fmla="*/ 8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78" h="661">
                  <a:moveTo>
                    <a:pt x="25" y="8"/>
                  </a:moveTo>
                  <a:cubicBezTo>
                    <a:pt x="23" y="8"/>
                    <a:pt x="21" y="7"/>
                    <a:pt x="20" y="6"/>
                  </a:cubicBezTo>
                  <a:cubicBezTo>
                    <a:pt x="15" y="10"/>
                    <a:pt x="11" y="15"/>
                    <a:pt x="11" y="18"/>
                  </a:cubicBezTo>
                  <a:cubicBezTo>
                    <a:pt x="10" y="22"/>
                    <a:pt x="10" y="29"/>
                    <a:pt x="10" y="37"/>
                  </a:cubicBezTo>
                  <a:cubicBezTo>
                    <a:pt x="10" y="47"/>
                    <a:pt x="10" y="59"/>
                    <a:pt x="11" y="66"/>
                  </a:cubicBezTo>
                  <a:cubicBezTo>
                    <a:pt x="11" y="74"/>
                    <a:pt x="8" y="80"/>
                    <a:pt x="5" y="86"/>
                  </a:cubicBezTo>
                  <a:cubicBezTo>
                    <a:pt x="3" y="90"/>
                    <a:pt x="0" y="95"/>
                    <a:pt x="0" y="99"/>
                  </a:cubicBezTo>
                  <a:cubicBezTo>
                    <a:pt x="0" y="106"/>
                    <a:pt x="3" y="115"/>
                    <a:pt x="5" y="124"/>
                  </a:cubicBezTo>
                  <a:cubicBezTo>
                    <a:pt x="7" y="131"/>
                    <a:pt x="9" y="138"/>
                    <a:pt x="10" y="144"/>
                  </a:cubicBezTo>
                  <a:cubicBezTo>
                    <a:pt x="11" y="149"/>
                    <a:pt x="12" y="168"/>
                    <a:pt x="12" y="191"/>
                  </a:cubicBezTo>
                  <a:cubicBezTo>
                    <a:pt x="13" y="226"/>
                    <a:pt x="13" y="270"/>
                    <a:pt x="13" y="287"/>
                  </a:cubicBezTo>
                  <a:cubicBezTo>
                    <a:pt x="13" y="308"/>
                    <a:pt x="14" y="477"/>
                    <a:pt x="14" y="605"/>
                  </a:cubicBezTo>
                  <a:cubicBezTo>
                    <a:pt x="15" y="636"/>
                    <a:pt x="15" y="636"/>
                    <a:pt x="15" y="636"/>
                  </a:cubicBezTo>
                  <a:cubicBezTo>
                    <a:pt x="51" y="635"/>
                    <a:pt x="375" y="633"/>
                    <a:pt x="384" y="631"/>
                  </a:cubicBezTo>
                  <a:cubicBezTo>
                    <a:pt x="388" y="630"/>
                    <a:pt x="391" y="629"/>
                    <a:pt x="394" y="628"/>
                  </a:cubicBezTo>
                  <a:cubicBezTo>
                    <a:pt x="398" y="626"/>
                    <a:pt x="401" y="625"/>
                    <a:pt x="406" y="625"/>
                  </a:cubicBezTo>
                  <a:cubicBezTo>
                    <a:pt x="411" y="625"/>
                    <a:pt x="414" y="629"/>
                    <a:pt x="416" y="633"/>
                  </a:cubicBezTo>
                  <a:cubicBezTo>
                    <a:pt x="417" y="636"/>
                    <a:pt x="419" y="638"/>
                    <a:pt x="420" y="638"/>
                  </a:cubicBezTo>
                  <a:cubicBezTo>
                    <a:pt x="424" y="638"/>
                    <a:pt x="451" y="638"/>
                    <a:pt x="475" y="638"/>
                  </a:cubicBezTo>
                  <a:cubicBezTo>
                    <a:pt x="494" y="638"/>
                    <a:pt x="511" y="638"/>
                    <a:pt x="516" y="638"/>
                  </a:cubicBezTo>
                  <a:cubicBezTo>
                    <a:pt x="526" y="639"/>
                    <a:pt x="528" y="643"/>
                    <a:pt x="532" y="647"/>
                  </a:cubicBezTo>
                  <a:cubicBezTo>
                    <a:pt x="534" y="650"/>
                    <a:pt x="536" y="654"/>
                    <a:pt x="542" y="656"/>
                  </a:cubicBezTo>
                  <a:cubicBezTo>
                    <a:pt x="553" y="661"/>
                    <a:pt x="559" y="657"/>
                    <a:pt x="566" y="653"/>
                  </a:cubicBezTo>
                  <a:cubicBezTo>
                    <a:pt x="567" y="652"/>
                    <a:pt x="567" y="652"/>
                    <a:pt x="568" y="651"/>
                  </a:cubicBezTo>
                  <a:cubicBezTo>
                    <a:pt x="571" y="649"/>
                    <a:pt x="572" y="644"/>
                    <a:pt x="573" y="640"/>
                  </a:cubicBezTo>
                  <a:cubicBezTo>
                    <a:pt x="574" y="635"/>
                    <a:pt x="574" y="630"/>
                    <a:pt x="579" y="627"/>
                  </a:cubicBezTo>
                  <a:cubicBezTo>
                    <a:pt x="582" y="625"/>
                    <a:pt x="587" y="624"/>
                    <a:pt x="593" y="623"/>
                  </a:cubicBezTo>
                  <a:cubicBezTo>
                    <a:pt x="600" y="622"/>
                    <a:pt x="608" y="621"/>
                    <a:pt x="615" y="617"/>
                  </a:cubicBezTo>
                  <a:cubicBezTo>
                    <a:pt x="620" y="614"/>
                    <a:pt x="622" y="606"/>
                    <a:pt x="624" y="600"/>
                  </a:cubicBezTo>
                  <a:cubicBezTo>
                    <a:pt x="625" y="593"/>
                    <a:pt x="627" y="588"/>
                    <a:pt x="631" y="584"/>
                  </a:cubicBezTo>
                  <a:cubicBezTo>
                    <a:pt x="636" y="579"/>
                    <a:pt x="656" y="571"/>
                    <a:pt x="669" y="566"/>
                  </a:cubicBezTo>
                  <a:cubicBezTo>
                    <a:pt x="670" y="566"/>
                    <a:pt x="670" y="566"/>
                    <a:pt x="670" y="566"/>
                  </a:cubicBezTo>
                  <a:cubicBezTo>
                    <a:pt x="670" y="565"/>
                    <a:pt x="669" y="563"/>
                    <a:pt x="669" y="562"/>
                  </a:cubicBezTo>
                  <a:cubicBezTo>
                    <a:pt x="667" y="550"/>
                    <a:pt x="662" y="528"/>
                    <a:pt x="664" y="523"/>
                  </a:cubicBezTo>
                  <a:cubicBezTo>
                    <a:pt x="665" y="517"/>
                    <a:pt x="669" y="516"/>
                    <a:pt x="672" y="517"/>
                  </a:cubicBezTo>
                  <a:cubicBezTo>
                    <a:pt x="675" y="517"/>
                    <a:pt x="678" y="517"/>
                    <a:pt x="677" y="512"/>
                  </a:cubicBezTo>
                  <a:cubicBezTo>
                    <a:pt x="675" y="508"/>
                    <a:pt x="671" y="507"/>
                    <a:pt x="666" y="503"/>
                  </a:cubicBezTo>
                  <a:cubicBezTo>
                    <a:pt x="661" y="499"/>
                    <a:pt x="650" y="488"/>
                    <a:pt x="644" y="482"/>
                  </a:cubicBezTo>
                  <a:cubicBezTo>
                    <a:pt x="639" y="475"/>
                    <a:pt x="624" y="457"/>
                    <a:pt x="617" y="437"/>
                  </a:cubicBezTo>
                  <a:cubicBezTo>
                    <a:pt x="611" y="417"/>
                    <a:pt x="592" y="385"/>
                    <a:pt x="587" y="376"/>
                  </a:cubicBezTo>
                  <a:cubicBezTo>
                    <a:pt x="583" y="366"/>
                    <a:pt x="574" y="352"/>
                    <a:pt x="570" y="345"/>
                  </a:cubicBezTo>
                  <a:cubicBezTo>
                    <a:pt x="567" y="338"/>
                    <a:pt x="566" y="330"/>
                    <a:pt x="567" y="324"/>
                  </a:cubicBezTo>
                  <a:cubicBezTo>
                    <a:pt x="569" y="319"/>
                    <a:pt x="565" y="303"/>
                    <a:pt x="556" y="284"/>
                  </a:cubicBezTo>
                  <a:cubicBezTo>
                    <a:pt x="548" y="265"/>
                    <a:pt x="542" y="257"/>
                    <a:pt x="539" y="253"/>
                  </a:cubicBezTo>
                  <a:cubicBezTo>
                    <a:pt x="536" y="250"/>
                    <a:pt x="530" y="239"/>
                    <a:pt x="519" y="231"/>
                  </a:cubicBezTo>
                  <a:cubicBezTo>
                    <a:pt x="509" y="222"/>
                    <a:pt x="497" y="218"/>
                    <a:pt x="497" y="209"/>
                  </a:cubicBezTo>
                  <a:cubicBezTo>
                    <a:pt x="496" y="201"/>
                    <a:pt x="497" y="193"/>
                    <a:pt x="492" y="186"/>
                  </a:cubicBezTo>
                  <a:cubicBezTo>
                    <a:pt x="487" y="178"/>
                    <a:pt x="481" y="171"/>
                    <a:pt x="478" y="165"/>
                  </a:cubicBezTo>
                  <a:cubicBezTo>
                    <a:pt x="474" y="158"/>
                    <a:pt x="468" y="150"/>
                    <a:pt x="468" y="144"/>
                  </a:cubicBezTo>
                  <a:cubicBezTo>
                    <a:pt x="468" y="139"/>
                    <a:pt x="466" y="131"/>
                    <a:pt x="470" y="127"/>
                  </a:cubicBezTo>
                  <a:cubicBezTo>
                    <a:pt x="474" y="123"/>
                    <a:pt x="473" y="121"/>
                    <a:pt x="475" y="118"/>
                  </a:cubicBezTo>
                  <a:cubicBezTo>
                    <a:pt x="476" y="118"/>
                    <a:pt x="476" y="118"/>
                    <a:pt x="476" y="118"/>
                  </a:cubicBezTo>
                  <a:cubicBezTo>
                    <a:pt x="488" y="118"/>
                    <a:pt x="483" y="122"/>
                    <a:pt x="487" y="131"/>
                  </a:cubicBezTo>
                  <a:cubicBezTo>
                    <a:pt x="492" y="140"/>
                    <a:pt x="491" y="148"/>
                    <a:pt x="497" y="159"/>
                  </a:cubicBezTo>
                  <a:cubicBezTo>
                    <a:pt x="502" y="170"/>
                    <a:pt x="509" y="170"/>
                    <a:pt x="518" y="177"/>
                  </a:cubicBezTo>
                  <a:cubicBezTo>
                    <a:pt x="527" y="183"/>
                    <a:pt x="520" y="188"/>
                    <a:pt x="520" y="197"/>
                  </a:cubicBezTo>
                  <a:cubicBezTo>
                    <a:pt x="520" y="206"/>
                    <a:pt x="522" y="213"/>
                    <a:pt x="527" y="220"/>
                  </a:cubicBezTo>
                  <a:cubicBezTo>
                    <a:pt x="532" y="227"/>
                    <a:pt x="557" y="246"/>
                    <a:pt x="566" y="252"/>
                  </a:cubicBezTo>
                  <a:cubicBezTo>
                    <a:pt x="575" y="258"/>
                    <a:pt x="580" y="266"/>
                    <a:pt x="585" y="265"/>
                  </a:cubicBezTo>
                  <a:cubicBezTo>
                    <a:pt x="590" y="264"/>
                    <a:pt x="593" y="231"/>
                    <a:pt x="596" y="219"/>
                  </a:cubicBezTo>
                  <a:cubicBezTo>
                    <a:pt x="599" y="206"/>
                    <a:pt x="605" y="197"/>
                    <a:pt x="611" y="182"/>
                  </a:cubicBezTo>
                  <a:cubicBezTo>
                    <a:pt x="615" y="171"/>
                    <a:pt x="616" y="165"/>
                    <a:pt x="618" y="160"/>
                  </a:cubicBezTo>
                  <a:cubicBezTo>
                    <a:pt x="613" y="140"/>
                    <a:pt x="591" y="56"/>
                    <a:pt x="582" y="20"/>
                  </a:cubicBezTo>
                  <a:cubicBezTo>
                    <a:pt x="575" y="27"/>
                    <a:pt x="568" y="29"/>
                    <a:pt x="560" y="33"/>
                  </a:cubicBezTo>
                  <a:cubicBezTo>
                    <a:pt x="552" y="38"/>
                    <a:pt x="549" y="34"/>
                    <a:pt x="543" y="34"/>
                  </a:cubicBezTo>
                  <a:cubicBezTo>
                    <a:pt x="537" y="33"/>
                    <a:pt x="532" y="32"/>
                    <a:pt x="528" y="33"/>
                  </a:cubicBezTo>
                  <a:cubicBezTo>
                    <a:pt x="524" y="34"/>
                    <a:pt x="527" y="37"/>
                    <a:pt x="527" y="39"/>
                  </a:cubicBezTo>
                  <a:cubicBezTo>
                    <a:pt x="527" y="42"/>
                    <a:pt x="520" y="39"/>
                    <a:pt x="517" y="39"/>
                  </a:cubicBezTo>
                  <a:cubicBezTo>
                    <a:pt x="514" y="38"/>
                    <a:pt x="520" y="34"/>
                    <a:pt x="520" y="32"/>
                  </a:cubicBezTo>
                  <a:cubicBezTo>
                    <a:pt x="521" y="31"/>
                    <a:pt x="518" y="31"/>
                    <a:pt x="510" y="32"/>
                  </a:cubicBezTo>
                  <a:cubicBezTo>
                    <a:pt x="503" y="33"/>
                    <a:pt x="504" y="34"/>
                    <a:pt x="498" y="39"/>
                  </a:cubicBezTo>
                  <a:cubicBezTo>
                    <a:pt x="492" y="43"/>
                    <a:pt x="487" y="41"/>
                    <a:pt x="482" y="40"/>
                  </a:cubicBezTo>
                  <a:cubicBezTo>
                    <a:pt x="478" y="39"/>
                    <a:pt x="475" y="34"/>
                    <a:pt x="470" y="30"/>
                  </a:cubicBezTo>
                  <a:cubicBezTo>
                    <a:pt x="466" y="26"/>
                    <a:pt x="464" y="26"/>
                    <a:pt x="459" y="24"/>
                  </a:cubicBezTo>
                  <a:cubicBezTo>
                    <a:pt x="454" y="21"/>
                    <a:pt x="449" y="17"/>
                    <a:pt x="448" y="21"/>
                  </a:cubicBezTo>
                  <a:cubicBezTo>
                    <a:pt x="448" y="24"/>
                    <a:pt x="457" y="26"/>
                    <a:pt x="460" y="30"/>
                  </a:cubicBezTo>
                  <a:cubicBezTo>
                    <a:pt x="464" y="34"/>
                    <a:pt x="459" y="34"/>
                    <a:pt x="455" y="38"/>
                  </a:cubicBezTo>
                  <a:cubicBezTo>
                    <a:pt x="452" y="42"/>
                    <a:pt x="450" y="37"/>
                    <a:pt x="445" y="35"/>
                  </a:cubicBezTo>
                  <a:cubicBezTo>
                    <a:pt x="439" y="32"/>
                    <a:pt x="435" y="29"/>
                    <a:pt x="434" y="24"/>
                  </a:cubicBezTo>
                  <a:cubicBezTo>
                    <a:pt x="434" y="19"/>
                    <a:pt x="436" y="15"/>
                    <a:pt x="431" y="14"/>
                  </a:cubicBezTo>
                  <a:cubicBezTo>
                    <a:pt x="426" y="13"/>
                    <a:pt x="425" y="16"/>
                    <a:pt x="422" y="16"/>
                  </a:cubicBezTo>
                  <a:cubicBezTo>
                    <a:pt x="421" y="16"/>
                    <a:pt x="420" y="16"/>
                    <a:pt x="418" y="16"/>
                  </a:cubicBezTo>
                  <a:cubicBezTo>
                    <a:pt x="416" y="15"/>
                    <a:pt x="415" y="14"/>
                    <a:pt x="410" y="12"/>
                  </a:cubicBezTo>
                  <a:cubicBezTo>
                    <a:pt x="406" y="10"/>
                    <a:pt x="401" y="6"/>
                    <a:pt x="395" y="5"/>
                  </a:cubicBezTo>
                  <a:cubicBezTo>
                    <a:pt x="389" y="4"/>
                    <a:pt x="384" y="2"/>
                    <a:pt x="377" y="4"/>
                  </a:cubicBezTo>
                  <a:cubicBezTo>
                    <a:pt x="371" y="5"/>
                    <a:pt x="372" y="6"/>
                    <a:pt x="366" y="10"/>
                  </a:cubicBezTo>
                  <a:cubicBezTo>
                    <a:pt x="360" y="14"/>
                    <a:pt x="345" y="18"/>
                    <a:pt x="345" y="18"/>
                  </a:cubicBezTo>
                  <a:cubicBezTo>
                    <a:pt x="345" y="18"/>
                    <a:pt x="341" y="20"/>
                    <a:pt x="340" y="23"/>
                  </a:cubicBezTo>
                  <a:cubicBezTo>
                    <a:pt x="339" y="25"/>
                    <a:pt x="343" y="28"/>
                    <a:pt x="340" y="30"/>
                  </a:cubicBezTo>
                  <a:cubicBezTo>
                    <a:pt x="337" y="33"/>
                    <a:pt x="336" y="30"/>
                    <a:pt x="326" y="29"/>
                  </a:cubicBezTo>
                  <a:cubicBezTo>
                    <a:pt x="316" y="28"/>
                    <a:pt x="309" y="36"/>
                    <a:pt x="306" y="38"/>
                  </a:cubicBezTo>
                  <a:cubicBezTo>
                    <a:pt x="303" y="40"/>
                    <a:pt x="298" y="43"/>
                    <a:pt x="298" y="43"/>
                  </a:cubicBezTo>
                  <a:cubicBezTo>
                    <a:pt x="279" y="55"/>
                    <a:pt x="260" y="59"/>
                    <a:pt x="253" y="53"/>
                  </a:cubicBezTo>
                  <a:cubicBezTo>
                    <a:pt x="247" y="47"/>
                    <a:pt x="239" y="41"/>
                    <a:pt x="224" y="41"/>
                  </a:cubicBezTo>
                  <a:cubicBezTo>
                    <a:pt x="209" y="41"/>
                    <a:pt x="198" y="37"/>
                    <a:pt x="185" y="34"/>
                  </a:cubicBezTo>
                  <a:cubicBezTo>
                    <a:pt x="172" y="32"/>
                    <a:pt x="161" y="27"/>
                    <a:pt x="141" y="20"/>
                  </a:cubicBezTo>
                  <a:cubicBezTo>
                    <a:pt x="121" y="13"/>
                    <a:pt x="106" y="4"/>
                    <a:pt x="86" y="2"/>
                  </a:cubicBezTo>
                  <a:cubicBezTo>
                    <a:pt x="66" y="0"/>
                    <a:pt x="41" y="11"/>
                    <a:pt x="25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3" name="Freeform 204"/>
            <p:cNvSpPr>
              <a:spLocks/>
            </p:cNvSpPr>
            <p:nvPr/>
          </p:nvSpPr>
          <p:spPr bwMode="auto">
            <a:xfrm>
              <a:off x="4994784" y="3957135"/>
              <a:ext cx="120253" cy="95250"/>
            </a:xfrm>
            <a:custGeom>
              <a:avLst/>
              <a:gdLst>
                <a:gd name="T0" fmla="*/ 28 w 418"/>
                <a:gd name="T1" fmla="*/ 100 h 336"/>
                <a:gd name="T2" fmla="*/ 12 w 418"/>
                <a:gd name="T3" fmla="*/ 99 h 336"/>
                <a:gd name="T4" fmla="*/ 17 w 418"/>
                <a:gd name="T5" fmla="*/ 133 h 336"/>
                <a:gd name="T6" fmla="*/ 17 w 418"/>
                <a:gd name="T7" fmla="*/ 176 h 336"/>
                <a:gd name="T8" fmla="*/ 36 w 418"/>
                <a:gd name="T9" fmla="*/ 178 h 336"/>
                <a:gd name="T10" fmla="*/ 57 w 418"/>
                <a:gd name="T11" fmla="*/ 214 h 336"/>
                <a:gd name="T12" fmla="*/ 35 w 418"/>
                <a:gd name="T13" fmla="*/ 234 h 336"/>
                <a:gd name="T14" fmla="*/ 32 w 418"/>
                <a:gd name="T15" fmla="*/ 243 h 336"/>
                <a:gd name="T16" fmla="*/ 18 w 418"/>
                <a:gd name="T17" fmla="*/ 267 h 336"/>
                <a:gd name="T18" fmla="*/ 0 w 418"/>
                <a:gd name="T19" fmla="*/ 285 h 336"/>
                <a:gd name="T20" fmla="*/ 28 w 418"/>
                <a:gd name="T21" fmla="*/ 323 h 336"/>
                <a:gd name="T22" fmla="*/ 71 w 418"/>
                <a:gd name="T23" fmla="*/ 335 h 336"/>
                <a:gd name="T24" fmla="*/ 110 w 418"/>
                <a:gd name="T25" fmla="*/ 317 h 336"/>
                <a:gd name="T26" fmla="*/ 168 w 418"/>
                <a:gd name="T27" fmla="*/ 279 h 336"/>
                <a:gd name="T28" fmla="*/ 194 w 418"/>
                <a:gd name="T29" fmla="*/ 271 h 336"/>
                <a:gd name="T30" fmla="*/ 252 w 418"/>
                <a:gd name="T31" fmla="*/ 233 h 336"/>
                <a:gd name="T32" fmla="*/ 296 w 418"/>
                <a:gd name="T33" fmla="*/ 207 h 336"/>
                <a:gd name="T34" fmla="*/ 312 w 418"/>
                <a:gd name="T35" fmla="*/ 199 h 336"/>
                <a:gd name="T36" fmla="*/ 312 w 418"/>
                <a:gd name="T37" fmla="*/ 199 h 336"/>
                <a:gd name="T38" fmla="*/ 336 w 418"/>
                <a:gd name="T39" fmla="*/ 182 h 336"/>
                <a:gd name="T40" fmla="*/ 341 w 418"/>
                <a:gd name="T41" fmla="*/ 155 h 336"/>
                <a:gd name="T42" fmla="*/ 342 w 418"/>
                <a:gd name="T43" fmla="*/ 140 h 336"/>
                <a:gd name="T44" fmla="*/ 348 w 418"/>
                <a:gd name="T45" fmla="*/ 121 h 336"/>
                <a:gd name="T46" fmla="*/ 345 w 418"/>
                <a:gd name="T47" fmla="*/ 71 h 336"/>
                <a:gd name="T48" fmla="*/ 355 w 418"/>
                <a:gd name="T49" fmla="*/ 47 h 336"/>
                <a:gd name="T50" fmla="*/ 381 w 418"/>
                <a:gd name="T51" fmla="*/ 41 h 336"/>
                <a:gd name="T52" fmla="*/ 418 w 418"/>
                <a:gd name="T53" fmla="*/ 4 h 336"/>
                <a:gd name="T54" fmla="*/ 388 w 418"/>
                <a:gd name="T55" fmla="*/ 3 h 336"/>
                <a:gd name="T56" fmla="*/ 350 w 418"/>
                <a:gd name="T57" fmla="*/ 9 h 336"/>
                <a:gd name="T58" fmla="*/ 285 w 418"/>
                <a:gd name="T59" fmla="*/ 22 h 336"/>
                <a:gd name="T60" fmla="*/ 185 w 418"/>
                <a:gd name="T61" fmla="*/ 31 h 336"/>
                <a:gd name="T62" fmla="*/ 162 w 418"/>
                <a:gd name="T63" fmla="*/ 26 h 336"/>
                <a:gd name="T64" fmla="*/ 133 w 418"/>
                <a:gd name="T65" fmla="*/ 32 h 336"/>
                <a:gd name="T66" fmla="*/ 75 w 418"/>
                <a:gd name="T67" fmla="*/ 39 h 336"/>
                <a:gd name="T68" fmla="*/ 61 w 418"/>
                <a:gd name="T69" fmla="*/ 54 h 336"/>
                <a:gd name="T70" fmla="*/ 47 w 418"/>
                <a:gd name="T71" fmla="*/ 8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18" h="336">
                  <a:moveTo>
                    <a:pt x="47" y="84"/>
                  </a:moveTo>
                  <a:cubicBezTo>
                    <a:pt x="40" y="92"/>
                    <a:pt x="32" y="98"/>
                    <a:pt x="28" y="100"/>
                  </a:cubicBezTo>
                  <a:cubicBezTo>
                    <a:pt x="23" y="101"/>
                    <a:pt x="18" y="101"/>
                    <a:pt x="14" y="99"/>
                  </a:cubicBezTo>
                  <a:cubicBezTo>
                    <a:pt x="13" y="99"/>
                    <a:pt x="13" y="99"/>
                    <a:pt x="12" y="99"/>
                  </a:cubicBezTo>
                  <a:cubicBezTo>
                    <a:pt x="9" y="102"/>
                    <a:pt x="6" y="106"/>
                    <a:pt x="8" y="115"/>
                  </a:cubicBezTo>
                  <a:cubicBezTo>
                    <a:pt x="9" y="124"/>
                    <a:pt x="15" y="126"/>
                    <a:pt x="17" y="133"/>
                  </a:cubicBezTo>
                  <a:cubicBezTo>
                    <a:pt x="20" y="139"/>
                    <a:pt x="18" y="147"/>
                    <a:pt x="17" y="157"/>
                  </a:cubicBezTo>
                  <a:cubicBezTo>
                    <a:pt x="17" y="162"/>
                    <a:pt x="17" y="169"/>
                    <a:pt x="17" y="176"/>
                  </a:cubicBezTo>
                  <a:cubicBezTo>
                    <a:pt x="21" y="175"/>
                    <a:pt x="26" y="175"/>
                    <a:pt x="32" y="177"/>
                  </a:cubicBezTo>
                  <a:cubicBezTo>
                    <a:pt x="33" y="177"/>
                    <a:pt x="34" y="178"/>
                    <a:pt x="36" y="178"/>
                  </a:cubicBezTo>
                  <a:cubicBezTo>
                    <a:pt x="44" y="180"/>
                    <a:pt x="48" y="181"/>
                    <a:pt x="53" y="196"/>
                  </a:cubicBezTo>
                  <a:cubicBezTo>
                    <a:pt x="56" y="204"/>
                    <a:pt x="58" y="209"/>
                    <a:pt x="57" y="214"/>
                  </a:cubicBezTo>
                  <a:cubicBezTo>
                    <a:pt x="57" y="220"/>
                    <a:pt x="54" y="224"/>
                    <a:pt x="47" y="227"/>
                  </a:cubicBezTo>
                  <a:cubicBezTo>
                    <a:pt x="42" y="230"/>
                    <a:pt x="38" y="232"/>
                    <a:pt x="35" y="234"/>
                  </a:cubicBezTo>
                  <a:cubicBezTo>
                    <a:pt x="33" y="236"/>
                    <a:pt x="32" y="238"/>
                    <a:pt x="31" y="240"/>
                  </a:cubicBezTo>
                  <a:cubicBezTo>
                    <a:pt x="31" y="241"/>
                    <a:pt x="32" y="242"/>
                    <a:pt x="32" y="243"/>
                  </a:cubicBezTo>
                  <a:cubicBezTo>
                    <a:pt x="34" y="248"/>
                    <a:pt x="35" y="253"/>
                    <a:pt x="26" y="261"/>
                  </a:cubicBezTo>
                  <a:cubicBezTo>
                    <a:pt x="22" y="264"/>
                    <a:pt x="20" y="266"/>
                    <a:pt x="18" y="267"/>
                  </a:cubicBezTo>
                  <a:cubicBezTo>
                    <a:pt x="12" y="272"/>
                    <a:pt x="8" y="275"/>
                    <a:pt x="5" y="280"/>
                  </a:cubicBezTo>
                  <a:cubicBezTo>
                    <a:pt x="4" y="282"/>
                    <a:pt x="2" y="283"/>
                    <a:pt x="0" y="285"/>
                  </a:cubicBezTo>
                  <a:cubicBezTo>
                    <a:pt x="0" y="289"/>
                    <a:pt x="0" y="297"/>
                    <a:pt x="0" y="305"/>
                  </a:cubicBezTo>
                  <a:cubicBezTo>
                    <a:pt x="2" y="307"/>
                    <a:pt x="16" y="315"/>
                    <a:pt x="28" y="323"/>
                  </a:cubicBezTo>
                  <a:cubicBezTo>
                    <a:pt x="32" y="326"/>
                    <a:pt x="39" y="329"/>
                    <a:pt x="46" y="331"/>
                  </a:cubicBezTo>
                  <a:cubicBezTo>
                    <a:pt x="56" y="334"/>
                    <a:pt x="66" y="335"/>
                    <a:pt x="71" y="335"/>
                  </a:cubicBezTo>
                  <a:cubicBezTo>
                    <a:pt x="77" y="336"/>
                    <a:pt x="85" y="331"/>
                    <a:pt x="98" y="324"/>
                  </a:cubicBezTo>
                  <a:cubicBezTo>
                    <a:pt x="102" y="321"/>
                    <a:pt x="106" y="319"/>
                    <a:pt x="110" y="317"/>
                  </a:cubicBezTo>
                  <a:cubicBezTo>
                    <a:pt x="119" y="311"/>
                    <a:pt x="129" y="305"/>
                    <a:pt x="138" y="298"/>
                  </a:cubicBezTo>
                  <a:cubicBezTo>
                    <a:pt x="149" y="291"/>
                    <a:pt x="159" y="284"/>
                    <a:pt x="168" y="279"/>
                  </a:cubicBezTo>
                  <a:cubicBezTo>
                    <a:pt x="181" y="273"/>
                    <a:pt x="187" y="272"/>
                    <a:pt x="192" y="271"/>
                  </a:cubicBezTo>
                  <a:cubicBezTo>
                    <a:pt x="193" y="271"/>
                    <a:pt x="194" y="271"/>
                    <a:pt x="194" y="271"/>
                  </a:cubicBezTo>
                  <a:cubicBezTo>
                    <a:pt x="195" y="267"/>
                    <a:pt x="197" y="265"/>
                    <a:pt x="210" y="256"/>
                  </a:cubicBezTo>
                  <a:cubicBezTo>
                    <a:pt x="218" y="251"/>
                    <a:pt x="236" y="242"/>
                    <a:pt x="252" y="233"/>
                  </a:cubicBezTo>
                  <a:cubicBezTo>
                    <a:pt x="267" y="224"/>
                    <a:pt x="283" y="216"/>
                    <a:pt x="288" y="213"/>
                  </a:cubicBezTo>
                  <a:cubicBezTo>
                    <a:pt x="291" y="211"/>
                    <a:pt x="294" y="209"/>
                    <a:pt x="296" y="207"/>
                  </a:cubicBezTo>
                  <a:cubicBezTo>
                    <a:pt x="301" y="204"/>
                    <a:pt x="305" y="201"/>
                    <a:pt x="312" y="199"/>
                  </a:cubicBezTo>
                  <a:cubicBezTo>
                    <a:pt x="312" y="199"/>
                    <a:pt x="312" y="199"/>
                    <a:pt x="312" y="199"/>
                  </a:cubicBezTo>
                  <a:cubicBezTo>
                    <a:pt x="312" y="199"/>
                    <a:pt x="312" y="199"/>
                    <a:pt x="312" y="199"/>
                  </a:cubicBezTo>
                  <a:cubicBezTo>
                    <a:pt x="312" y="199"/>
                    <a:pt x="312" y="199"/>
                    <a:pt x="312" y="199"/>
                  </a:cubicBezTo>
                  <a:cubicBezTo>
                    <a:pt x="321" y="196"/>
                    <a:pt x="326" y="194"/>
                    <a:pt x="330" y="190"/>
                  </a:cubicBezTo>
                  <a:cubicBezTo>
                    <a:pt x="333" y="187"/>
                    <a:pt x="334" y="185"/>
                    <a:pt x="336" y="182"/>
                  </a:cubicBezTo>
                  <a:cubicBezTo>
                    <a:pt x="337" y="180"/>
                    <a:pt x="338" y="176"/>
                    <a:pt x="340" y="171"/>
                  </a:cubicBezTo>
                  <a:cubicBezTo>
                    <a:pt x="342" y="166"/>
                    <a:pt x="341" y="161"/>
                    <a:pt x="341" y="155"/>
                  </a:cubicBezTo>
                  <a:cubicBezTo>
                    <a:pt x="341" y="151"/>
                    <a:pt x="341" y="146"/>
                    <a:pt x="342" y="140"/>
                  </a:cubicBezTo>
                  <a:cubicBezTo>
                    <a:pt x="342" y="140"/>
                    <a:pt x="342" y="140"/>
                    <a:pt x="342" y="140"/>
                  </a:cubicBezTo>
                  <a:cubicBezTo>
                    <a:pt x="343" y="135"/>
                    <a:pt x="344" y="132"/>
                    <a:pt x="345" y="129"/>
                  </a:cubicBezTo>
                  <a:cubicBezTo>
                    <a:pt x="346" y="127"/>
                    <a:pt x="347" y="125"/>
                    <a:pt x="348" y="121"/>
                  </a:cubicBezTo>
                  <a:cubicBezTo>
                    <a:pt x="348" y="115"/>
                    <a:pt x="347" y="104"/>
                    <a:pt x="346" y="94"/>
                  </a:cubicBezTo>
                  <a:cubicBezTo>
                    <a:pt x="346" y="84"/>
                    <a:pt x="345" y="76"/>
                    <a:pt x="345" y="71"/>
                  </a:cubicBezTo>
                  <a:cubicBezTo>
                    <a:pt x="345" y="71"/>
                    <a:pt x="345" y="71"/>
                    <a:pt x="345" y="71"/>
                  </a:cubicBezTo>
                  <a:cubicBezTo>
                    <a:pt x="346" y="61"/>
                    <a:pt x="347" y="55"/>
                    <a:pt x="355" y="47"/>
                  </a:cubicBezTo>
                  <a:cubicBezTo>
                    <a:pt x="361" y="42"/>
                    <a:pt x="367" y="42"/>
                    <a:pt x="372" y="42"/>
                  </a:cubicBezTo>
                  <a:cubicBezTo>
                    <a:pt x="375" y="42"/>
                    <a:pt x="378" y="41"/>
                    <a:pt x="381" y="41"/>
                  </a:cubicBezTo>
                  <a:cubicBezTo>
                    <a:pt x="384" y="39"/>
                    <a:pt x="398" y="25"/>
                    <a:pt x="411" y="12"/>
                  </a:cubicBezTo>
                  <a:cubicBezTo>
                    <a:pt x="413" y="9"/>
                    <a:pt x="416" y="6"/>
                    <a:pt x="418" y="4"/>
                  </a:cubicBezTo>
                  <a:cubicBezTo>
                    <a:pt x="414" y="2"/>
                    <a:pt x="406" y="0"/>
                    <a:pt x="401" y="0"/>
                  </a:cubicBezTo>
                  <a:cubicBezTo>
                    <a:pt x="397" y="0"/>
                    <a:pt x="392" y="1"/>
                    <a:pt x="388" y="3"/>
                  </a:cubicBezTo>
                  <a:cubicBezTo>
                    <a:pt x="384" y="5"/>
                    <a:pt x="379" y="7"/>
                    <a:pt x="374" y="8"/>
                  </a:cubicBezTo>
                  <a:cubicBezTo>
                    <a:pt x="369" y="9"/>
                    <a:pt x="360" y="9"/>
                    <a:pt x="350" y="9"/>
                  </a:cubicBezTo>
                  <a:cubicBezTo>
                    <a:pt x="337" y="9"/>
                    <a:pt x="321" y="10"/>
                    <a:pt x="311" y="12"/>
                  </a:cubicBezTo>
                  <a:cubicBezTo>
                    <a:pt x="305" y="14"/>
                    <a:pt x="295" y="18"/>
                    <a:pt x="285" y="22"/>
                  </a:cubicBezTo>
                  <a:cubicBezTo>
                    <a:pt x="269" y="28"/>
                    <a:pt x="252" y="36"/>
                    <a:pt x="239" y="38"/>
                  </a:cubicBezTo>
                  <a:cubicBezTo>
                    <a:pt x="217" y="43"/>
                    <a:pt x="203" y="38"/>
                    <a:pt x="185" y="31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76" y="27"/>
                    <a:pt x="169" y="26"/>
                    <a:pt x="162" y="26"/>
                  </a:cubicBezTo>
                  <a:cubicBezTo>
                    <a:pt x="154" y="25"/>
                    <a:pt x="147" y="27"/>
                    <a:pt x="142" y="28"/>
                  </a:cubicBezTo>
                  <a:cubicBezTo>
                    <a:pt x="141" y="29"/>
                    <a:pt x="137" y="30"/>
                    <a:pt x="133" y="32"/>
                  </a:cubicBezTo>
                  <a:cubicBezTo>
                    <a:pt x="121" y="38"/>
                    <a:pt x="102" y="47"/>
                    <a:pt x="91" y="45"/>
                  </a:cubicBezTo>
                  <a:cubicBezTo>
                    <a:pt x="85" y="44"/>
                    <a:pt x="80" y="42"/>
                    <a:pt x="75" y="39"/>
                  </a:cubicBezTo>
                  <a:cubicBezTo>
                    <a:pt x="70" y="37"/>
                    <a:pt x="66" y="34"/>
                    <a:pt x="64" y="36"/>
                  </a:cubicBezTo>
                  <a:cubicBezTo>
                    <a:pt x="60" y="39"/>
                    <a:pt x="61" y="47"/>
                    <a:pt x="61" y="54"/>
                  </a:cubicBezTo>
                  <a:cubicBezTo>
                    <a:pt x="61" y="59"/>
                    <a:pt x="61" y="63"/>
                    <a:pt x="60" y="66"/>
                  </a:cubicBezTo>
                  <a:cubicBezTo>
                    <a:pt x="59" y="71"/>
                    <a:pt x="53" y="78"/>
                    <a:pt x="47" y="8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4" name="Freeform 206"/>
            <p:cNvSpPr>
              <a:spLocks/>
            </p:cNvSpPr>
            <p:nvPr/>
          </p:nvSpPr>
          <p:spPr bwMode="auto">
            <a:xfrm>
              <a:off x="4853100" y="3971422"/>
              <a:ext cx="11906" cy="10716"/>
            </a:xfrm>
            <a:custGeom>
              <a:avLst/>
              <a:gdLst>
                <a:gd name="T0" fmla="*/ 20 w 40"/>
                <a:gd name="T1" fmla="*/ 10 h 38"/>
                <a:gd name="T2" fmla="*/ 9 w 40"/>
                <a:gd name="T3" fmla="*/ 17 h 38"/>
                <a:gd name="T4" fmla="*/ 3 w 40"/>
                <a:gd name="T5" fmla="*/ 24 h 38"/>
                <a:gd name="T6" fmla="*/ 4 w 40"/>
                <a:gd name="T7" fmla="*/ 36 h 38"/>
                <a:gd name="T8" fmla="*/ 17 w 40"/>
                <a:gd name="T9" fmla="*/ 34 h 38"/>
                <a:gd name="T10" fmla="*/ 26 w 40"/>
                <a:gd name="T11" fmla="*/ 27 h 38"/>
                <a:gd name="T12" fmla="*/ 29 w 40"/>
                <a:gd name="T13" fmla="*/ 21 h 38"/>
                <a:gd name="T14" fmla="*/ 20 w 40"/>
                <a:gd name="T15" fmla="*/ 1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38">
                  <a:moveTo>
                    <a:pt x="20" y="10"/>
                  </a:moveTo>
                  <a:cubicBezTo>
                    <a:pt x="15" y="13"/>
                    <a:pt x="13" y="14"/>
                    <a:pt x="9" y="17"/>
                  </a:cubicBezTo>
                  <a:cubicBezTo>
                    <a:pt x="4" y="20"/>
                    <a:pt x="2" y="18"/>
                    <a:pt x="3" y="24"/>
                  </a:cubicBezTo>
                  <a:cubicBezTo>
                    <a:pt x="3" y="30"/>
                    <a:pt x="0" y="34"/>
                    <a:pt x="4" y="36"/>
                  </a:cubicBezTo>
                  <a:cubicBezTo>
                    <a:pt x="9" y="38"/>
                    <a:pt x="14" y="38"/>
                    <a:pt x="17" y="34"/>
                  </a:cubicBezTo>
                  <a:cubicBezTo>
                    <a:pt x="19" y="30"/>
                    <a:pt x="24" y="29"/>
                    <a:pt x="26" y="27"/>
                  </a:cubicBezTo>
                  <a:cubicBezTo>
                    <a:pt x="28" y="26"/>
                    <a:pt x="32" y="25"/>
                    <a:pt x="29" y="21"/>
                  </a:cubicBezTo>
                  <a:cubicBezTo>
                    <a:pt x="29" y="16"/>
                    <a:pt x="40" y="0"/>
                    <a:pt x="20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5" name="Freeform 212"/>
            <p:cNvSpPr>
              <a:spLocks/>
            </p:cNvSpPr>
            <p:nvPr/>
          </p:nvSpPr>
          <p:spPr bwMode="auto">
            <a:xfrm>
              <a:off x="4430428" y="3897604"/>
              <a:ext cx="8334" cy="5953"/>
            </a:xfrm>
            <a:custGeom>
              <a:avLst/>
              <a:gdLst>
                <a:gd name="T0" fmla="*/ 14 w 27"/>
                <a:gd name="T1" fmla="*/ 11 h 20"/>
                <a:gd name="T2" fmla="*/ 25 w 27"/>
                <a:gd name="T3" fmla="*/ 18 h 20"/>
                <a:gd name="T4" fmla="*/ 26 w 27"/>
                <a:gd name="T5" fmla="*/ 8 h 20"/>
                <a:gd name="T6" fmla="*/ 23 w 27"/>
                <a:gd name="T7" fmla="*/ 2 h 20"/>
                <a:gd name="T8" fmla="*/ 9 w 27"/>
                <a:gd name="T9" fmla="*/ 0 h 20"/>
                <a:gd name="T10" fmla="*/ 5 w 27"/>
                <a:gd name="T11" fmla="*/ 5 h 20"/>
                <a:gd name="T12" fmla="*/ 14 w 27"/>
                <a:gd name="T1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0">
                  <a:moveTo>
                    <a:pt x="14" y="11"/>
                  </a:moveTo>
                  <a:cubicBezTo>
                    <a:pt x="21" y="14"/>
                    <a:pt x="23" y="20"/>
                    <a:pt x="25" y="18"/>
                  </a:cubicBezTo>
                  <a:cubicBezTo>
                    <a:pt x="26" y="15"/>
                    <a:pt x="27" y="11"/>
                    <a:pt x="26" y="8"/>
                  </a:cubicBezTo>
                  <a:cubicBezTo>
                    <a:pt x="25" y="5"/>
                    <a:pt x="26" y="3"/>
                    <a:pt x="23" y="2"/>
                  </a:cubicBezTo>
                  <a:cubicBezTo>
                    <a:pt x="20" y="1"/>
                    <a:pt x="14" y="0"/>
                    <a:pt x="9" y="0"/>
                  </a:cubicBezTo>
                  <a:cubicBezTo>
                    <a:pt x="3" y="1"/>
                    <a:pt x="0" y="1"/>
                    <a:pt x="5" y="5"/>
                  </a:cubicBezTo>
                  <a:cubicBezTo>
                    <a:pt x="9" y="8"/>
                    <a:pt x="8" y="8"/>
                    <a:pt x="14" y="1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6" name="Freeform 213"/>
            <p:cNvSpPr>
              <a:spLocks/>
            </p:cNvSpPr>
            <p:nvPr/>
          </p:nvSpPr>
          <p:spPr bwMode="auto">
            <a:xfrm>
              <a:off x="4516153" y="3513032"/>
              <a:ext cx="4762" cy="4762"/>
            </a:xfrm>
            <a:custGeom>
              <a:avLst/>
              <a:gdLst>
                <a:gd name="T0" fmla="*/ 5 w 19"/>
                <a:gd name="T1" fmla="*/ 4 h 19"/>
                <a:gd name="T2" fmla="*/ 1 w 19"/>
                <a:gd name="T3" fmla="*/ 11 h 19"/>
                <a:gd name="T4" fmla="*/ 5 w 19"/>
                <a:gd name="T5" fmla="*/ 16 h 19"/>
                <a:gd name="T6" fmla="*/ 11 w 19"/>
                <a:gd name="T7" fmla="*/ 8 h 19"/>
                <a:gd name="T8" fmla="*/ 16 w 19"/>
                <a:gd name="T9" fmla="*/ 0 h 19"/>
                <a:gd name="T10" fmla="*/ 5 w 19"/>
                <a:gd name="T11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9">
                  <a:moveTo>
                    <a:pt x="5" y="4"/>
                  </a:moveTo>
                  <a:cubicBezTo>
                    <a:pt x="2" y="7"/>
                    <a:pt x="0" y="7"/>
                    <a:pt x="1" y="11"/>
                  </a:cubicBezTo>
                  <a:cubicBezTo>
                    <a:pt x="1" y="15"/>
                    <a:pt x="1" y="19"/>
                    <a:pt x="5" y="16"/>
                  </a:cubicBezTo>
                  <a:cubicBezTo>
                    <a:pt x="9" y="14"/>
                    <a:pt x="5" y="12"/>
                    <a:pt x="11" y="8"/>
                  </a:cubicBezTo>
                  <a:cubicBezTo>
                    <a:pt x="17" y="3"/>
                    <a:pt x="19" y="0"/>
                    <a:pt x="16" y="0"/>
                  </a:cubicBezTo>
                  <a:cubicBezTo>
                    <a:pt x="14" y="0"/>
                    <a:pt x="10" y="0"/>
                    <a:pt x="5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7" name="Freeform 216"/>
            <p:cNvSpPr>
              <a:spLocks/>
            </p:cNvSpPr>
            <p:nvPr/>
          </p:nvSpPr>
          <p:spPr bwMode="auto">
            <a:xfrm>
              <a:off x="4838813" y="3716629"/>
              <a:ext cx="52387" cy="64294"/>
            </a:xfrm>
            <a:custGeom>
              <a:avLst/>
              <a:gdLst>
                <a:gd name="T0" fmla="*/ 144 w 181"/>
                <a:gd name="T1" fmla="*/ 47 h 224"/>
                <a:gd name="T2" fmla="*/ 137 w 181"/>
                <a:gd name="T3" fmla="*/ 37 h 224"/>
                <a:gd name="T4" fmla="*/ 128 w 181"/>
                <a:gd name="T5" fmla="*/ 32 h 224"/>
                <a:gd name="T6" fmla="*/ 115 w 181"/>
                <a:gd name="T7" fmla="*/ 27 h 224"/>
                <a:gd name="T8" fmla="*/ 91 w 181"/>
                <a:gd name="T9" fmla="*/ 18 h 224"/>
                <a:gd name="T10" fmla="*/ 70 w 181"/>
                <a:gd name="T11" fmla="*/ 8 h 224"/>
                <a:gd name="T12" fmla="*/ 48 w 181"/>
                <a:gd name="T13" fmla="*/ 1 h 224"/>
                <a:gd name="T14" fmla="*/ 32 w 181"/>
                <a:gd name="T15" fmla="*/ 3 h 224"/>
                <a:gd name="T16" fmla="*/ 26 w 181"/>
                <a:gd name="T17" fmla="*/ 4 h 224"/>
                <a:gd name="T18" fmla="*/ 15 w 181"/>
                <a:gd name="T19" fmla="*/ 5 h 224"/>
                <a:gd name="T20" fmla="*/ 4 w 181"/>
                <a:gd name="T21" fmla="*/ 5 h 224"/>
                <a:gd name="T22" fmla="*/ 0 w 181"/>
                <a:gd name="T23" fmla="*/ 7 h 224"/>
                <a:gd name="T24" fmla="*/ 19 w 181"/>
                <a:gd name="T25" fmla="*/ 28 h 224"/>
                <a:gd name="T26" fmla="*/ 31 w 181"/>
                <a:gd name="T27" fmla="*/ 49 h 224"/>
                <a:gd name="T28" fmla="*/ 40 w 181"/>
                <a:gd name="T29" fmla="*/ 68 h 224"/>
                <a:gd name="T30" fmla="*/ 52 w 181"/>
                <a:gd name="T31" fmla="*/ 83 h 224"/>
                <a:gd name="T32" fmla="*/ 72 w 181"/>
                <a:gd name="T33" fmla="*/ 104 h 224"/>
                <a:gd name="T34" fmla="*/ 85 w 181"/>
                <a:gd name="T35" fmla="*/ 139 h 224"/>
                <a:gd name="T36" fmla="*/ 85 w 181"/>
                <a:gd name="T37" fmla="*/ 142 h 224"/>
                <a:gd name="T38" fmla="*/ 81 w 181"/>
                <a:gd name="T39" fmla="*/ 163 h 224"/>
                <a:gd name="T40" fmla="*/ 76 w 181"/>
                <a:gd name="T41" fmla="*/ 184 h 224"/>
                <a:gd name="T42" fmla="*/ 75 w 181"/>
                <a:gd name="T43" fmla="*/ 192 h 224"/>
                <a:gd name="T44" fmla="*/ 76 w 181"/>
                <a:gd name="T45" fmla="*/ 216 h 224"/>
                <a:gd name="T46" fmla="*/ 84 w 181"/>
                <a:gd name="T47" fmla="*/ 224 h 224"/>
                <a:gd name="T48" fmla="*/ 121 w 181"/>
                <a:gd name="T49" fmla="*/ 180 h 224"/>
                <a:gd name="T50" fmla="*/ 121 w 181"/>
                <a:gd name="T51" fmla="*/ 180 h 224"/>
                <a:gd name="T52" fmla="*/ 126 w 181"/>
                <a:gd name="T53" fmla="*/ 161 h 224"/>
                <a:gd name="T54" fmla="*/ 129 w 181"/>
                <a:gd name="T55" fmla="*/ 148 h 224"/>
                <a:gd name="T56" fmla="*/ 140 w 181"/>
                <a:gd name="T57" fmla="*/ 148 h 224"/>
                <a:gd name="T58" fmla="*/ 140 w 181"/>
                <a:gd name="T59" fmla="*/ 148 h 224"/>
                <a:gd name="T60" fmla="*/ 142 w 181"/>
                <a:gd name="T61" fmla="*/ 150 h 224"/>
                <a:gd name="T62" fmla="*/ 147 w 181"/>
                <a:gd name="T63" fmla="*/ 154 h 224"/>
                <a:gd name="T64" fmla="*/ 152 w 181"/>
                <a:gd name="T65" fmla="*/ 152 h 224"/>
                <a:gd name="T66" fmla="*/ 164 w 181"/>
                <a:gd name="T67" fmla="*/ 146 h 224"/>
                <a:gd name="T68" fmla="*/ 174 w 181"/>
                <a:gd name="T69" fmla="*/ 147 h 224"/>
                <a:gd name="T70" fmla="*/ 178 w 181"/>
                <a:gd name="T71" fmla="*/ 147 h 224"/>
                <a:gd name="T72" fmla="*/ 179 w 181"/>
                <a:gd name="T73" fmla="*/ 145 h 224"/>
                <a:gd name="T74" fmla="*/ 179 w 181"/>
                <a:gd name="T75" fmla="*/ 136 h 224"/>
                <a:gd name="T76" fmla="*/ 176 w 181"/>
                <a:gd name="T77" fmla="*/ 116 h 224"/>
                <a:gd name="T78" fmla="*/ 166 w 181"/>
                <a:gd name="T79" fmla="*/ 103 h 224"/>
                <a:gd name="T80" fmla="*/ 153 w 181"/>
                <a:gd name="T81" fmla="*/ 88 h 224"/>
                <a:gd name="T82" fmla="*/ 145 w 181"/>
                <a:gd name="T83" fmla="*/ 61 h 224"/>
                <a:gd name="T84" fmla="*/ 144 w 181"/>
                <a:gd name="T85" fmla="*/ 4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1" h="224">
                  <a:moveTo>
                    <a:pt x="144" y="47"/>
                  </a:moveTo>
                  <a:cubicBezTo>
                    <a:pt x="142" y="39"/>
                    <a:pt x="140" y="38"/>
                    <a:pt x="137" y="37"/>
                  </a:cubicBezTo>
                  <a:cubicBezTo>
                    <a:pt x="135" y="36"/>
                    <a:pt x="132" y="35"/>
                    <a:pt x="128" y="32"/>
                  </a:cubicBezTo>
                  <a:cubicBezTo>
                    <a:pt x="123" y="29"/>
                    <a:pt x="120" y="28"/>
                    <a:pt x="115" y="27"/>
                  </a:cubicBezTo>
                  <a:cubicBezTo>
                    <a:pt x="109" y="26"/>
                    <a:pt x="102" y="24"/>
                    <a:pt x="91" y="18"/>
                  </a:cubicBezTo>
                  <a:cubicBezTo>
                    <a:pt x="85" y="14"/>
                    <a:pt x="77" y="10"/>
                    <a:pt x="70" y="8"/>
                  </a:cubicBezTo>
                  <a:cubicBezTo>
                    <a:pt x="60" y="4"/>
                    <a:pt x="51" y="1"/>
                    <a:pt x="48" y="1"/>
                  </a:cubicBezTo>
                  <a:cubicBezTo>
                    <a:pt x="44" y="0"/>
                    <a:pt x="38" y="2"/>
                    <a:pt x="32" y="3"/>
                  </a:cubicBezTo>
                  <a:cubicBezTo>
                    <a:pt x="30" y="3"/>
                    <a:pt x="28" y="4"/>
                    <a:pt x="26" y="4"/>
                  </a:cubicBezTo>
                  <a:cubicBezTo>
                    <a:pt x="22" y="5"/>
                    <a:pt x="19" y="5"/>
                    <a:pt x="15" y="5"/>
                  </a:cubicBezTo>
                  <a:cubicBezTo>
                    <a:pt x="12" y="4"/>
                    <a:pt x="8" y="4"/>
                    <a:pt x="4" y="5"/>
                  </a:cubicBezTo>
                  <a:cubicBezTo>
                    <a:pt x="3" y="5"/>
                    <a:pt x="2" y="6"/>
                    <a:pt x="0" y="7"/>
                  </a:cubicBezTo>
                  <a:cubicBezTo>
                    <a:pt x="5" y="11"/>
                    <a:pt x="16" y="22"/>
                    <a:pt x="19" y="28"/>
                  </a:cubicBezTo>
                  <a:cubicBezTo>
                    <a:pt x="22" y="32"/>
                    <a:pt x="26" y="41"/>
                    <a:pt x="31" y="49"/>
                  </a:cubicBezTo>
                  <a:cubicBezTo>
                    <a:pt x="35" y="56"/>
                    <a:pt x="38" y="64"/>
                    <a:pt x="40" y="68"/>
                  </a:cubicBezTo>
                  <a:cubicBezTo>
                    <a:pt x="42" y="71"/>
                    <a:pt x="46" y="77"/>
                    <a:pt x="52" y="83"/>
                  </a:cubicBezTo>
                  <a:cubicBezTo>
                    <a:pt x="58" y="91"/>
                    <a:pt x="66" y="99"/>
                    <a:pt x="72" y="104"/>
                  </a:cubicBezTo>
                  <a:cubicBezTo>
                    <a:pt x="85" y="115"/>
                    <a:pt x="85" y="126"/>
                    <a:pt x="85" y="139"/>
                  </a:cubicBezTo>
                  <a:cubicBezTo>
                    <a:pt x="85" y="142"/>
                    <a:pt x="85" y="142"/>
                    <a:pt x="85" y="142"/>
                  </a:cubicBezTo>
                  <a:cubicBezTo>
                    <a:pt x="85" y="150"/>
                    <a:pt x="83" y="156"/>
                    <a:pt x="81" y="163"/>
                  </a:cubicBezTo>
                  <a:cubicBezTo>
                    <a:pt x="79" y="169"/>
                    <a:pt x="77" y="175"/>
                    <a:pt x="76" y="184"/>
                  </a:cubicBezTo>
                  <a:cubicBezTo>
                    <a:pt x="76" y="187"/>
                    <a:pt x="76" y="189"/>
                    <a:pt x="75" y="192"/>
                  </a:cubicBezTo>
                  <a:cubicBezTo>
                    <a:pt x="74" y="203"/>
                    <a:pt x="74" y="209"/>
                    <a:pt x="76" y="216"/>
                  </a:cubicBezTo>
                  <a:cubicBezTo>
                    <a:pt x="77" y="219"/>
                    <a:pt x="80" y="222"/>
                    <a:pt x="84" y="224"/>
                  </a:cubicBezTo>
                  <a:cubicBezTo>
                    <a:pt x="91" y="216"/>
                    <a:pt x="114" y="188"/>
                    <a:pt x="121" y="180"/>
                  </a:cubicBezTo>
                  <a:cubicBezTo>
                    <a:pt x="121" y="180"/>
                    <a:pt x="121" y="180"/>
                    <a:pt x="121" y="180"/>
                  </a:cubicBezTo>
                  <a:cubicBezTo>
                    <a:pt x="125" y="176"/>
                    <a:pt x="125" y="168"/>
                    <a:pt x="126" y="161"/>
                  </a:cubicBezTo>
                  <a:cubicBezTo>
                    <a:pt x="126" y="156"/>
                    <a:pt x="126" y="151"/>
                    <a:pt x="129" y="148"/>
                  </a:cubicBezTo>
                  <a:cubicBezTo>
                    <a:pt x="133" y="144"/>
                    <a:pt x="136" y="145"/>
                    <a:pt x="140" y="148"/>
                  </a:cubicBezTo>
                  <a:cubicBezTo>
                    <a:pt x="140" y="148"/>
                    <a:pt x="140" y="148"/>
                    <a:pt x="140" y="148"/>
                  </a:cubicBezTo>
                  <a:cubicBezTo>
                    <a:pt x="140" y="148"/>
                    <a:pt x="141" y="149"/>
                    <a:pt x="142" y="150"/>
                  </a:cubicBezTo>
                  <a:cubicBezTo>
                    <a:pt x="143" y="151"/>
                    <a:pt x="145" y="153"/>
                    <a:pt x="147" y="154"/>
                  </a:cubicBezTo>
                  <a:cubicBezTo>
                    <a:pt x="148" y="155"/>
                    <a:pt x="150" y="153"/>
                    <a:pt x="152" y="152"/>
                  </a:cubicBezTo>
                  <a:cubicBezTo>
                    <a:pt x="155" y="150"/>
                    <a:pt x="158" y="147"/>
                    <a:pt x="164" y="146"/>
                  </a:cubicBezTo>
                  <a:cubicBezTo>
                    <a:pt x="168" y="146"/>
                    <a:pt x="171" y="146"/>
                    <a:pt x="174" y="147"/>
                  </a:cubicBezTo>
                  <a:cubicBezTo>
                    <a:pt x="176" y="147"/>
                    <a:pt x="177" y="147"/>
                    <a:pt x="178" y="147"/>
                  </a:cubicBezTo>
                  <a:cubicBezTo>
                    <a:pt x="178" y="147"/>
                    <a:pt x="179" y="147"/>
                    <a:pt x="179" y="145"/>
                  </a:cubicBezTo>
                  <a:cubicBezTo>
                    <a:pt x="179" y="142"/>
                    <a:pt x="179" y="139"/>
                    <a:pt x="179" y="136"/>
                  </a:cubicBezTo>
                  <a:cubicBezTo>
                    <a:pt x="180" y="129"/>
                    <a:pt x="181" y="123"/>
                    <a:pt x="176" y="116"/>
                  </a:cubicBezTo>
                  <a:cubicBezTo>
                    <a:pt x="172" y="110"/>
                    <a:pt x="169" y="107"/>
                    <a:pt x="166" y="103"/>
                  </a:cubicBezTo>
                  <a:cubicBezTo>
                    <a:pt x="163" y="100"/>
                    <a:pt x="159" y="96"/>
                    <a:pt x="153" y="88"/>
                  </a:cubicBezTo>
                  <a:cubicBezTo>
                    <a:pt x="144" y="76"/>
                    <a:pt x="145" y="69"/>
                    <a:pt x="145" y="61"/>
                  </a:cubicBezTo>
                  <a:cubicBezTo>
                    <a:pt x="145" y="57"/>
                    <a:pt x="146" y="53"/>
                    <a:pt x="144" y="4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8" name="Freeform 220"/>
            <p:cNvSpPr>
              <a:spLocks/>
            </p:cNvSpPr>
            <p:nvPr/>
          </p:nvSpPr>
          <p:spPr bwMode="auto">
            <a:xfrm>
              <a:off x="4383994" y="3916654"/>
              <a:ext cx="7144" cy="7144"/>
            </a:xfrm>
            <a:custGeom>
              <a:avLst/>
              <a:gdLst>
                <a:gd name="T0" fmla="*/ 8 w 22"/>
                <a:gd name="T1" fmla="*/ 3 h 24"/>
                <a:gd name="T2" fmla="*/ 1 w 22"/>
                <a:gd name="T3" fmla="*/ 13 h 24"/>
                <a:gd name="T4" fmla="*/ 8 w 22"/>
                <a:gd name="T5" fmla="*/ 21 h 24"/>
                <a:gd name="T6" fmla="*/ 16 w 22"/>
                <a:gd name="T7" fmla="*/ 10 h 24"/>
                <a:gd name="T8" fmla="*/ 8 w 22"/>
                <a:gd name="T9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4">
                  <a:moveTo>
                    <a:pt x="8" y="3"/>
                  </a:moveTo>
                  <a:cubicBezTo>
                    <a:pt x="2" y="7"/>
                    <a:pt x="0" y="9"/>
                    <a:pt x="1" y="13"/>
                  </a:cubicBezTo>
                  <a:cubicBezTo>
                    <a:pt x="2" y="16"/>
                    <a:pt x="4" y="24"/>
                    <a:pt x="8" y="21"/>
                  </a:cubicBezTo>
                  <a:cubicBezTo>
                    <a:pt x="13" y="18"/>
                    <a:pt x="10" y="15"/>
                    <a:pt x="16" y="10"/>
                  </a:cubicBezTo>
                  <a:cubicBezTo>
                    <a:pt x="22" y="4"/>
                    <a:pt x="15" y="0"/>
                    <a:pt x="8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9" name="Freeform 222"/>
            <p:cNvSpPr>
              <a:spLocks/>
            </p:cNvSpPr>
            <p:nvPr/>
          </p:nvSpPr>
          <p:spPr bwMode="auto">
            <a:xfrm>
              <a:off x="6850969" y="4498869"/>
              <a:ext cx="4762" cy="4762"/>
            </a:xfrm>
            <a:custGeom>
              <a:avLst/>
              <a:gdLst>
                <a:gd name="T0" fmla="*/ 16 w 16"/>
                <a:gd name="T1" fmla="*/ 10 h 15"/>
                <a:gd name="T2" fmla="*/ 8 w 16"/>
                <a:gd name="T3" fmla="*/ 5 h 15"/>
                <a:gd name="T4" fmla="*/ 6 w 16"/>
                <a:gd name="T5" fmla="*/ 14 h 15"/>
                <a:gd name="T6" fmla="*/ 16 w 16"/>
                <a:gd name="T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5">
                  <a:moveTo>
                    <a:pt x="16" y="10"/>
                  </a:moveTo>
                  <a:cubicBezTo>
                    <a:pt x="16" y="6"/>
                    <a:pt x="15" y="0"/>
                    <a:pt x="8" y="5"/>
                  </a:cubicBezTo>
                  <a:cubicBezTo>
                    <a:pt x="5" y="9"/>
                    <a:pt x="0" y="14"/>
                    <a:pt x="6" y="14"/>
                  </a:cubicBezTo>
                  <a:cubicBezTo>
                    <a:pt x="12" y="15"/>
                    <a:pt x="16" y="14"/>
                    <a:pt x="16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0" name="Freeform 223"/>
            <p:cNvSpPr>
              <a:spLocks/>
            </p:cNvSpPr>
            <p:nvPr/>
          </p:nvSpPr>
          <p:spPr bwMode="auto">
            <a:xfrm>
              <a:off x="6868828" y="4198832"/>
              <a:ext cx="3572" cy="2381"/>
            </a:xfrm>
            <a:custGeom>
              <a:avLst/>
              <a:gdLst>
                <a:gd name="T0" fmla="*/ 10 w 10"/>
                <a:gd name="T1" fmla="*/ 8 h 11"/>
                <a:gd name="T2" fmla="*/ 5 w 10"/>
                <a:gd name="T3" fmla="*/ 4 h 11"/>
                <a:gd name="T4" fmla="*/ 3 w 10"/>
                <a:gd name="T5" fmla="*/ 11 h 11"/>
                <a:gd name="T6" fmla="*/ 10 w 10"/>
                <a:gd name="T7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10" y="8"/>
                  </a:moveTo>
                  <a:cubicBezTo>
                    <a:pt x="10" y="5"/>
                    <a:pt x="7" y="0"/>
                    <a:pt x="5" y="4"/>
                  </a:cubicBezTo>
                  <a:cubicBezTo>
                    <a:pt x="4" y="6"/>
                    <a:pt x="0" y="10"/>
                    <a:pt x="3" y="11"/>
                  </a:cubicBezTo>
                  <a:cubicBezTo>
                    <a:pt x="6" y="11"/>
                    <a:pt x="10" y="11"/>
                    <a:pt x="10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1" name="Freeform 224"/>
            <p:cNvSpPr>
              <a:spLocks/>
            </p:cNvSpPr>
            <p:nvPr/>
          </p:nvSpPr>
          <p:spPr bwMode="auto">
            <a:xfrm>
              <a:off x="6809297" y="4476247"/>
              <a:ext cx="7144" cy="4762"/>
            </a:xfrm>
            <a:custGeom>
              <a:avLst/>
              <a:gdLst>
                <a:gd name="T0" fmla="*/ 28 w 28"/>
                <a:gd name="T1" fmla="*/ 12 h 19"/>
                <a:gd name="T2" fmla="*/ 17 w 28"/>
                <a:gd name="T3" fmla="*/ 5 h 19"/>
                <a:gd name="T4" fmla="*/ 9 w 28"/>
                <a:gd name="T5" fmla="*/ 18 h 19"/>
                <a:gd name="T6" fmla="*/ 28 w 28"/>
                <a:gd name="T7" fmla="*/ 1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19">
                  <a:moveTo>
                    <a:pt x="28" y="12"/>
                  </a:moveTo>
                  <a:cubicBezTo>
                    <a:pt x="28" y="7"/>
                    <a:pt x="24" y="0"/>
                    <a:pt x="17" y="5"/>
                  </a:cubicBezTo>
                  <a:cubicBezTo>
                    <a:pt x="9" y="13"/>
                    <a:pt x="0" y="18"/>
                    <a:pt x="9" y="18"/>
                  </a:cubicBezTo>
                  <a:cubicBezTo>
                    <a:pt x="18" y="19"/>
                    <a:pt x="28" y="16"/>
                    <a:pt x="28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2" name="Freeform 225"/>
            <p:cNvSpPr>
              <a:spLocks/>
            </p:cNvSpPr>
            <p:nvPr/>
          </p:nvSpPr>
          <p:spPr bwMode="auto">
            <a:xfrm>
              <a:off x="6937884" y="4394094"/>
              <a:ext cx="4762" cy="3572"/>
            </a:xfrm>
            <a:custGeom>
              <a:avLst/>
              <a:gdLst>
                <a:gd name="T0" fmla="*/ 13 w 14"/>
                <a:gd name="T1" fmla="*/ 7 h 13"/>
                <a:gd name="T2" fmla="*/ 5 w 14"/>
                <a:gd name="T3" fmla="*/ 2 h 13"/>
                <a:gd name="T4" fmla="*/ 1 w 14"/>
                <a:gd name="T5" fmla="*/ 10 h 13"/>
                <a:gd name="T6" fmla="*/ 13 w 14"/>
                <a:gd name="T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3">
                  <a:moveTo>
                    <a:pt x="13" y="7"/>
                  </a:moveTo>
                  <a:cubicBezTo>
                    <a:pt x="14" y="3"/>
                    <a:pt x="9" y="0"/>
                    <a:pt x="5" y="2"/>
                  </a:cubicBezTo>
                  <a:cubicBezTo>
                    <a:pt x="2" y="4"/>
                    <a:pt x="0" y="5"/>
                    <a:pt x="1" y="10"/>
                  </a:cubicBezTo>
                  <a:cubicBezTo>
                    <a:pt x="2" y="13"/>
                    <a:pt x="11" y="11"/>
                    <a:pt x="13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3" name="Freeform 226"/>
            <p:cNvSpPr>
              <a:spLocks/>
            </p:cNvSpPr>
            <p:nvPr/>
          </p:nvSpPr>
          <p:spPr bwMode="auto">
            <a:xfrm>
              <a:off x="6883116" y="4161922"/>
              <a:ext cx="5953" cy="4762"/>
            </a:xfrm>
            <a:custGeom>
              <a:avLst/>
              <a:gdLst>
                <a:gd name="T0" fmla="*/ 5 w 17"/>
                <a:gd name="T1" fmla="*/ 17 h 17"/>
                <a:gd name="T2" fmla="*/ 15 w 17"/>
                <a:gd name="T3" fmla="*/ 12 h 17"/>
                <a:gd name="T4" fmla="*/ 10 w 17"/>
                <a:gd name="T5" fmla="*/ 5 h 17"/>
                <a:gd name="T6" fmla="*/ 2 w 17"/>
                <a:gd name="T7" fmla="*/ 2 h 17"/>
                <a:gd name="T8" fmla="*/ 3 w 17"/>
                <a:gd name="T9" fmla="*/ 8 h 17"/>
                <a:gd name="T10" fmla="*/ 5 w 17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7">
                  <a:moveTo>
                    <a:pt x="5" y="17"/>
                  </a:moveTo>
                  <a:cubicBezTo>
                    <a:pt x="10" y="17"/>
                    <a:pt x="17" y="15"/>
                    <a:pt x="15" y="12"/>
                  </a:cubicBezTo>
                  <a:cubicBezTo>
                    <a:pt x="13" y="8"/>
                    <a:pt x="10" y="10"/>
                    <a:pt x="10" y="5"/>
                  </a:cubicBezTo>
                  <a:cubicBezTo>
                    <a:pt x="10" y="1"/>
                    <a:pt x="5" y="0"/>
                    <a:pt x="2" y="2"/>
                  </a:cubicBezTo>
                  <a:cubicBezTo>
                    <a:pt x="0" y="4"/>
                    <a:pt x="1" y="4"/>
                    <a:pt x="3" y="8"/>
                  </a:cubicBezTo>
                  <a:cubicBezTo>
                    <a:pt x="4" y="11"/>
                    <a:pt x="1" y="16"/>
                    <a:pt x="5" y="1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4" name="Freeform 227"/>
            <p:cNvSpPr>
              <a:spLocks/>
            </p:cNvSpPr>
            <p:nvPr/>
          </p:nvSpPr>
          <p:spPr bwMode="auto">
            <a:xfrm>
              <a:off x="6928359" y="4406000"/>
              <a:ext cx="7144" cy="7144"/>
            </a:xfrm>
            <a:custGeom>
              <a:avLst/>
              <a:gdLst>
                <a:gd name="T0" fmla="*/ 14 w 27"/>
                <a:gd name="T1" fmla="*/ 19 h 26"/>
                <a:gd name="T2" fmla="*/ 23 w 27"/>
                <a:gd name="T3" fmla="*/ 7 h 26"/>
                <a:gd name="T4" fmla="*/ 19 w 27"/>
                <a:gd name="T5" fmla="*/ 1 h 26"/>
                <a:gd name="T6" fmla="*/ 3 w 27"/>
                <a:gd name="T7" fmla="*/ 6 h 26"/>
                <a:gd name="T8" fmla="*/ 3 w 27"/>
                <a:gd name="T9" fmla="*/ 18 h 26"/>
                <a:gd name="T10" fmla="*/ 14 w 27"/>
                <a:gd name="T11" fmla="*/ 1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26">
                  <a:moveTo>
                    <a:pt x="14" y="19"/>
                  </a:moveTo>
                  <a:cubicBezTo>
                    <a:pt x="18" y="13"/>
                    <a:pt x="19" y="13"/>
                    <a:pt x="23" y="7"/>
                  </a:cubicBezTo>
                  <a:cubicBezTo>
                    <a:pt x="27" y="0"/>
                    <a:pt x="22" y="0"/>
                    <a:pt x="19" y="1"/>
                  </a:cubicBezTo>
                  <a:cubicBezTo>
                    <a:pt x="14" y="3"/>
                    <a:pt x="6" y="4"/>
                    <a:pt x="3" y="6"/>
                  </a:cubicBezTo>
                  <a:cubicBezTo>
                    <a:pt x="1" y="8"/>
                    <a:pt x="0" y="13"/>
                    <a:pt x="3" y="18"/>
                  </a:cubicBezTo>
                  <a:cubicBezTo>
                    <a:pt x="6" y="22"/>
                    <a:pt x="10" y="26"/>
                    <a:pt x="14" y="1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5" name="Freeform 228"/>
            <p:cNvSpPr>
              <a:spLocks/>
            </p:cNvSpPr>
            <p:nvPr/>
          </p:nvSpPr>
          <p:spPr bwMode="auto">
            <a:xfrm>
              <a:off x="6923597" y="4492916"/>
              <a:ext cx="7144" cy="5953"/>
            </a:xfrm>
            <a:custGeom>
              <a:avLst/>
              <a:gdLst>
                <a:gd name="T0" fmla="*/ 13 w 22"/>
                <a:gd name="T1" fmla="*/ 7 h 22"/>
                <a:gd name="T2" fmla="*/ 4 w 22"/>
                <a:gd name="T3" fmla="*/ 7 h 22"/>
                <a:gd name="T4" fmla="*/ 18 w 22"/>
                <a:gd name="T5" fmla="*/ 19 h 22"/>
                <a:gd name="T6" fmla="*/ 13 w 22"/>
                <a:gd name="T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2">
                  <a:moveTo>
                    <a:pt x="13" y="7"/>
                  </a:moveTo>
                  <a:cubicBezTo>
                    <a:pt x="10" y="4"/>
                    <a:pt x="0" y="0"/>
                    <a:pt x="4" y="7"/>
                  </a:cubicBezTo>
                  <a:cubicBezTo>
                    <a:pt x="6" y="18"/>
                    <a:pt x="14" y="22"/>
                    <a:pt x="18" y="19"/>
                  </a:cubicBezTo>
                  <a:cubicBezTo>
                    <a:pt x="22" y="16"/>
                    <a:pt x="15" y="9"/>
                    <a:pt x="13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6" name="Freeform 229"/>
            <p:cNvSpPr>
              <a:spLocks/>
            </p:cNvSpPr>
            <p:nvPr/>
          </p:nvSpPr>
          <p:spPr bwMode="auto">
            <a:xfrm>
              <a:off x="6899784" y="4528635"/>
              <a:ext cx="4762" cy="4762"/>
            </a:xfrm>
            <a:custGeom>
              <a:avLst/>
              <a:gdLst>
                <a:gd name="T0" fmla="*/ 6 w 14"/>
                <a:gd name="T1" fmla="*/ 15 h 19"/>
                <a:gd name="T2" fmla="*/ 13 w 14"/>
                <a:gd name="T3" fmla="*/ 7 h 19"/>
                <a:gd name="T4" fmla="*/ 0 w 14"/>
                <a:gd name="T5" fmla="*/ 7 h 19"/>
                <a:gd name="T6" fmla="*/ 6 w 14"/>
                <a:gd name="T7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9">
                  <a:moveTo>
                    <a:pt x="6" y="15"/>
                  </a:moveTo>
                  <a:cubicBezTo>
                    <a:pt x="11" y="11"/>
                    <a:pt x="14" y="11"/>
                    <a:pt x="13" y="7"/>
                  </a:cubicBezTo>
                  <a:cubicBezTo>
                    <a:pt x="11" y="2"/>
                    <a:pt x="0" y="0"/>
                    <a:pt x="0" y="7"/>
                  </a:cubicBezTo>
                  <a:cubicBezTo>
                    <a:pt x="0" y="11"/>
                    <a:pt x="1" y="19"/>
                    <a:pt x="6" y="1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7" name="Freeform 230"/>
            <p:cNvSpPr>
              <a:spLocks noEditPoints="1"/>
            </p:cNvSpPr>
            <p:nvPr/>
          </p:nvSpPr>
          <p:spPr bwMode="auto">
            <a:xfrm>
              <a:off x="6709284" y="3777351"/>
              <a:ext cx="160734" cy="275034"/>
            </a:xfrm>
            <a:custGeom>
              <a:avLst/>
              <a:gdLst>
                <a:gd name="T0" fmla="*/ 72 w 563"/>
                <a:gd name="T1" fmla="*/ 854 h 958"/>
                <a:gd name="T2" fmla="*/ 46 w 563"/>
                <a:gd name="T3" fmla="*/ 848 h 958"/>
                <a:gd name="T4" fmla="*/ 34 w 563"/>
                <a:gd name="T5" fmla="*/ 865 h 958"/>
                <a:gd name="T6" fmla="*/ 13 w 563"/>
                <a:gd name="T7" fmla="*/ 883 h 958"/>
                <a:gd name="T8" fmla="*/ 8 w 563"/>
                <a:gd name="T9" fmla="*/ 888 h 958"/>
                <a:gd name="T10" fmla="*/ 18 w 563"/>
                <a:gd name="T11" fmla="*/ 899 h 958"/>
                <a:gd name="T12" fmla="*/ 16 w 563"/>
                <a:gd name="T13" fmla="*/ 921 h 958"/>
                <a:gd name="T14" fmla="*/ 30 w 563"/>
                <a:gd name="T15" fmla="*/ 933 h 958"/>
                <a:gd name="T16" fmla="*/ 46 w 563"/>
                <a:gd name="T17" fmla="*/ 928 h 958"/>
                <a:gd name="T18" fmla="*/ 62 w 563"/>
                <a:gd name="T19" fmla="*/ 901 h 958"/>
                <a:gd name="T20" fmla="*/ 89 w 563"/>
                <a:gd name="T21" fmla="*/ 881 h 958"/>
                <a:gd name="T22" fmla="*/ 108 w 563"/>
                <a:gd name="T23" fmla="*/ 888 h 958"/>
                <a:gd name="T24" fmla="*/ 126 w 563"/>
                <a:gd name="T25" fmla="*/ 896 h 958"/>
                <a:gd name="T26" fmla="*/ 134 w 563"/>
                <a:gd name="T27" fmla="*/ 876 h 958"/>
                <a:gd name="T28" fmla="*/ 155 w 563"/>
                <a:gd name="T29" fmla="*/ 862 h 958"/>
                <a:gd name="T30" fmla="*/ 145 w 563"/>
                <a:gd name="T31" fmla="*/ 845 h 958"/>
                <a:gd name="T32" fmla="*/ 136 w 563"/>
                <a:gd name="T33" fmla="*/ 836 h 958"/>
                <a:gd name="T34" fmla="*/ 108 w 563"/>
                <a:gd name="T35" fmla="*/ 826 h 958"/>
                <a:gd name="T36" fmla="*/ 93 w 563"/>
                <a:gd name="T37" fmla="*/ 832 h 958"/>
                <a:gd name="T38" fmla="*/ 87 w 563"/>
                <a:gd name="T39" fmla="*/ 844 h 958"/>
                <a:gd name="T40" fmla="*/ 69 w 563"/>
                <a:gd name="T41" fmla="*/ 696 h 958"/>
                <a:gd name="T42" fmla="*/ 64 w 563"/>
                <a:gd name="T43" fmla="*/ 687 h 958"/>
                <a:gd name="T44" fmla="*/ 69 w 563"/>
                <a:gd name="T45" fmla="*/ 696 h 958"/>
                <a:gd name="T46" fmla="*/ 554 w 563"/>
                <a:gd name="T47" fmla="*/ 33 h 958"/>
                <a:gd name="T48" fmla="*/ 562 w 563"/>
                <a:gd name="T49" fmla="*/ 37 h 958"/>
                <a:gd name="T50" fmla="*/ 455 w 563"/>
                <a:gd name="T51" fmla="*/ 261 h 958"/>
                <a:gd name="T52" fmla="*/ 446 w 563"/>
                <a:gd name="T53" fmla="*/ 268 h 958"/>
                <a:gd name="T54" fmla="*/ 386 w 563"/>
                <a:gd name="T55" fmla="*/ 573 h 958"/>
                <a:gd name="T56" fmla="*/ 389 w 563"/>
                <a:gd name="T57" fmla="*/ 555 h 958"/>
                <a:gd name="T58" fmla="*/ 377 w 563"/>
                <a:gd name="T59" fmla="*/ 561 h 958"/>
                <a:gd name="T60" fmla="*/ 386 w 563"/>
                <a:gd name="T61" fmla="*/ 573 h 958"/>
                <a:gd name="T62" fmla="*/ 312 w 563"/>
                <a:gd name="T63" fmla="*/ 614 h 958"/>
                <a:gd name="T64" fmla="*/ 286 w 563"/>
                <a:gd name="T65" fmla="*/ 613 h 958"/>
                <a:gd name="T66" fmla="*/ 301 w 563"/>
                <a:gd name="T67" fmla="*/ 621 h 958"/>
                <a:gd name="T68" fmla="*/ 547 w 563"/>
                <a:gd name="T69" fmla="*/ 7 h 958"/>
                <a:gd name="T70" fmla="*/ 542 w 563"/>
                <a:gd name="T71" fmla="*/ 21 h 958"/>
                <a:gd name="T72" fmla="*/ 159 w 563"/>
                <a:gd name="T73" fmla="*/ 827 h 958"/>
                <a:gd name="T74" fmla="*/ 166 w 563"/>
                <a:gd name="T75" fmla="*/ 831 h 958"/>
                <a:gd name="T76" fmla="*/ 171 w 563"/>
                <a:gd name="T77" fmla="*/ 818 h 958"/>
                <a:gd name="T78" fmla="*/ 452 w 563"/>
                <a:gd name="T79" fmla="*/ 847 h 958"/>
                <a:gd name="T80" fmla="*/ 452 w 563"/>
                <a:gd name="T81" fmla="*/ 839 h 958"/>
                <a:gd name="T82" fmla="*/ 447 w 563"/>
                <a:gd name="T83" fmla="*/ 789 h 958"/>
                <a:gd name="T84" fmla="*/ 445 w 563"/>
                <a:gd name="T85" fmla="*/ 808 h 958"/>
                <a:gd name="T86" fmla="*/ 447 w 563"/>
                <a:gd name="T87" fmla="*/ 789 h 958"/>
                <a:gd name="T88" fmla="*/ 475 w 563"/>
                <a:gd name="T89" fmla="*/ 951 h 958"/>
                <a:gd name="T90" fmla="*/ 466 w 563"/>
                <a:gd name="T91" fmla="*/ 958 h 958"/>
                <a:gd name="T92" fmla="*/ 478 w 563"/>
                <a:gd name="T93" fmla="*/ 915 h 958"/>
                <a:gd name="T94" fmla="*/ 464 w 563"/>
                <a:gd name="T95" fmla="*/ 908 h 9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63" h="958">
                  <a:moveTo>
                    <a:pt x="80" y="850"/>
                  </a:moveTo>
                  <a:cubicBezTo>
                    <a:pt x="75" y="850"/>
                    <a:pt x="76" y="852"/>
                    <a:pt x="72" y="854"/>
                  </a:cubicBezTo>
                  <a:cubicBezTo>
                    <a:pt x="67" y="856"/>
                    <a:pt x="62" y="856"/>
                    <a:pt x="56" y="853"/>
                  </a:cubicBezTo>
                  <a:cubicBezTo>
                    <a:pt x="51" y="850"/>
                    <a:pt x="51" y="849"/>
                    <a:pt x="46" y="848"/>
                  </a:cubicBezTo>
                  <a:cubicBezTo>
                    <a:pt x="40" y="848"/>
                    <a:pt x="44" y="850"/>
                    <a:pt x="41" y="856"/>
                  </a:cubicBezTo>
                  <a:cubicBezTo>
                    <a:pt x="38" y="862"/>
                    <a:pt x="36" y="862"/>
                    <a:pt x="34" y="865"/>
                  </a:cubicBezTo>
                  <a:cubicBezTo>
                    <a:pt x="31" y="868"/>
                    <a:pt x="27" y="872"/>
                    <a:pt x="25" y="874"/>
                  </a:cubicBezTo>
                  <a:cubicBezTo>
                    <a:pt x="23" y="875"/>
                    <a:pt x="19" y="883"/>
                    <a:pt x="13" y="883"/>
                  </a:cubicBezTo>
                  <a:cubicBezTo>
                    <a:pt x="7" y="884"/>
                    <a:pt x="0" y="885"/>
                    <a:pt x="0" y="888"/>
                  </a:cubicBezTo>
                  <a:cubicBezTo>
                    <a:pt x="0" y="890"/>
                    <a:pt x="4" y="887"/>
                    <a:pt x="8" y="888"/>
                  </a:cubicBezTo>
                  <a:cubicBezTo>
                    <a:pt x="12" y="889"/>
                    <a:pt x="9" y="891"/>
                    <a:pt x="11" y="895"/>
                  </a:cubicBezTo>
                  <a:cubicBezTo>
                    <a:pt x="13" y="898"/>
                    <a:pt x="16" y="898"/>
                    <a:pt x="18" y="899"/>
                  </a:cubicBezTo>
                  <a:cubicBezTo>
                    <a:pt x="19" y="901"/>
                    <a:pt x="17" y="904"/>
                    <a:pt x="14" y="908"/>
                  </a:cubicBezTo>
                  <a:cubicBezTo>
                    <a:pt x="11" y="913"/>
                    <a:pt x="15" y="916"/>
                    <a:pt x="16" y="921"/>
                  </a:cubicBezTo>
                  <a:cubicBezTo>
                    <a:pt x="17" y="926"/>
                    <a:pt x="22" y="923"/>
                    <a:pt x="27" y="925"/>
                  </a:cubicBezTo>
                  <a:cubicBezTo>
                    <a:pt x="33" y="927"/>
                    <a:pt x="30" y="930"/>
                    <a:pt x="30" y="933"/>
                  </a:cubicBezTo>
                  <a:cubicBezTo>
                    <a:pt x="31" y="936"/>
                    <a:pt x="38" y="935"/>
                    <a:pt x="43" y="936"/>
                  </a:cubicBezTo>
                  <a:cubicBezTo>
                    <a:pt x="48" y="938"/>
                    <a:pt x="46" y="934"/>
                    <a:pt x="46" y="928"/>
                  </a:cubicBezTo>
                  <a:cubicBezTo>
                    <a:pt x="46" y="922"/>
                    <a:pt x="48" y="919"/>
                    <a:pt x="53" y="914"/>
                  </a:cubicBezTo>
                  <a:cubicBezTo>
                    <a:pt x="58" y="910"/>
                    <a:pt x="60" y="906"/>
                    <a:pt x="62" y="901"/>
                  </a:cubicBezTo>
                  <a:cubicBezTo>
                    <a:pt x="65" y="897"/>
                    <a:pt x="76" y="895"/>
                    <a:pt x="79" y="890"/>
                  </a:cubicBezTo>
                  <a:cubicBezTo>
                    <a:pt x="82" y="886"/>
                    <a:pt x="84" y="883"/>
                    <a:pt x="89" y="881"/>
                  </a:cubicBezTo>
                  <a:cubicBezTo>
                    <a:pt x="94" y="878"/>
                    <a:pt x="95" y="883"/>
                    <a:pt x="100" y="883"/>
                  </a:cubicBezTo>
                  <a:cubicBezTo>
                    <a:pt x="106" y="884"/>
                    <a:pt x="107" y="883"/>
                    <a:pt x="108" y="888"/>
                  </a:cubicBezTo>
                  <a:cubicBezTo>
                    <a:pt x="110" y="893"/>
                    <a:pt x="116" y="892"/>
                    <a:pt x="119" y="896"/>
                  </a:cubicBezTo>
                  <a:cubicBezTo>
                    <a:pt x="122" y="900"/>
                    <a:pt x="124" y="899"/>
                    <a:pt x="126" y="896"/>
                  </a:cubicBezTo>
                  <a:cubicBezTo>
                    <a:pt x="128" y="893"/>
                    <a:pt x="127" y="890"/>
                    <a:pt x="127" y="883"/>
                  </a:cubicBezTo>
                  <a:cubicBezTo>
                    <a:pt x="127" y="877"/>
                    <a:pt x="132" y="880"/>
                    <a:pt x="134" y="876"/>
                  </a:cubicBezTo>
                  <a:cubicBezTo>
                    <a:pt x="136" y="872"/>
                    <a:pt x="141" y="870"/>
                    <a:pt x="146" y="867"/>
                  </a:cubicBezTo>
                  <a:cubicBezTo>
                    <a:pt x="150" y="864"/>
                    <a:pt x="153" y="865"/>
                    <a:pt x="155" y="862"/>
                  </a:cubicBezTo>
                  <a:cubicBezTo>
                    <a:pt x="158" y="859"/>
                    <a:pt x="154" y="858"/>
                    <a:pt x="150" y="855"/>
                  </a:cubicBezTo>
                  <a:cubicBezTo>
                    <a:pt x="145" y="852"/>
                    <a:pt x="145" y="850"/>
                    <a:pt x="145" y="845"/>
                  </a:cubicBezTo>
                  <a:cubicBezTo>
                    <a:pt x="144" y="840"/>
                    <a:pt x="148" y="840"/>
                    <a:pt x="147" y="837"/>
                  </a:cubicBezTo>
                  <a:cubicBezTo>
                    <a:pt x="147" y="834"/>
                    <a:pt x="143" y="836"/>
                    <a:pt x="136" y="836"/>
                  </a:cubicBezTo>
                  <a:cubicBezTo>
                    <a:pt x="129" y="835"/>
                    <a:pt x="128" y="835"/>
                    <a:pt x="120" y="832"/>
                  </a:cubicBezTo>
                  <a:cubicBezTo>
                    <a:pt x="112" y="830"/>
                    <a:pt x="114" y="831"/>
                    <a:pt x="108" y="826"/>
                  </a:cubicBezTo>
                  <a:cubicBezTo>
                    <a:pt x="105" y="824"/>
                    <a:pt x="104" y="827"/>
                    <a:pt x="101" y="829"/>
                  </a:cubicBezTo>
                  <a:cubicBezTo>
                    <a:pt x="99" y="831"/>
                    <a:pt x="97" y="832"/>
                    <a:pt x="93" y="832"/>
                  </a:cubicBezTo>
                  <a:cubicBezTo>
                    <a:pt x="89" y="832"/>
                    <a:pt x="89" y="833"/>
                    <a:pt x="87" y="835"/>
                  </a:cubicBezTo>
                  <a:cubicBezTo>
                    <a:pt x="86" y="837"/>
                    <a:pt x="88" y="840"/>
                    <a:pt x="87" y="844"/>
                  </a:cubicBezTo>
                  <a:cubicBezTo>
                    <a:pt x="86" y="849"/>
                    <a:pt x="85" y="849"/>
                    <a:pt x="80" y="850"/>
                  </a:cubicBezTo>
                  <a:close/>
                  <a:moveTo>
                    <a:pt x="69" y="696"/>
                  </a:moveTo>
                  <a:cubicBezTo>
                    <a:pt x="72" y="694"/>
                    <a:pt x="72" y="693"/>
                    <a:pt x="72" y="691"/>
                  </a:cubicBezTo>
                  <a:cubicBezTo>
                    <a:pt x="72" y="689"/>
                    <a:pt x="68" y="685"/>
                    <a:pt x="64" y="687"/>
                  </a:cubicBezTo>
                  <a:cubicBezTo>
                    <a:pt x="63" y="690"/>
                    <a:pt x="61" y="691"/>
                    <a:pt x="63" y="694"/>
                  </a:cubicBezTo>
                  <a:cubicBezTo>
                    <a:pt x="65" y="697"/>
                    <a:pt x="66" y="699"/>
                    <a:pt x="69" y="696"/>
                  </a:cubicBezTo>
                  <a:close/>
                  <a:moveTo>
                    <a:pt x="562" y="37"/>
                  </a:moveTo>
                  <a:cubicBezTo>
                    <a:pt x="563" y="31"/>
                    <a:pt x="554" y="30"/>
                    <a:pt x="554" y="33"/>
                  </a:cubicBezTo>
                  <a:cubicBezTo>
                    <a:pt x="553" y="37"/>
                    <a:pt x="551" y="40"/>
                    <a:pt x="556" y="42"/>
                  </a:cubicBezTo>
                  <a:cubicBezTo>
                    <a:pt x="560" y="44"/>
                    <a:pt x="561" y="42"/>
                    <a:pt x="562" y="37"/>
                  </a:cubicBezTo>
                  <a:close/>
                  <a:moveTo>
                    <a:pt x="452" y="272"/>
                  </a:moveTo>
                  <a:cubicBezTo>
                    <a:pt x="453" y="268"/>
                    <a:pt x="452" y="266"/>
                    <a:pt x="455" y="261"/>
                  </a:cubicBezTo>
                  <a:cubicBezTo>
                    <a:pt x="457" y="257"/>
                    <a:pt x="453" y="254"/>
                    <a:pt x="447" y="257"/>
                  </a:cubicBezTo>
                  <a:cubicBezTo>
                    <a:pt x="445" y="262"/>
                    <a:pt x="445" y="262"/>
                    <a:pt x="446" y="268"/>
                  </a:cubicBezTo>
                  <a:cubicBezTo>
                    <a:pt x="447" y="275"/>
                    <a:pt x="451" y="277"/>
                    <a:pt x="452" y="272"/>
                  </a:cubicBezTo>
                  <a:close/>
                  <a:moveTo>
                    <a:pt x="386" y="573"/>
                  </a:moveTo>
                  <a:cubicBezTo>
                    <a:pt x="386" y="569"/>
                    <a:pt x="385" y="570"/>
                    <a:pt x="387" y="565"/>
                  </a:cubicBezTo>
                  <a:cubicBezTo>
                    <a:pt x="389" y="559"/>
                    <a:pt x="389" y="558"/>
                    <a:pt x="389" y="555"/>
                  </a:cubicBezTo>
                  <a:cubicBezTo>
                    <a:pt x="390" y="553"/>
                    <a:pt x="389" y="546"/>
                    <a:pt x="382" y="553"/>
                  </a:cubicBezTo>
                  <a:cubicBezTo>
                    <a:pt x="381" y="556"/>
                    <a:pt x="378" y="554"/>
                    <a:pt x="377" y="561"/>
                  </a:cubicBezTo>
                  <a:cubicBezTo>
                    <a:pt x="375" y="567"/>
                    <a:pt x="377" y="568"/>
                    <a:pt x="377" y="575"/>
                  </a:cubicBezTo>
                  <a:cubicBezTo>
                    <a:pt x="376" y="581"/>
                    <a:pt x="385" y="578"/>
                    <a:pt x="386" y="573"/>
                  </a:cubicBezTo>
                  <a:close/>
                  <a:moveTo>
                    <a:pt x="301" y="621"/>
                  </a:moveTo>
                  <a:cubicBezTo>
                    <a:pt x="306" y="621"/>
                    <a:pt x="309" y="621"/>
                    <a:pt x="312" y="614"/>
                  </a:cubicBezTo>
                  <a:cubicBezTo>
                    <a:pt x="315" y="606"/>
                    <a:pt x="310" y="595"/>
                    <a:pt x="298" y="607"/>
                  </a:cubicBezTo>
                  <a:cubicBezTo>
                    <a:pt x="293" y="612"/>
                    <a:pt x="289" y="611"/>
                    <a:pt x="286" y="613"/>
                  </a:cubicBezTo>
                  <a:cubicBezTo>
                    <a:pt x="282" y="615"/>
                    <a:pt x="281" y="624"/>
                    <a:pt x="284" y="626"/>
                  </a:cubicBezTo>
                  <a:cubicBezTo>
                    <a:pt x="286" y="627"/>
                    <a:pt x="296" y="621"/>
                    <a:pt x="301" y="621"/>
                  </a:cubicBezTo>
                  <a:close/>
                  <a:moveTo>
                    <a:pt x="542" y="21"/>
                  </a:moveTo>
                  <a:cubicBezTo>
                    <a:pt x="549" y="20"/>
                    <a:pt x="547" y="10"/>
                    <a:pt x="547" y="7"/>
                  </a:cubicBezTo>
                  <a:cubicBezTo>
                    <a:pt x="547" y="4"/>
                    <a:pt x="541" y="0"/>
                    <a:pt x="538" y="12"/>
                  </a:cubicBezTo>
                  <a:cubicBezTo>
                    <a:pt x="538" y="16"/>
                    <a:pt x="535" y="22"/>
                    <a:pt x="542" y="21"/>
                  </a:cubicBezTo>
                  <a:close/>
                  <a:moveTo>
                    <a:pt x="163" y="821"/>
                  </a:moveTo>
                  <a:cubicBezTo>
                    <a:pt x="161" y="824"/>
                    <a:pt x="161" y="825"/>
                    <a:pt x="159" y="827"/>
                  </a:cubicBezTo>
                  <a:cubicBezTo>
                    <a:pt x="157" y="829"/>
                    <a:pt x="155" y="833"/>
                    <a:pt x="159" y="833"/>
                  </a:cubicBezTo>
                  <a:cubicBezTo>
                    <a:pt x="163" y="834"/>
                    <a:pt x="162" y="832"/>
                    <a:pt x="166" y="831"/>
                  </a:cubicBezTo>
                  <a:cubicBezTo>
                    <a:pt x="170" y="830"/>
                    <a:pt x="172" y="833"/>
                    <a:pt x="172" y="828"/>
                  </a:cubicBezTo>
                  <a:cubicBezTo>
                    <a:pt x="172" y="823"/>
                    <a:pt x="171" y="820"/>
                    <a:pt x="171" y="818"/>
                  </a:cubicBezTo>
                  <a:cubicBezTo>
                    <a:pt x="171" y="816"/>
                    <a:pt x="168" y="816"/>
                    <a:pt x="163" y="821"/>
                  </a:cubicBezTo>
                  <a:close/>
                  <a:moveTo>
                    <a:pt x="452" y="847"/>
                  </a:moveTo>
                  <a:cubicBezTo>
                    <a:pt x="455" y="848"/>
                    <a:pt x="457" y="849"/>
                    <a:pt x="460" y="844"/>
                  </a:cubicBezTo>
                  <a:cubicBezTo>
                    <a:pt x="462" y="840"/>
                    <a:pt x="454" y="836"/>
                    <a:pt x="452" y="839"/>
                  </a:cubicBezTo>
                  <a:cubicBezTo>
                    <a:pt x="451" y="841"/>
                    <a:pt x="449" y="846"/>
                    <a:pt x="452" y="847"/>
                  </a:cubicBezTo>
                  <a:close/>
                  <a:moveTo>
                    <a:pt x="447" y="789"/>
                  </a:moveTo>
                  <a:cubicBezTo>
                    <a:pt x="445" y="791"/>
                    <a:pt x="444" y="791"/>
                    <a:pt x="443" y="796"/>
                  </a:cubicBezTo>
                  <a:cubicBezTo>
                    <a:pt x="442" y="801"/>
                    <a:pt x="442" y="807"/>
                    <a:pt x="445" y="808"/>
                  </a:cubicBezTo>
                  <a:cubicBezTo>
                    <a:pt x="448" y="808"/>
                    <a:pt x="453" y="809"/>
                    <a:pt x="453" y="802"/>
                  </a:cubicBezTo>
                  <a:cubicBezTo>
                    <a:pt x="454" y="795"/>
                    <a:pt x="454" y="789"/>
                    <a:pt x="447" y="789"/>
                  </a:cubicBezTo>
                  <a:close/>
                  <a:moveTo>
                    <a:pt x="466" y="958"/>
                  </a:moveTo>
                  <a:cubicBezTo>
                    <a:pt x="472" y="958"/>
                    <a:pt x="474" y="955"/>
                    <a:pt x="475" y="951"/>
                  </a:cubicBezTo>
                  <a:cubicBezTo>
                    <a:pt x="476" y="947"/>
                    <a:pt x="464" y="943"/>
                    <a:pt x="463" y="950"/>
                  </a:cubicBezTo>
                  <a:cubicBezTo>
                    <a:pt x="463" y="952"/>
                    <a:pt x="460" y="957"/>
                    <a:pt x="466" y="958"/>
                  </a:cubicBezTo>
                  <a:close/>
                  <a:moveTo>
                    <a:pt x="469" y="916"/>
                  </a:moveTo>
                  <a:cubicBezTo>
                    <a:pt x="471" y="921"/>
                    <a:pt x="478" y="920"/>
                    <a:pt x="478" y="915"/>
                  </a:cubicBezTo>
                  <a:cubicBezTo>
                    <a:pt x="478" y="910"/>
                    <a:pt x="474" y="915"/>
                    <a:pt x="472" y="909"/>
                  </a:cubicBezTo>
                  <a:cubicBezTo>
                    <a:pt x="471" y="904"/>
                    <a:pt x="463" y="904"/>
                    <a:pt x="464" y="908"/>
                  </a:cubicBezTo>
                  <a:cubicBezTo>
                    <a:pt x="463" y="912"/>
                    <a:pt x="466" y="912"/>
                    <a:pt x="469" y="91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8" name="Freeform 231"/>
            <p:cNvSpPr>
              <a:spLocks/>
            </p:cNvSpPr>
            <p:nvPr/>
          </p:nvSpPr>
          <p:spPr bwMode="auto">
            <a:xfrm>
              <a:off x="6746194" y="4509585"/>
              <a:ext cx="7144" cy="11906"/>
            </a:xfrm>
            <a:custGeom>
              <a:avLst/>
              <a:gdLst>
                <a:gd name="T0" fmla="*/ 9 w 25"/>
                <a:gd name="T1" fmla="*/ 26 h 42"/>
                <a:gd name="T2" fmla="*/ 2 w 25"/>
                <a:gd name="T3" fmla="*/ 36 h 42"/>
                <a:gd name="T4" fmla="*/ 12 w 25"/>
                <a:gd name="T5" fmla="*/ 37 h 42"/>
                <a:gd name="T6" fmla="*/ 20 w 25"/>
                <a:gd name="T7" fmla="*/ 20 h 42"/>
                <a:gd name="T8" fmla="*/ 24 w 25"/>
                <a:gd name="T9" fmla="*/ 13 h 42"/>
                <a:gd name="T10" fmla="*/ 19 w 25"/>
                <a:gd name="T11" fmla="*/ 6 h 42"/>
                <a:gd name="T12" fmla="*/ 11 w 25"/>
                <a:gd name="T13" fmla="*/ 17 h 42"/>
                <a:gd name="T14" fmla="*/ 9 w 25"/>
                <a:gd name="T15" fmla="*/ 2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2">
                  <a:moveTo>
                    <a:pt x="9" y="26"/>
                  </a:moveTo>
                  <a:cubicBezTo>
                    <a:pt x="4" y="30"/>
                    <a:pt x="0" y="33"/>
                    <a:pt x="2" y="36"/>
                  </a:cubicBezTo>
                  <a:cubicBezTo>
                    <a:pt x="4" y="40"/>
                    <a:pt x="10" y="42"/>
                    <a:pt x="12" y="37"/>
                  </a:cubicBezTo>
                  <a:cubicBezTo>
                    <a:pt x="14" y="31"/>
                    <a:pt x="18" y="23"/>
                    <a:pt x="20" y="20"/>
                  </a:cubicBezTo>
                  <a:cubicBezTo>
                    <a:pt x="22" y="18"/>
                    <a:pt x="23" y="17"/>
                    <a:pt x="24" y="13"/>
                  </a:cubicBezTo>
                  <a:cubicBezTo>
                    <a:pt x="25" y="8"/>
                    <a:pt x="22" y="0"/>
                    <a:pt x="19" y="6"/>
                  </a:cubicBezTo>
                  <a:cubicBezTo>
                    <a:pt x="12" y="13"/>
                    <a:pt x="9" y="12"/>
                    <a:pt x="11" y="17"/>
                  </a:cubicBezTo>
                  <a:cubicBezTo>
                    <a:pt x="12" y="21"/>
                    <a:pt x="15" y="22"/>
                    <a:pt x="9" y="2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9" name="Freeform 232"/>
            <p:cNvSpPr>
              <a:spLocks/>
            </p:cNvSpPr>
            <p:nvPr/>
          </p:nvSpPr>
          <p:spPr bwMode="auto">
            <a:xfrm>
              <a:off x="6697378" y="4725088"/>
              <a:ext cx="2381" cy="4762"/>
            </a:xfrm>
            <a:custGeom>
              <a:avLst/>
              <a:gdLst>
                <a:gd name="T0" fmla="*/ 10 w 10"/>
                <a:gd name="T1" fmla="*/ 12 h 14"/>
                <a:gd name="T2" fmla="*/ 4 w 10"/>
                <a:gd name="T3" fmla="*/ 6 h 14"/>
                <a:gd name="T4" fmla="*/ 3 w 10"/>
                <a:gd name="T5" fmla="*/ 12 h 14"/>
                <a:gd name="T6" fmla="*/ 10 w 10"/>
                <a:gd name="T7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4">
                  <a:moveTo>
                    <a:pt x="10" y="12"/>
                  </a:moveTo>
                  <a:cubicBezTo>
                    <a:pt x="10" y="10"/>
                    <a:pt x="6" y="0"/>
                    <a:pt x="4" y="6"/>
                  </a:cubicBezTo>
                  <a:cubicBezTo>
                    <a:pt x="2" y="10"/>
                    <a:pt x="0" y="9"/>
                    <a:pt x="3" y="12"/>
                  </a:cubicBezTo>
                  <a:cubicBezTo>
                    <a:pt x="7" y="14"/>
                    <a:pt x="9" y="14"/>
                    <a:pt x="10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0" name="Freeform 233"/>
            <p:cNvSpPr>
              <a:spLocks/>
            </p:cNvSpPr>
            <p:nvPr/>
          </p:nvSpPr>
          <p:spPr bwMode="auto">
            <a:xfrm>
              <a:off x="6693806" y="4717944"/>
              <a:ext cx="2381" cy="3572"/>
            </a:xfrm>
            <a:custGeom>
              <a:avLst/>
              <a:gdLst>
                <a:gd name="T0" fmla="*/ 7 w 7"/>
                <a:gd name="T1" fmla="*/ 9 h 13"/>
                <a:gd name="T2" fmla="*/ 1 w 7"/>
                <a:gd name="T3" fmla="*/ 6 h 13"/>
                <a:gd name="T4" fmla="*/ 2 w 7"/>
                <a:gd name="T5" fmla="*/ 12 h 13"/>
                <a:gd name="T6" fmla="*/ 7 w 7"/>
                <a:gd name="T7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3">
                  <a:moveTo>
                    <a:pt x="7" y="9"/>
                  </a:moveTo>
                  <a:cubicBezTo>
                    <a:pt x="7" y="7"/>
                    <a:pt x="2" y="0"/>
                    <a:pt x="1" y="6"/>
                  </a:cubicBezTo>
                  <a:cubicBezTo>
                    <a:pt x="0" y="8"/>
                    <a:pt x="0" y="11"/>
                    <a:pt x="2" y="12"/>
                  </a:cubicBezTo>
                  <a:cubicBezTo>
                    <a:pt x="5" y="13"/>
                    <a:pt x="7" y="12"/>
                    <a:pt x="7" y="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1" name="Freeform 234"/>
            <p:cNvSpPr>
              <a:spLocks/>
            </p:cNvSpPr>
            <p:nvPr/>
          </p:nvSpPr>
          <p:spPr bwMode="auto">
            <a:xfrm>
              <a:off x="6800963" y="4496488"/>
              <a:ext cx="2381" cy="3572"/>
            </a:xfrm>
            <a:custGeom>
              <a:avLst/>
              <a:gdLst>
                <a:gd name="T0" fmla="*/ 7 w 12"/>
                <a:gd name="T1" fmla="*/ 14 h 15"/>
                <a:gd name="T2" fmla="*/ 12 w 12"/>
                <a:gd name="T3" fmla="*/ 9 h 15"/>
                <a:gd name="T4" fmla="*/ 3 w 12"/>
                <a:gd name="T5" fmla="*/ 5 h 15"/>
                <a:gd name="T6" fmla="*/ 7 w 12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7" y="14"/>
                  </a:moveTo>
                  <a:cubicBezTo>
                    <a:pt x="10" y="13"/>
                    <a:pt x="12" y="14"/>
                    <a:pt x="12" y="9"/>
                  </a:cubicBezTo>
                  <a:cubicBezTo>
                    <a:pt x="12" y="3"/>
                    <a:pt x="8" y="0"/>
                    <a:pt x="3" y="5"/>
                  </a:cubicBezTo>
                  <a:cubicBezTo>
                    <a:pt x="0" y="9"/>
                    <a:pt x="4" y="15"/>
                    <a:pt x="7" y="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2" name="Freeform 235"/>
            <p:cNvSpPr>
              <a:spLocks/>
            </p:cNvSpPr>
            <p:nvPr/>
          </p:nvSpPr>
          <p:spPr bwMode="auto">
            <a:xfrm>
              <a:off x="6706903" y="4551257"/>
              <a:ext cx="4762" cy="4762"/>
            </a:xfrm>
            <a:custGeom>
              <a:avLst/>
              <a:gdLst>
                <a:gd name="T0" fmla="*/ 2 w 14"/>
                <a:gd name="T1" fmla="*/ 6 h 20"/>
                <a:gd name="T2" fmla="*/ 5 w 14"/>
                <a:gd name="T3" fmla="*/ 17 h 20"/>
                <a:gd name="T4" fmla="*/ 13 w 14"/>
                <a:gd name="T5" fmla="*/ 9 h 20"/>
                <a:gd name="T6" fmla="*/ 2 w 14"/>
                <a:gd name="T7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0">
                  <a:moveTo>
                    <a:pt x="2" y="6"/>
                  </a:moveTo>
                  <a:cubicBezTo>
                    <a:pt x="0" y="8"/>
                    <a:pt x="1" y="20"/>
                    <a:pt x="5" y="17"/>
                  </a:cubicBezTo>
                  <a:cubicBezTo>
                    <a:pt x="9" y="14"/>
                    <a:pt x="11" y="15"/>
                    <a:pt x="13" y="9"/>
                  </a:cubicBezTo>
                  <a:cubicBezTo>
                    <a:pt x="14" y="3"/>
                    <a:pt x="3" y="0"/>
                    <a:pt x="2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3" name="Freeform 236"/>
            <p:cNvSpPr>
              <a:spLocks/>
            </p:cNvSpPr>
            <p:nvPr/>
          </p:nvSpPr>
          <p:spPr bwMode="auto">
            <a:xfrm>
              <a:off x="6946219" y="4352422"/>
              <a:ext cx="4762" cy="4762"/>
            </a:xfrm>
            <a:custGeom>
              <a:avLst/>
              <a:gdLst>
                <a:gd name="T0" fmla="*/ 2 w 18"/>
                <a:gd name="T1" fmla="*/ 6 h 18"/>
                <a:gd name="T2" fmla="*/ 7 w 18"/>
                <a:gd name="T3" fmla="*/ 16 h 18"/>
                <a:gd name="T4" fmla="*/ 18 w 18"/>
                <a:gd name="T5" fmla="*/ 10 h 18"/>
                <a:gd name="T6" fmla="*/ 2 w 18"/>
                <a:gd name="T7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8">
                  <a:moveTo>
                    <a:pt x="2" y="6"/>
                  </a:moveTo>
                  <a:cubicBezTo>
                    <a:pt x="0" y="10"/>
                    <a:pt x="2" y="13"/>
                    <a:pt x="7" y="16"/>
                  </a:cubicBezTo>
                  <a:cubicBezTo>
                    <a:pt x="12" y="18"/>
                    <a:pt x="18" y="14"/>
                    <a:pt x="18" y="10"/>
                  </a:cubicBezTo>
                  <a:cubicBezTo>
                    <a:pt x="18" y="7"/>
                    <a:pt x="3" y="0"/>
                    <a:pt x="2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4" name="Freeform 238"/>
            <p:cNvSpPr>
              <a:spLocks/>
            </p:cNvSpPr>
            <p:nvPr/>
          </p:nvSpPr>
          <p:spPr bwMode="auto">
            <a:xfrm>
              <a:off x="5053125" y="3953563"/>
              <a:ext cx="170259" cy="164306"/>
            </a:xfrm>
            <a:custGeom>
              <a:avLst/>
              <a:gdLst>
                <a:gd name="T0" fmla="*/ 378 w 595"/>
                <a:gd name="T1" fmla="*/ 57 h 573"/>
                <a:gd name="T2" fmla="*/ 365 w 595"/>
                <a:gd name="T3" fmla="*/ 31 h 573"/>
                <a:gd name="T4" fmla="*/ 336 w 595"/>
                <a:gd name="T5" fmla="*/ 26 h 573"/>
                <a:gd name="T6" fmla="*/ 323 w 595"/>
                <a:gd name="T7" fmla="*/ 7 h 573"/>
                <a:gd name="T8" fmla="*/ 292 w 595"/>
                <a:gd name="T9" fmla="*/ 7 h 573"/>
                <a:gd name="T10" fmla="*/ 265 w 595"/>
                <a:gd name="T11" fmla="*/ 3 h 573"/>
                <a:gd name="T12" fmla="*/ 237 w 595"/>
                <a:gd name="T13" fmla="*/ 6 h 573"/>
                <a:gd name="T14" fmla="*/ 181 w 595"/>
                <a:gd name="T15" fmla="*/ 58 h 573"/>
                <a:gd name="T16" fmla="*/ 159 w 595"/>
                <a:gd name="T17" fmla="*/ 64 h 573"/>
                <a:gd name="T18" fmla="*/ 151 w 595"/>
                <a:gd name="T19" fmla="*/ 82 h 573"/>
                <a:gd name="T20" fmla="*/ 154 w 595"/>
                <a:gd name="T21" fmla="*/ 131 h 573"/>
                <a:gd name="T22" fmla="*/ 148 w 595"/>
                <a:gd name="T23" fmla="*/ 152 h 573"/>
                <a:gd name="T24" fmla="*/ 147 w 595"/>
                <a:gd name="T25" fmla="*/ 165 h 573"/>
                <a:gd name="T26" fmla="*/ 141 w 595"/>
                <a:gd name="T27" fmla="*/ 196 h 573"/>
                <a:gd name="T28" fmla="*/ 112 w 595"/>
                <a:gd name="T29" fmla="*/ 216 h 573"/>
                <a:gd name="T30" fmla="*/ 112 w 595"/>
                <a:gd name="T31" fmla="*/ 216 h 573"/>
                <a:gd name="T32" fmla="*/ 99 w 595"/>
                <a:gd name="T33" fmla="*/ 224 h 573"/>
                <a:gd name="T34" fmla="*/ 54 w 595"/>
                <a:gd name="T35" fmla="*/ 250 h 573"/>
                <a:gd name="T36" fmla="*/ 0 w 595"/>
                <a:gd name="T37" fmla="*/ 283 h 573"/>
                <a:gd name="T38" fmla="*/ 8 w 595"/>
                <a:gd name="T39" fmla="*/ 328 h 573"/>
                <a:gd name="T40" fmla="*/ 22 w 595"/>
                <a:gd name="T41" fmla="*/ 359 h 573"/>
                <a:gd name="T42" fmla="*/ 175 w 595"/>
                <a:gd name="T43" fmla="*/ 418 h 573"/>
                <a:gd name="T44" fmla="*/ 315 w 595"/>
                <a:gd name="T45" fmla="*/ 526 h 573"/>
                <a:gd name="T46" fmla="*/ 425 w 595"/>
                <a:gd name="T47" fmla="*/ 571 h 573"/>
                <a:gd name="T48" fmla="*/ 465 w 595"/>
                <a:gd name="T49" fmla="*/ 573 h 573"/>
                <a:gd name="T50" fmla="*/ 496 w 595"/>
                <a:gd name="T51" fmla="*/ 525 h 573"/>
                <a:gd name="T52" fmla="*/ 521 w 595"/>
                <a:gd name="T53" fmla="*/ 501 h 573"/>
                <a:gd name="T54" fmla="*/ 562 w 595"/>
                <a:gd name="T55" fmla="*/ 510 h 573"/>
                <a:gd name="T56" fmla="*/ 581 w 595"/>
                <a:gd name="T57" fmla="*/ 509 h 573"/>
                <a:gd name="T58" fmla="*/ 586 w 595"/>
                <a:gd name="T59" fmla="*/ 498 h 573"/>
                <a:gd name="T60" fmla="*/ 565 w 595"/>
                <a:gd name="T61" fmla="*/ 480 h 573"/>
                <a:gd name="T62" fmla="*/ 561 w 595"/>
                <a:gd name="T63" fmla="*/ 447 h 573"/>
                <a:gd name="T64" fmla="*/ 544 w 595"/>
                <a:gd name="T65" fmla="*/ 444 h 573"/>
                <a:gd name="T66" fmla="*/ 535 w 595"/>
                <a:gd name="T67" fmla="*/ 431 h 573"/>
                <a:gd name="T68" fmla="*/ 540 w 595"/>
                <a:gd name="T69" fmla="*/ 411 h 573"/>
                <a:gd name="T70" fmla="*/ 547 w 595"/>
                <a:gd name="T71" fmla="*/ 398 h 573"/>
                <a:gd name="T72" fmla="*/ 536 w 595"/>
                <a:gd name="T73" fmla="*/ 362 h 573"/>
                <a:gd name="T74" fmla="*/ 514 w 595"/>
                <a:gd name="T75" fmla="*/ 346 h 573"/>
                <a:gd name="T76" fmla="*/ 479 w 595"/>
                <a:gd name="T77" fmla="*/ 323 h 573"/>
                <a:gd name="T78" fmla="*/ 456 w 595"/>
                <a:gd name="T79" fmla="*/ 313 h 573"/>
                <a:gd name="T80" fmla="*/ 439 w 595"/>
                <a:gd name="T81" fmla="*/ 293 h 573"/>
                <a:gd name="T82" fmla="*/ 423 w 595"/>
                <a:gd name="T83" fmla="*/ 263 h 573"/>
                <a:gd name="T84" fmla="*/ 422 w 595"/>
                <a:gd name="T85" fmla="*/ 262 h 573"/>
                <a:gd name="T86" fmla="*/ 401 w 595"/>
                <a:gd name="T87" fmla="*/ 240 h 573"/>
                <a:gd name="T88" fmla="*/ 407 w 595"/>
                <a:gd name="T89" fmla="*/ 221 h 573"/>
                <a:gd name="T90" fmla="*/ 404 w 595"/>
                <a:gd name="T91" fmla="*/ 213 h 573"/>
                <a:gd name="T92" fmla="*/ 411 w 595"/>
                <a:gd name="T93" fmla="*/ 194 h 573"/>
                <a:gd name="T94" fmla="*/ 421 w 595"/>
                <a:gd name="T95" fmla="*/ 183 h 573"/>
                <a:gd name="T96" fmla="*/ 434 w 595"/>
                <a:gd name="T97" fmla="*/ 160 h 573"/>
                <a:gd name="T98" fmla="*/ 442 w 595"/>
                <a:gd name="T99" fmla="*/ 148 h 573"/>
                <a:gd name="T100" fmla="*/ 437 w 595"/>
                <a:gd name="T101" fmla="*/ 127 h 573"/>
                <a:gd name="T102" fmla="*/ 447 w 595"/>
                <a:gd name="T103" fmla="*/ 112 h 573"/>
                <a:gd name="T104" fmla="*/ 441 w 595"/>
                <a:gd name="T105" fmla="*/ 112 h 573"/>
                <a:gd name="T106" fmla="*/ 417 w 595"/>
                <a:gd name="T107" fmla="*/ 102 h 573"/>
                <a:gd name="T108" fmla="*/ 397 w 595"/>
                <a:gd name="T109" fmla="*/ 94 h 573"/>
                <a:gd name="T110" fmla="*/ 392 w 595"/>
                <a:gd name="T111" fmla="*/ 79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95" h="573">
                  <a:moveTo>
                    <a:pt x="384" y="65"/>
                  </a:moveTo>
                  <a:cubicBezTo>
                    <a:pt x="382" y="63"/>
                    <a:pt x="380" y="60"/>
                    <a:pt x="378" y="57"/>
                  </a:cubicBezTo>
                  <a:cubicBezTo>
                    <a:pt x="376" y="54"/>
                    <a:pt x="374" y="52"/>
                    <a:pt x="373" y="51"/>
                  </a:cubicBezTo>
                  <a:cubicBezTo>
                    <a:pt x="368" y="45"/>
                    <a:pt x="366" y="42"/>
                    <a:pt x="365" y="31"/>
                  </a:cubicBezTo>
                  <a:cubicBezTo>
                    <a:pt x="365" y="26"/>
                    <a:pt x="365" y="22"/>
                    <a:pt x="364" y="19"/>
                  </a:cubicBezTo>
                  <a:cubicBezTo>
                    <a:pt x="358" y="22"/>
                    <a:pt x="344" y="28"/>
                    <a:pt x="336" y="26"/>
                  </a:cubicBezTo>
                  <a:cubicBezTo>
                    <a:pt x="328" y="24"/>
                    <a:pt x="326" y="17"/>
                    <a:pt x="324" y="11"/>
                  </a:cubicBezTo>
                  <a:cubicBezTo>
                    <a:pt x="324" y="9"/>
                    <a:pt x="323" y="7"/>
                    <a:pt x="323" y="7"/>
                  </a:cubicBezTo>
                  <a:cubicBezTo>
                    <a:pt x="322" y="6"/>
                    <a:pt x="317" y="7"/>
                    <a:pt x="311" y="7"/>
                  </a:cubicBezTo>
                  <a:cubicBezTo>
                    <a:pt x="306" y="7"/>
                    <a:pt x="300" y="7"/>
                    <a:pt x="292" y="7"/>
                  </a:cubicBezTo>
                  <a:cubicBezTo>
                    <a:pt x="290" y="7"/>
                    <a:pt x="289" y="7"/>
                    <a:pt x="287" y="7"/>
                  </a:cubicBezTo>
                  <a:cubicBezTo>
                    <a:pt x="275" y="7"/>
                    <a:pt x="274" y="6"/>
                    <a:pt x="265" y="3"/>
                  </a:cubicBezTo>
                  <a:cubicBezTo>
                    <a:pt x="260" y="1"/>
                    <a:pt x="255" y="0"/>
                    <a:pt x="250" y="1"/>
                  </a:cubicBezTo>
                  <a:cubicBezTo>
                    <a:pt x="245" y="1"/>
                    <a:pt x="240" y="3"/>
                    <a:pt x="237" y="6"/>
                  </a:cubicBezTo>
                  <a:cubicBezTo>
                    <a:pt x="233" y="8"/>
                    <a:pt x="224" y="17"/>
                    <a:pt x="215" y="27"/>
                  </a:cubicBezTo>
                  <a:cubicBezTo>
                    <a:pt x="201" y="41"/>
                    <a:pt x="187" y="56"/>
                    <a:pt x="181" y="58"/>
                  </a:cubicBezTo>
                  <a:cubicBezTo>
                    <a:pt x="178" y="59"/>
                    <a:pt x="174" y="60"/>
                    <a:pt x="171" y="60"/>
                  </a:cubicBezTo>
                  <a:cubicBezTo>
                    <a:pt x="167" y="60"/>
                    <a:pt x="162" y="60"/>
                    <a:pt x="159" y="64"/>
                  </a:cubicBezTo>
                  <a:cubicBezTo>
                    <a:pt x="152" y="69"/>
                    <a:pt x="152" y="73"/>
                    <a:pt x="151" y="81"/>
                  </a:cubicBezTo>
                  <a:cubicBezTo>
                    <a:pt x="151" y="82"/>
                    <a:pt x="151" y="82"/>
                    <a:pt x="151" y="82"/>
                  </a:cubicBezTo>
                  <a:cubicBezTo>
                    <a:pt x="151" y="86"/>
                    <a:pt x="152" y="94"/>
                    <a:pt x="152" y="103"/>
                  </a:cubicBezTo>
                  <a:cubicBezTo>
                    <a:pt x="153" y="114"/>
                    <a:pt x="154" y="125"/>
                    <a:pt x="154" y="131"/>
                  </a:cubicBezTo>
                  <a:cubicBezTo>
                    <a:pt x="153" y="138"/>
                    <a:pt x="152" y="140"/>
                    <a:pt x="150" y="143"/>
                  </a:cubicBezTo>
                  <a:cubicBezTo>
                    <a:pt x="149" y="145"/>
                    <a:pt x="148" y="147"/>
                    <a:pt x="148" y="152"/>
                  </a:cubicBezTo>
                  <a:cubicBezTo>
                    <a:pt x="148" y="152"/>
                    <a:pt x="148" y="152"/>
                    <a:pt x="148" y="152"/>
                  </a:cubicBezTo>
                  <a:cubicBezTo>
                    <a:pt x="147" y="156"/>
                    <a:pt x="147" y="161"/>
                    <a:pt x="147" y="165"/>
                  </a:cubicBezTo>
                  <a:cubicBezTo>
                    <a:pt x="147" y="171"/>
                    <a:pt x="148" y="177"/>
                    <a:pt x="146" y="184"/>
                  </a:cubicBezTo>
                  <a:cubicBezTo>
                    <a:pt x="144" y="189"/>
                    <a:pt x="143" y="193"/>
                    <a:pt x="141" y="196"/>
                  </a:cubicBezTo>
                  <a:cubicBezTo>
                    <a:pt x="139" y="199"/>
                    <a:pt x="137" y="202"/>
                    <a:pt x="134" y="205"/>
                  </a:cubicBezTo>
                  <a:cubicBezTo>
                    <a:pt x="128" y="211"/>
                    <a:pt x="123" y="213"/>
                    <a:pt x="112" y="216"/>
                  </a:cubicBezTo>
                  <a:cubicBezTo>
                    <a:pt x="112" y="216"/>
                    <a:pt x="112" y="216"/>
                    <a:pt x="112" y="216"/>
                  </a:cubicBezTo>
                  <a:cubicBezTo>
                    <a:pt x="112" y="216"/>
                    <a:pt x="112" y="216"/>
                    <a:pt x="112" y="216"/>
                  </a:cubicBezTo>
                  <a:cubicBezTo>
                    <a:pt x="112" y="216"/>
                    <a:pt x="112" y="216"/>
                    <a:pt x="112" y="216"/>
                  </a:cubicBezTo>
                  <a:cubicBezTo>
                    <a:pt x="107" y="218"/>
                    <a:pt x="103" y="221"/>
                    <a:pt x="99" y="224"/>
                  </a:cubicBezTo>
                  <a:cubicBezTo>
                    <a:pt x="96" y="226"/>
                    <a:pt x="93" y="228"/>
                    <a:pt x="90" y="230"/>
                  </a:cubicBezTo>
                  <a:cubicBezTo>
                    <a:pt x="85" y="232"/>
                    <a:pt x="71" y="240"/>
                    <a:pt x="54" y="250"/>
                  </a:cubicBezTo>
                  <a:cubicBezTo>
                    <a:pt x="38" y="259"/>
                    <a:pt x="21" y="268"/>
                    <a:pt x="13" y="273"/>
                  </a:cubicBezTo>
                  <a:cubicBezTo>
                    <a:pt x="0" y="281"/>
                    <a:pt x="0" y="281"/>
                    <a:pt x="0" y="283"/>
                  </a:cubicBezTo>
                  <a:cubicBezTo>
                    <a:pt x="0" y="283"/>
                    <a:pt x="0" y="284"/>
                    <a:pt x="0" y="284"/>
                  </a:cubicBezTo>
                  <a:cubicBezTo>
                    <a:pt x="0" y="287"/>
                    <a:pt x="4" y="310"/>
                    <a:pt x="8" y="328"/>
                  </a:cubicBezTo>
                  <a:cubicBezTo>
                    <a:pt x="11" y="339"/>
                    <a:pt x="14" y="348"/>
                    <a:pt x="16" y="350"/>
                  </a:cubicBezTo>
                  <a:cubicBezTo>
                    <a:pt x="19" y="354"/>
                    <a:pt x="21" y="357"/>
                    <a:pt x="22" y="359"/>
                  </a:cubicBezTo>
                  <a:cubicBezTo>
                    <a:pt x="39" y="362"/>
                    <a:pt x="88" y="370"/>
                    <a:pt x="101" y="376"/>
                  </a:cubicBezTo>
                  <a:cubicBezTo>
                    <a:pt x="111" y="381"/>
                    <a:pt x="145" y="400"/>
                    <a:pt x="175" y="418"/>
                  </a:cubicBezTo>
                  <a:cubicBezTo>
                    <a:pt x="194" y="430"/>
                    <a:pt x="211" y="441"/>
                    <a:pt x="219" y="448"/>
                  </a:cubicBezTo>
                  <a:cubicBezTo>
                    <a:pt x="230" y="459"/>
                    <a:pt x="276" y="496"/>
                    <a:pt x="315" y="526"/>
                  </a:cubicBezTo>
                  <a:cubicBezTo>
                    <a:pt x="341" y="547"/>
                    <a:pt x="365" y="564"/>
                    <a:pt x="371" y="565"/>
                  </a:cubicBezTo>
                  <a:cubicBezTo>
                    <a:pt x="384" y="569"/>
                    <a:pt x="401" y="570"/>
                    <a:pt x="425" y="571"/>
                  </a:cubicBezTo>
                  <a:cubicBezTo>
                    <a:pt x="433" y="571"/>
                    <a:pt x="442" y="571"/>
                    <a:pt x="452" y="572"/>
                  </a:cubicBezTo>
                  <a:cubicBezTo>
                    <a:pt x="457" y="572"/>
                    <a:pt x="461" y="572"/>
                    <a:pt x="465" y="573"/>
                  </a:cubicBezTo>
                  <a:cubicBezTo>
                    <a:pt x="468" y="568"/>
                    <a:pt x="476" y="556"/>
                    <a:pt x="479" y="552"/>
                  </a:cubicBezTo>
                  <a:cubicBezTo>
                    <a:pt x="481" y="548"/>
                    <a:pt x="488" y="536"/>
                    <a:pt x="496" y="525"/>
                  </a:cubicBezTo>
                  <a:cubicBezTo>
                    <a:pt x="500" y="519"/>
                    <a:pt x="504" y="513"/>
                    <a:pt x="507" y="510"/>
                  </a:cubicBezTo>
                  <a:cubicBezTo>
                    <a:pt x="510" y="505"/>
                    <a:pt x="515" y="502"/>
                    <a:pt x="521" y="501"/>
                  </a:cubicBezTo>
                  <a:cubicBezTo>
                    <a:pt x="527" y="500"/>
                    <a:pt x="534" y="500"/>
                    <a:pt x="541" y="501"/>
                  </a:cubicBezTo>
                  <a:cubicBezTo>
                    <a:pt x="546" y="502"/>
                    <a:pt x="554" y="506"/>
                    <a:pt x="562" y="510"/>
                  </a:cubicBezTo>
                  <a:cubicBezTo>
                    <a:pt x="567" y="512"/>
                    <a:pt x="572" y="515"/>
                    <a:pt x="577" y="518"/>
                  </a:cubicBezTo>
                  <a:cubicBezTo>
                    <a:pt x="577" y="515"/>
                    <a:pt x="578" y="512"/>
                    <a:pt x="581" y="509"/>
                  </a:cubicBezTo>
                  <a:cubicBezTo>
                    <a:pt x="586" y="505"/>
                    <a:pt x="589" y="507"/>
                    <a:pt x="595" y="509"/>
                  </a:cubicBezTo>
                  <a:cubicBezTo>
                    <a:pt x="592" y="505"/>
                    <a:pt x="589" y="502"/>
                    <a:pt x="586" y="498"/>
                  </a:cubicBezTo>
                  <a:cubicBezTo>
                    <a:pt x="582" y="493"/>
                    <a:pt x="579" y="492"/>
                    <a:pt x="576" y="490"/>
                  </a:cubicBezTo>
                  <a:cubicBezTo>
                    <a:pt x="572" y="488"/>
                    <a:pt x="569" y="487"/>
                    <a:pt x="565" y="480"/>
                  </a:cubicBezTo>
                  <a:cubicBezTo>
                    <a:pt x="562" y="473"/>
                    <a:pt x="562" y="463"/>
                    <a:pt x="562" y="456"/>
                  </a:cubicBezTo>
                  <a:cubicBezTo>
                    <a:pt x="562" y="451"/>
                    <a:pt x="562" y="447"/>
                    <a:pt x="561" y="447"/>
                  </a:cubicBezTo>
                  <a:cubicBezTo>
                    <a:pt x="560" y="446"/>
                    <a:pt x="558" y="446"/>
                    <a:pt x="556" y="446"/>
                  </a:cubicBezTo>
                  <a:cubicBezTo>
                    <a:pt x="552" y="446"/>
                    <a:pt x="548" y="446"/>
                    <a:pt x="544" y="444"/>
                  </a:cubicBezTo>
                  <a:cubicBezTo>
                    <a:pt x="543" y="444"/>
                    <a:pt x="542" y="443"/>
                    <a:pt x="541" y="443"/>
                  </a:cubicBezTo>
                  <a:cubicBezTo>
                    <a:pt x="538" y="440"/>
                    <a:pt x="536" y="436"/>
                    <a:pt x="535" y="431"/>
                  </a:cubicBezTo>
                  <a:cubicBezTo>
                    <a:pt x="534" y="427"/>
                    <a:pt x="535" y="422"/>
                    <a:pt x="537" y="417"/>
                  </a:cubicBezTo>
                  <a:cubicBezTo>
                    <a:pt x="537" y="415"/>
                    <a:pt x="538" y="413"/>
                    <a:pt x="540" y="411"/>
                  </a:cubicBezTo>
                  <a:cubicBezTo>
                    <a:pt x="540" y="411"/>
                    <a:pt x="540" y="411"/>
                    <a:pt x="540" y="411"/>
                  </a:cubicBezTo>
                  <a:cubicBezTo>
                    <a:pt x="542" y="407"/>
                    <a:pt x="545" y="403"/>
                    <a:pt x="547" y="398"/>
                  </a:cubicBezTo>
                  <a:cubicBezTo>
                    <a:pt x="548" y="394"/>
                    <a:pt x="549" y="390"/>
                    <a:pt x="548" y="385"/>
                  </a:cubicBezTo>
                  <a:cubicBezTo>
                    <a:pt x="547" y="380"/>
                    <a:pt x="542" y="370"/>
                    <a:pt x="536" y="362"/>
                  </a:cubicBezTo>
                  <a:cubicBezTo>
                    <a:pt x="531" y="354"/>
                    <a:pt x="525" y="348"/>
                    <a:pt x="522" y="347"/>
                  </a:cubicBezTo>
                  <a:cubicBezTo>
                    <a:pt x="518" y="346"/>
                    <a:pt x="516" y="346"/>
                    <a:pt x="514" y="346"/>
                  </a:cubicBezTo>
                  <a:cubicBezTo>
                    <a:pt x="510" y="347"/>
                    <a:pt x="508" y="347"/>
                    <a:pt x="504" y="343"/>
                  </a:cubicBezTo>
                  <a:cubicBezTo>
                    <a:pt x="501" y="341"/>
                    <a:pt x="489" y="331"/>
                    <a:pt x="479" y="323"/>
                  </a:cubicBezTo>
                  <a:cubicBezTo>
                    <a:pt x="472" y="318"/>
                    <a:pt x="466" y="314"/>
                    <a:pt x="464" y="314"/>
                  </a:cubicBezTo>
                  <a:cubicBezTo>
                    <a:pt x="462" y="313"/>
                    <a:pt x="459" y="313"/>
                    <a:pt x="456" y="313"/>
                  </a:cubicBezTo>
                  <a:cubicBezTo>
                    <a:pt x="451" y="313"/>
                    <a:pt x="447" y="313"/>
                    <a:pt x="445" y="310"/>
                  </a:cubicBezTo>
                  <a:cubicBezTo>
                    <a:pt x="442" y="308"/>
                    <a:pt x="441" y="301"/>
                    <a:pt x="439" y="293"/>
                  </a:cubicBezTo>
                  <a:cubicBezTo>
                    <a:pt x="437" y="286"/>
                    <a:pt x="436" y="278"/>
                    <a:pt x="434" y="274"/>
                  </a:cubicBezTo>
                  <a:cubicBezTo>
                    <a:pt x="430" y="267"/>
                    <a:pt x="429" y="267"/>
                    <a:pt x="423" y="263"/>
                  </a:cubicBezTo>
                  <a:cubicBezTo>
                    <a:pt x="422" y="262"/>
                    <a:pt x="422" y="262"/>
                    <a:pt x="422" y="262"/>
                  </a:cubicBezTo>
                  <a:cubicBezTo>
                    <a:pt x="422" y="262"/>
                    <a:pt x="422" y="262"/>
                    <a:pt x="422" y="262"/>
                  </a:cubicBezTo>
                  <a:cubicBezTo>
                    <a:pt x="417" y="259"/>
                    <a:pt x="412" y="255"/>
                    <a:pt x="408" y="251"/>
                  </a:cubicBezTo>
                  <a:cubicBezTo>
                    <a:pt x="404" y="248"/>
                    <a:pt x="402" y="244"/>
                    <a:pt x="401" y="240"/>
                  </a:cubicBezTo>
                  <a:cubicBezTo>
                    <a:pt x="399" y="235"/>
                    <a:pt x="401" y="232"/>
                    <a:pt x="403" y="228"/>
                  </a:cubicBezTo>
                  <a:cubicBezTo>
                    <a:pt x="405" y="226"/>
                    <a:pt x="406" y="224"/>
                    <a:pt x="407" y="221"/>
                  </a:cubicBezTo>
                  <a:cubicBezTo>
                    <a:pt x="407" y="218"/>
                    <a:pt x="406" y="215"/>
                    <a:pt x="404" y="213"/>
                  </a:cubicBezTo>
                  <a:cubicBezTo>
                    <a:pt x="404" y="213"/>
                    <a:pt x="404" y="213"/>
                    <a:pt x="404" y="213"/>
                  </a:cubicBezTo>
                  <a:cubicBezTo>
                    <a:pt x="402" y="209"/>
                    <a:pt x="400" y="206"/>
                    <a:pt x="401" y="202"/>
                  </a:cubicBezTo>
                  <a:cubicBezTo>
                    <a:pt x="402" y="195"/>
                    <a:pt x="406" y="194"/>
                    <a:pt x="411" y="194"/>
                  </a:cubicBezTo>
                  <a:cubicBezTo>
                    <a:pt x="413" y="193"/>
                    <a:pt x="416" y="193"/>
                    <a:pt x="418" y="192"/>
                  </a:cubicBezTo>
                  <a:cubicBezTo>
                    <a:pt x="420" y="191"/>
                    <a:pt x="420" y="187"/>
                    <a:pt x="421" y="183"/>
                  </a:cubicBezTo>
                  <a:cubicBezTo>
                    <a:pt x="421" y="179"/>
                    <a:pt x="421" y="175"/>
                    <a:pt x="423" y="172"/>
                  </a:cubicBezTo>
                  <a:cubicBezTo>
                    <a:pt x="425" y="167"/>
                    <a:pt x="429" y="163"/>
                    <a:pt x="434" y="160"/>
                  </a:cubicBezTo>
                  <a:cubicBezTo>
                    <a:pt x="436" y="158"/>
                    <a:pt x="439" y="156"/>
                    <a:pt x="441" y="154"/>
                  </a:cubicBezTo>
                  <a:cubicBezTo>
                    <a:pt x="442" y="152"/>
                    <a:pt x="443" y="150"/>
                    <a:pt x="442" y="148"/>
                  </a:cubicBezTo>
                  <a:cubicBezTo>
                    <a:pt x="442" y="146"/>
                    <a:pt x="441" y="143"/>
                    <a:pt x="439" y="139"/>
                  </a:cubicBezTo>
                  <a:cubicBezTo>
                    <a:pt x="438" y="135"/>
                    <a:pt x="437" y="131"/>
                    <a:pt x="437" y="127"/>
                  </a:cubicBezTo>
                  <a:cubicBezTo>
                    <a:pt x="437" y="122"/>
                    <a:pt x="439" y="117"/>
                    <a:pt x="441" y="115"/>
                  </a:cubicBezTo>
                  <a:cubicBezTo>
                    <a:pt x="442" y="114"/>
                    <a:pt x="445" y="113"/>
                    <a:pt x="447" y="112"/>
                  </a:cubicBezTo>
                  <a:cubicBezTo>
                    <a:pt x="447" y="112"/>
                    <a:pt x="447" y="112"/>
                    <a:pt x="447" y="112"/>
                  </a:cubicBezTo>
                  <a:cubicBezTo>
                    <a:pt x="446" y="111"/>
                    <a:pt x="444" y="111"/>
                    <a:pt x="441" y="112"/>
                  </a:cubicBezTo>
                  <a:cubicBezTo>
                    <a:pt x="436" y="113"/>
                    <a:pt x="430" y="114"/>
                    <a:pt x="424" y="109"/>
                  </a:cubicBezTo>
                  <a:cubicBezTo>
                    <a:pt x="420" y="106"/>
                    <a:pt x="418" y="104"/>
                    <a:pt x="417" y="102"/>
                  </a:cubicBezTo>
                  <a:cubicBezTo>
                    <a:pt x="417" y="101"/>
                    <a:pt x="417" y="101"/>
                    <a:pt x="411" y="100"/>
                  </a:cubicBezTo>
                  <a:cubicBezTo>
                    <a:pt x="404" y="99"/>
                    <a:pt x="400" y="98"/>
                    <a:pt x="397" y="94"/>
                  </a:cubicBezTo>
                  <a:cubicBezTo>
                    <a:pt x="394" y="91"/>
                    <a:pt x="393" y="86"/>
                    <a:pt x="392" y="79"/>
                  </a:cubicBezTo>
                  <a:cubicBezTo>
                    <a:pt x="392" y="79"/>
                    <a:pt x="392" y="79"/>
                    <a:pt x="392" y="79"/>
                  </a:cubicBezTo>
                  <a:cubicBezTo>
                    <a:pt x="390" y="71"/>
                    <a:pt x="388" y="69"/>
                    <a:pt x="384" y="6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5" name="Freeform 241"/>
            <p:cNvSpPr>
              <a:spLocks/>
            </p:cNvSpPr>
            <p:nvPr/>
          </p:nvSpPr>
          <p:spPr bwMode="auto">
            <a:xfrm>
              <a:off x="5257913" y="4171447"/>
              <a:ext cx="3572" cy="8334"/>
            </a:xfrm>
            <a:custGeom>
              <a:avLst/>
              <a:gdLst>
                <a:gd name="T0" fmla="*/ 5 w 13"/>
                <a:gd name="T1" fmla="*/ 1 h 30"/>
                <a:gd name="T2" fmla="*/ 3 w 13"/>
                <a:gd name="T3" fmla="*/ 13 h 30"/>
                <a:gd name="T4" fmla="*/ 5 w 13"/>
                <a:gd name="T5" fmla="*/ 28 h 30"/>
                <a:gd name="T6" fmla="*/ 11 w 13"/>
                <a:gd name="T7" fmla="*/ 22 h 30"/>
                <a:gd name="T8" fmla="*/ 13 w 13"/>
                <a:gd name="T9" fmla="*/ 7 h 30"/>
                <a:gd name="T10" fmla="*/ 5 w 13"/>
                <a:gd name="T11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0">
                  <a:moveTo>
                    <a:pt x="5" y="1"/>
                  </a:moveTo>
                  <a:cubicBezTo>
                    <a:pt x="0" y="5"/>
                    <a:pt x="1" y="7"/>
                    <a:pt x="3" y="13"/>
                  </a:cubicBezTo>
                  <a:cubicBezTo>
                    <a:pt x="5" y="19"/>
                    <a:pt x="3" y="26"/>
                    <a:pt x="5" y="28"/>
                  </a:cubicBezTo>
                  <a:cubicBezTo>
                    <a:pt x="8" y="30"/>
                    <a:pt x="11" y="29"/>
                    <a:pt x="11" y="22"/>
                  </a:cubicBezTo>
                  <a:cubicBezTo>
                    <a:pt x="11" y="16"/>
                    <a:pt x="13" y="9"/>
                    <a:pt x="13" y="7"/>
                  </a:cubicBezTo>
                  <a:cubicBezTo>
                    <a:pt x="13" y="4"/>
                    <a:pt x="9" y="0"/>
                    <a:pt x="5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6" name="Freeform 245"/>
            <p:cNvSpPr>
              <a:spLocks/>
            </p:cNvSpPr>
            <p:nvPr/>
          </p:nvSpPr>
          <p:spPr bwMode="auto">
            <a:xfrm>
              <a:off x="6947409" y="4321466"/>
              <a:ext cx="4762" cy="5953"/>
            </a:xfrm>
            <a:custGeom>
              <a:avLst/>
              <a:gdLst>
                <a:gd name="T0" fmla="*/ 7 w 15"/>
                <a:gd name="T1" fmla="*/ 16 h 20"/>
                <a:gd name="T2" fmla="*/ 14 w 15"/>
                <a:gd name="T3" fmla="*/ 6 h 20"/>
                <a:gd name="T4" fmla="*/ 8 w 15"/>
                <a:gd name="T5" fmla="*/ 4 h 20"/>
                <a:gd name="T6" fmla="*/ 1 w 15"/>
                <a:gd name="T7" fmla="*/ 12 h 20"/>
                <a:gd name="T8" fmla="*/ 7 w 15"/>
                <a:gd name="T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7" y="16"/>
                  </a:moveTo>
                  <a:cubicBezTo>
                    <a:pt x="12" y="12"/>
                    <a:pt x="13" y="9"/>
                    <a:pt x="14" y="6"/>
                  </a:cubicBezTo>
                  <a:cubicBezTo>
                    <a:pt x="15" y="3"/>
                    <a:pt x="12" y="0"/>
                    <a:pt x="8" y="4"/>
                  </a:cubicBezTo>
                  <a:cubicBezTo>
                    <a:pt x="2" y="9"/>
                    <a:pt x="2" y="8"/>
                    <a:pt x="1" y="12"/>
                  </a:cubicBezTo>
                  <a:cubicBezTo>
                    <a:pt x="0" y="15"/>
                    <a:pt x="3" y="20"/>
                    <a:pt x="7" y="1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7" name="Freeform 246"/>
            <p:cNvSpPr>
              <a:spLocks/>
            </p:cNvSpPr>
            <p:nvPr/>
          </p:nvSpPr>
          <p:spPr bwMode="auto">
            <a:xfrm>
              <a:off x="5105513" y="4421479"/>
              <a:ext cx="27384" cy="30956"/>
            </a:xfrm>
            <a:custGeom>
              <a:avLst/>
              <a:gdLst>
                <a:gd name="T0" fmla="*/ 50 w 96"/>
                <a:gd name="T1" fmla="*/ 69 h 108"/>
                <a:gd name="T2" fmla="*/ 62 w 96"/>
                <a:gd name="T3" fmla="*/ 63 h 108"/>
                <a:gd name="T4" fmla="*/ 77 w 96"/>
                <a:gd name="T5" fmla="*/ 55 h 108"/>
                <a:gd name="T6" fmla="*/ 91 w 96"/>
                <a:gd name="T7" fmla="*/ 46 h 108"/>
                <a:gd name="T8" fmla="*/ 96 w 96"/>
                <a:gd name="T9" fmla="*/ 38 h 108"/>
                <a:gd name="T10" fmla="*/ 90 w 96"/>
                <a:gd name="T11" fmla="*/ 17 h 108"/>
                <a:gd name="T12" fmla="*/ 84 w 96"/>
                <a:gd name="T13" fmla="*/ 5 h 108"/>
                <a:gd name="T14" fmla="*/ 83 w 96"/>
                <a:gd name="T15" fmla="*/ 0 h 108"/>
                <a:gd name="T16" fmla="*/ 59 w 96"/>
                <a:gd name="T17" fmla="*/ 23 h 108"/>
                <a:gd name="T18" fmla="*/ 46 w 96"/>
                <a:gd name="T19" fmla="*/ 25 h 108"/>
                <a:gd name="T20" fmla="*/ 37 w 96"/>
                <a:gd name="T21" fmla="*/ 21 h 108"/>
                <a:gd name="T22" fmla="*/ 27 w 96"/>
                <a:gd name="T23" fmla="*/ 35 h 108"/>
                <a:gd name="T24" fmla="*/ 17 w 96"/>
                <a:gd name="T25" fmla="*/ 48 h 108"/>
                <a:gd name="T26" fmla="*/ 8 w 96"/>
                <a:gd name="T27" fmla="*/ 60 h 108"/>
                <a:gd name="T28" fmla="*/ 3 w 96"/>
                <a:gd name="T29" fmla="*/ 70 h 108"/>
                <a:gd name="T30" fmla="*/ 0 w 96"/>
                <a:gd name="T31" fmla="*/ 86 h 108"/>
                <a:gd name="T32" fmla="*/ 1 w 96"/>
                <a:gd name="T33" fmla="*/ 98 h 108"/>
                <a:gd name="T34" fmla="*/ 5 w 96"/>
                <a:gd name="T35" fmla="*/ 105 h 108"/>
                <a:gd name="T36" fmla="*/ 5 w 96"/>
                <a:gd name="T37" fmla="*/ 105 h 108"/>
                <a:gd name="T38" fmla="*/ 11 w 96"/>
                <a:gd name="T39" fmla="*/ 107 h 108"/>
                <a:gd name="T40" fmla="*/ 23 w 96"/>
                <a:gd name="T41" fmla="*/ 105 h 108"/>
                <a:gd name="T42" fmla="*/ 32 w 96"/>
                <a:gd name="T43" fmla="*/ 102 h 108"/>
                <a:gd name="T44" fmla="*/ 52 w 96"/>
                <a:gd name="T45" fmla="*/ 98 h 108"/>
                <a:gd name="T46" fmla="*/ 67 w 96"/>
                <a:gd name="T47" fmla="*/ 103 h 108"/>
                <a:gd name="T48" fmla="*/ 86 w 96"/>
                <a:gd name="T49" fmla="*/ 77 h 108"/>
                <a:gd name="T50" fmla="*/ 79 w 96"/>
                <a:gd name="T51" fmla="*/ 76 h 108"/>
                <a:gd name="T52" fmla="*/ 65 w 96"/>
                <a:gd name="T53" fmla="*/ 75 h 108"/>
                <a:gd name="T54" fmla="*/ 52 w 96"/>
                <a:gd name="T55" fmla="*/ 75 h 108"/>
                <a:gd name="T56" fmla="*/ 50 w 96"/>
                <a:gd name="T57" fmla="*/ 69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108">
                  <a:moveTo>
                    <a:pt x="50" y="69"/>
                  </a:moveTo>
                  <a:cubicBezTo>
                    <a:pt x="53" y="66"/>
                    <a:pt x="56" y="66"/>
                    <a:pt x="62" y="63"/>
                  </a:cubicBezTo>
                  <a:cubicBezTo>
                    <a:pt x="67" y="60"/>
                    <a:pt x="69" y="60"/>
                    <a:pt x="77" y="55"/>
                  </a:cubicBezTo>
                  <a:cubicBezTo>
                    <a:pt x="86" y="50"/>
                    <a:pt x="87" y="50"/>
                    <a:pt x="91" y="46"/>
                  </a:cubicBezTo>
                  <a:cubicBezTo>
                    <a:pt x="95" y="42"/>
                    <a:pt x="96" y="41"/>
                    <a:pt x="96" y="38"/>
                  </a:cubicBezTo>
                  <a:cubicBezTo>
                    <a:pt x="96" y="34"/>
                    <a:pt x="95" y="24"/>
                    <a:pt x="90" y="17"/>
                  </a:cubicBezTo>
                  <a:cubicBezTo>
                    <a:pt x="85" y="10"/>
                    <a:pt x="85" y="9"/>
                    <a:pt x="84" y="5"/>
                  </a:cubicBezTo>
                  <a:cubicBezTo>
                    <a:pt x="84" y="3"/>
                    <a:pt x="84" y="1"/>
                    <a:pt x="83" y="0"/>
                  </a:cubicBezTo>
                  <a:cubicBezTo>
                    <a:pt x="76" y="7"/>
                    <a:pt x="63" y="20"/>
                    <a:pt x="59" y="23"/>
                  </a:cubicBezTo>
                  <a:cubicBezTo>
                    <a:pt x="55" y="26"/>
                    <a:pt x="50" y="26"/>
                    <a:pt x="46" y="25"/>
                  </a:cubicBezTo>
                  <a:cubicBezTo>
                    <a:pt x="43" y="24"/>
                    <a:pt x="40" y="23"/>
                    <a:pt x="37" y="21"/>
                  </a:cubicBezTo>
                  <a:cubicBezTo>
                    <a:pt x="34" y="25"/>
                    <a:pt x="29" y="32"/>
                    <a:pt x="27" y="35"/>
                  </a:cubicBezTo>
                  <a:cubicBezTo>
                    <a:pt x="25" y="37"/>
                    <a:pt x="21" y="43"/>
                    <a:pt x="17" y="48"/>
                  </a:cubicBezTo>
                  <a:cubicBezTo>
                    <a:pt x="13" y="53"/>
                    <a:pt x="10" y="57"/>
                    <a:pt x="8" y="60"/>
                  </a:cubicBezTo>
                  <a:cubicBezTo>
                    <a:pt x="6" y="63"/>
                    <a:pt x="4" y="66"/>
                    <a:pt x="3" y="70"/>
                  </a:cubicBezTo>
                  <a:cubicBezTo>
                    <a:pt x="1" y="75"/>
                    <a:pt x="1" y="80"/>
                    <a:pt x="0" y="86"/>
                  </a:cubicBezTo>
                  <a:cubicBezTo>
                    <a:pt x="0" y="91"/>
                    <a:pt x="0" y="95"/>
                    <a:pt x="1" y="98"/>
                  </a:cubicBezTo>
                  <a:cubicBezTo>
                    <a:pt x="2" y="100"/>
                    <a:pt x="3" y="102"/>
                    <a:pt x="5" y="105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6" y="107"/>
                    <a:pt x="8" y="107"/>
                    <a:pt x="11" y="107"/>
                  </a:cubicBezTo>
                  <a:cubicBezTo>
                    <a:pt x="14" y="108"/>
                    <a:pt x="18" y="107"/>
                    <a:pt x="23" y="105"/>
                  </a:cubicBezTo>
                  <a:cubicBezTo>
                    <a:pt x="26" y="105"/>
                    <a:pt x="29" y="104"/>
                    <a:pt x="32" y="102"/>
                  </a:cubicBezTo>
                  <a:cubicBezTo>
                    <a:pt x="39" y="100"/>
                    <a:pt x="45" y="98"/>
                    <a:pt x="52" y="98"/>
                  </a:cubicBezTo>
                  <a:cubicBezTo>
                    <a:pt x="59" y="98"/>
                    <a:pt x="64" y="100"/>
                    <a:pt x="67" y="103"/>
                  </a:cubicBezTo>
                  <a:cubicBezTo>
                    <a:pt x="73" y="93"/>
                    <a:pt x="80" y="83"/>
                    <a:pt x="86" y="77"/>
                  </a:cubicBezTo>
                  <a:cubicBezTo>
                    <a:pt x="84" y="77"/>
                    <a:pt x="82" y="77"/>
                    <a:pt x="79" y="76"/>
                  </a:cubicBezTo>
                  <a:cubicBezTo>
                    <a:pt x="75" y="76"/>
                    <a:pt x="71" y="75"/>
                    <a:pt x="65" y="75"/>
                  </a:cubicBezTo>
                  <a:cubicBezTo>
                    <a:pt x="59" y="75"/>
                    <a:pt x="55" y="78"/>
                    <a:pt x="52" y="75"/>
                  </a:cubicBezTo>
                  <a:cubicBezTo>
                    <a:pt x="49" y="72"/>
                    <a:pt x="46" y="71"/>
                    <a:pt x="50" y="6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8" name="Freeform 248"/>
            <p:cNvSpPr>
              <a:spLocks/>
            </p:cNvSpPr>
            <p:nvPr/>
          </p:nvSpPr>
          <p:spPr bwMode="auto">
            <a:xfrm>
              <a:off x="4950731" y="4385760"/>
              <a:ext cx="259556" cy="201216"/>
            </a:xfrm>
            <a:custGeom>
              <a:avLst/>
              <a:gdLst>
                <a:gd name="T0" fmla="*/ 563 w 905"/>
                <a:gd name="T1" fmla="*/ 238 h 700"/>
                <a:gd name="T2" fmla="*/ 537 w 905"/>
                <a:gd name="T3" fmla="*/ 235 h 700"/>
                <a:gd name="T4" fmla="*/ 533 w 905"/>
                <a:gd name="T5" fmla="*/ 193 h 700"/>
                <a:gd name="T6" fmla="*/ 559 w 905"/>
                <a:gd name="T7" fmla="*/ 155 h 700"/>
                <a:gd name="T8" fmla="*/ 537 w 905"/>
                <a:gd name="T9" fmla="*/ 108 h 700"/>
                <a:gd name="T10" fmla="*/ 490 w 905"/>
                <a:gd name="T11" fmla="*/ 54 h 700"/>
                <a:gd name="T12" fmla="*/ 450 w 905"/>
                <a:gd name="T13" fmla="*/ 25 h 700"/>
                <a:gd name="T14" fmla="*/ 419 w 905"/>
                <a:gd name="T15" fmla="*/ 19 h 700"/>
                <a:gd name="T16" fmla="*/ 391 w 905"/>
                <a:gd name="T17" fmla="*/ 18 h 700"/>
                <a:gd name="T18" fmla="*/ 391 w 905"/>
                <a:gd name="T19" fmla="*/ 18 h 700"/>
                <a:gd name="T20" fmla="*/ 372 w 905"/>
                <a:gd name="T21" fmla="*/ 12 h 700"/>
                <a:gd name="T22" fmla="*/ 370 w 905"/>
                <a:gd name="T23" fmla="*/ 10 h 700"/>
                <a:gd name="T24" fmla="*/ 325 w 905"/>
                <a:gd name="T25" fmla="*/ 20 h 700"/>
                <a:gd name="T26" fmla="*/ 301 w 905"/>
                <a:gd name="T27" fmla="*/ 0 h 700"/>
                <a:gd name="T28" fmla="*/ 282 w 905"/>
                <a:gd name="T29" fmla="*/ 22 h 700"/>
                <a:gd name="T30" fmla="*/ 273 w 905"/>
                <a:gd name="T31" fmla="*/ 28 h 700"/>
                <a:gd name="T32" fmla="*/ 263 w 905"/>
                <a:gd name="T33" fmla="*/ 25 h 700"/>
                <a:gd name="T34" fmla="*/ 256 w 905"/>
                <a:gd name="T35" fmla="*/ 27 h 700"/>
                <a:gd name="T36" fmla="*/ 227 w 905"/>
                <a:gd name="T37" fmla="*/ 34 h 700"/>
                <a:gd name="T38" fmla="*/ 203 w 905"/>
                <a:gd name="T39" fmla="*/ 84 h 700"/>
                <a:gd name="T40" fmla="*/ 159 w 905"/>
                <a:gd name="T41" fmla="*/ 136 h 700"/>
                <a:gd name="T42" fmla="*/ 138 w 905"/>
                <a:gd name="T43" fmla="*/ 172 h 700"/>
                <a:gd name="T44" fmla="*/ 123 w 905"/>
                <a:gd name="T45" fmla="*/ 209 h 700"/>
                <a:gd name="T46" fmla="*/ 108 w 905"/>
                <a:gd name="T47" fmla="*/ 253 h 700"/>
                <a:gd name="T48" fmla="*/ 80 w 905"/>
                <a:gd name="T49" fmla="*/ 256 h 700"/>
                <a:gd name="T50" fmla="*/ 74 w 905"/>
                <a:gd name="T51" fmla="*/ 293 h 700"/>
                <a:gd name="T52" fmla="*/ 63 w 905"/>
                <a:gd name="T53" fmla="*/ 326 h 700"/>
                <a:gd name="T54" fmla="*/ 63 w 905"/>
                <a:gd name="T55" fmla="*/ 365 h 700"/>
                <a:gd name="T56" fmla="*/ 58 w 905"/>
                <a:gd name="T57" fmla="*/ 390 h 700"/>
                <a:gd name="T58" fmla="*/ 9 w 905"/>
                <a:gd name="T59" fmla="*/ 399 h 700"/>
                <a:gd name="T60" fmla="*/ 0 w 905"/>
                <a:gd name="T61" fmla="*/ 421 h 700"/>
                <a:gd name="T62" fmla="*/ 24 w 905"/>
                <a:gd name="T63" fmla="*/ 433 h 700"/>
                <a:gd name="T64" fmla="*/ 61 w 905"/>
                <a:gd name="T65" fmla="*/ 462 h 700"/>
                <a:gd name="T66" fmla="*/ 110 w 905"/>
                <a:gd name="T67" fmla="*/ 520 h 700"/>
                <a:gd name="T68" fmla="*/ 122 w 905"/>
                <a:gd name="T69" fmla="*/ 555 h 700"/>
                <a:gd name="T70" fmla="*/ 155 w 905"/>
                <a:gd name="T71" fmla="*/ 578 h 700"/>
                <a:gd name="T72" fmla="*/ 167 w 905"/>
                <a:gd name="T73" fmla="*/ 624 h 700"/>
                <a:gd name="T74" fmla="*/ 221 w 905"/>
                <a:gd name="T75" fmla="*/ 637 h 700"/>
                <a:gd name="T76" fmla="*/ 288 w 905"/>
                <a:gd name="T77" fmla="*/ 676 h 700"/>
                <a:gd name="T78" fmla="*/ 370 w 905"/>
                <a:gd name="T79" fmla="*/ 697 h 700"/>
                <a:gd name="T80" fmla="*/ 402 w 905"/>
                <a:gd name="T81" fmla="*/ 689 h 700"/>
                <a:gd name="T82" fmla="*/ 450 w 905"/>
                <a:gd name="T83" fmla="*/ 660 h 700"/>
                <a:gd name="T84" fmla="*/ 485 w 905"/>
                <a:gd name="T85" fmla="*/ 658 h 700"/>
                <a:gd name="T86" fmla="*/ 536 w 905"/>
                <a:gd name="T87" fmla="*/ 671 h 700"/>
                <a:gd name="T88" fmla="*/ 575 w 905"/>
                <a:gd name="T89" fmla="*/ 651 h 700"/>
                <a:gd name="T90" fmla="*/ 638 w 905"/>
                <a:gd name="T91" fmla="*/ 620 h 700"/>
                <a:gd name="T92" fmla="*/ 690 w 905"/>
                <a:gd name="T93" fmla="*/ 609 h 700"/>
                <a:gd name="T94" fmla="*/ 830 w 905"/>
                <a:gd name="T95" fmla="*/ 504 h 700"/>
                <a:gd name="T96" fmla="*/ 905 w 905"/>
                <a:gd name="T97" fmla="*/ 429 h 700"/>
                <a:gd name="T98" fmla="*/ 904 w 905"/>
                <a:gd name="T99" fmla="*/ 427 h 700"/>
                <a:gd name="T100" fmla="*/ 857 w 905"/>
                <a:gd name="T101" fmla="*/ 425 h 700"/>
                <a:gd name="T102" fmla="*/ 731 w 905"/>
                <a:gd name="T103" fmla="*/ 383 h 700"/>
                <a:gd name="T104" fmla="*/ 643 w 905"/>
                <a:gd name="T105" fmla="*/ 340 h 700"/>
                <a:gd name="T106" fmla="*/ 594 w 905"/>
                <a:gd name="T107" fmla="*/ 277 h 700"/>
                <a:gd name="T108" fmla="*/ 600 w 905"/>
                <a:gd name="T109" fmla="*/ 234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05" h="700">
                  <a:moveTo>
                    <a:pt x="590" y="231"/>
                  </a:moveTo>
                  <a:cubicBezTo>
                    <a:pt x="585" y="231"/>
                    <a:pt x="579" y="233"/>
                    <a:pt x="573" y="235"/>
                  </a:cubicBezTo>
                  <a:cubicBezTo>
                    <a:pt x="570" y="236"/>
                    <a:pt x="566" y="237"/>
                    <a:pt x="563" y="238"/>
                  </a:cubicBezTo>
                  <a:cubicBezTo>
                    <a:pt x="558" y="240"/>
                    <a:pt x="553" y="241"/>
                    <a:pt x="549" y="240"/>
                  </a:cubicBezTo>
                  <a:cubicBezTo>
                    <a:pt x="544" y="240"/>
                    <a:pt x="540" y="239"/>
                    <a:pt x="537" y="235"/>
                  </a:cubicBezTo>
                  <a:cubicBezTo>
                    <a:pt x="537" y="235"/>
                    <a:pt x="537" y="235"/>
                    <a:pt x="537" y="235"/>
                  </a:cubicBezTo>
                  <a:cubicBezTo>
                    <a:pt x="534" y="231"/>
                    <a:pt x="533" y="229"/>
                    <a:pt x="531" y="225"/>
                  </a:cubicBezTo>
                  <a:cubicBezTo>
                    <a:pt x="530" y="221"/>
                    <a:pt x="530" y="217"/>
                    <a:pt x="530" y="210"/>
                  </a:cubicBezTo>
                  <a:cubicBezTo>
                    <a:pt x="531" y="204"/>
                    <a:pt x="532" y="198"/>
                    <a:pt x="533" y="193"/>
                  </a:cubicBezTo>
                  <a:cubicBezTo>
                    <a:pt x="535" y="188"/>
                    <a:pt x="537" y="184"/>
                    <a:pt x="540" y="180"/>
                  </a:cubicBezTo>
                  <a:cubicBezTo>
                    <a:pt x="542" y="178"/>
                    <a:pt x="545" y="173"/>
                    <a:pt x="548" y="169"/>
                  </a:cubicBezTo>
                  <a:cubicBezTo>
                    <a:pt x="552" y="163"/>
                    <a:pt x="557" y="157"/>
                    <a:pt x="559" y="155"/>
                  </a:cubicBezTo>
                  <a:cubicBezTo>
                    <a:pt x="561" y="152"/>
                    <a:pt x="566" y="145"/>
                    <a:pt x="569" y="141"/>
                  </a:cubicBezTo>
                  <a:cubicBezTo>
                    <a:pt x="566" y="138"/>
                    <a:pt x="562" y="135"/>
                    <a:pt x="559" y="131"/>
                  </a:cubicBezTo>
                  <a:cubicBezTo>
                    <a:pt x="552" y="124"/>
                    <a:pt x="543" y="115"/>
                    <a:pt x="537" y="108"/>
                  </a:cubicBezTo>
                  <a:cubicBezTo>
                    <a:pt x="533" y="103"/>
                    <a:pt x="533" y="103"/>
                    <a:pt x="533" y="103"/>
                  </a:cubicBezTo>
                  <a:cubicBezTo>
                    <a:pt x="521" y="89"/>
                    <a:pt x="503" y="68"/>
                    <a:pt x="497" y="61"/>
                  </a:cubicBezTo>
                  <a:cubicBezTo>
                    <a:pt x="495" y="59"/>
                    <a:pt x="493" y="57"/>
                    <a:pt x="490" y="54"/>
                  </a:cubicBezTo>
                  <a:cubicBezTo>
                    <a:pt x="484" y="48"/>
                    <a:pt x="477" y="40"/>
                    <a:pt x="470" y="36"/>
                  </a:cubicBezTo>
                  <a:cubicBezTo>
                    <a:pt x="469" y="36"/>
                    <a:pt x="467" y="35"/>
                    <a:pt x="465" y="34"/>
                  </a:cubicBezTo>
                  <a:cubicBezTo>
                    <a:pt x="458" y="31"/>
                    <a:pt x="453" y="29"/>
                    <a:pt x="450" y="25"/>
                  </a:cubicBezTo>
                  <a:cubicBezTo>
                    <a:pt x="448" y="23"/>
                    <a:pt x="444" y="20"/>
                    <a:pt x="439" y="19"/>
                  </a:cubicBezTo>
                  <a:cubicBezTo>
                    <a:pt x="436" y="17"/>
                    <a:pt x="433" y="17"/>
                    <a:pt x="430" y="17"/>
                  </a:cubicBezTo>
                  <a:cubicBezTo>
                    <a:pt x="426" y="18"/>
                    <a:pt x="422" y="19"/>
                    <a:pt x="419" y="19"/>
                  </a:cubicBezTo>
                  <a:cubicBezTo>
                    <a:pt x="415" y="19"/>
                    <a:pt x="411" y="18"/>
                    <a:pt x="408" y="16"/>
                  </a:cubicBezTo>
                  <a:cubicBezTo>
                    <a:pt x="406" y="14"/>
                    <a:pt x="404" y="14"/>
                    <a:pt x="401" y="14"/>
                  </a:cubicBezTo>
                  <a:cubicBezTo>
                    <a:pt x="398" y="15"/>
                    <a:pt x="394" y="16"/>
                    <a:pt x="391" y="18"/>
                  </a:cubicBezTo>
                  <a:cubicBezTo>
                    <a:pt x="391" y="18"/>
                    <a:pt x="391" y="18"/>
                    <a:pt x="391" y="18"/>
                  </a:cubicBezTo>
                  <a:cubicBezTo>
                    <a:pt x="391" y="18"/>
                    <a:pt x="391" y="18"/>
                    <a:pt x="391" y="18"/>
                  </a:cubicBezTo>
                  <a:cubicBezTo>
                    <a:pt x="391" y="18"/>
                    <a:pt x="391" y="18"/>
                    <a:pt x="391" y="18"/>
                  </a:cubicBezTo>
                  <a:cubicBezTo>
                    <a:pt x="387" y="20"/>
                    <a:pt x="383" y="20"/>
                    <a:pt x="379" y="18"/>
                  </a:cubicBezTo>
                  <a:cubicBezTo>
                    <a:pt x="376" y="17"/>
                    <a:pt x="373" y="15"/>
                    <a:pt x="372" y="12"/>
                  </a:cubicBezTo>
                  <a:cubicBezTo>
                    <a:pt x="372" y="12"/>
                    <a:pt x="372" y="12"/>
                    <a:pt x="372" y="12"/>
                  </a:cubicBezTo>
                  <a:cubicBezTo>
                    <a:pt x="372" y="12"/>
                    <a:pt x="372" y="12"/>
                    <a:pt x="372" y="12"/>
                  </a:cubicBezTo>
                  <a:cubicBezTo>
                    <a:pt x="372" y="12"/>
                    <a:pt x="372" y="12"/>
                    <a:pt x="372" y="12"/>
                  </a:cubicBezTo>
                  <a:cubicBezTo>
                    <a:pt x="372" y="11"/>
                    <a:pt x="371" y="11"/>
                    <a:pt x="370" y="10"/>
                  </a:cubicBezTo>
                  <a:cubicBezTo>
                    <a:pt x="369" y="10"/>
                    <a:pt x="368" y="10"/>
                    <a:pt x="367" y="10"/>
                  </a:cubicBezTo>
                  <a:cubicBezTo>
                    <a:pt x="367" y="10"/>
                    <a:pt x="365" y="11"/>
                    <a:pt x="364" y="11"/>
                  </a:cubicBezTo>
                  <a:cubicBezTo>
                    <a:pt x="355" y="15"/>
                    <a:pt x="334" y="23"/>
                    <a:pt x="325" y="20"/>
                  </a:cubicBezTo>
                  <a:cubicBezTo>
                    <a:pt x="317" y="19"/>
                    <a:pt x="313" y="12"/>
                    <a:pt x="310" y="6"/>
                  </a:cubicBezTo>
                  <a:cubicBezTo>
                    <a:pt x="309" y="4"/>
                    <a:pt x="308" y="3"/>
                    <a:pt x="308" y="2"/>
                  </a:cubicBezTo>
                  <a:cubicBezTo>
                    <a:pt x="307" y="1"/>
                    <a:pt x="304" y="0"/>
                    <a:pt x="301" y="0"/>
                  </a:cubicBezTo>
                  <a:cubicBezTo>
                    <a:pt x="299" y="0"/>
                    <a:pt x="296" y="1"/>
                    <a:pt x="294" y="2"/>
                  </a:cubicBezTo>
                  <a:cubicBezTo>
                    <a:pt x="292" y="4"/>
                    <a:pt x="289" y="10"/>
                    <a:pt x="286" y="15"/>
                  </a:cubicBezTo>
                  <a:cubicBezTo>
                    <a:pt x="285" y="18"/>
                    <a:pt x="283" y="21"/>
                    <a:pt x="282" y="22"/>
                  </a:cubicBezTo>
                  <a:cubicBezTo>
                    <a:pt x="282" y="23"/>
                    <a:pt x="281" y="24"/>
                    <a:pt x="281" y="24"/>
                  </a:cubicBezTo>
                  <a:cubicBezTo>
                    <a:pt x="279" y="26"/>
                    <a:pt x="276" y="28"/>
                    <a:pt x="273" y="28"/>
                  </a:cubicBezTo>
                  <a:cubicBezTo>
                    <a:pt x="273" y="28"/>
                    <a:pt x="273" y="28"/>
                    <a:pt x="273" y="28"/>
                  </a:cubicBezTo>
                  <a:cubicBezTo>
                    <a:pt x="271" y="29"/>
                    <a:pt x="268" y="28"/>
                    <a:pt x="265" y="26"/>
                  </a:cubicBezTo>
                  <a:cubicBezTo>
                    <a:pt x="265" y="26"/>
                    <a:pt x="265" y="26"/>
                    <a:pt x="265" y="26"/>
                  </a:cubicBezTo>
                  <a:cubicBezTo>
                    <a:pt x="264" y="26"/>
                    <a:pt x="264" y="26"/>
                    <a:pt x="263" y="25"/>
                  </a:cubicBezTo>
                  <a:cubicBezTo>
                    <a:pt x="263" y="25"/>
                    <a:pt x="263" y="25"/>
                    <a:pt x="263" y="25"/>
                  </a:cubicBezTo>
                  <a:cubicBezTo>
                    <a:pt x="262" y="24"/>
                    <a:pt x="262" y="24"/>
                    <a:pt x="261" y="24"/>
                  </a:cubicBezTo>
                  <a:cubicBezTo>
                    <a:pt x="259" y="24"/>
                    <a:pt x="258" y="25"/>
                    <a:pt x="256" y="27"/>
                  </a:cubicBezTo>
                  <a:cubicBezTo>
                    <a:pt x="256" y="27"/>
                    <a:pt x="255" y="28"/>
                    <a:pt x="255" y="28"/>
                  </a:cubicBezTo>
                  <a:cubicBezTo>
                    <a:pt x="249" y="35"/>
                    <a:pt x="241" y="35"/>
                    <a:pt x="233" y="34"/>
                  </a:cubicBezTo>
                  <a:cubicBezTo>
                    <a:pt x="231" y="34"/>
                    <a:pt x="229" y="34"/>
                    <a:pt x="227" y="34"/>
                  </a:cubicBezTo>
                  <a:cubicBezTo>
                    <a:pt x="216" y="34"/>
                    <a:pt x="216" y="34"/>
                    <a:pt x="216" y="34"/>
                  </a:cubicBezTo>
                  <a:cubicBezTo>
                    <a:pt x="216" y="36"/>
                    <a:pt x="215" y="38"/>
                    <a:pt x="215" y="40"/>
                  </a:cubicBezTo>
                  <a:cubicBezTo>
                    <a:pt x="214" y="46"/>
                    <a:pt x="209" y="66"/>
                    <a:pt x="203" y="84"/>
                  </a:cubicBezTo>
                  <a:cubicBezTo>
                    <a:pt x="198" y="102"/>
                    <a:pt x="192" y="119"/>
                    <a:pt x="190" y="124"/>
                  </a:cubicBezTo>
                  <a:cubicBezTo>
                    <a:pt x="186" y="133"/>
                    <a:pt x="175" y="134"/>
                    <a:pt x="167" y="135"/>
                  </a:cubicBezTo>
                  <a:cubicBezTo>
                    <a:pt x="163" y="135"/>
                    <a:pt x="160" y="135"/>
                    <a:pt x="159" y="136"/>
                  </a:cubicBezTo>
                  <a:cubicBezTo>
                    <a:pt x="157" y="137"/>
                    <a:pt x="155" y="139"/>
                    <a:pt x="153" y="142"/>
                  </a:cubicBezTo>
                  <a:cubicBezTo>
                    <a:pt x="151" y="146"/>
                    <a:pt x="150" y="151"/>
                    <a:pt x="148" y="156"/>
                  </a:cubicBezTo>
                  <a:cubicBezTo>
                    <a:pt x="145" y="163"/>
                    <a:pt x="142" y="168"/>
                    <a:pt x="138" y="172"/>
                  </a:cubicBezTo>
                  <a:cubicBezTo>
                    <a:pt x="135" y="175"/>
                    <a:pt x="133" y="178"/>
                    <a:pt x="131" y="182"/>
                  </a:cubicBezTo>
                  <a:cubicBezTo>
                    <a:pt x="130" y="184"/>
                    <a:pt x="129" y="186"/>
                    <a:pt x="128" y="188"/>
                  </a:cubicBezTo>
                  <a:cubicBezTo>
                    <a:pt x="125" y="192"/>
                    <a:pt x="124" y="195"/>
                    <a:pt x="123" y="209"/>
                  </a:cubicBezTo>
                  <a:cubicBezTo>
                    <a:pt x="122" y="215"/>
                    <a:pt x="122" y="220"/>
                    <a:pt x="122" y="225"/>
                  </a:cubicBezTo>
                  <a:cubicBezTo>
                    <a:pt x="121" y="235"/>
                    <a:pt x="121" y="242"/>
                    <a:pt x="117" y="246"/>
                  </a:cubicBezTo>
                  <a:cubicBezTo>
                    <a:pt x="115" y="250"/>
                    <a:pt x="112" y="252"/>
                    <a:pt x="108" y="253"/>
                  </a:cubicBezTo>
                  <a:cubicBezTo>
                    <a:pt x="104" y="255"/>
                    <a:pt x="100" y="254"/>
                    <a:pt x="96" y="253"/>
                  </a:cubicBezTo>
                  <a:cubicBezTo>
                    <a:pt x="93" y="252"/>
                    <a:pt x="89" y="252"/>
                    <a:pt x="86" y="253"/>
                  </a:cubicBezTo>
                  <a:cubicBezTo>
                    <a:pt x="83" y="253"/>
                    <a:pt x="82" y="255"/>
                    <a:pt x="80" y="256"/>
                  </a:cubicBezTo>
                  <a:cubicBezTo>
                    <a:pt x="80" y="257"/>
                    <a:pt x="80" y="257"/>
                    <a:pt x="80" y="257"/>
                  </a:cubicBezTo>
                  <a:cubicBezTo>
                    <a:pt x="77" y="262"/>
                    <a:pt x="74" y="266"/>
                    <a:pt x="75" y="277"/>
                  </a:cubicBezTo>
                  <a:cubicBezTo>
                    <a:pt x="75" y="284"/>
                    <a:pt x="75" y="289"/>
                    <a:pt x="74" y="293"/>
                  </a:cubicBezTo>
                  <a:cubicBezTo>
                    <a:pt x="73" y="297"/>
                    <a:pt x="72" y="301"/>
                    <a:pt x="70" y="305"/>
                  </a:cubicBezTo>
                  <a:cubicBezTo>
                    <a:pt x="69" y="308"/>
                    <a:pt x="68" y="310"/>
                    <a:pt x="67" y="312"/>
                  </a:cubicBezTo>
                  <a:cubicBezTo>
                    <a:pt x="65" y="316"/>
                    <a:pt x="63" y="319"/>
                    <a:pt x="63" y="326"/>
                  </a:cubicBezTo>
                  <a:cubicBezTo>
                    <a:pt x="63" y="332"/>
                    <a:pt x="63" y="332"/>
                    <a:pt x="63" y="332"/>
                  </a:cubicBezTo>
                  <a:cubicBezTo>
                    <a:pt x="63" y="332"/>
                    <a:pt x="63" y="332"/>
                    <a:pt x="63" y="332"/>
                  </a:cubicBezTo>
                  <a:cubicBezTo>
                    <a:pt x="63" y="342"/>
                    <a:pt x="62" y="354"/>
                    <a:pt x="63" y="365"/>
                  </a:cubicBezTo>
                  <a:cubicBezTo>
                    <a:pt x="63" y="371"/>
                    <a:pt x="62" y="376"/>
                    <a:pt x="62" y="380"/>
                  </a:cubicBezTo>
                  <a:cubicBezTo>
                    <a:pt x="61" y="385"/>
                    <a:pt x="60" y="388"/>
                    <a:pt x="58" y="390"/>
                  </a:cubicBezTo>
                  <a:cubicBezTo>
                    <a:pt x="58" y="390"/>
                    <a:pt x="58" y="390"/>
                    <a:pt x="58" y="390"/>
                  </a:cubicBezTo>
                  <a:cubicBezTo>
                    <a:pt x="57" y="393"/>
                    <a:pt x="51" y="394"/>
                    <a:pt x="44" y="395"/>
                  </a:cubicBezTo>
                  <a:cubicBezTo>
                    <a:pt x="35" y="396"/>
                    <a:pt x="25" y="397"/>
                    <a:pt x="18" y="397"/>
                  </a:cubicBezTo>
                  <a:cubicBezTo>
                    <a:pt x="14" y="397"/>
                    <a:pt x="11" y="398"/>
                    <a:pt x="9" y="399"/>
                  </a:cubicBezTo>
                  <a:cubicBezTo>
                    <a:pt x="6" y="401"/>
                    <a:pt x="5" y="403"/>
                    <a:pt x="4" y="406"/>
                  </a:cubicBezTo>
                  <a:cubicBezTo>
                    <a:pt x="2" y="408"/>
                    <a:pt x="1" y="411"/>
                    <a:pt x="1" y="414"/>
                  </a:cubicBezTo>
                  <a:cubicBezTo>
                    <a:pt x="0" y="417"/>
                    <a:pt x="0" y="419"/>
                    <a:pt x="0" y="421"/>
                  </a:cubicBezTo>
                  <a:cubicBezTo>
                    <a:pt x="0" y="422"/>
                    <a:pt x="1" y="423"/>
                    <a:pt x="3" y="424"/>
                  </a:cubicBezTo>
                  <a:cubicBezTo>
                    <a:pt x="6" y="426"/>
                    <a:pt x="10" y="428"/>
                    <a:pt x="16" y="430"/>
                  </a:cubicBezTo>
                  <a:cubicBezTo>
                    <a:pt x="19" y="431"/>
                    <a:pt x="22" y="432"/>
                    <a:pt x="24" y="433"/>
                  </a:cubicBezTo>
                  <a:cubicBezTo>
                    <a:pt x="24" y="433"/>
                    <a:pt x="24" y="433"/>
                    <a:pt x="24" y="433"/>
                  </a:cubicBezTo>
                  <a:cubicBezTo>
                    <a:pt x="29" y="434"/>
                    <a:pt x="33" y="435"/>
                    <a:pt x="40" y="440"/>
                  </a:cubicBezTo>
                  <a:cubicBezTo>
                    <a:pt x="45" y="444"/>
                    <a:pt x="52" y="453"/>
                    <a:pt x="61" y="462"/>
                  </a:cubicBezTo>
                  <a:cubicBezTo>
                    <a:pt x="70" y="473"/>
                    <a:pt x="81" y="485"/>
                    <a:pt x="88" y="491"/>
                  </a:cubicBezTo>
                  <a:cubicBezTo>
                    <a:pt x="96" y="497"/>
                    <a:pt x="100" y="503"/>
                    <a:pt x="104" y="508"/>
                  </a:cubicBezTo>
                  <a:cubicBezTo>
                    <a:pt x="107" y="512"/>
                    <a:pt x="109" y="517"/>
                    <a:pt x="110" y="520"/>
                  </a:cubicBezTo>
                  <a:cubicBezTo>
                    <a:pt x="110" y="522"/>
                    <a:pt x="111" y="525"/>
                    <a:pt x="112" y="527"/>
                  </a:cubicBezTo>
                  <a:cubicBezTo>
                    <a:pt x="113" y="532"/>
                    <a:pt x="115" y="538"/>
                    <a:pt x="118" y="545"/>
                  </a:cubicBezTo>
                  <a:cubicBezTo>
                    <a:pt x="120" y="549"/>
                    <a:pt x="121" y="552"/>
                    <a:pt x="122" y="555"/>
                  </a:cubicBezTo>
                  <a:cubicBezTo>
                    <a:pt x="123" y="559"/>
                    <a:pt x="124" y="563"/>
                    <a:pt x="132" y="567"/>
                  </a:cubicBezTo>
                  <a:cubicBezTo>
                    <a:pt x="138" y="570"/>
                    <a:pt x="142" y="572"/>
                    <a:pt x="144" y="574"/>
                  </a:cubicBezTo>
                  <a:cubicBezTo>
                    <a:pt x="148" y="576"/>
                    <a:pt x="150" y="578"/>
                    <a:pt x="155" y="578"/>
                  </a:cubicBezTo>
                  <a:cubicBezTo>
                    <a:pt x="160" y="579"/>
                    <a:pt x="163" y="582"/>
                    <a:pt x="165" y="586"/>
                  </a:cubicBezTo>
                  <a:cubicBezTo>
                    <a:pt x="168" y="592"/>
                    <a:pt x="169" y="598"/>
                    <a:pt x="169" y="602"/>
                  </a:cubicBezTo>
                  <a:cubicBezTo>
                    <a:pt x="169" y="606"/>
                    <a:pt x="168" y="618"/>
                    <a:pt x="167" y="624"/>
                  </a:cubicBezTo>
                  <a:cubicBezTo>
                    <a:pt x="172" y="624"/>
                    <a:pt x="177" y="626"/>
                    <a:pt x="182" y="632"/>
                  </a:cubicBezTo>
                  <a:cubicBezTo>
                    <a:pt x="186" y="636"/>
                    <a:pt x="194" y="636"/>
                    <a:pt x="202" y="636"/>
                  </a:cubicBezTo>
                  <a:cubicBezTo>
                    <a:pt x="209" y="635"/>
                    <a:pt x="215" y="635"/>
                    <a:pt x="221" y="637"/>
                  </a:cubicBezTo>
                  <a:cubicBezTo>
                    <a:pt x="231" y="640"/>
                    <a:pt x="246" y="648"/>
                    <a:pt x="261" y="658"/>
                  </a:cubicBezTo>
                  <a:cubicBezTo>
                    <a:pt x="265" y="660"/>
                    <a:pt x="269" y="663"/>
                    <a:pt x="273" y="665"/>
                  </a:cubicBezTo>
                  <a:cubicBezTo>
                    <a:pt x="281" y="670"/>
                    <a:pt x="285" y="673"/>
                    <a:pt x="288" y="676"/>
                  </a:cubicBezTo>
                  <a:cubicBezTo>
                    <a:pt x="292" y="680"/>
                    <a:pt x="295" y="683"/>
                    <a:pt x="311" y="688"/>
                  </a:cubicBezTo>
                  <a:cubicBezTo>
                    <a:pt x="324" y="692"/>
                    <a:pt x="336" y="694"/>
                    <a:pt x="346" y="695"/>
                  </a:cubicBezTo>
                  <a:cubicBezTo>
                    <a:pt x="356" y="696"/>
                    <a:pt x="364" y="697"/>
                    <a:pt x="370" y="697"/>
                  </a:cubicBezTo>
                  <a:cubicBezTo>
                    <a:pt x="376" y="697"/>
                    <a:pt x="380" y="698"/>
                    <a:pt x="383" y="699"/>
                  </a:cubicBezTo>
                  <a:cubicBezTo>
                    <a:pt x="386" y="699"/>
                    <a:pt x="388" y="700"/>
                    <a:pt x="392" y="699"/>
                  </a:cubicBezTo>
                  <a:cubicBezTo>
                    <a:pt x="395" y="697"/>
                    <a:pt x="398" y="694"/>
                    <a:pt x="402" y="689"/>
                  </a:cubicBezTo>
                  <a:cubicBezTo>
                    <a:pt x="406" y="685"/>
                    <a:pt x="411" y="679"/>
                    <a:pt x="418" y="675"/>
                  </a:cubicBezTo>
                  <a:cubicBezTo>
                    <a:pt x="426" y="670"/>
                    <a:pt x="432" y="668"/>
                    <a:pt x="439" y="665"/>
                  </a:cubicBezTo>
                  <a:cubicBezTo>
                    <a:pt x="443" y="664"/>
                    <a:pt x="446" y="662"/>
                    <a:pt x="450" y="660"/>
                  </a:cubicBezTo>
                  <a:cubicBezTo>
                    <a:pt x="454" y="658"/>
                    <a:pt x="458" y="656"/>
                    <a:pt x="462" y="655"/>
                  </a:cubicBezTo>
                  <a:cubicBezTo>
                    <a:pt x="467" y="653"/>
                    <a:pt x="471" y="653"/>
                    <a:pt x="475" y="653"/>
                  </a:cubicBezTo>
                  <a:cubicBezTo>
                    <a:pt x="479" y="654"/>
                    <a:pt x="482" y="656"/>
                    <a:pt x="485" y="658"/>
                  </a:cubicBezTo>
                  <a:cubicBezTo>
                    <a:pt x="488" y="661"/>
                    <a:pt x="493" y="664"/>
                    <a:pt x="504" y="665"/>
                  </a:cubicBezTo>
                  <a:cubicBezTo>
                    <a:pt x="519" y="666"/>
                    <a:pt x="530" y="669"/>
                    <a:pt x="536" y="671"/>
                  </a:cubicBezTo>
                  <a:cubicBezTo>
                    <a:pt x="536" y="671"/>
                    <a:pt x="536" y="671"/>
                    <a:pt x="536" y="671"/>
                  </a:cubicBezTo>
                  <a:cubicBezTo>
                    <a:pt x="538" y="669"/>
                    <a:pt x="539" y="668"/>
                    <a:pt x="541" y="666"/>
                  </a:cubicBezTo>
                  <a:cubicBezTo>
                    <a:pt x="547" y="659"/>
                    <a:pt x="554" y="651"/>
                    <a:pt x="565" y="651"/>
                  </a:cubicBezTo>
                  <a:cubicBezTo>
                    <a:pt x="568" y="651"/>
                    <a:pt x="572" y="651"/>
                    <a:pt x="575" y="651"/>
                  </a:cubicBezTo>
                  <a:cubicBezTo>
                    <a:pt x="584" y="651"/>
                    <a:pt x="592" y="651"/>
                    <a:pt x="598" y="647"/>
                  </a:cubicBezTo>
                  <a:cubicBezTo>
                    <a:pt x="601" y="645"/>
                    <a:pt x="605" y="642"/>
                    <a:pt x="610" y="639"/>
                  </a:cubicBezTo>
                  <a:cubicBezTo>
                    <a:pt x="618" y="633"/>
                    <a:pt x="627" y="626"/>
                    <a:pt x="638" y="620"/>
                  </a:cubicBezTo>
                  <a:cubicBezTo>
                    <a:pt x="646" y="616"/>
                    <a:pt x="654" y="613"/>
                    <a:pt x="661" y="611"/>
                  </a:cubicBezTo>
                  <a:cubicBezTo>
                    <a:pt x="669" y="610"/>
                    <a:pt x="676" y="609"/>
                    <a:pt x="684" y="609"/>
                  </a:cubicBezTo>
                  <a:cubicBezTo>
                    <a:pt x="686" y="609"/>
                    <a:pt x="688" y="609"/>
                    <a:pt x="690" y="609"/>
                  </a:cubicBezTo>
                  <a:cubicBezTo>
                    <a:pt x="704" y="609"/>
                    <a:pt x="725" y="609"/>
                    <a:pt x="737" y="599"/>
                  </a:cubicBezTo>
                  <a:cubicBezTo>
                    <a:pt x="747" y="591"/>
                    <a:pt x="780" y="557"/>
                    <a:pt x="804" y="531"/>
                  </a:cubicBezTo>
                  <a:cubicBezTo>
                    <a:pt x="816" y="519"/>
                    <a:pt x="826" y="508"/>
                    <a:pt x="830" y="504"/>
                  </a:cubicBezTo>
                  <a:cubicBezTo>
                    <a:pt x="830" y="503"/>
                    <a:pt x="830" y="503"/>
                    <a:pt x="830" y="503"/>
                  </a:cubicBezTo>
                  <a:cubicBezTo>
                    <a:pt x="846" y="488"/>
                    <a:pt x="896" y="438"/>
                    <a:pt x="903" y="431"/>
                  </a:cubicBezTo>
                  <a:cubicBezTo>
                    <a:pt x="904" y="430"/>
                    <a:pt x="905" y="429"/>
                    <a:pt x="905" y="429"/>
                  </a:cubicBezTo>
                  <a:cubicBezTo>
                    <a:pt x="905" y="428"/>
                    <a:pt x="905" y="428"/>
                    <a:pt x="905" y="428"/>
                  </a:cubicBezTo>
                  <a:cubicBezTo>
                    <a:pt x="905" y="428"/>
                    <a:pt x="905" y="428"/>
                    <a:pt x="905" y="428"/>
                  </a:cubicBezTo>
                  <a:cubicBezTo>
                    <a:pt x="905" y="428"/>
                    <a:pt x="905" y="428"/>
                    <a:pt x="904" y="427"/>
                  </a:cubicBezTo>
                  <a:cubicBezTo>
                    <a:pt x="903" y="427"/>
                    <a:pt x="901" y="426"/>
                    <a:pt x="899" y="426"/>
                  </a:cubicBezTo>
                  <a:cubicBezTo>
                    <a:pt x="894" y="426"/>
                    <a:pt x="884" y="426"/>
                    <a:pt x="875" y="426"/>
                  </a:cubicBezTo>
                  <a:cubicBezTo>
                    <a:pt x="868" y="426"/>
                    <a:pt x="861" y="426"/>
                    <a:pt x="857" y="425"/>
                  </a:cubicBezTo>
                  <a:cubicBezTo>
                    <a:pt x="850" y="425"/>
                    <a:pt x="821" y="414"/>
                    <a:pt x="796" y="405"/>
                  </a:cubicBezTo>
                  <a:cubicBezTo>
                    <a:pt x="784" y="400"/>
                    <a:pt x="773" y="396"/>
                    <a:pt x="766" y="394"/>
                  </a:cubicBezTo>
                  <a:cubicBezTo>
                    <a:pt x="758" y="391"/>
                    <a:pt x="745" y="387"/>
                    <a:pt x="731" y="383"/>
                  </a:cubicBezTo>
                  <a:cubicBezTo>
                    <a:pt x="710" y="377"/>
                    <a:pt x="688" y="371"/>
                    <a:pt x="680" y="368"/>
                  </a:cubicBezTo>
                  <a:cubicBezTo>
                    <a:pt x="680" y="368"/>
                    <a:pt x="680" y="368"/>
                    <a:pt x="680" y="368"/>
                  </a:cubicBezTo>
                  <a:cubicBezTo>
                    <a:pt x="670" y="363"/>
                    <a:pt x="656" y="351"/>
                    <a:pt x="643" y="340"/>
                  </a:cubicBezTo>
                  <a:cubicBezTo>
                    <a:pt x="640" y="337"/>
                    <a:pt x="637" y="335"/>
                    <a:pt x="633" y="331"/>
                  </a:cubicBezTo>
                  <a:cubicBezTo>
                    <a:pt x="627" y="327"/>
                    <a:pt x="620" y="318"/>
                    <a:pt x="614" y="309"/>
                  </a:cubicBezTo>
                  <a:cubicBezTo>
                    <a:pt x="605" y="296"/>
                    <a:pt x="597" y="282"/>
                    <a:pt x="594" y="277"/>
                  </a:cubicBezTo>
                  <a:cubicBezTo>
                    <a:pt x="592" y="273"/>
                    <a:pt x="591" y="271"/>
                    <a:pt x="590" y="270"/>
                  </a:cubicBezTo>
                  <a:cubicBezTo>
                    <a:pt x="588" y="267"/>
                    <a:pt x="588" y="266"/>
                    <a:pt x="588" y="259"/>
                  </a:cubicBezTo>
                  <a:cubicBezTo>
                    <a:pt x="588" y="255"/>
                    <a:pt x="593" y="245"/>
                    <a:pt x="600" y="234"/>
                  </a:cubicBezTo>
                  <a:cubicBezTo>
                    <a:pt x="598" y="233"/>
                    <a:pt x="595" y="231"/>
                    <a:pt x="590" y="23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9" name="Freeform 249"/>
            <p:cNvSpPr>
              <a:spLocks/>
            </p:cNvSpPr>
            <p:nvPr/>
          </p:nvSpPr>
          <p:spPr bwMode="auto">
            <a:xfrm>
              <a:off x="4943588" y="4819147"/>
              <a:ext cx="54769" cy="132159"/>
            </a:xfrm>
            <a:custGeom>
              <a:avLst/>
              <a:gdLst>
                <a:gd name="T0" fmla="*/ 190 w 192"/>
                <a:gd name="T1" fmla="*/ 324 h 461"/>
                <a:gd name="T2" fmla="*/ 166 w 192"/>
                <a:gd name="T3" fmla="*/ 295 h 461"/>
                <a:gd name="T4" fmla="*/ 137 w 192"/>
                <a:gd name="T5" fmla="*/ 289 h 461"/>
                <a:gd name="T6" fmla="*/ 113 w 192"/>
                <a:gd name="T7" fmla="*/ 274 h 461"/>
                <a:gd name="T8" fmla="*/ 96 w 192"/>
                <a:gd name="T9" fmla="*/ 242 h 461"/>
                <a:gd name="T10" fmla="*/ 82 w 192"/>
                <a:gd name="T11" fmla="*/ 180 h 461"/>
                <a:gd name="T12" fmla="*/ 98 w 192"/>
                <a:gd name="T13" fmla="*/ 126 h 461"/>
                <a:gd name="T14" fmla="*/ 92 w 192"/>
                <a:gd name="T15" fmla="*/ 51 h 461"/>
                <a:gd name="T16" fmla="*/ 72 w 192"/>
                <a:gd name="T17" fmla="*/ 9 h 461"/>
                <a:gd name="T18" fmla="*/ 38 w 192"/>
                <a:gd name="T19" fmla="*/ 1 h 461"/>
                <a:gd name="T20" fmla="*/ 36 w 192"/>
                <a:gd name="T21" fmla="*/ 22 h 461"/>
                <a:gd name="T22" fmla="*/ 62 w 192"/>
                <a:gd name="T23" fmla="*/ 57 h 461"/>
                <a:gd name="T24" fmla="*/ 39 w 192"/>
                <a:gd name="T25" fmla="*/ 84 h 461"/>
                <a:gd name="T26" fmla="*/ 36 w 192"/>
                <a:gd name="T27" fmla="*/ 118 h 461"/>
                <a:gd name="T28" fmla="*/ 37 w 192"/>
                <a:gd name="T29" fmla="*/ 151 h 461"/>
                <a:gd name="T30" fmla="*/ 49 w 192"/>
                <a:gd name="T31" fmla="*/ 173 h 461"/>
                <a:gd name="T32" fmla="*/ 38 w 192"/>
                <a:gd name="T33" fmla="*/ 188 h 461"/>
                <a:gd name="T34" fmla="*/ 27 w 192"/>
                <a:gd name="T35" fmla="*/ 194 h 461"/>
                <a:gd name="T36" fmla="*/ 20 w 192"/>
                <a:gd name="T37" fmla="*/ 217 h 461"/>
                <a:gd name="T38" fmla="*/ 7 w 192"/>
                <a:gd name="T39" fmla="*/ 245 h 461"/>
                <a:gd name="T40" fmla="*/ 8 w 192"/>
                <a:gd name="T41" fmla="*/ 266 h 461"/>
                <a:gd name="T42" fmla="*/ 24 w 192"/>
                <a:gd name="T43" fmla="*/ 278 h 461"/>
                <a:gd name="T44" fmla="*/ 42 w 192"/>
                <a:gd name="T45" fmla="*/ 290 h 461"/>
                <a:gd name="T46" fmla="*/ 54 w 192"/>
                <a:gd name="T47" fmla="*/ 306 h 461"/>
                <a:gd name="T48" fmla="*/ 72 w 192"/>
                <a:gd name="T49" fmla="*/ 307 h 461"/>
                <a:gd name="T50" fmla="*/ 97 w 192"/>
                <a:gd name="T51" fmla="*/ 304 h 461"/>
                <a:gd name="T52" fmla="*/ 112 w 192"/>
                <a:gd name="T53" fmla="*/ 324 h 461"/>
                <a:gd name="T54" fmla="*/ 118 w 192"/>
                <a:gd name="T55" fmla="*/ 353 h 461"/>
                <a:gd name="T56" fmla="*/ 100 w 192"/>
                <a:gd name="T57" fmla="*/ 398 h 461"/>
                <a:gd name="T58" fmla="*/ 107 w 192"/>
                <a:gd name="T59" fmla="*/ 413 h 461"/>
                <a:gd name="T60" fmla="*/ 132 w 192"/>
                <a:gd name="T61" fmla="*/ 440 h 461"/>
                <a:gd name="T62" fmla="*/ 144 w 192"/>
                <a:gd name="T63" fmla="*/ 459 h 461"/>
                <a:gd name="T64" fmla="*/ 149 w 192"/>
                <a:gd name="T65" fmla="*/ 461 h 461"/>
                <a:gd name="T66" fmla="*/ 150 w 192"/>
                <a:gd name="T67" fmla="*/ 459 h 461"/>
                <a:gd name="T68" fmla="*/ 149 w 192"/>
                <a:gd name="T69" fmla="*/ 437 h 461"/>
                <a:gd name="T70" fmla="*/ 162 w 192"/>
                <a:gd name="T71" fmla="*/ 417 h 461"/>
                <a:gd name="T72" fmla="*/ 183 w 192"/>
                <a:gd name="T73" fmla="*/ 409 h 461"/>
                <a:gd name="T74" fmla="*/ 190 w 192"/>
                <a:gd name="T75" fmla="*/ 380 h 461"/>
                <a:gd name="T76" fmla="*/ 187 w 192"/>
                <a:gd name="T77" fmla="*/ 373 h 461"/>
                <a:gd name="T78" fmla="*/ 192 w 192"/>
                <a:gd name="T79" fmla="*/ 336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2" h="461">
                  <a:moveTo>
                    <a:pt x="192" y="336"/>
                  </a:moveTo>
                  <a:cubicBezTo>
                    <a:pt x="192" y="331"/>
                    <a:pt x="192" y="327"/>
                    <a:pt x="190" y="324"/>
                  </a:cubicBezTo>
                  <a:cubicBezTo>
                    <a:pt x="189" y="321"/>
                    <a:pt x="185" y="316"/>
                    <a:pt x="180" y="310"/>
                  </a:cubicBezTo>
                  <a:cubicBezTo>
                    <a:pt x="175" y="305"/>
                    <a:pt x="170" y="300"/>
                    <a:pt x="166" y="295"/>
                  </a:cubicBezTo>
                  <a:cubicBezTo>
                    <a:pt x="166" y="296"/>
                    <a:pt x="166" y="296"/>
                    <a:pt x="165" y="296"/>
                  </a:cubicBezTo>
                  <a:cubicBezTo>
                    <a:pt x="162" y="301"/>
                    <a:pt x="151" y="292"/>
                    <a:pt x="137" y="289"/>
                  </a:cubicBezTo>
                  <a:cubicBezTo>
                    <a:pt x="123" y="287"/>
                    <a:pt x="126" y="294"/>
                    <a:pt x="116" y="290"/>
                  </a:cubicBezTo>
                  <a:cubicBezTo>
                    <a:pt x="105" y="286"/>
                    <a:pt x="113" y="282"/>
                    <a:pt x="113" y="274"/>
                  </a:cubicBezTo>
                  <a:cubicBezTo>
                    <a:pt x="114" y="267"/>
                    <a:pt x="113" y="262"/>
                    <a:pt x="108" y="251"/>
                  </a:cubicBezTo>
                  <a:cubicBezTo>
                    <a:pt x="102" y="241"/>
                    <a:pt x="101" y="247"/>
                    <a:pt x="96" y="242"/>
                  </a:cubicBezTo>
                  <a:cubicBezTo>
                    <a:pt x="92" y="236"/>
                    <a:pt x="97" y="227"/>
                    <a:pt x="93" y="214"/>
                  </a:cubicBezTo>
                  <a:cubicBezTo>
                    <a:pt x="90" y="201"/>
                    <a:pt x="86" y="199"/>
                    <a:pt x="82" y="180"/>
                  </a:cubicBezTo>
                  <a:cubicBezTo>
                    <a:pt x="77" y="162"/>
                    <a:pt x="84" y="167"/>
                    <a:pt x="88" y="159"/>
                  </a:cubicBezTo>
                  <a:cubicBezTo>
                    <a:pt x="93" y="150"/>
                    <a:pt x="98" y="139"/>
                    <a:pt x="98" y="126"/>
                  </a:cubicBezTo>
                  <a:cubicBezTo>
                    <a:pt x="98" y="113"/>
                    <a:pt x="93" y="107"/>
                    <a:pt x="89" y="84"/>
                  </a:cubicBezTo>
                  <a:cubicBezTo>
                    <a:pt x="84" y="62"/>
                    <a:pt x="92" y="67"/>
                    <a:pt x="92" y="51"/>
                  </a:cubicBezTo>
                  <a:cubicBezTo>
                    <a:pt x="92" y="36"/>
                    <a:pt x="88" y="39"/>
                    <a:pt x="77" y="22"/>
                  </a:cubicBezTo>
                  <a:cubicBezTo>
                    <a:pt x="74" y="16"/>
                    <a:pt x="72" y="12"/>
                    <a:pt x="72" y="9"/>
                  </a:cubicBezTo>
                  <a:cubicBezTo>
                    <a:pt x="67" y="8"/>
                    <a:pt x="62" y="7"/>
                    <a:pt x="55" y="5"/>
                  </a:cubicBezTo>
                  <a:cubicBezTo>
                    <a:pt x="49" y="4"/>
                    <a:pt x="43" y="2"/>
                    <a:pt x="38" y="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6"/>
                    <a:pt x="35" y="13"/>
                    <a:pt x="36" y="22"/>
                  </a:cubicBezTo>
                  <a:cubicBezTo>
                    <a:pt x="38" y="27"/>
                    <a:pt x="44" y="35"/>
                    <a:pt x="50" y="41"/>
                  </a:cubicBezTo>
                  <a:cubicBezTo>
                    <a:pt x="56" y="47"/>
                    <a:pt x="61" y="53"/>
                    <a:pt x="62" y="57"/>
                  </a:cubicBezTo>
                  <a:cubicBezTo>
                    <a:pt x="64" y="64"/>
                    <a:pt x="57" y="69"/>
                    <a:pt x="50" y="74"/>
                  </a:cubicBezTo>
                  <a:cubicBezTo>
                    <a:pt x="46" y="77"/>
                    <a:pt x="41" y="81"/>
                    <a:pt x="39" y="84"/>
                  </a:cubicBezTo>
                  <a:cubicBezTo>
                    <a:pt x="37" y="89"/>
                    <a:pt x="36" y="94"/>
                    <a:pt x="36" y="100"/>
                  </a:cubicBezTo>
                  <a:cubicBezTo>
                    <a:pt x="35" y="105"/>
                    <a:pt x="36" y="112"/>
                    <a:pt x="36" y="118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37" y="133"/>
                    <a:pt x="37" y="144"/>
                    <a:pt x="37" y="151"/>
                  </a:cubicBezTo>
                  <a:cubicBezTo>
                    <a:pt x="37" y="155"/>
                    <a:pt x="41" y="160"/>
                    <a:pt x="44" y="164"/>
                  </a:cubicBezTo>
                  <a:cubicBezTo>
                    <a:pt x="46" y="167"/>
                    <a:pt x="48" y="170"/>
                    <a:pt x="49" y="173"/>
                  </a:cubicBezTo>
                  <a:cubicBezTo>
                    <a:pt x="53" y="180"/>
                    <a:pt x="48" y="184"/>
                    <a:pt x="41" y="187"/>
                  </a:cubicBezTo>
                  <a:cubicBezTo>
                    <a:pt x="40" y="187"/>
                    <a:pt x="39" y="188"/>
                    <a:pt x="38" y="188"/>
                  </a:cubicBezTo>
                  <a:cubicBezTo>
                    <a:pt x="35" y="190"/>
                    <a:pt x="33" y="191"/>
                    <a:pt x="30" y="192"/>
                  </a:cubicBezTo>
                  <a:cubicBezTo>
                    <a:pt x="29" y="193"/>
                    <a:pt x="28" y="193"/>
                    <a:pt x="27" y="194"/>
                  </a:cubicBezTo>
                  <a:cubicBezTo>
                    <a:pt x="23" y="196"/>
                    <a:pt x="21" y="197"/>
                    <a:pt x="20" y="207"/>
                  </a:cubicBezTo>
                  <a:cubicBezTo>
                    <a:pt x="20" y="211"/>
                    <a:pt x="20" y="214"/>
                    <a:pt x="20" y="217"/>
                  </a:cubicBezTo>
                  <a:cubicBezTo>
                    <a:pt x="21" y="224"/>
                    <a:pt x="21" y="229"/>
                    <a:pt x="17" y="234"/>
                  </a:cubicBezTo>
                  <a:cubicBezTo>
                    <a:pt x="15" y="238"/>
                    <a:pt x="11" y="242"/>
                    <a:pt x="7" y="245"/>
                  </a:cubicBezTo>
                  <a:cubicBezTo>
                    <a:pt x="4" y="249"/>
                    <a:pt x="1" y="252"/>
                    <a:pt x="1" y="253"/>
                  </a:cubicBezTo>
                  <a:cubicBezTo>
                    <a:pt x="0" y="253"/>
                    <a:pt x="4" y="259"/>
                    <a:pt x="8" y="266"/>
                  </a:cubicBezTo>
                  <a:cubicBezTo>
                    <a:pt x="11" y="271"/>
                    <a:pt x="14" y="276"/>
                    <a:pt x="16" y="277"/>
                  </a:cubicBezTo>
                  <a:cubicBezTo>
                    <a:pt x="19" y="278"/>
                    <a:pt x="21" y="278"/>
                    <a:pt x="24" y="278"/>
                  </a:cubicBezTo>
                  <a:cubicBezTo>
                    <a:pt x="27" y="279"/>
                    <a:pt x="31" y="279"/>
                    <a:pt x="34" y="281"/>
                  </a:cubicBezTo>
                  <a:cubicBezTo>
                    <a:pt x="36" y="283"/>
                    <a:pt x="39" y="286"/>
                    <a:pt x="42" y="290"/>
                  </a:cubicBezTo>
                  <a:cubicBezTo>
                    <a:pt x="42" y="290"/>
                    <a:pt x="42" y="290"/>
                    <a:pt x="42" y="290"/>
                  </a:cubicBezTo>
                  <a:cubicBezTo>
                    <a:pt x="46" y="295"/>
                    <a:pt x="51" y="302"/>
                    <a:pt x="54" y="306"/>
                  </a:cubicBezTo>
                  <a:cubicBezTo>
                    <a:pt x="56" y="310"/>
                    <a:pt x="60" y="309"/>
                    <a:pt x="67" y="308"/>
                  </a:cubicBezTo>
                  <a:cubicBezTo>
                    <a:pt x="68" y="308"/>
                    <a:pt x="70" y="308"/>
                    <a:pt x="72" y="307"/>
                  </a:cubicBezTo>
                  <a:cubicBezTo>
                    <a:pt x="76" y="307"/>
                    <a:pt x="76" y="307"/>
                    <a:pt x="76" y="307"/>
                  </a:cubicBezTo>
                  <a:cubicBezTo>
                    <a:pt x="85" y="306"/>
                    <a:pt x="92" y="305"/>
                    <a:pt x="97" y="304"/>
                  </a:cubicBezTo>
                  <a:cubicBezTo>
                    <a:pt x="101" y="304"/>
                    <a:pt x="104" y="307"/>
                    <a:pt x="107" y="311"/>
                  </a:cubicBezTo>
                  <a:cubicBezTo>
                    <a:pt x="109" y="314"/>
                    <a:pt x="111" y="319"/>
                    <a:pt x="112" y="324"/>
                  </a:cubicBezTo>
                  <a:cubicBezTo>
                    <a:pt x="114" y="330"/>
                    <a:pt x="115" y="335"/>
                    <a:pt x="116" y="339"/>
                  </a:cubicBezTo>
                  <a:cubicBezTo>
                    <a:pt x="117" y="344"/>
                    <a:pt x="118" y="349"/>
                    <a:pt x="118" y="353"/>
                  </a:cubicBezTo>
                  <a:cubicBezTo>
                    <a:pt x="118" y="357"/>
                    <a:pt x="113" y="368"/>
                    <a:pt x="109" y="378"/>
                  </a:cubicBezTo>
                  <a:cubicBezTo>
                    <a:pt x="105" y="387"/>
                    <a:pt x="101" y="395"/>
                    <a:pt x="100" y="398"/>
                  </a:cubicBezTo>
                  <a:cubicBezTo>
                    <a:pt x="100" y="404"/>
                    <a:pt x="102" y="408"/>
                    <a:pt x="106" y="413"/>
                  </a:cubicBezTo>
                  <a:cubicBezTo>
                    <a:pt x="107" y="413"/>
                    <a:pt x="107" y="413"/>
                    <a:pt x="107" y="413"/>
                  </a:cubicBezTo>
                  <a:cubicBezTo>
                    <a:pt x="109" y="417"/>
                    <a:pt x="115" y="422"/>
                    <a:pt x="120" y="428"/>
                  </a:cubicBezTo>
                  <a:cubicBezTo>
                    <a:pt x="125" y="432"/>
                    <a:pt x="129" y="436"/>
                    <a:pt x="132" y="440"/>
                  </a:cubicBezTo>
                  <a:cubicBezTo>
                    <a:pt x="136" y="444"/>
                    <a:pt x="137" y="448"/>
                    <a:pt x="139" y="451"/>
                  </a:cubicBezTo>
                  <a:cubicBezTo>
                    <a:pt x="140" y="454"/>
                    <a:pt x="141" y="457"/>
                    <a:pt x="144" y="459"/>
                  </a:cubicBezTo>
                  <a:cubicBezTo>
                    <a:pt x="146" y="460"/>
                    <a:pt x="147" y="461"/>
                    <a:pt x="149" y="461"/>
                  </a:cubicBezTo>
                  <a:cubicBezTo>
                    <a:pt x="149" y="461"/>
                    <a:pt x="149" y="461"/>
                    <a:pt x="149" y="461"/>
                  </a:cubicBezTo>
                  <a:cubicBezTo>
                    <a:pt x="149" y="461"/>
                    <a:pt x="149" y="461"/>
                    <a:pt x="149" y="461"/>
                  </a:cubicBezTo>
                  <a:cubicBezTo>
                    <a:pt x="149" y="461"/>
                    <a:pt x="150" y="460"/>
                    <a:pt x="150" y="459"/>
                  </a:cubicBezTo>
                  <a:cubicBezTo>
                    <a:pt x="150" y="457"/>
                    <a:pt x="150" y="454"/>
                    <a:pt x="149" y="451"/>
                  </a:cubicBezTo>
                  <a:cubicBezTo>
                    <a:pt x="149" y="446"/>
                    <a:pt x="149" y="441"/>
                    <a:pt x="149" y="437"/>
                  </a:cubicBezTo>
                  <a:cubicBezTo>
                    <a:pt x="150" y="433"/>
                    <a:pt x="151" y="429"/>
                    <a:pt x="153" y="426"/>
                  </a:cubicBezTo>
                  <a:cubicBezTo>
                    <a:pt x="155" y="422"/>
                    <a:pt x="158" y="419"/>
                    <a:pt x="162" y="417"/>
                  </a:cubicBezTo>
                  <a:cubicBezTo>
                    <a:pt x="166" y="415"/>
                    <a:pt x="169" y="415"/>
                    <a:pt x="171" y="414"/>
                  </a:cubicBezTo>
                  <a:cubicBezTo>
                    <a:pt x="175" y="413"/>
                    <a:pt x="178" y="412"/>
                    <a:pt x="183" y="409"/>
                  </a:cubicBezTo>
                  <a:cubicBezTo>
                    <a:pt x="187" y="407"/>
                    <a:pt x="189" y="403"/>
                    <a:pt x="190" y="398"/>
                  </a:cubicBezTo>
                  <a:cubicBezTo>
                    <a:pt x="192" y="392"/>
                    <a:pt x="192" y="385"/>
                    <a:pt x="190" y="380"/>
                  </a:cubicBezTo>
                  <a:cubicBezTo>
                    <a:pt x="190" y="380"/>
                    <a:pt x="190" y="380"/>
                    <a:pt x="190" y="380"/>
                  </a:cubicBezTo>
                  <a:cubicBezTo>
                    <a:pt x="189" y="377"/>
                    <a:pt x="188" y="375"/>
                    <a:pt x="187" y="373"/>
                  </a:cubicBezTo>
                  <a:cubicBezTo>
                    <a:pt x="184" y="367"/>
                    <a:pt x="182" y="363"/>
                    <a:pt x="186" y="353"/>
                  </a:cubicBezTo>
                  <a:cubicBezTo>
                    <a:pt x="189" y="348"/>
                    <a:pt x="191" y="342"/>
                    <a:pt x="192" y="33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0" name="Freeform 250"/>
            <p:cNvSpPr>
              <a:spLocks/>
            </p:cNvSpPr>
            <p:nvPr/>
          </p:nvSpPr>
          <p:spPr bwMode="auto">
            <a:xfrm>
              <a:off x="5293631" y="3841644"/>
              <a:ext cx="250031" cy="154781"/>
            </a:xfrm>
            <a:custGeom>
              <a:avLst/>
              <a:gdLst>
                <a:gd name="T0" fmla="*/ 181 w 872"/>
                <a:gd name="T1" fmla="*/ 336 h 538"/>
                <a:gd name="T2" fmla="*/ 229 w 872"/>
                <a:gd name="T3" fmla="*/ 334 h 538"/>
                <a:gd name="T4" fmla="*/ 265 w 872"/>
                <a:gd name="T5" fmla="*/ 320 h 538"/>
                <a:gd name="T6" fmla="*/ 304 w 872"/>
                <a:gd name="T7" fmla="*/ 336 h 538"/>
                <a:gd name="T8" fmla="*/ 330 w 872"/>
                <a:gd name="T9" fmla="*/ 345 h 538"/>
                <a:gd name="T10" fmla="*/ 382 w 872"/>
                <a:gd name="T11" fmla="*/ 364 h 538"/>
                <a:gd name="T12" fmla="*/ 440 w 872"/>
                <a:gd name="T13" fmla="*/ 392 h 538"/>
                <a:gd name="T14" fmla="*/ 474 w 872"/>
                <a:gd name="T15" fmla="*/ 415 h 538"/>
                <a:gd name="T16" fmla="*/ 533 w 872"/>
                <a:gd name="T17" fmla="*/ 433 h 538"/>
                <a:gd name="T18" fmla="*/ 544 w 872"/>
                <a:gd name="T19" fmla="*/ 496 h 538"/>
                <a:gd name="T20" fmla="*/ 554 w 872"/>
                <a:gd name="T21" fmla="*/ 510 h 538"/>
                <a:gd name="T22" fmla="*/ 597 w 872"/>
                <a:gd name="T23" fmla="*/ 526 h 538"/>
                <a:gd name="T24" fmla="*/ 614 w 872"/>
                <a:gd name="T25" fmla="*/ 535 h 538"/>
                <a:gd name="T26" fmla="*/ 644 w 872"/>
                <a:gd name="T27" fmla="*/ 527 h 538"/>
                <a:gd name="T28" fmla="*/ 659 w 872"/>
                <a:gd name="T29" fmla="*/ 506 h 538"/>
                <a:gd name="T30" fmla="*/ 686 w 872"/>
                <a:gd name="T31" fmla="*/ 485 h 538"/>
                <a:gd name="T32" fmla="*/ 712 w 872"/>
                <a:gd name="T33" fmla="*/ 475 h 538"/>
                <a:gd name="T34" fmla="*/ 746 w 872"/>
                <a:gd name="T35" fmla="*/ 451 h 538"/>
                <a:gd name="T36" fmla="*/ 757 w 872"/>
                <a:gd name="T37" fmla="*/ 416 h 538"/>
                <a:gd name="T38" fmla="*/ 787 w 872"/>
                <a:gd name="T39" fmla="*/ 393 h 538"/>
                <a:gd name="T40" fmla="*/ 812 w 872"/>
                <a:gd name="T41" fmla="*/ 384 h 538"/>
                <a:gd name="T42" fmla="*/ 855 w 872"/>
                <a:gd name="T43" fmla="*/ 383 h 538"/>
                <a:gd name="T44" fmla="*/ 868 w 872"/>
                <a:gd name="T45" fmla="*/ 343 h 538"/>
                <a:gd name="T46" fmla="*/ 866 w 872"/>
                <a:gd name="T47" fmla="*/ 342 h 538"/>
                <a:gd name="T48" fmla="*/ 825 w 872"/>
                <a:gd name="T49" fmla="*/ 328 h 538"/>
                <a:gd name="T50" fmla="*/ 763 w 872"/>
                <a:gd name="T51" fmla="*/ 295 h 538"/>
                <a:gd name="T52" fmla="*/ 662 w 872"/>
                <a:gd name="T53" fmla="*/ 233 h 538"/>
                <a:gd name="T54" fmla="*/ 614 w 872"/>
                <a:gd name="T55" fmla="*/ 185 h 538"/>
                <a:gd name="T56" fmla="*/ 587 w 872"/>
                <a:gd name="T57" fmla="*/ 145 h 538"/>
                <a:gd name="T58" fmla="*/ 560 w 872"/>
                <a:gd name="T59" fmla="*/ 109 h 538"/>
                <a:gd name="T60" fmla="*/ 524 w 872"/>
                <a:gd name="T61" fmla="*/ 115 h 538"/>
                <a:gd name="T62" fmla="*/ 474 w 872"/>
                <a:gd name="T63" fmla="*/ 95 h 538"/>
                <a:gd name="T64" fmla="*/ 473 w 872"/>
                <a:gd name="T65" fmla="*/ 65 h 538"/>
                <a:gd name="T66" fmla="*/ 464 w 872"/>
                <a:gd name="T67" fmla="*/ 37 h 538"/>
                <a:gd name="T68" fmla="*/ 438 w 872"/>
                <a:gd name="T69" fmla="*/ 31 h 538"/>
                <a:gd name="T70" fmla="*/ 405 w 872"/>
                <a:gd name="T71" fmla="*/ 17 h 538"/>
                <a:gd name="T72" fmla="*/ 381 w 872"/>
                <a:gd name="T73" fmla="*/ 1 h 538"/>
                <a:gd name="T74" fmla="*/ 370 w 872"/>
                <a:gd name="T75" fmla="*/ 29 h 538"/>
                <a:gd name="T76" fmla="*/ 347 w 872"/>
                <a:gd name="T77" fmla="*/ 19 h 538"/>
                <a:gd name="T78" fmla="*/ 339 w 872"/>
                <a:gd name="T79" fmla="*/ 33 h 538"/>
                <a:gd name="T80" fmla="*/ 323 w 872"/>
                <a:gd name="T81" fmla="*/ 47 h 538"/>
                <a:gd name="T82" fmla="*/ 305 w 872"/>
                <a:gd name="T83" fmla="*/ 51 h 538"/>
                <a:gd name="T84" fmla="*/ 285 w 872"/>
                <a:gd name="T85" fmla="*/ 80 h 538"/>
                <a:gd name="T86" fmla="*/ 288 w 872"/>
                <a:gd name="T87" fmla="*/ 105 h 538"/>
                <a:gd name="T88" fmla="*/ 145 w 872"/>
                <a:gd name="T89" fmla="*/ 68 h 538"/>
                <a:gd name="T90" fmla="*/ 101 w 872"/>
                <a:gd name="T91" fmla="*/ 30 h 538"/>
                <a:gd name="T92" fmla="*/ 36 w 872"/>
                <a:gd name="T93" fmla="*/ 43 h 538"/>
                <a:gd name="T94" fmla="*/ 0 w 872"/>
                <a:gd name="T95" fmla="*/ 70 h 538"/>
                <a:gd name="T96" fmla="*/ 25 w 872"/>
                <a:gd name="T97" fmla="*/ 100 h 538"/>
                <a:gd name="T98" fmla="*/ 33 w 872"/>
                <a:gd name="T99" fmla="*/ 52 h 538"/>
                <a:gd name="T100" fmla="*/ 121 w 872"/>
                <a:gd name="T101" fmla="*/ 104 h 538"/>
                <a:gd name="T102" fmla="*/ 99 w 872"/>
                <a:gd name="T103" fmla="*/ 150 h 538"/>
                <a:gd name="T104" fmla="*/ 43 w 872"/>
                <a:gd name="T105" fmla="*/ 132 h 538"/>
                <a:gd name="T106" fmla="*/ 14 w 872"/>
                <a:gd name="T107" fmla="*/ 176 h 538"/>
                <a:gd name="T108" fmla="*/ 64 w 872"/>
                <a:gd name="T109" fmla="*/ 214 h 538"/>
                <a:gd name="T110" fmla="*/ 38 w 872"/>
                <a:gd name="T111" fmla="*/ 234 h 538"/>
                <a:gd name="T112" fmla="*/ 88 w 872"/>
                <a:gd name="T113" fmla="*/ 267 h 538"/>
                <a:gd name="T114" fmla="*/ 90 w 872"/>
                <a:gd name="T115" fmla="*/ 381 h 538"/>
                <a:gd name="T116" fmla="*/ 135 w 872"/>
                <a:gd name="T117" fmla="*/ 37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72" h="538">
                  <a:moveTo>
                    <a:pt x="135" y="370"/>
                  </a:moveTo>
                  <a:cubicBezTo>
                    <a:pt x="145" y="360"/>
                    <a:pt x="156" y="348"/>
                    <a:pt x="163" y="344"/>
                  </a:cubicBezTo>
                  <a:cubicBezTo>
                    <a:pt x="169" y="341"/>
                    <a:pt x="175" y="338"/>
                    <a:pt x="181" y="336"/>
                  </a:cubicBezTo>
                  <a:cubicBezTo>
                    <a:pt x="187" y="334"/>
                    <a:pt x="193" y="332"/>
                    <a:pt x="200" y="332"/>
                  </a:cubicBezTo>
                  <a:cubicBezTo>
                    <a:pt x="205" y="332"/>
                    <a:pt x="210" y="333"/>
                    <a:pt x="215" y="333"/>
                  </a:cubicBezTo>
                  <a:cubicBezTo>
                    <a:pt x="222" y="334"/>
                    <a:pt x="227" y="334"/>
                    <a:pt x="229" y="334"/>
                  </a:cubicBezTo>
                  <a:cubicBezTo>
                    <a:pt x="230" y="333"/>
                    <a:pt x="232" y="331"/>
                    <a:pt x="235" y="329"/>
                  </a:cubicBezTo>
                  <a:cubicBezTo>
                    <a:pt x="238" y="326"/>
                    <a:pt x="241" y="322"/>
                    <a:pt x="245" y="321"/>
                  </a:cubicBezTo>
                  <a:cubicBezTo>
                    <a:pt x="248" y="320"/>
                    <a:pt x="256" y="320"/>
                    <a:pt x="265" y="320"/>
                  </a:cubicBezTo>
                  <a:cubicBezTo>
                    <a:pt x="274" y="320"/>
                    <a:pt x="284" y="320"/>
                    <a:pt x="288" y="321"/>
                  </a:cubicBezTo>
                  <a:cubicBezTo>
                    <a:pt x="295" y="323"/>
                    <a:pt x="300" y="330"/>
                    <a:pt x="304" y="336"/>
                  </a:cubicBezTo>
                  <a:cubicBezTo>
                    <a:pt x="304" y="336"/>
                    <a:pt x="304" y="336"/>
                    <a:pt x="304" y="336"/>
                  </a:cubicBezTo>
                  <a:cubicBezTo>
                    <a:pt x="305" y="338"/>
                    <a:pt x="306" y="339"/>
                    <a:pt x="307" y="340"/>
                  </a:cubicBezTo>
                  <a:cubicBezTo>
                    <a:pt x="308" y="342"/>
                    <a:pt x="311" y="342"/>
                    <a:pt x="314" y="342"/>
                  </a:cubicBezTo>
                  <a:cubicBezTo>
                    <a:pt x="318" y="342"/>
                    <a:pt x="324" y="343"/>
                    <a:pt x="330" y="345"/>
                  </a:cubicBezTo>
                  <a:cubicBezTo>
                    <a:pt x="337" y="348"/>
                    <a:pt x="340" y="352"/>
                    <a:pt x="342" y="355"/>
                  </a:cubicBezTo>
                  <a:cubicBezTo>
                    <a:pt x="345" y="358"/>
                    <a:pt x="347" y="361"/>
                    <a:pt x="355" y="363"/>
                  </a:cubicBezTo>
                  <a:cubicBezTo>
                    <a:pt x="364" y="365"/>
                    <a:pt x="373" y="365"/>
                    <a:pt x="382" y="364"/>
                  </a:cubicBezTo>
                  <a:cubicBezTo>
                    <a:pt x="390" y="364"/>
                    <a:pt x="397" y="364"/>
                    <a:pt x="403" y="365"/>
                  </a:cubicBezTo>
                  <a:cubicBezTo>
                    <a:pt x="411" y="366"/>
                    <a:pt x="418" y="370"/>
                    <a:pt x="424" y="375"/>
                  </a:cubicBezTo>
                  <a:cubicBezTo>
                    <a:pt x="430" y="380"/>
                    <a:pt x="435" y="386"/>
                    <a:pt x="440" y="392"/>
                  </a:cubicBezTo>
                  <a:cubicBezTo>
                    <a:pt x="446" y="401"/>
                    <a:pt x="450" y="402"/>
                    <a:pt x="457" y="404"/>
                  </a:cubicBezTo>
                  <a:cubicBezTo>
                    <a:pt x="459" y="404"/>
                    <a:pt x="461" y="405"/>
                    <a:pt x="463" y="406"/>
                  </a:cubicBezTo>
                  <a:cubicBezTo>
                    <a:pt x="470" y="408"/>
                    <a:pt x="472" y="411"/>
                    <a:pt x="474" y="415"/>
                  </a:cubicBezTo>
                  <a:cubicBezTo>
                    <a:pt x="475" y="418"/>
                    <a:pt x="477" y="422"/>
                    <a:pt x="484" y="427"/>
                  </a:cubicBezTo>
                  <a:cubicBezTo>
                    <a:pt x="493" y="433"/>
                    <a:pt x="508" y="432"/>
                    <a:pt x="519" y="432"/>
                  </a:cubicBezTo>
                  <a:cubicBezTo>
                    <a:pt x="525" y="432"/>
                    <a:pt x="530" y="432"/>
                    <a:pt x="533" y="433"/>
                  </a:cubicBezTo>
                  <a:cubicBezTo>
                    <a:pt x="540" y="436"/>
                    <a:pt x="540" y="440"/>
                    <a:pt x="540" y="448"/>
                  </a:cubicBezTo>
                  <a:cubicBezTo>
                    <a:pt x="540" y="451"/>
                    <a:pt x="541" y="455"/>
                    <a:pt x="541" y="461"/>
                  </a:cubicBezTo>
                  <a:cubicBezTo>
                    <a:pt x="543" y="472"/>
                    <a:pt x="544" y="485"/>
                    <a:pt x="544" y="496"/>
                  </a:cubicBezTo>
                  <a:cubicBezTo>
                    <a:pt x="545" y="501"/>
                    <a:pt x="545" y="506"/>
                    <a:pt x="545" y="509"/>
                  </a:cubicBezTo>
                  <a:cubicBezTo>
                    <a:pt x="545" y="510"/>
                    <a:pt x="545" y="510"/>
                    <a:pt x="545" y="510"/>
                  </a:cubicBezTo>
                  <a:cubicBezTo>
                    <a:pt x="548" y="510"/>
                    <a:pt x="551" y="510"/>
                    <a:pt x="554" y="510"/>
                  </a:cubicBezTo>
                  <a:cubicBezTo>
                    <a:pt x="559" y="511"/>
                    <a:pt x="564" y="512"/>
                    <a:pt x="570" y="514"/>
                  </a:cubicBezTo>
                  <a:cubicBezTo>
                    <a:pt x="572" y="514"/>
                    <a:pt x="574" y="515"/>
                    <a:pt x="575" y="515"/>
                  </a:cubicBezTo>
                  <a:cubicBezTo>
                    <a:pt x="585" y="518"/>
                    <a:pt x="591" y="519"/>
                    <a:pt x="597" y="526"/>
                  </a:cubicBezTo>
                  <a:cubicBezTo>
                    <a:pt x="598" y="527"/>
                    <a:pt x="599" y="529"/>
                    <a:pt x="601" y="530"/>
                  </a:cubicBezTo>
                  <a:cubicBezTo>
                    <a:pt x="604" y="534"/>
                    <a:pt x="606" y="538"/>
                    <a:pt x="609" y="538"/>
                  </a:cubicBezTo>
                  <a:cubicBezTo>
                    <a:pt x="610" y="538"/>
                    <a:pt x="612" y="537"/>
                    <a:pt x="614" y="535"/>
                  </a:cubicBezTo>
                  <a:cubicBezTo>
                    <a:pt x="616" y="533"/>
                    <a:pt x="618" y="531"/>
                    <a:pt x="622" y="530"/>
                  </a:cubicBezTo>
                  <a:cubicBezTo>
                    <a:pt x="627" y="527"/>
                    <a:pt x="633" y="527"/>
                    <a:pt x="638" y="527"/>
                  </a:cubicBezTo>
                  <a:cubicBezTo>
                    <a:pt x="640" y="527"/>
                    <a:pt x="642" y="527"/>
                    <a:pt x="644" y="527"/>
                  </a:cubicBezTo>
                  <a:cubicBezTo>
                    <a:pt x="645" y="527"/>
                    <a:pt x="649" y="524"/>
                    <a:pt x="652" y="520"/>
                  </a:cubicBezTo>
                  <a:cubicBezTo>
                    <a:pt x="656" y="515"/>
                    <a:pt x="660" y="511"/>
                    <a:pt x="660" y="509"/>
                  </a:cubicBezTo>
                  <a:cubicBezTo>
                    <a:pt x="660" y="509"/>
                    <a:pt x="660" y="507"/>
                    <a:pt x="659" y="506"/>
                  </a:cubicBezTo>
                  <a:cubicBezTo>
                    <a:pt x="657" y="500"/>
                    <a:pt x="655" y="495"/>
                    <a:pt x="663" y="490"/>
                  </a:cubicBezTo>
                  <a:cubicBezTo>
                    <a:pt x="666" y="488"/>
                    <a:pt x="670" y="487"/>
                    <a:pt x="674" y="486"/>
                  </a:cubicBezTo>
                  <a:cubicBezTo>
                    <a:pt x="678" y="486"/>
                    <a:pt x="682" y="485"/>
                    <a:pt x="686" y="485"/>
                  </a:cubicBezTo>
                  <a:cubicBezTo>
                    <a:pt x="690" y="485"/>
                    <a:pt x="693" y="483"/>
                    <a:pt x="697" y="481"/>
                  </a:cubicBezTo>
                  <a:cubicBezTo>
                    <a:pt x="700" y="480"/>
                    <a:pt x="704" y="478"/>
                    <a:pt x="708" y="477"/>
                  </a:cubicBezTo>
                  <a:cubicBezTo>
                    <a:pt x="710" y="476"/>
                    <a:pt x="711" y="475"/>
                    <a:pt x="712" y="475"/>
                  </a:cubicBezTo>
                  <a:cubicBezTo>
                    <a:pt x="722" y="472"/>
                    <a:pt x="734" y="468"/>
                    <a:pt x="739" y="463"/>
                  </a:cubicBezTo>
                  <a:cubicBezTo>
                    <a:pt x="741" y="462"/>
                    <a:pt x="742" y="461"/>
                    <a:pt x="743" y="460"/>
                  </a:cubicBezTo>
                  <a:cubicBezTo>
                    <a:pt x="746" y="458"/>
                    <a:pt x="746" y="457"/>
                    <a:pt x="746" y="451"/>
                  </a:cubicBezTo>
                  <a:cubicBezTo>
                    <a:pt x="746" y="446"/>
                    <a:pt x="747" y="441"/>
                    <a:pt x="748" y="438"/>
                  </a:cubicBezTo>
                  <a:cubicBezTo>
                    <a:pt x="749" y="433"/>
                    <a:pt x="751" y="429"/>
                    <a:pt x="753" y="426"/>
                  </a:cubicBezTo>
                  <a:cubicBezTo>
                    <a:pt x="755" y="424"/>
                    <a:pt x="756" y="420"/>
                    <a:pt x="757" y="416"/>
                  </a:cubicBezTo>
                  <a:cubicBezTo>
                    <a:pt x="757" y="412"/>
                    <a:pt x="758" y="408"/>
                    <a:pt x="760" y="404"/>
                  </a:cubicBezTo>
                  <a:cubicBezTo>
                    <a:pt x="762" y="400"/>
                    <a:pt x="765" y="397"/>
                    <a:pt x="770" y="396"/>
                  </a:cubicBezTo>
                  <a:cubicBezTo>
                    <a:pt x="774" y="394"/>
                    <a:pt x="780" y="393"/>
                    <a:pt x="787" y="393"/>
                  </a:cubicBezTo>
                  <a:cubicBezTo>
                    <a:pt x="789" y="393"/>
                    <a:pt x="791" y="393"/>
                    <a:pt x="793" y="393"/>
                  </a:cubicBezTo>
                  <a:cubicBezTo>
                    <a:pt x="800" y="393"/>
                    <a:pt x="804" y="393"/>
                    <a:pt x="808" y="389"/>
                  </a:cubicBezTo>
                  <a:cubicBezTo>
                    <a:pt x="810" y="387"/>
                    <a:pt x="811" y="385"/>
                    <a:pt x="812" y="384"/>
                  </a:cubicBezTo>
                  <a:cubicBezTo>
                    <a:pt x="815" y="380"/>
                    <a:pt x="817" y="379"/>
                    <a:pt x="822" y="377"/>
                  </a:cubicBezTo>
                  <a:cubicBezTo>
                    <a:pt x="827" y="375"/>
                    <a:pt x="831" y="376"/>
                    <a:pt x="837" y="379"/>
                  </a:cubicBezTo>
                  <a:cubicBezTo>
                    <a:pt x="842" y="381"/>
                    <a:pt x="848" y="383"/>
                    <a:pt x="855" y="383"/>
                  </a:cubicBezTo>
                  <a:cubicBezTo>
                    <a:pt x="860" y="384"/>
                    <a:pt x="864" y="384"/>
                    <a:pt x="868" y="384"/>
                  </a:cubicBezTo>
                  <a:cubicBezTo>
                    <a:pt x="869" y="377"/>
                    <a:pt x="870" y="363"/>
                    <a:pt x="871" y="355"/>
                  </a:cubicBezTo>
                  <a:cubicBezTo>
                    <a:pt x="872" y="347"/>
                    <a:pt x="872" y="346"/>
                    <a:pt x="868" y="343"/>
                  </a:cubicBezTo>
                  <a:cubicBezTo>
                    <a:pt x="868" y="343"/>
                    <a:pt x="868" y="343"/>
                    <a:pt x="868" y="343"/>
                  </a:cubicBezTo>
                  <a:cubicBezTo>
                    <a:pt x="866" y="342"/>
                    <a:pt x="866" y="342"/>
                    <a:pt x="866" y="342"/>
                  </a:cubicBezTo>
                  <a:cubicBezTo>
                    <a:pt x="866" y="342"/>
                    <a:pt x="866" y="342"/>
                    <a:pt x="866" y="342"/>
                  </a:cubicBezTo>
                  <a:cubicBezTo>
                    <a:pt x="863" y="339"/>
                    <a:pt x="858" y="336"/>
                    <a:pt x="853" y="334"/>
                  </a:cubicBezTo>
                  <a:cubicBezTo>
                    <a:pt x="848" y="331"/>
                    <a:pt x="842" y="329"/>
                    <a:pt x="837" y="328"/>
                  </a:cubicBezTo>
                  <a:cubicBezTo>
                    <a:pt x="832" y="326"/>
                    <a:pt x="829" y="327"/>
                    <a:pt x="825" y="328"/>
                  </a:cubicBezTo>
                  <a:cubicBezTo>
                    <a:pt x="821" y="328"/>
                    <a:pt x="816" y="329"/>
                    <a:pt x="809" y="328"/>
                  </a:cubicBezTo>
                  <a:cubicBezTo>
                    <a:pt x="799" y="326"/>
                    <a:pt x="788" y="317"/>
                    <a:pt x="777" y="307"/>
                  </a:cubicBezTo>
                  <a:cubicBezTo>
                    <a:pt x="772" y="303"/>
                    <a:pt x="767" y="299"/>
                    <a:pt x="763" y="295"/>
                  </a:cubicBezTo>
                  <a:cubicBezTo>
                    <a:pt x="751" y="287"/>
                    <a:pt x="748" y="285"/>
                    <a:pt x="735" y="278"/>
                  </a:cubicBezTo>
                  <a:cubicBezTo>
                    <a:pt x="732" y="277"/>
                    <a:pt x="729" y="276"/>
                    <a:pt x="724" y="273"/>
                  </a:cubicBezTo>
                  <a:cubicBezTo>
                    <a:pt x="709" y="265"/>
                    <a:pt x="683" y="247"/>
                    <a:pt x="662" y="233"/>
                  </a:cubicBezTo>
                  <a:cubicBezTo>
                    <a:pt x="651" y="224"/>
                    <a:pt x="641" y="218"/>
                    <a:pt x="636" y="215"/>
                  </a:cubicBezTo>
                  <a:cubicBezTo>
                    <a:pt x="629" y="210"/>
                    <a:pt x="624" y="207"/>
                    <a:pt x="621" y="202"/>
                  </a:cubicBezTo>
                  <a:cubicBezTo>
                    <a:pt x="618" y="198"/>
                    <a:pt x="616" y="193"/>
                    <a:pt x="614" y="185"/>
                  </a:cubicBezTo>
                  <a:cubicBezTo>
                    <a:pt x="612" y="175"/>
                    <a:pt x="611" y="174"/>
                    <a:pt x="604" y="169"/>
                  </a:cubicBezTo>
                  <a:cubicBezTo>
                    <a:pt x="603" y="168"/>
                    <a:pt x="601" y="166"/>
                    <a:pt x="598" y="164"/>
                  </a:cubicBezTo>
                  <a:cubicBezTo>
                    <a:pt x="589" y="156"/>
                    <a:pt x="588" y="152"/>
                    <a:pt x="587" y="145"/>
                  </a:cubicBezTo>
                  <a:cubicBezTo>
                    <a:pt x="587" y="142"/>
                    <a:pt x="586" y="139"/>
                    <a:pt x="584" y="134"/>
                  </a:cubicBezTo>
                  <a:cubicBezTo>
                    <a:pt x="582" y="128"/>
                    <a:pt x="578" y="123"/>
                    <a:pt x="574" y="119"/>
                  </a:cubicBezTo>
                  <a:cubicBezTo>
                    <a:pt x="569" y="114"/>
                    <a:pt x="563" y="110"/>
                    <a:pt x="560" y="109"/>
                  </a:cubicBezTo>
                  <a:cubicBezTo>
                    <a:pt x="557" y="109"/>
                    <a:pt x="554" y="110"/>
                    <a:pt x="551" y="111"/>
                  </a:cubicBezTo>
                  <a:cubicBezTo>
                    <a:pt x="548" y="112"/>
                    <a:pt x="545" y="114"/>
                    <a:pt x="541" y="115"/>
                  </a:cubicBezTo>
                  <a:cubicBezTo>
                    <a:pt x="534" y="118"/>
                    <a:pt x="531" y="117"/>
                    <a:pt x="524" y="115"/>
                  </a:cubicBezTo>
                  <a:cubicBezTo>
                    <a:pt x="520" y="113"/>
                    <a:pt x="513" y="111"/>
                    <a:pt x="500" y="109"/>
                  </a:cubicBezTo>
                  <a:cubicBezTo>
                    <a:pt x="477" y="106"/>
                    <a:pt x="477" y="105"/>
                    <a:pt x="477" y="100"/>
                  </a:cubicBezTo>
                  <a:cubicBezTo>
                    <a:pt x="476" y="99"/>
                    <a:pt x="476" y="98"/>
                    <a:pt x="474" y="95"/>
                  </a:cubicBezTo>
                  <a:cubicBezTo>
                    <a:pt x="467" y="87"/>
                    <a:pt x="469" y="82"/>
                    <a:pt x="472" y="77"/>
                  </a:cubicBezTo>
                  <a:cubicBezTo>
                    <a:pt x="473" y="75"/>
                    <a:pt x="474" y="73"/>
                    <a:pt x="474" y="70"/>
                  </a:cubicBezTo>
                  <a:cubicBezTo>
                    <a:pt x="475" y="67"/>
                    <a:pt x="475" y="66"/>
                    <a:pt x="473" y="65"/>
                  </a:cubicBezTo>
                  <a:cubicBezTo>
                    <a:pt x="471" y="64"/>
                    <a:pt x="468" y="62"/>
                    <a:pt x="465" y="57"/>
                  </a:cubicBezTo>
                  <a:cubicBezTo>
                    <a:pt x="459" y="49"/>
                    <a:pt x="461" y="45"/>
                    <a:pt x="463" y="41"/>
                  </a:cubicBezTo>
                  <a:cubicBezTo>
                    <a:pt x="464" y="40"/>
                    <a:pt x="465" y="39"/>
                    <a:pt x="464" y="37"/>
                  </a:cubicBezTo>
                  <a:cubicBezTo>
                    <a:pt x="464" y="34"/>
                    <a:pt x="461" y="35"/>
                    <a:pt x="458" y="35"/>
                  </a:cubicBezTo>
                  <a:cubicBezTo>
                    <a:pt x="456" y="35"/>
                    <a:pt x="453" y="35"/>
                    <a:pt x="451" y="35"/>
                  </a:cubicBezTo>
                  <a:cubicBezTo>
                    <a:pt x="447" y="34"/>
                    <a:pt x="443" y="33"/>
                    <a:pt x="438" y="31"/>
                  </a:cubicBezTo>
                  <a:cubicBezTo>
                    <a:pt x="433" y="30"/>
                    <a:pt x="427" y="27"/>
                    <a:pt x="422" y="23"/>
                  </a:cubicBezTo>
                  <a:cubicBezTo>
                    <a:pt x="416" y="19"/>
                    <a:pt x="415" y="19"/>
                    <a:pt x="412" y="18"/>
                  </a:cubicBezTo>
                  <a:cubicBezTo>
                    <a:pt x="411" y="18"/>
                    <a:pt x="408" y="18"/>
                    <a:pt x="405" y="17"/>
                  </a:cubicBezTo>
                  <a:cubicBezTo>
                    <a:pt x="397" y="15"/>
                    <a:pt x="393" y="10"/>
                    <a:pt x="390" y="6"/>
                  </a:cubicBezTo>
                  <a:cubicBezTo>
                    <a:pt x="388" y="4"/>
                    <a:pt x="386" y="2"/>
                    <a:pt x="385" y="1"/>
                  </a:cubicBezTo>
                  <a:cubicBezTo>
                    <a:pt x="383" y="0"/>
                    <a:pt x="382" y="0"/>
                    <a:pt x="381" y="1"/>
                  </a:cubicBezTo>
                  <a:cubicBezTo>
                    <a:pt x="379" y="2"/>
                    <a:pt x="378" y="5"/>
                    <a:pt x="375" y="9"/>
                  </a:cubicBezTo>
                  <a:cubicBezTo>
                    <a:pt x="374" y="11"/>
                    <a:pt x="374" y="15"/>
                    <a:pt x="375" y="18"/>
                  </a:cubicBezTo>
                  <a:cubicBezTo>
                    <a:pt x="375" y="24"/>
                    <a:pt x="376" y="28"/>
                    <a:pt x="370" y="29"/>
                  </a:cubicBezTo>
                  <a:cubicBezTo>
                    <a:pt x="370" y="29"/>
                    <a:pt x="370" y="29"/>
                    <a:pt x="370" y="29"/>
                  </a:cubicBezTo>
                  <a:cubicBezTo>
                    <a:pt x="366" y="30"/>
                    <a:pt x="362" y="27"/>
                    <a:pt x="358" y="24"/>
                  </a:cubicBezTo>
                  <a:cubicBezTo>
                    <a:pt x="354" y="22"/>
                    <a:pt x="350" y="19"/>
                    <a:pt x="347" y="19"/>
                  </a:cubicBezTo>
                  <a:cubicBezTo>
                    <a:pt x="343" y="18"/>
                    <a:pt x="342" y="22"/>
                    <a:pt x="341" y="27"/>
                  </a:cubicBezTo>
                  <a:cubicBezTo>
                    <a:pt x="341" y="28"/>
                    <a:pt x="340" y="30"/>
                    <a:pt x="340" y="32"/>
                  </a:cubicBezTo>
                  <a:cubicBezTo>
                    <a:pt x="339" y="33"/>
                    <a:pt x="339" y="33"/>
                    <a:pt x="339" y="33"/>
                  </a:cubicBezTo>
                  <a:cubicBezTo>
                    <a:pt x="339" y="33"/>
                    <a:pt x="339" y="33"/>
                    <a:pt x="339" y="33"/>
                  </a:cubicBezTo>
                  <a:cubicBezTo>
                    <a:pt x="338" y="37"/>
                    <a:pt x="337" y="40"/>
                    <a:pt x="335" y="42"/>
                  </a:cubicBezTo>
                  <a:cubicBezTo>
                    <a:pt x="332" y="44"/>
                    <a:pt x="329" y="45"/>
                    <a:pt x="323" y="47"/>
                  </a:cubicBezTo>
                  <a:cubicBezTo>
                    <a:pt x="321" y="48"/>
                    <a:pt x="321" y="48"/>
                    <a:pt x="321" y="48"/>
                  </a:cubicBezTo>
                  <a:cubicBezTo>
                    <a:pt x="321" y="48"/>
                    <a:pt x="321" y="48"/>
                    <a:pt x="321" y="48"/>
                  </a:cubicBezTo>
                  <a:cubicBezTo>
                    <a:pt x="314" y="50"/>
                    <a:pt x="309" y="51"/>
                    <a:pt x="305" y="51"/>
                  </a:cubicBezTo>
                  <a:cubicBezTo>
                    <a:pt x="301" y="52"/>
                    <a:pt x="298" y="52"/>
                    <a:pt x="295" y="55"/>
                  </a:cubicBezTo>
                  <a:cubicBezTo>
                    <a:pt x="292" y="57"/>
                    <a:pt x="290" y="61"/>
                    <a:pt x="288" y="65"/>
                  </a:cubicBezTo>
                  <a:cubicBezTo>
                    <a:pt x="286" y="70"/>
                    <a:pt x="285" y="76"/>
                    <a:pt x="285" y="80"/>
                  </a:cubicBezTo>
                  <a:cubicBezTo>
                    <a:pt x="285" y="84"/>
                    <a:pt x="288" y="88"/>
                    <a:pt x="290" y="91"/>
                  </a:cubicBezTo>
                  <a:cubicBezTo>
                    <a:pt x="291" y="93"/>
                    <a:pt x="293" y="96"/>
                    <a:pt x="293" y="98"/>
                  </a:cubicBezTo>
                  <a:cubicBezTo>
                    <a:pt x="294" y="102"/>
                    <a:pt x="292" y="104"/>
                    <a:pt x="288" y="105"/>
                  </a:cubicBezTo>
                  <a:cubicBezTo>
                    <a:pt x="284" y="105"/>
                    <a:pt x="258" y="106"/>
                    <a:pt x="234" y="106"/>
                  </a:cubicBezTo>
                  <a:cubicBezTo>
                    <a:pt x="213" y="105"/>
                    <a:pt x="193" y="105"/>
                    <a:pt x="187" y="104"/>
                  </a:cubicBezTo>
                  <a:cubicBezTo>
                    <a:pt x="171" y="103"/>
                    <a:pt x="155" y="81"/>
                    <a:pt x="145" y="68"/>
                  </a:cubicBezTo>
                  <a:cubicBezTo>
                    <a:pt x="144" y="66"/>
                    <a:pt x="144" y="66"/>
                    <a:pt x="144" y="66"/>
                  </a:cubicBezTo>
                  <a:cubicBezTo>
                    <a:pt x="139" y="60"/>
                    <a:pt x="130" y="51"/>
                    <a:pt x="121" y="44"/>
                  </a:cubicBezTo>
                  <a:cubicBezTo>
                    <a:pt x="111" y="36"/>
                    <a:pt x="102" y="30"/>
                    <a:pt x="101" y="30"/>
                  </a:cubicBezTo>
                  <a:cubicBezTo>
                    <a:pt x="98" y="30"/>
                    <a:pt x="76" y="34"/>
                    <a:pt x="59" y="37"/>
                  </a:cubicBezTo>
                  <a:cubicBezTo>
                    <a:pt x="49" y="39"/>
                    <a:pt x="40" y="41"/>
                    <a:pt x="38" y="42"/>
                  </a:cubicBezTo>
                  <a:cubicBezTo>
                    <a:pt x="37" y="42"/>
                    <a:pt x="37" y="42"/>
                    <a:pt x="36" y="43"/>
                  </a:cubicBezTo>
                  <a:cubicBezTo>
                    <a:pt x="30" y="45"/>
                    <a:pt x="22" y="49"/>
                    <a:pt x="20" y="52"/>
                  </a:cubicBezTo>
                  <a:cubicBezTo>
                    <a:pt x="18" y="53"/>
                    <a:pt x="12" y="59"/>
                    <a:pt x="6" y="65"/>
                  </a:cubicBezTo>
                  <a:cubicBezTo>
                    <a:pt x="4" y="67"/>
                    <a:pt x="2" y="69"/>
                    <a:pt x="0" y="70"/>
                  </a:cubicBezTo>
                  <a:cubicBezTo>
                    <a:pt x="2" y="74"/>
                    <a:pt x="5" y="77"/>
                    <a:pt x="8" y="83"/>
                  </a:cubicBezTo>
                  <a:cubicBezTo>
                    <a:pt x="19" y="99"/>
                    <a:pt x="13" y="105"/>
                    <a:pt x="18" y="110"/>
                  </a:cubicBezTo>
                  <a:cubicBezTo>
                    <a:pt x="22" y="115"/>
                    <a:pt x="24" y="111"/>
                    <a:pt x="25" y="100"/>
                  </a:cubicBezTo>
                  <a:cubicBezTo>
                    <a:pt x="27" y="89"/>
                    <a:pt x="34" y="88"/>
                    <a:pt x="33" y="82"/>
                  </a:cubicBezTo>
                  <a:cubicBezTo>
                    <a:pt x="33" y="76"/>
                    <a:pt x="27" y="78"/>
                    <a:pt x="27" y="68"/>
                  </a:cubicBezTo>
                  <a:cubicBezTo>
                    <a:pt x="26" y="57"/>
                    <a:pt x="28" y="59"/>
                    <a:pt x="33" y="52"/>
                  </a:cubicBezTo>
                  <a:cubicBezTo>
                    <a:pt x="39" y="45"/>
                    <a:pt x="67" y="34"/>
                    <a:pt x="84" y="43"/>
                  </a:cubicBezTo>
                  <a:cubicBezTo>
                    <a:pt x="101" y="51"/>
                    <a:pt x="93" y="61"/>
                    <a:pt x="96" y="81"/>
                  </a:cubicBezTo>
                  <a:cubicBezTo>
                    <a:pt x="98" y="101"/>
                    <a:pt x="104" y="95"/>
                    <a:pt x="121" y="104"/>
                  </a:cubicBezTo>
                  <a:cubicBezTo>
                    <a:pt x="139" y="114"/>
                    <a:pt x="146" y="123"/>
                    <a:pt x="138" y="127"/>
                  </a:cubicBezTo>
                  <a:cubicBezTo>
                    <a:pt x="130" y="131"/>
                    <a:pt x="118" y="127"/>
                    <a:pt x="117" y="136"/>
                  </a:cubicBezTo>
                  <a:cubicBezTo>
                    <a:pt x="117" y="145"/>
                    <a:pt x="112" y="150"/>
                    <a:pt x="99" y="150"/>
                  </a:cubicBezTo>
                  <a:cubicBezTo>
                    <a:pt x="87" y="151"/>
                    <a:pt x="90" y="149"/>
                    <a:pt x="85" y="140"/>
                  </a:cubicBezTo>
                  <a:cubicBezTo>
                    <a:pt x="80" y="132"/>
                    <a:pt x="77" y="140"/>
                    <a:pt x="64" y="142"/>
                  </a:cubicBezTo>
                  <a:cubicBezTo>
                    <a:pt x="51" y="145"/>
                    <a:pt x="47" y="142"/>
                    <a:pt x="43" y="132"/>
                  </a:cubicBezTo>
                  <a:cubicBezTo>
                    <a:pt x="39" y="123"/>
                    <a:pt x="32" y="125"/>
                    <a:pt x="25" y="126"/>
                  </a:cubicBezTo>
                  <a:cubicBezTo>
                    <a:pt x="17" y="127"/>
                    <a:pt x="24" y="136"/>
                    <a:pt x="21" y="151"/>
                  </a:cubicBezTo>
                  <a:cubicBezTo>
                    <a:pt x="19" y="165"/>
                    <a:pt x="14" y="161"/>
                    <a:pt x="14" y="176"/>
                  </a:cubicBezTo>
                  <a:cubicBezTo>
                    <a:pt x="13" y="191"/>
                    <a:pt x="14" y="191"/>
                    <a:pt x="31" y="196"/>
                  </a:cubicBezTo>
                  <a:cubicBezTo>
                    <a:pt x="47" y="201"/>
                    <a:pt x="42" y="196"/>
                    <a:pt x="55" y="199"/>
                  </a:cubicBezTo>
                  <a:cubicBezTo>
                    <a:pt x="68" y="202"/>
                    <a:pt x="58" y="206"/>
                    <a:pt x="64" y="214"/>
                  </a:cubicBezTo>
                  <a:cubicBezTo>
                    <a:pt x="69" y="222"/>
                    <a:pt x="76" y="223"/>
                    <a:pt x="72" y="228"/>
                  </a:cubicBezTo>
                  <a:cubicBezTo>
                    <a:pt x="68" y="233"/>
                    <a:pt x="62" y="226"/>
                    <a:pt x="58" y="221"/>
                  </a:cubicBezTo>
                  <a:cubicBezTo>
                    <a:pt x="55" y="215"/>
                    <a:pt x="40" y="224"/>
                    <a:pt x="38" y="234"/>
                  </a:cubicBezTo>
                  <a:cubicBezTo>
                    <a:pt x="36" y="244"/>
                    <a:pt x="39" y="247"/>
                    <a:pt x="47" y="252"/>
                  </a:cubicBezTo>
                  <a:cubicBezTo>
                    <a:pt x="55" y="257"/>
                    <a:pt x="53" y="250"/>
                    <a:pt x="61" y="248"/>
                  </a:cubicBezTo>
                  <a:cubicBezTo>
                    <a:pt x="68" y="245"/>
                    <a:pt x="78" y="256"/>
                    <a:pt x="88" y="267"/>
                  </a:cubicBezTo>
                  <a:cubicBezTo>
                    <a:pt x="98" y="278"/>
                    <a:pt x="89" y="276"/>
                    <a:pt x="87" y="284"/>
                  </a:cubicBezTo>
                  <a:cubicBezTo>
                    <a:pt x="85" y="293"/>
                    <a:pt x="81" y="324"/>
                    <a:pt x="81" y="339"/>
                  </a:cubicBezTo>
                  <a:cubicBezTo>
                    <a:pt x="82" y="353"/>
                    <a:pt x="86" y="366"/>
                    <a:pt x="90" y="381"/>
                  </a:cubicBezTo>
                  <a:cubicBezTo>
                    <a:pt x="91" y="383"/>
                    <a:pt x="92" y="385"/>
                    <a:pt x="92" y="388"/>
                  </a:cubicBezTo>
                  <a:cubicBezTo>
                    <a:pt x="104" y="388"/>
                    <a:pt x="117" y="387"/>
                    <a:pt x="120" y="386"/>
                  </a:cubicBezTo>
                  <a:cubicBezTo>
                    <a:pt x="122" y="385"/>
                    <a:pt x="128" y="378"/>
                    <a:pt x="135" y="37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1" name="Freeform 251"/>
            <p:cNvSpPr>
              <a:spLocks/>
            </p:cNvSpPr>
            <p:nvPr/>
          </p:nvSpPr>
          <p:spPr bwMode="auto">
            <a:xfrm>
              <a:off x="6943838" y="4373854"/>
              <a:ext cx="8334" cy="9525"/>
            </a:xfrm>
            <a:custGeom>
              <a:avLst/>
              <a:gdLst>
                <a:gd name="T0" fmla="*/ 6 w 26"/>
                <a:gd name="T1" fmla="*/ 32 h 34"/>
                <a:gd name="T2" fmla="*/ 15 w 26"/>
                <a:gd name="T3" fmla="*/ 24 h 34"/>
                <a:gd name="T4" fmla="*/ 23 w 26"/>
                <a:gd name="T5" fmla="*/ 13 h 34"/>
                <a:gd name="T6" fmla="*/ 20 w 26"/>
                <a:gd name="T7" fmla="*/ 5 h 34"/>
                <a:gd name="T8" fmla="*/ 15 w 26"/>
                <a:gd name="T9" fmla="*/ 15 h 34"/>
                <a:gd name="T10" fmla="*/ 6 w 26"/>
                <a:gd name="T11" fmla="*/ 22 h 34"/>
                <a:gd name="T12" fmla="*/ 6 w 26"/>
                <a:gd name="T13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4">
                  <a:moveTo>
                    <a:pt x="6" y="32"/>
                  </a:moveTo>
                  <a:cubicBezTo>
                    <a:pt x="11" y="34"/>
                    <a:pt x="14" y="30"/>
                    <a:pt x="15" y="24"/>
                  </a:cubicBezTo>
                  <a:cubicBezTo>
                    <a:pt x="16" y="18"/>
                    <a:pt x="20" y="18"/>
                    <a:pt x="23" y="13"/>
                  </a:cubicBezTo>
                  <a:cubicBezTo>
                    <a:pt x="26" y="7"/>
                    <a:pt x="20" y="0"/>
                    <a:pt x="20" y="5"/>
                  </a:cubicBezTo>
                  <a:cubicBezTo>
                    <a:pt x="16" y="12"/>
                    <a:pt x="18" y="13"/>
                    <a:pt x="15" y="15"/>
                  </a:cubicBezTo>
                  <a:cubicBezTo>
                    <a:pt x="11" y="16"/>
                    <a:pt x="8" y="16"/>
                    <a:pt x="6" y="22"/>
                  </a:cubicBezTo>
                  <a:cubicBezTo>
                    <a:pt x="3" y="27"/>
                    <a:pt x="0" y="31"/>
                    <a:pt x="6" y="3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2" name="Freeform 252"/>
            <p:cNvSpPr>
              <a:spLocks/>
            </p:cNvSpPr>
            <p:nvPr/>
          </p:nvSpPr>
          <p:spPr bwMode="auto">
            <a:xfrm>
              <a:off x="5436506" y="3932132"/>
              <a:ext cx="250031" cy="178594"/>
            </a:xfrm>
            <a:custGeom>
              <a:avLst/>
              <a:gdLst>
                <a:gd name="T0" fmla="*/ 845 w 869"/>
                <a:gd name="T1" fmla="*/ 75 h 623"/>
                <a:gd name="T2" fmla="*/ 792 w 869"/>
                <a:gd name="T3" fmla="*/ 72 h 623"/>
                <a:gd name="T4" fmla="*/ 736 w 869"/>
                <a:gd name="T5" fmla="*/ 108 h 623"/>
                <a:gd name="T6" fmla="*/ 677 w 869"/>
                <a:gd name="T7" fmla="*/ 110 h 623"/>
                <a:gd name="T8" fmla="*/ 674 w 869"/>
                <a:gd name="T9" fmla="*/ 35 h 623"/>
                <a:gd name="T10" fmla="*/ 655 w 869"/>
                <a:gd name="T11" fmla="*/ 6 h 623"/>
                <a:gd name="T12" fmla="*/ 615 w 869"/>
                <a:gd name="T13" fmla="*/ 22 h 623"/>
                <a:gd name="T14" fmla="*/ 599 w 869"/>
                <a:gd name="T15" fmla="*/ 62 h 623"/>
                <a:gd name="T16" fmla="*/ 557 w 869"/>
                <a:gd name="T17" fmla="*/ 71 h 623"/>
                <a:gd name="T18" fmla="*/ 517 w 869"/>
                <a:gd name="T19" fmla="*/ 84 h 623"/>
                <a:gd name="T20" fmla="*/ 465 w 869"/>
                <a:gd name="T21" fmla="*/ 105 h 623"/>
                <a:gd name="T22" fmla="*/ 430 w 869"/>
                <a:gd name="T23" fmla="*/ 92 h 623"/>
                <a:gd name="T24" fmla="*/ 376 w 869"/>
                <a:gd name="T25" fmla="*/ 78 h 623"/>
                <a:gd name="T26" fmla="*/ 318 w 869"/>
                <a:gd name="T27" fmla="*/ 75 h 623"/>
                <a:gd name="T28" fmla="*/ 273 w 869"/>
                <a:gd name="T29" fmla="*/ 89 h 623"/>
                <a:gd name="T30" fmla="*/ 256 w 869"/>
                <a:gd name="T31" fmla="*/ 126 h 623"/>
                <a:gd name="T32" fmla="*/ 215 w 869"/>
                <a:gd name="T33" fmla="*/ 169 h 623"/>
                <a:gd name="T34" fmla="*/ 176 w 869"/>
                <a:gd name="T35" fmla="*/ 180 h 623"/>
                <a:gd name="T36" fmla="*/ 158 w 869"/>
                <a:gd name="T37" fmla="*/ 211 h 623"/>
                <a:gd name="T38" fmla="*/ 119 w 869"/>
                <a:gd name="T39" fmla="*/ 227 h 623"/>
                <a:gd name="T40" fmla="*/ 73 w 869"/>
                <a:gd name="T41" fmla="*/ 209 h 623"/>
                <a:gd name="T42" fmla="*/ 45 w 869"/>
                <a:gd name="T43" fmla="*/ 213 h 623"/>
                <a:gd name="T44" fmla="*/ 26 w 869"/>
                <a:gd name="T45" fmla="*/ 265 h 623"/>
                <a:gd name="T46" fmla="*/ 14 w 869"/>
                <a:gd name="T47" fmla="*/ 297 h 623"/>
                <a:gd name="T48" fmla="*/ 1 w 869"/>
                <a:gd name="T49" fmla="*/ 329 h 623"/>
                <a:gd name="T50" fmla="*/ 24 w 869"/>
                <a:gd name="T51" fmla="*/ 351 h 623"/>
                <a:gd name="T52" fmla="*/ 19 w 869"/>
                <a:gd name="T53" fmla="*/ 411 h 623"/>
                <a:gd name="T54" fmla="*/ 24 w 869"/>
                <a:gd name="T55" fmla="*/ 479 h 623"/>
                <a:gd name="T56" fmla="*/ 78 w 869"/>
                <a:gd name="T57" fmla="*/ 501 h 623"/>
                <a:gd name="T58" fmla="*/ 49 w 869"/>
                <a:gd name="T59" fmla="*/ 568 h 623"/>
                <a:gd name="T60" fmla="*/ 116 w 869"/>
                <a:gd name="T61" fmla="*/ 616 h 623"/>
                <a:gd name="T62" fmla="*/ 204 w 869"/>
                <a:gd name="T63" fmla="*/ 619 h 623"/>
                <a:gd name="T64" fmla="*/ 259 w 869"/>
                <a:gd name="T65" fmla="*/ 609 h 623"/>
                <a:gd name="T66" fmla="*/ 354 w 869"/>
                <a:gd name="T67" fmla="*/ 568 h 623"/>
                <a:gd name="T68" fmla="*/ 377 w 869"/>
                <a:gd name="T69" fmla="*/ 505 h 623"/>
                <a:gd name="T70" fmla="*/ 430 w 869"/>
                <a:gd name="T71" fmla="*/ 498 h 623"/>
                <a:gd name="T72" fmla="*/ 439 w 869"/>
                <a:gd name="T73" fmla="*/ 480 h 623"/>
                <a:gd name="T74" fmla="*/ 501 w 869"/>
                <a:gd name="T75" fmla="*/ 464 h 623"/>
                <a:gd name="T76" fmla="*/ 536 w 869"/>
                <a:gd name="T77" fmla="*/ 437 h 623"/>
                <a:gd name="T78" fmla="*/ 548 w 869"/>
                <a:gd name="T79" fmla="*/ 394 h 623"/>
                <a:gd name="T80" fmla="*/ 580 w 869"/>
                <a:gd name="T81" fmla="*/ 370 h 623"/>
                <a:gd name="T82" fmla="*/ 579 w 869"/>
                <a:gd name="T83" fmla="*/ 326 h 623"/>
                <a:gd name="T84" fmla="*/ 594 w 869"/>
                <a:gd name="T85" fmla="*/ 304 h 623"/>
                <a:gd name="T86" fmla="*/ 650 w 869"/>
                <a:gd name="T87" fmla="*/ 294 h 623"/>
                <a:gd name="T88" fmla="*/ 667 w 869"/>
                <a:gd name="T89" fmla="*/ 244 h 623"/>
                <a:gd name="T90" fmla="*/ 679 w 869"/>
                <a:gd name="T91" fmla="*/ 202 h 623"/>
                <a:gd name="T92" fmla="*/ 677 w 869"/>
                <a:gd name="T93" fmla="*/ 147 h 623"/>
                <a:gd name="T94" fmla="*/ 734 w 869"/>
                <a:gd name="T95" fmla="*/ 118 h 623"/>
                <a:gd name="T96" fmla="*/ 814 w 869"/>
                <a:gd name="T97" fmla="*/ 108 h 623"/>
                <a:gd name="T98" fmla="*/ 861 w 869"/>
                <a:gd name="T99" fmla="*/ 100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69" h="623">
                  <a:moveTo>
                    <a:pt x="869" y="81"/>
                  </a:moveTo>
                  <a:cubicBezTo>
                    <a:pt x="868" y="80"/>
                    <a:pt x="867" y="79"/>
                    <a:pt x="866" y="78"/>
                  </a:cubicBezTo>
                  <a:cubicBezTo>
                    <a:pt x="864" y="77"/>
                    <a:pt x="861" y="75"/>
                    <a:pt x="858" y="74"/>
                  </a:cubicBezTo>
                  <a:cubicBezTo>
                    <a:pt x="855" y="74"/>
                    <a:pt x="851" y="74"/>
                    <a:pt x="845" y="75"/>
                  </a:cubicBezTo>
                  <a:cubicBezTo>
                    <a:pt x="841" y="76"/>
                    <a:pt x="838" y="77"/>
                    <a:pt x="835" y="77"/>
                  </a:cubicBezTo>
                  <a:cubicBezTo>
                    <a:pt x="827" y="79"/>
                    <a:pt x="822" y="81"/>
                    <a:pt x="813" y="80"/>
                  </a:cubicBezTo>
                  <a:cubicBezTo>
                    <a:pt x="807" y="79"/>
                    <a:pt x="804" y="76"/>
                    <a:pt x="801" y="74"/>
                  </a:cubicBezTo>
                  <a:cubicBezTo>
                    <a:pt x="799" y="72"/>
                    <a:pt x="797" y="71"/>
                    <a:pt x="792" y="72"/>
                  </a:cubicBezTo>
                  <a:cubicBezTo>
                    <a:pt x="787" y="73"/>
                    <a:pt x="782" y="75"/>
                    <a:pt x="777" y="78"/>
                  </a:cubicBezTo>
                  <a:cubicBezTo>
                    <a:pt x="772" y="81"/>
                    <a:pt x="768" y="85"/>
                    <a:pt x="762" y="89"/>
                  </a:cubicBezTo>
                  <a:cubicBezTo>
                    <a:pt x="756" y="95"/>
                    <a:pt x="751" y="98"/>
                    <a:pt x="746" y="100"/>
                  </a:cubicBezTo>
                  <a:cubicBezTo>
                    <a:pt x="743" y="103"/>
                    <a:pt x="739" y="105"/>
                    <a:pt x="736" y="108"/>
                  </a:cubicBezTo>
                  <a:cubicBezTo>
                    <a:pt x="729" y="113"/>
                    <a:pt x="723" y="115"/>
                    <a:pt x="716" y="117"/>
                  </a:cubicBezTo>
                  <a:cubicBezTo>
                    <a:pt x="712" y="118"/>
                    <a:pt x="709" y="119"/>
                    <a:pt x="705" y="121"/>
                  </a:cubicBezTo>
                  <a:cubicBezTo>
                    <a:pt x="697" y="124"/>
                    <a:pt x="692" y="124"/>
                    <a:pt x="688" y="122"/>
                  </a:cubicBezTo>
                  <a:cubicBezTo>
                    <a:pt x="684" y="120"/>
                    <a:pt x="681" y="116"/>
                    <a:pt x="677" y="110"/>
                  </a:cubicBezTo>
                  <a:cubicBezTo>
                    <a:pt x="670" y="99"/>
                    <a:pt x="672" y="87"/>
                    <a:pt x="674" y="74"/>
                  </a:cubicBezTo>
                  <a:cubicBezTo>
                    <a:pt x="675" y="71"/>
                    <a:pt x="675" y="68"/>
                    <a:pt x="675" y="65"/>
                  </a:cubicBezTo>
                  <a:cubicBezTo>
                    <a:pt x="676" y="58"/>
                    <a:pt x="677" y="52"/>
                    <a:pt x="676" y="47"/>
                  </a:cubicBezTo>
                  <a:cubicBezTo>
                    <a:pt x="676" y="42"/>
                    <a:pt x="675" y="38"/>
                    <a:pt x="674" y="35"/>
                  </a:cubicBezTo>
                  <a:cubicBezTo>
                    <a:pt x="673" y="33"/>
                    <a:pt x="671" y="33"/>
                    <a:pt x="669" y="32"/>
                  </a:cubicBezTo>
                  <a:cubicBezTo>
                    <a:pt x="666" y="30"/>
                    <a:pt x="662" y="29"/>
                    <a:pt x="661" y="24"/>
                  </a:cubicBezTo>
                  <a:cubicBezTo>
                    <a:pt x="661" y="22"/>
                    <a:pt x="661" y="21"/>
                    <a:pt x="661" y="19"/>
                  </a:cubicBezTo>
                  <a:cubicBezTo>
                    <a:pt x="660" y="15"/>
                    <a:pt x="660" y="11"/>
                    <a:pt x="655" y="6"/>
                  </a:cubicBezTo>
                  <a:cubicBezTo>
                    <a:pt x="652" y="3"/>
                    <a:pt x="649" y="1"/>
                    <a:pt x="646" y="0"/>
                  </a:cubicBezTo>
                  <a:cubicBezTo>
                    <a:pt x="643" y="0"/>
                    <a:pt x="640" y="1"/>
                    <a:pt x="636" y="2"/>
                  </a:cubicBezTo>
                  <a:cubicBezTo>
                    <a:pt x="633" y="4"/>
                    <a:pt x="629" y="6"/>
                    <a:pt x="626" y="10"/>
                  </a:cubicBezTo>
                  <a:cubicBezTo>
                    <a:pt x="622" y="13"/>
                    <a:pt x="619" y="17"/>
                    <a:pt x="615" y="22"/>
                  </a:cubicBezTo>
                  <a:cubicBezTo>
                    <a:pt x="612" y="25"/>
                    <a:pt x="609" y="28"/>
                    <a:pt x="607" y="30"/>
                  </a:cubicBezTo>
                  <a:cubicBezTo>
                    <a:pt x="604" y="32"/>
                    <a:pt x="602" y="34"/>
                    <a:pt x="603" y="37"/>
                  </a:cubicBezTo>
                  <a:cubicBezTo>
                    <a:pt x="604" y="42"/>
                    <a:pt x="605" y="47"/>
                    <a:pt x="605" y="51"/>
                  </a:cubicBezTo>
                  <a:cubicBezTo>
                    <a:pt x="604" y="55"/>
                    <a:pt x="602" y="59"/>
                    <a:pt x="599" y="62"/>
                  </a:cubicBezTo>
                  <a:cubicBezTo>
                    <a:pt x="594" y="65"/>
                    <a:pt x="589" y="64"/>
                    <a:pt x="583" y="63"/>
                  </a:cubicBezTo>
                  <a:cubicBezTo>
                    <a:pt x="580" y="62"/>
                    <a:pt x="577" y="62"/>
                    <a:pt x="574" y="62"/>
                  </a:cubicBezTo>
                  <a:cubicBezTo>
                    <a:pt x="569" y="61"/>
                    <a:pt x="566" y="61"/>
                    <a:pt x="563" y="63"/>
                  </a:cubicBezTo>
                  <a:cubicBezTo>
                    <a:pt x="560" y="64"/>
                    <a:pt x="558" y="66"/>
                    <a:pt x="557" y="71"/>
                  </a:cubicBezTo>
                  <a:cubicBezTo>
                    <a:pt x="555" y="77"/>
                    <a:pt x="553" y="83"/>
                    <a:pt x="550" y="87"/>
                  </a:cubicBezTo>
                  <a:cubicBezTo>
                    <a:pt x="547" y="91"/>
                    <a:pt x="543" y="93"/>
                    <a:pt x="537" y="93"/>
                  </a:cubicBezTo>
                  <a:cubicBezTo>
                    <a:pt x="532" y="93"/>
                    <a:pt x="529" y="91"/>
                    <a:pt x="525" y="88"/>
                  </a:cubicBezTo>
                  <a:cubicBezTo>
                    <a:pt x="523" y="87"/>
                    <a:pt x="520" y="85"/>
                    <a:pt x="517" y="84"/>
                  </a:cubicBezTo>
                  <a:cubicBezTo>
                    <a:pt x="513" y="82"/>
                    <a:pt x="512" y="83"/>
                    <a:pt x="510" y="84"/>
                  </a:cubicBezTo>
                  <a:cubicBezTo>
                    <a:pt x="508" y="85"/>
                    <a:pt x="505" y="86"/>
                    <a:pt x="500" y="87"/>
                  </a:cubicBezTo>
                  <a:cubicBezTo>
                    <a:pt x="495" y="89"/>
                    <a:pt x="490" y="92"/>
                    <a:pt x="485" y="96"/>
                  </a:cubicBezTo>
                  <a:cubicBezTo>
                    <a:pt x="478" y="100"/>
                    <a:pt x="472" y="104"/>
                    <a:pt x="465" y="105"/>
                  </a:cubicBezTo>
                  <a:cubicBezTo>
                    <a:pt x="454" y="106"/>
                    <a:pt x="451" y="103"/>
                    <a:pt x="448" y="98"/>
                  </a:cubicBezTo>
                  <a:cubicBezTo>
                    <a:pt x="448" y="98"/>
                    <a:pt x="448" y="98"/>
                    <a:pt x="448" y="98"/>
                  </a:cubicBezTo>
                  <a:cubicBezTo>
                    <a:pt x="446" y="97"/>
                    <a:pt x="445" y="95"/>
                    <a:pt x="443" y="94"/>
                  </a:cubicBezTo>
                  <a:cubicBezTo>
                    <a:pt x="440" y="92"/>
                    <a:pt x="436" y="92"/>
                    <a:pt x="430" y="92"/>
                  </a:cubicBezTo>
                  <a:cubicBezTo>
                    <a:pt x="426" y="91"/>
                    <a:pt x="421" y="91"/>
                    <a:pt x="414" y="90"/>
                  </a:cubicBezTo>
                  <a:cubicBezTo>
                    <a:pt x="402" y="88"/>
                    <a:pt x="400" y="84"/>
                    <a:pt x="399" y="80"/>
                  </a:cubicBezTo>
                  <a:cubicBezTo>
                    <a:pt x="399" y="80"/>
                    <a:pt x="399" y="79"/>
                    <a:pt x="397" y="79"/>
                  </a:cubicBezTo>
                  <a:cubicBezTo>
                    <a:pt x="391" y="78"/>
                    <a:pt x="384" y="78"/>
                    <a:pt x="376" y="78"/>
                  </a:cubicBezTo>
                  <a:cubicBezTo>
                    <a:pt x="369" y="78"/>
                    <a:pt x="362" y="78"/>
                    <a:pt x="355" y="77"/>
                  </a:cubicBezTo>
                  <a:cubicBezTo>
                    <a:pt x="346" y="77"/>
                    <a:pt x="340" y="74"/>
                    <a:pt x="335" y="72"/>
                  </a:cubicBezTo>
                  <a:cubicBezTo>
                    <a:pt x="330" y="71"/>
                    <a:pt x="327" y="69"/>
                    <a:pt x="325" y="70"/>
                  </a:cubicBezTo>
                  <a:cubicBezTo>
                    <a:pt x="322" y="71"/>
                    <a:pt x="321" y="73"/>
                    <a:pt x="318" y="75"/>
                  </a:cubicBezTo>
                  <a:cubicBezTo>
                    <a:pt x="317" y="76"/>
                    <a:pt x="316" y="78"/>
                    <a:pt x="314" y="80"/>
                  </a:cubicBezTo>
                  <a:cubicBezTo>
                    <a:pt x="307" y="87"/>
                    <a:pt x="303" y="87"/>
                    <a:pt x="293" y="87"/>
                  </a:cubicBezTo>
                  <a:cubicBezTo>
                    <a:pt x="291" y="87"/>
                    <a:pt x="289" y="87"/>
                    <a:pt x="287" y="87"/>
                  </a:cubicBezTo>
                  <a:cubicBezTo>
                    <a:pt x="281" y="87"/>
                    <a:pt x="276" y="88"/>
                    <a:pt x="273" y="89"/>
                  </a:cubicBezTo>
                  <a:cubicBezTo>
                    <a:pt x="270" y="90"/>
                    <a:pt x="268" y="92"/>
                    <a:pt x="267" y="94"/>
                  </a:cubicBezTo>
                  <a:cubicBezTo>
                    <a:pt x="266" y="96"/>
                    <a:pt x="265" y="100"/>
                    <a:pt x="264" y="103"/>
                  </a:cubicBezTo>
                  <a:cubicBezTo>
                    <a:pt x="263" y="108"/>
                    <a:pt x="262" y="113"/>
                    <a:pt x="260" y="117"/>
                  </a:cubicBezTo>
                  <a:cubicBezTo>
                    <a:pt x="258" y="119"/>
                    <a:pt x="257" y="122"/>
                    <a:pt x="256" y="126"/>
                  </a:cubicBezTo>
                  <a:cubicBezTo>
                    <a:pt x="255" y="129"/>
                    <a:pt x="254" y="133"/>
                    <a:pt x="254" y="137"/>
                  </a:cubicBezTo>
                  <a:cubicBezTo>
                    <a:pt x="255" y="147"/>
                    <a:pt x="253" y="148"/>
                    <a:pt x="248" y="152"/>
                  </a:cubicBezTo>
                  <a:cubicBezTo>
                    <a:pt x="247" y="153"/>
                    <a:pt x="246" y="154"/>
                    <a:pt x="244" y="155"/>
                  </a:cubicBezTo>
                  <a:cubicBezTo>
                    <a:pt x="238" y="161"/>
                    <a:pt x="225" y="165"/>
                    <a:pt x="215" y="169"/>
                  </a:cubicBezTo>
                  <a:cubicBezTo>
                    <a:pt x="213" y="169"/>
                    <a:pt x="211" y="170"/>
                    <a:pt x="211" y="170"/>
                  </a:cubicBezTo>
                  <a:cubicBezTo>
                    <a:pt x="207" y="171"/>
                    <a:pt x="204" y="173"/>
                    <a:pt x="201" y="174"/>
                  </a:cubicBezTo>
                  <a:cubicBezTo>
                    <a:pt x="196" y="177"/>
                    <a:pt x="192" y="179"/>
                    <a:pt x="186" y="179"/>
                  </a:cubicBezTo>
                  <a:cubicBezTo>
                    <a:pt x="183" y="179"/>
                    <a:pt x="179" y="179"/>
                    <a:pt x="176" y="180"/>
                  </a:cubicBezTo>
                  <a:cubicBezTo>
                    <a:pt x="173" y="181"/>
                    <a:pt x="169" y="182"/>
                    <a:pt x="167" y="183"/>
                  </a:cubicBezTo>
                  <a:cubicBezTo>
                    <a:pt x="165" y="184"/>
                    <a:pt x="166" y="187"/>
                    <a:pt x="167" y="189"/>
                  </a:cubicBezTo>
                  <a:cubicBezTo>
                    <a:pt x="168" y="191"/>
                    <a:pt x="168" y="194"/>
                    <a:pt x="168" y="196"/>
                  </a:cubicBezTo>
                  <a:cubicBezTo>
                    <a:pt x="168" y="199"/>
                    <a:pt x="163" y="206"/>
                    <a:pt x="158" y="211"/>
                  </a:cubicBezTo>
                  <a:cubicBezTo>
                    <a:pt x="154" y="216"/>
                    <a:pt x="148" y="221"/>
                    <a:pt x="145" y="221"/>
                  </a:cubicBezTo>
                  <a:cubicBezTo>
                    <a:pt x="143" y="221"/>
                    <a:pt x="140" y="221"/>
                    <a:pt x="138" y="221"/>
                  </a:cubicBezTo>
                  <a:cubicBezTo>
                    <a:pt x="133" y="221"/>
                    <a:pt x="129" y="221"/>
                    <a:pt x="125" y="223"/>
                  </a:cubicBezTo>
                  <a:cubicBezTo>
                    <a:pt x="122" y="224"/>
                    <a:pt x="120" y="226"/>
                    <a:pt x="119" y="227"/>
                  </a:cubicBezTo>
                  <a:cubicBezTo>
                    <a:pt x="115" y="230"/>
                    <a:pt x="112" y="232"/>
                    <a:pt x="108" y="232"/>
                  </a:cubicBezTo>
                  <a:cubicBezTo>
                    <a:pt x="102" y="231"/>
                    <a:pt x="99" y="227"/>
                    <a:pt x="94" y="221"/>
                  </a:cubicBezTo>
                  <a:cubicBezTo>
                    <a:pt x="93" y="220"/>
                    <a:pt x="92" y="219"/>
                    <a:pt x="91" y="217"/>
                  </a:cubicBezTo>
                  <a:cubicBezTo>
                    <a:pt x="87" y="212"/>
                    <a:pt x="81" y="211"/>
                    <a:pt x="73" y="209"/>
                  </a:cubicBezTo>
                  <a:cubicBezTo>
                    <a:pt x="71" y="208"/>
                    <a:pt x="70" y="208"/>
                    <a:pt x="68" y="207"/>
                  </a:cubicBezTo>
                  <a:cubicBezTo>
                    <a:pt x="62" y="206"/>
                    <a:pt x="57" y="205"/>
                    <a:pt x="53" y="204"/>
                  </a:cubicBezTo>
                  <a:cubicBezTo>
                    <a:pt x="51" y="204"/>
                    <a:pt x="48" y="204"/>
                    <a:pt x="46" y="204"/>
                  </a:cubicBezTo>
                  <a:cubicBezTo>
                    <a:pt x="45" y="207"/>
                    <a:pt x="45" y="210"/>
                    <a:pt x="45" y="213"/>
                  </a:cubicBezTo>
                  <a:cubicBezTo>
                    <a:pt x="44" y="219"/>
                    <a:pt x="42" y="226"/>
                    <a:pt x="40" y="233"/>
                  </a:cubicBezTo>
                  <a:cubicBezTo>
                    <a:pt x="37" y="242"/>
                    <a:pt x="36" y="247"/>
                    <a:pt x="36" y="251"/>
                  </a:cubicBezTo>
                  <a:cubicBezTo>
                    <a:pt x="36" y="252"/>
                    <a:pt x="35" y="254"/>
                    <a:pt x="35" y="255"/>
                  </a:cubicBezTo>
                  <a:cubicBezTo>
                    <a:pt x="34" y="259"/>
                    <a:pt x="30" y="262"/>
                    <a:pt x="26" y="265"/>
                  </a:cubicBezTo>
                  <a:cubicBezTo>
                    <a:pt x="22" y="267"/>
                    <a:pt x="18" y="269"/>
                    <a:pt x="18" y="271"/>
                  </a:cubicBezTo>
                  <a:cubicBezTo>
                    <a:pt x="17" y="273"/>
                    <a:pt x="19" y="277"/>
                    <a:pt x="20" y="280"/>
                  </a:cubicBezTo>
                  <a:cubicBezTo>
                    <a:pt x="21" y="283"/>
                    <a:pt x="22" y="285"/>
                    <a:pt x="22" y="288"/>
                  </a:cubicBezTo>
                  <a:cubicBezTo>
                    <a:pt x="23" y="293"/>
                    <a:pt x="19" y="295"/>
                    <a:pt x="14" y="297"/>
                  </a:cubicBezTo>
                  <a:cubicBezTo>
                    <a:pt x="12" y="298"/>
                    <a:pt x="9" y="300"/>
                    <a:pt x="8" y="301"/>
                  </a:cubicBezTo>
                  <a:cubicBezTo>
                    <a:pt x="7" y="303"/>
                    <a:pt x="7" y="304"/>
                    <a:pt x="6" y="305"/>
                  </a:cubicBezTo>
                  <a:cubicBezTo>
                    <a:pt x="4" y="308"/>
                    <a:pt x="3" y="310"/>
                    <a:pt x="3" y="318"/>
                  </a:cubicBezTo>
                  <a:cubicBezTo>
                    <a:pt x="3" y="322"/>
                    <a:pt x="2" y="326"/>
                    <a:pt x="1" y="329"/>
                  </a:cubicBezTo>
                  <a:cubicBezTo>
                    <a:pt x="1" y="331"/>
                    <a:pt x="0" y="332"/>
                    <a:pt x="0" y="333"/>
                  </a:cubicBezTo>
                  <a:cubicBezTo>
                    <a:pt x="0" y="334"/>
                    <a:pt x="1" y="335"/>
                    <a:pt x="6" y="336"/>
                  </a:cubicBezTo>
                  <a:cubicBezTo>
                    <a:pt x="16" y="337"/>
                    <a:pt x="20" y="339"/>
                    <a:pt x="23" y="341"/>
                  </a:cubicBezTo>
                  <a:cubicBezTo>
                    <a:pt x="26" y="344"/>
                    <a:pt x="26" y="348"/>
                    <a:pt x="24" y="351"/>
                  </a:cubicBezTo>
                  <a:cubicBezTo>
                    <a:pt x="23" y="353"/>
                    <a:pt x="21" y="355"/>
                    <a:pt x="19" y="357"/>
                  </a:cubicBezTo>
                  <a:cubicBezTo>
                    <a:pt x="15" y="361"/>
                    <a:pt x="9" y="366"/>
                    <a:pt x="10" y="371"/>
                  </a:cubicBezTo>
                  <a:cubicBezTo>
                    <a:pt x="10" y="376"/>
                    <a:pt x="11" y="383"/>
                    <a:pt x="13" y="389"/>
                  </a:cubicBezTo>
                  <a:cubicBezTo>
                    <a:pt x="14" y="397"/>
                    <a:pt x="17" y="405"/>
                    <a:pt x="19" y="411"/>
                  </a:cubicBezTo>
                  <a:cubicBezTo>
                    <a:pt x="21" y="417"/>
                    <a:pt x="21" y="434"/>
                    <a:pt x="21" y="450"/>
                  </a:cubicBezTo>
                  <a:cubicBezTo>
                    <a:pt x="21" y="463"/>
                    <a:pt x="21" y="476"/>
                    <a:pt x="22" y="477"/>
                  </a:cubicBezTo>
                  <a:cubicBezTo>
                    <a:pt x="22" y="478"/>
                    <a:pt x="23" y="478"/>
                    <a:pt x="23" y="479"/>
                  </a:cubicBezTo>
                  <a:cubicBezTo>
                    <a:pt x="23" y="479"/>
                    <a:pt x="23" y="479"/>
                    <a:pt x="24" y="479"/>
                  </a:cubicBezTo>
                  <a:cubicBezTo>
                    <a:pt x="25" y="480"/>
                    <a:pt x="28" y="480"/>
                    <a:pt x="34" y="481"/>
                  </a:cubicBezTo>
                  <a:cubicBezTo>
                    <a:pt x="36" y="482"/>
                    <a:pt x="39" y="482"/>
                    <a:pt x="41" y="483"/>
                  </a:cubicBezTo>
                  <a:cubicBezTo>
                    <a:pt x="53" y="485"/>
                    <a:pt x="61" y="487"/>
                    <a:pt x="66" y="490"/>
                  </a:cubicBezTo>
                  <a:cubicBezTo>
                    <a:pt x="72" y="493"/>
                    <a:pt x="76" y="497"/>
                    <a:pt x="78" y="501"/>
                  </a:cubicBezTo>
                  <a:cubicBezTo>
                    <a:pt x="78" y="501"/>
                    <a:pt x="78" y="501"/>
                    <a:pt x="78" y="501"/>
                  </a:cubicBezTo>
                  <a:cubicBezTo>
                    <a:pt x="81" y="505"/>
                    <a:pt x="81" y="510"/>
                    <a:pt x="81" y="516"/>
                  </a:cubicBezTo>
                  <a:cubicBezTo>
                    <a:pt x="81" y="521"/>
                    <a:pt x="79" y="527"/>
                    <a:pt x="78" y="533"/>
                  </a:cubicBezTo>
                  <a:cubicBezTo>
                    <a:pt x="76" y="540"/>
                    <a:pt x="62" y="555"/>
                    <a:pt x="49" y="568"/>
                  </a:cubicBezTo>
                  <a:cubicBezTo>
                    <a:pt x="40" y="578"/>
                    <a:pt x="32" y="587"/>
                    <a:pt x="29" y="591"/>
                  </a:cubicBezTo>
                  <a:cubicBezTo>
                    <a:pt x="34" y="593"/>
                    <a:pt x="45" y="597"/>
                    <a:pt x="58" y="601"/>
                  </a:cubicBezTo>
                  <a:cubicBezTo>
                    <a:pt x="66" y="604"/>
                    <a:pt x="75" y="606"/>
                    <a:pt x="82" y="608"/>
                  </a:cubicBezTo>
                  <a:cubicBezTo>
                    <a:pt x="92" y="611"/>
                    <a:pt x="104" y="614"/>
                    <a:pt x="116" y="616"/>
                  </a:cubicBezTo>
                  <a:cubicBezTo>
                    <a:pt x="127" y="618"/>
                    <a:pt x="139" y="620"/>
                    <a:pt x="151" y="619"/>
                  </a:cubicBezTo>
                  <a:cubicBezTo>
                    <a:pt x="159" y="618"/>
                    <a:pt x="166" y="617"/>
                    <a:pt x="171" y="617"/>
                  </a:cubicBezTo>
                  <a:cubicBezTo>
                    <a:pt x="180" y="615"/>
                    <a:pt x="186" y="615"/>
                    <a:pt x="194" y="616"/>
                  </a:cubicBezTo>
                  <a:cubicBezTo>
                    <a:pt x="198" y="617"/>
                    <a:pt x="201" y="618"/>
                    <a:pt x="204" y="619"/>
                  </a:cubicBezTo>
                  <a:cubicBezTo>
                    <a:pt x="208" y="621"/>
                    <a:pt x="211" y="623"/>
                    <a:pt x="218" y="621"/>
                  </a:cubicBezTo>
                  <a:cubicBezTo>
                    <a:pt x="223" y="621"/>
                    <a:pt x="225" y="619"/>
                    <a:pt x="228" y="617"/>
                  </a:cubicBezTo>
                  <a:cubicBezTo>
                    <a:pt x="232" y="614"/>
                    <a:pt x="237" y="610"/>
                    <a:pt x="251" y="610"/>
                  </a:cubicBezTo>
                  <a:cubicBezTo>
                    <a:pt x="253" y="610"/>
                    <a:pt x="256" y="610"/>
                    <a:pt x="259" y="609"/>
                  </a:cubicBezTo>
                  <a:cubicBezTo>
                    <a:pt x="280" y="609"/>
                    <a:pt x="308" y="607"/>
                    <a:pt x="317" y="603"/>
                  </a:cubicBezTo>
                  <a:cubicBezTo>
                    <a:pt x="322" y="600"/>
                    <a:pt x="327" y="600"/>
                    <a:pt x="332" y="599"/>
                  </a:cubicBezTo>
                  <a:cubicBezTo>
                    <a:pt x="339" y="598"/>
                    <a:pt x="346" y="596"/>
                    <a:pt x="350" y="590"/>
                  </a:cubicBezTo>
                  <a:cubicBezTo>
                    <a:pt x="354" y="583"/>
                    <a:pt x="354" y="576"/>
                    <a:pt x="354" y="568"/>
                  </a:cubicBezTo>
                  <a:cubicBezTo>
                    <a:pt x="354" y="563"/>
                    <a:pt x="353" y="557"/>
                    <a:pt x="354" y="550"/>
                  </a:cubicBezTo>
                  <a:cubicBezTo>
                    <a:pt x="355" y="543"/>
                    <a:pt x="355" y="538"/>
                    <a:pt x="355" y="535"/>
                  </a:cubicBezTo>
                  <a:cubicBezTo>
                    <a:pt x="354" y="529"/>
                    <a:pt x="354" y="527"/>
                    <a:pt x="359" y="521"/>
                  </a:cubicBezTo>
                  <a:cubicBezTo>
                    <a:pt x="362" y="517"/>
                    <a:pt x="370" y="510"/>
                    <a:pt x="377" y="505"/>
                  </a:cubicBezTo>
                  <a:cubicBezTo>
                    <a:pt x="384" y="500"/>
                    <a:pt x="390" y="495"/>
                    <a:pt x="393" y="494"/>
                  </a:cubicBezTo>
                  <a:cubicBezTo>
                    <a:pt x="398" y="493"/>
                    <a:pt x="404" y="495"/>
                    <a:pt x="409" y="498"/>
                  </a:cubicBezTo>
                  <a:cubicBezTo>
                    <a:pt x="414" y="500"/>
                    <a:pt x="419" y="502"/>
                    <a:pt x="421" y="501"/>
                  </a:cubicBezTo>
                  <a:cubicBezTo>
                    <a:pt x="424" y="501"/>
                    <a:pt x="427" y="500"/>
                    <a:pt x="430" y="498"/>
                  </a:cubicBezTo>
                  <a:cubicBezTo>
                    <a:pt x="434" y="496"/>
                    <a:pt x="437" y="493"/>
                    <a:pt x="438" y="491"/>
                  </a:cubicBezTo>
                  <a:cubicBezTo>
                    <a:pt x="438" y="491"/>
                    <a:pt x="438" y="491"/>
                    <a:pt x="438" y="490"/>
                  </a:cubicBezTo>
                  <a:cubicBezTo>
                    <a:pt x="437" y="487"/>
                    <a:pt x="437" y="485"/>
                    <a:pt x="439" y="481"/>
                  </a:cubicBezTo>
                  <a:cubicBezTo>
                    <a:pt x="439" y="480"/>
                    <a:pt x="439" y="480"/>
                    <a:pt x="439" y="480"/>
                  </a:cubicBezTo>
                  <a:cubicBezTo>
                    <a:pt x="443" y="474"/>
                    <a:pt x="443" y="474"/>
                    <a:pt x="459" y="468"/>
                  </a:cubicBezTo>
                  <a:cubicBezTo>
                    <a:pt x="462" y="466"/>
                    <a:pt x="465" y="465"/>
                    <a:pt x="468" y="464"/>
                  </a:cubicBezTo>
                  <a:cubicBezTo>
                    <a:pt x="477" y="460"/>
                    <a:pt x="482" y="458"/>
                    <a:pt x="489" y="458"/>
                  </a:cubicBezTo>
                  <a:cubicBezTo>
                    <a:pt x="495" y="458"/>
                    <a:pt x="498" y="461"/>
                    <a:pt x="501" y="464"/>
                  </a:cubicBezTo>
                  <a:cubicBezTo>
                    <a:pt x="503" y="466"/>
                    <a:pt x="506" y="469"/>
                    <a:pt x="511" y="469"/>
                  </a:cubicBezTo>
                  <a:cubicBezTo>
                    <a:pt x="520" y="469"/>
                    <a:pt x="529" y="459"/>
                    <a:pt x="534" y="453"/>
                  </a:cubicBezTo>
                  <a:cubicBezTo>
                    <a:pt x="535" y="452"/>
                    <a:pt x="536" y="451"/>
                    <a:pt x="536" y="451"/>
                  </a:cubicBezTo>
                  <a:cubicBezTo>
                    <a:pt x="537" y="450"/>
                    <a:pt x="537" y="444"/>
                    <a:pt x="536" y="437"/>
                  </a:cubicBezTo>
                  <a:cubicBezTo>
                    <a:pt x="535" y="429"/>
                    <a:pt x="534" y="421"/>
                    <a:pt x="536" y="415"/>
                  </a:cubicBezTo>
                  <a:cubicBezTo>
                    <a:pt x="539" y="409"/>
                    <a:pt x="542" y="407"/>
                    <a:pt x="545" y="405"/>
                  </a:cubicBezTo>
                  <a:cubicBezTo>
                    <a:pt x="546" y="403"/>
                    <a:pt x="547" y="402"/>
                    <a:pt x="548" y="401"/>
                  </a:cubicBezTo>
                  <a:cubicBezTo>
                    <a:pt x="548" y="399"/>
                    <a:pt x="548" y="397"/>
                    <a:pt x="548" y="394"/>
                  </a:cubicBezTo>
                  <a:cubicBezTo>
                    <a:pt x="547" y="387"/>
                    <a:pt x="546" y="380"/>
                    <a:pt x="553" y="374"/>
                  </a:cubicBezTo>
                  <a:cubicBezTo>
                    <a:pt x="558" y="370"/>
                    <a:pt x="563" y="370"/>
                    <a:pt x="568" y="371"/>
                  </a:cubicBezTo>
                  <a:cubicBezTo>
                    <a:pt x="568" y="371"/>
                    <a:pt x="568" y="371"/>
                    <a:pt x="568" y="371"/>
                  </a:cubicBezTo>
                  <a:cubicBezTo>
                    <a:pt x="572" y="371"/>
                    <a:pt x="575" y="371"/>
                    <a:pt x="580" y="370"/>
                  </a:cubicBezTo>
                  <a:cubicBezTo>
                    <a:pt x="584" y="368"/>
                    <a:pt x="588" y="366"/>
                    <a:pt x="590" y="364"/>
                  </a:cubicBezTo>
                  <a:cubicBezTo>
                    <a:pt x="594" y="361"/>
                    <a:pt x="596" y="359"/>
                    <a:pt x="597" y="356"/>
                  </a:cubicBezTo>
                  <a:cubicBezTo>
                    <a:pt x="597" y="355"/>
                    <a:pt x="591" y="346"/>
                    <a:pt x="586" y="338"/>
                  </a:cubicBezTo>
                  <a:cubicBezTo>
                    <a:pt x="583" y="333"/>
                    <a:pt x="580" y="329"/>
                    <a:pt x="579" y="326"/>
                  </a:cubicBezTo>
                  <a:cubicBezTo>
                    <a:pt x="579" y="326"/>
                    <a:pt x="579" y="326"/>
                    <a:pt x="579" y="326"/>
                  </a:cubicBezTo>
                  <a:cubicBezTo>
                    <a:pt x="578" y="325"/>
                    <a:pt x="578" y="325"/>
                    <a:pt x="578" y="325"/>
                  </a:cubicBezTo>
                  <a:cubicBezTo>
                    <a:pt x="577" y="321"/>
                    <a:pt x="575" y="317"/>
                    <a:pt x="575" y="313"/>
                  </a:cubicBezTo>
                  <a:cubicBezTo>
                    <a:pt x="576" y="307"/>
                    <a:pt x="580" y="303"/>
                    <a:pt x="594" y="304"/>
                  </a:cubicBezTo>
                  <a:cubicBezTo>
                    <a:pt x="602" y="305"/>
                    <a:pt x="607" y="307"/>
                    <a:pt x="612" y="308"/>
                  </a:cubicBezTo>
                  <a:cubicBezTo>
                    <a:pt x="616" y="309"/>
                    <a:pt x="620" y="310"/>
                    <a:pt x="628" y="309"/>
                  </a:cubicBezTo>
                  <a:cubicBezTo>
                    <a:pt x="634" y="309"/>
                    <a:pt x="639" y="307"/>
                    <a:pt x="643" y="304"/>
                  </a:cubicBezTo>
                  <a:cubicBezTo>
                    <a:pt x="646" y="302"/>
                    <a:pt x="648" y="298"/>
                    <a:pt x="650" y="294"/>
                  </a:cubicBezTo>
                  <a:cubicBezTo>
                    <a:pt x="651" y="292"/>
                    <a:pt x="650" y="290"/>
                    <a:pt x="649" y="288"/>
                  </a:cubicBezTo>
                  <a:cubicBezTo>
                    <a:pt x="647" y="284"/>
                    <a:pt x="644" y="280"/>
                    <a:pt x="646" y="273"/>
                  </a:cubicBezTo>
                  <a:cubicBezTo>
                    <a:pt x="647" y="267"/>
                    <a:pt x="651" y="261"/>
                    <a:pt x="655" y="256"/>
                  </a:cubicBezTo>
                  <a:cubicBezTo>
                    <a:pt x="659" y="251"/>
                    <a:pt x="664" y="247"/>
                    <a:pt x="667" y="244"/>
                  </a:cubicBezTo>
                  <a:cubicBezTo>
                    <a:pt x="670" y="241"/>
                    <a:pt x="673" y="239"/>
                    <a:pt x="675" y="236"/>
                  </a:cubicBezTo>
                  <a:cubicBezTo>
                    <a:pt x="677" y="233"/>
                    <a:pt x="679" y="229"/>
                    <a:pt x="680" y="223"/>
                  </a:cubicBezTo>
                  <a:cubicBezTo>
                    <a:pt x="682" y="218"/>
                    <a:pt x="683" y="214"/>
                    <a:pt x="682" y="212"/>
                  </a:cubicBezTo>
                  <a:cubicBezTo>
                    <a:pt x="682" y="209"/>
                    <a:pt x="681" y="206"/>
                    <a:pt x="679" y="202"/>
                  </a:cubicBezTo>
                  <a:cubicBezTo>
                    <a:pt x="676" y="198"/>
                    <a:pt x="673" y="194"/>
                    <a:pt x="670" y="189"/>
                  </a:cubicBezTo>
                  <a:cubicBezTo>
                    <a:pt x="664" y="183"/>
                    <a:pt x="660" y="176"/>
                    <a:pt x="659" y="171"/>
                  </a:cubicBezTo>
                  <a:cubicBezTo>
                    <a:pt x="658" y="167"/>
                    <a:pt x="660" y="163"/>
                    <a:pt x="664" y="159"/>
                  </a:cubicBezTo>
                  <a:cubicBezTo>
                    <a:pt x="667" y="155"/>
                    <a:pt x="672" y="151"/>
                    <a:pt x="677" y="147"/>
                  </a:cubicBezTo>
                  <a:cubicBezTo>
                    <a:pt x="689" y="138"/>
                    <a:pt x="689" y="138"/>
                    <a:pt x="699" y="138"/>
                  </a:cubicBezTo>
                  <a:cubicBezTo>
                    <a:pt x="700" y="138"/>
                    <a:pt x="700" y="138"/>
                    <a:pt x="700" y="138"/>
                  </a:cubicBezTo>
                  <a:cubicBezTo>
                    <a:pt x="704" y="139"/>
                    <a:pt x="712" y="133"/>
                    <a:pt x="720" y="127"/>
                  </a:cubicBezTo>
                  <a:cubicBezTo>
                    <a:pt x="725" y="124"/>
                    <a:pt x="730" y="120"/>
                    <a:pt x="734" y="118"/>
                  </a:cubicBezTo>
                  <a:cubicBezTo>
                    <a:pt x="742" y="114"/>
                    <a:pt x="746" y="114"/>
                    <a:pt x="756" y="113"/>
                  </a:cubicBezTo>
                  <a:cubicBezTo>
                    <a:pt x="758" y="113"/>
                    <a:pt x="760" y="113"/>
                    <a:pt x="763" y="112"/>
                  </a:cubicBezTo>
                  <a:cubicBezTo>
                    <a:pt x="770" y="111"/>
                    <a:pt x="780" y="111"/>
                    <a:pt x="789" y="110"/>
                  </a:cubicBezTo>
                  <a:cubicBezTo>
                    <a:pt x="800" y="109"/>
                    <a:pt x="810" y="108"/>
                    <a:pt x="814" y="108"/>
                  </a:cubicBezTo>
                  <a:cubicBezTo>
                    <a:pt x="819" y="108"/>
                    <a:pt x="821" y="110"/>
                    <a:pt x="823" y="111"/>
                  </a:cubicBezTo>
                  <a:cubicBezTo>
                    <a:pt x="825" y="112"/>
                    <a:pt x="827" y="114"/>
                    <a:pt x="834" y="112"/>
                  </a:cubicBezTo>
                  <a:cubicBezTo>
                    <a:pt x="840" y="110"/>
                    <a:pt x="844" y="108"/>
                    <a:pt x="849" y="105"/>
                  </a:cubicBezTo>
                  <a:cubicBezTo>
                    <a:pt x="853" y="103"/>
                    <a:pt x="856" y="101"/>
                    <a:pt x="861" y="100"/>
                  </a:cubicBezTo>
                  <a:cubicBezTo>
                    <a:pt x="861" y="99"/>
                    <a:pt x="860" y="98"/>
                    <a:pt x="860" y="97"/>
                  </a:cubicBezTo>
                  <a:cubicBezTo>
                    <a:pt x="859" y="95"/>
                    <a:pt x="858" y="92"/>
                    <a:pt x="858" y="91"/>
                  </a:cubicBezTo>
                  <a:cubicBezTo>
                    <a:pt x="858" y="87"/>
                    <a:pt x="863" y="83"/>
                    <a:pt x="869" y="8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3" name="Freeform 253"/>
            <p:cNvSpPr>
              <a:spLocks/>
            </p:cNvSpPr>
            <p:nvPr/>
          </p:nvSpPr>
          <p:spPr bwMode="auto">
            <a:xfrm>
              <a:off x="5784169" y="4094057"/>
              <a:ext cx="141684" cy="73819"/>
            </a:xfrm>
            <a:custGeom>
              <a:avLst/>
              <a:gdLst>
                <a:gd name="T0" fmla="*/ 13 w 491"/>
                <a:gd name="T1" fmla="*/ 66 h 259"/>
                <a:gd name="T2" fmla="*/ 5 w 491"/>
                <a:gd name="T3" fmla="*/ 83 h 259"/>
                <a:gd name="T4" fmla="*/ 1 w 491"/>
                <a:gd name="T5" fmla="*/ 98 h 259"/>
                <a:gd name="T6" fmla="*/ 13 w 491"/>
                <a:gd name="T7" fmla="*/ 112 h 259"/>
                <a:gd name="T8" fmla="*/ 27 w 491"/>
                <a:gd name="T9" fmla="*/ 111 h 259"/>
                <a:gd name="T10" fmla="*/ 53 w 491"/>
                <a:gd name="T11" fmla="*/ 121 h 259"/>
                <a:gd name="T12" fmla="*/ 86 w 491"/>
                <a:gd name="T13" fmla="*/ 141 h 259"/>
                <a:gd name="T14" fmla="*/ 101 w 491"/>
                <a:gd name="T15" fmla="*/ 156 h 259"/>
                <a:gd name="T16" fmla="*/ 114 w 491"/>
                <a:gd name="T17" fmla="*/ 158 h 259"/>
                <a:gd name="T18" fmla="*/ 135 w 491"/>
                <a:gd name="T19" fmla="*/ 162 h 259"/>
                <a:gd name="T20" fmla="*/ 148 w 491"/>
                <a:gd name="T21" fmla="*/ 169 h 259"/>
                <a:gd name="T22" fmla="*/ 179 w 491"/>
                <a:gd name="T23" fmla="*/ 188 h 259"/>
                <a:gd name="T24" fmla="*/ 189 w 491"/>
                <a:gd name="T25" fmla="*/ 191 h 259"/>
                <a:gd name="T26" fmla="*/ 197 w 491"/>
                <a:gd name="T27" fmla="*/ 192 h 259"/>
                <a:gd name="T28" fmla="*/ 217 w 491"/>
                <a:gd name="T29" fmla="*/ 191 h 259"/>
                <a:gd name="T30" fmla="*/ 233 w 491"/>
                <a:gd name="T31" fmla="*/ 192 h 259"/>
                <a:gd name="T32" fmla="*/ 259 w 491"/>
                <a:gd name="T33" fmla="*/ 189 h 259"/>
                <a:gd name="T34" fmla="*/ 275 w 491"/>
                <a:gd name="T35" fmla="*/ 202 h 259"/>
                <a:gd name="T36" fmla="*/ 294 w 491"/>
                <a:gd name="T37" fmla="*/ 219 h 259"/>
                <a:gd name="T38" fmla="*/ 309 w 491"/>
                <a:gd name="T39" fmla="*/ 227 h 259"/>
                <a:gd name="T40" fmla="*/ 328 w 491"/>
                <a:gd name="T41" fmla="*/ 233 h 259"/>
                <a:gd name="T42" fmla="*/ 349 w 491"/>
                <a:gd name="T43" fmla="*/ 239 h 259"/>
                <a:gd name="T44" fmla="*/ 366 w 491"/>
                <a:gd name="T45" fmla="*/ 244 h 259"/>
                <a:gd name="T46" fmla="*/ 399 w 491"/>
                <a:gd name="T47" fmla="*/ 254 h 259"/>
                <a:gd name="T48" fmla="*/ 407 w 491"/>
                <a:gd name="T49" fmla="*/ 255 h 259"/>
                <a:gd name="T50" fmla="*/ 429 w 491"/>
                <a:gd name="T51" fmla="*/ 255 h 259"/>
                <a:gd name="T52" fmla="*/ 437 w 491"/>
                <a:gd name="T53" fmla="*/ 258 h 259"/>
                <a:gd name="T54" fmla="*/ 472 w 491"/>
                <a:gd name="T55" fmla="*/ 259 h 259"/>
                <a:gd name="T56" fmla="*/ 481 w 491"/>
                <a:gd name="T57" fmla="*/ 259 h 259"/>
                <a:gd name="T58" fmla="*/ 491 w 491"/>
                <a:gd name="T59" fmla="*/ 245 h 259"/>
                <a:gd name="T60" fmla="*/ 487 w 491"/>
                <a:gd name="T61" fmla="*/ 225 h 259"/>
                <a:gd name="T62" fmla="*/ 485 w 491"/>
                <a:gd name="T63" fmla="*/ 200 h 259"/>
                <a:gd name="T64" fmla="*/ 488 w 491"/>
                <a:gd name="T65" fmla="*/ 179 h 259"/>
                <a:gd name="T66" fmla="*/ 486 w 491"/>
                <a:gd name="T67" fmla="*/ 171 h 259"/>
                <a:gd name="T68" fmla="*/ 436 w 491"/>
                <a:gd name="T69" fmla="*/ 167 h 259"/>
                <a:gd name="T70" fmla="*/ 409 w 491"/>
                <a:gd name="T71" fmla="*/ 157 h 259"/>
                <a:gd name="T72" fmla="*/ 392 w 491"/>
                <a:gd name="T73" fmla="*/ 162 h 259"/>
                <a:gd name="T74" fmla="*/ 382 w 491"/>
                <a:gd name="T75" fmla="*/ 158 h 259"/>
                <a:gd name="T76" fmla="*/ 370 w 491"/>
                <a:gd name="T77" fmla="*/ 159 h 259"/>
                <a:gd name="T78" fmla="*/ 351 w 491"/>
                <a:gd name="T79" fmla="*/ 150 h 259"/>
                <a:gd name="T80" fmla="*/ 332 w 491"/>
                <a:gd name="T81" fmla="*/ 139 h 259"/>
                <a:gd name="T82" fmla="*/ 307 w 491"/>
                <a:gd name="T83" fmla="*/ 131 h 259"/>
                <a:gd name="T84" fmla="*/ 304 w 491"/>
                <a:gd name="T85" fmla="*/ 121 h 259"/>
                <a:gd name="T86" fmla="*/ 286 w 491"/>
                <a:gd name="T87" fmla="*/ 119 h 259"/>
                <a:gd name="T88" fmla="*/ 264 w 491"/>
                <a:gd name="T89" fmla="*/ 107 h 259"/>
                <a:gd name="T90" fmla="*/ 249 w 491"/>
                <a:gd name="T91" fmla="*/ 89 h 259"/>
                <a:gd name="T92" fmla="*/ 248 w 491"/>
                <a:gd name="T93" fmla="*/ 87 h 259"/>
                <a:gd name="T94" fmla="*/ 239 w 491"/>
                <a:gd name="T95" fmla="*/ 78 h 259"/>
                <a:gd name="T96" fmla="*/ 217 w 491"/>
                <a:gd name="T97" fmla="*/ 78 h 259"/>
                <a:gd name="T98" fmla="*/ 197 w 491"/>
                <a:gd name="T99" fmla="*/ 59 h 259"/>
                <a:gd name="T100" fmla="*/ 182 w 491"/>
                <a:gd name="T101" fmla="*/ 51 h 259"/>
                <a:gd name="T102" fmla="*/ 164 w 491"/>
                <a:gd name="T103" fmla="*/ 43 h 259"/>
                <a:gd name="T104" fmla="*/ 126 w 491"/>
                <a:gd name="T105" fmla="*/ 18 h 259"/>
                <a:gd name="T106" fmla="*/ 118 w 491"/>
                <a:gd name="T107" fmla="*/ 8 h 259"/>
                <a:gd name="T108" fmla="*/ 97 w 491"/>
                <a:gd name="T109" fmla="*/ 1 h 259"/>
                <a:gd name="T110" fmla="*/ 81 w 491"/>
                <a:gd name="T111" fmla="*/ 4 h 259"/>
                <a:gd name="T112" fmla="*/ 76 w 491"/>
                <a:gd name="T113" fmla="*/ 12 h 259"/>
                <a:gd name="T114" fmla="*/ 63 w 491"/>
                <a:gd name="T115" fmla="*/ 18 h 259"/>
                <a:gd name="T116" fmla="*/ 59 w 491"/>
                <a:gd name="T117" fmla="*/ 16 h 259"/>
                <a:gd name="T118" fmla="*/ 50 w 491"/>
                <a:gd name="T119" fmla="*/ 12 h 259"/>
                <a:gd name="T120" fmla="*/ 40 w 491"/>
                <a:gd name="T121" fmla="*/ 22 h 259"/>
                <a:gd name="T122" fmla="*/ 24 w 491"/>
                <a:gd name="T123" fmla="*/ 37 h 259"/>
                <a:gd name="T124" fmla="*/ 20 w 491"/>
                <a:gd name="T125" fmla="*/ 53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1" h="259">
                  <a:moveTo>
                    <a:pt x="17" y="56"/>
                  </a:moveTo>
                  <a:cubicBezTo>
                    <a:pt x="14" y="61"/>
                    <a:pt x="13" y="61"/>
                    <a:pt x="13" y="66"/>
                  </a:cubicBezTo>
                  <a:cubicBezTo>
                    <a:pt x="13" y="70"/>
                    <a:pt x="11" y="73"/>
                    <a:pt x="9" y="76"/>
                  </a:cubicBezTo>
                  <a:cubicBezTo>
                    <a:pt x="8" y="78"/>
                    <a:pt x="6" y="80"/>
                    <a:pt x="5" y="83"/>
                  </a:cubicBezTo>
                  <a:cubicBezTo>
                    <a:pt x="3" y="87"/>
                    <a:pt x="3" y="87"/>
                    <a:pt x="3" y="87"/>
                  </a:cubicBezTo>
                  <a:cubicBezTo>
                    <a:pt x="1" y="93"/>
                    <a:pt x="0" y="95"/>
                    <a:pt x="1" y="98"/>
                  </a:cubicBezTo>
                  <a:cubicBezTo>
                    <a:pt x="2" y="100"/>
                    <a:pt x="4" y="103"/>
                    <a:pt x="6" y="106"/>
                  </a:cubicBezTo>
                  <a:cubicBezTo>
                    <a:pt x="8" y="108"/>
                    <a:pt x="10" y="111"/>
                    <a:pt x="13" y="112"/>
                  </a:cubicBezTo>
                  <a:cubicBezTo>
                    <a:pt x="14" y="113"/>
                    <a:pt x="16" y="113"/>
                    <a:pt x="19" y="112"/>
                  </a:cubicBezTo>
                  <a:cubicBezTo>
                    <a:pt x="21" y="111"/>
                    <a:pt x="24" y="111"/>
                    <a:pt x="27" y="111"/>
                  </a:cubicBezTo>
                  <a:cubicBezTo>
                    <a:pt x="30" y="111"/>
                    <a:pt x="35" y="112"/>
                    <a:pt x="40" y="114"/>
                  </a:cubicBezTo>
                  <a:cubicBezTo>
                    <a:pt x="44" y="116"/>
                    <a:pt x="48" y="118"/>
                    <a:pt x="53" y="121"/>
                  </a:cubicBezTo>
                  <a:cubicBezTo>
                    <a:pt x="57" y="124"/>
                    <a:pt x="62" y="126"/>
                    <a:pt x="66" y="128"/>
                  </a:cubicBezTo>
                  <a:cubicBezTo>
                    <a:pt x="74" y="132"/>
                    <a:pt x="82" y="135"/>
                    <a:pt x="86" y="141"/>
                  </a:cubicBezTo>
                  <a:cubicBezTo>
                    <a:pt x="89" y="144"/>
                    <a:pt x="91" y="146"/>
                    <a:pt x="92" y="148"/>
                  </a:cubicBezTo>
                  <a:cubicBezTo>
                    <a:pt x="95" y="152"/>
                    <a:pt x="96" y="154"/>
                    <a:pt x="101" y="156"/>
                  </a:cubicBezTo>
                  <a:cubicBezTo>
                    <a:pt x="105" y="158"/>
                    <a:pt x="110" y="158"/>
                    <a:pt x="114" y="158"/>
                  </a:cubicBezTo>
                  <a:cubicBezTo>
                    <a:pt x="114" y="158"/>
                    <a:pt x="114" y="158"/>
                    <a:pt x="114" y="158"/>
                  </a:cubicBezTo>
                  <a:cubicBezTo>
                    <a:pt x="118" y="158"/>
                    <a:pt x="121" y="158"/>
                    <a:pt x="125" y="159"/>
                  </a:cubicBezTo>
                  <a:cubicBezTo>
                    <a:pt x="128" y="160"/>
                    <a:pt x="131" y="161"/>
                    <a:pt x="135" y="162"/>
                  </a:cubicBezTo>
                  <a:cubicBezTo>
                    <a:pt x="138" y="164"/>
                    <a:pt x="142" y="165"/>
                    <a:pt x="145" y="167"/>
                  </a:cubicBezTo>
                  <a:cubicBezTo>
                    <a:pt x="146" y="168"/>
                    <a:pt x="147" y="168"/>
                    <a:pt x="148" y="169"/>
                  </a:cubicBezTo>
                  <a:cubicBezTo>
                    <a:pt x="154" y="171"/>
                    <a:pt x="158" y="173"/>
                    <a:pt x="164" y="180"/>
                  </a:cubicBezTo>
                  <a:cubicBezTo>
                    <a:pt x="169" y="185"/>
                    <a:pt x="174" y="186"/>
                    <a:pt x="179" y="188"/>
                  </a:cubicBezTo>
                  <a:cubicBezTo>
                    <a:pt x="179" y="188"/>
                    <a:pt x="180" y="188"/>
                    <a:pt x="181" y="188"/>
                  </a:cubicBezTo>
                  <a:cubicBezTo>
                    <a:pt x="183" y="189"/>
                    <a:pt x="186" y="190"/>
                    <a:pt x="189" y="191"/>
                  </a:cubicBezTo>
                  <a:cubicBezTo>
                    <a:pt x="191" y="193"/>
                    <a:pt x="194" y="194"/>
                    <a:pt x="195" y="194"/>
                  </a:cubicBezTo>
                  <a:cubicBezTo>
                    <a:pt x="195" y="194"/>
                    <a:pt x="196" y="193"/>
                    <a:pt x="197" y="192"/>
                  </a:cubicBezTo>
                  <a:cubicBezTo>
                    <a:pt x="199" y="190"/>
                    <a:pt x="201" y="187"/>
                    <a:pt x="206" y="187"/>
                  </a:cubicBezTo>
                  <a:cubicBezTo>
                    <a:pt x="210" y="187"/>
                    <a:pt x="213" y="189"/>
                    <a:pt x="217" y="191"/>
                  </a:cubicBezTo>
                  <a:cubicBezTo>
                    <a:pt x="220" y="192"/>
                    <a:pt x="223" y="193"/>
                    <a:pt x="224" y="193"/>
                  </a:cubicBezTo>
                  <a:cubicBezTo>
                    <a:pt x="226" y="193"/>
                    <a:pt x="230" y="192"/>
                    <a:pt x="233" y="192"/>
                  </a:cubicBezTo>
                  <a:cubicBezTo>
                    <a:pt x="238" y="191"/>
                    <a:pt x="243" y="190"/>
                    <a:pt x="247" y="189"/>
                  </a:cubicBezTo>
                  <a:cubicBezTo>
                    <a:pt x="251" y="188"/>
                    <a:pt x="255" y="188"/>
                    <a:pt x="259" y="189"/>
                  </a:cubicBezTo>
                  <a:cubicBezTo>
                    <a:pt x="263" y="190"/>
                    <a:pt x="267" y="191"/>
                    <a:pt x="269" y="194"/>
                  </a:cubicBezTo>
                  <a:cubicBezTo>
                    <a:pt x="272" y="197"/>
                    <a:pt x="274" y="199"/>
                    <a:pt x="275" y="202"/>
                  </a:cubicBezTo>
                  <a:cubicBezTo>
                    <a:pt x="276" y="205"/>
                    <a:pt x="278" y="208"/>
                    <a:pt x="281" y="213"/>
                  </a:cubicBezTo>
                  <a:cubicBezTo>
                    <a:pt x="285" y="217"/>
                    <a:pt x="290" y="218"/>
                    <a:pt x="294" y="219"/>
                  </a:cubicBezTo>
                  <a:cubicBezTo>
                    <a:pt x="298" y="219"/>
                    <a:pt x="301" y="220"/>
                    <a:pt x="304" y="222"/>
                  </a:cubicBezTo>
                  <a:cubicBezTo>
                    <a:pt x="306" y="224"/>
                    <a:pt x="307" y="225"/>
                    <a:pt x="309" y="227"/>
                  </a:cubicBezTo>
                  <a:cubicBezTo>
                    <a:pt x="312" y="231"/>
                    <a:pt x="316" y="235"/>
                    <a:pt x="321" y="235"/>
                  </a:cubicBezTo>
                  <a:cubicBezTo>
                    <a:pt x="324" y="235"/>
                    <a:pt x="326" y="234"/>
                    <a:pt x="328" y="233"/>
                  </a:cubicBezTo>
                  <a:cubicBezTo>
                    <a:pt x="332" y="232"/>
                    <a:pt x="335" y="230"/>
                    <a:pt x="341" y="233"/>
                  </a:cubicBezTo>
                  <a:cubicBezTo>
                    <a:pt x="344" y="235"/>
                    <a:pt x="346" y="237"/>
                    <a:pt x="349" y="239"/>
                  </a:cubicBezTo>
                  <a:cubicBezTo>
                    <a:pt x="351" y="242"/>
                    <a:pt x="354" y="245"/>
                    <a:pt x="359" y="245"/>
                  </a:cubicBezTo>
                  <a:cubicBezTo>
                    <a:pt x="362" y="245"/>
                    <a:pt x="364" y="244"/>
                    <a:pt x="366" y="244"/>
                  </a:cubicBezTo>
                  <a:cubicBezTo>
                    <a:pt x="372" y="243"/>
                    <a:pt x="376" y="242"/>
                    <a:pt x="385" y="246"/>
                  </a:cubicBezTo>
                  <a:cubicBezTo>
                    <a:pt x="392" y="248"/>
                    <a:pt x="396" y="251"/>
                    <a:pt x="399" y="254"/>
                  </a:cubicBezTo>
                  <a:cubicBezTo>
                    <a:pt x="402" y="256"/>
                    <a:pt x="404" y="257"/>
                    <a:pt x="404" y="257"/>
                  </a:cubicBezTo>
                  <a:cubicBezTo>
                    <a:pt x="405" y="256"/>
                    <a:pt x="406" y="256"/>
                    <a:pt x="407" y="255"/>
                  </a:cubicBezTo>
                  <a:cubicBezTo>
                    <a:pt x="411" y="252"/>
                    <a:pt x="415" y="250"/>
                    <a:pt x="421" y="250"/>
                  </a:cubicBezTo>
                  <a:cubicBezTo>
                    <a:pt x="426" y="250"/>
                    <a:pt x="428" y="253"/>
                    <a:pt x="429" y="255"/>
                  </a:cubicBezTo>
                  <a:cubicBezTo>
                    <a:pt x="430" y="256"/>
                    <a:pt x="430" y="258"/>
                    <a:pt x="435" y="258"/>
                  </a:cubicBezTo>
                  <a:cubicBezTo>
                    <a:pt x="437" y="258"/>
                    <a:pt x="437" y="258"/>
                    <a:pt x="437" y="258"/>
                  </a:cubicBezTo>
                  <a:cubicBezTo>
                    <a:pt x="446" y="258"/>
                    <a:pt x="446" y="258"/>
                    <a:pt x="460" y="258"/>
                  </a:cubicBezTo>
                  <a:cubicBezTo>
                    <a:pt x="464" y="258"/>
                    <a:pt x="468" y="258"/>
                    <a:pt x="472" y="259"/>
                  </a:cubicBezTo>
                  <a:cubicBezTo>
                    <a:pt x="478" y="259"/>
                    <a:pt x="481" y="259"/>
                    <a:pt x="481" y="259"/>
                  </a:cubicBezTo>
                  <a:cubicBezTo>
                    <a:pt x="481" y="259"/>
                    <a:pt x="481" y="259"/>
                    <a:pt x="481" y="259"/>
                  </a:cubicBezTo>
                  <a:cubicBezTo>
                    <a:pt x="482" y="257"/>
                    <a:pt x="484" y="256"/>
                    <a:pt x="485" y="254"/>
                  </a:cubicBezTo>
                  <a:cubicBezTo>
                    <a:pt x="488" y="251"/>
                    <a:pt x="491" y="248"/>
                    <a:pt x="491" y="245"/>
                  </a:cubicBezTo>
                  <a:cubicBezTo>
                    <a:pt x="491" y="242"/>
                    <a:pt x="491" y="239"/>
                    <a:pt x="490" y="236"/>
                  </a:cubicBezTo>
                  <a:cubicBezTo>
                    <a:pt x="489" y="233"/>
                    <a:pt x="488" y="230"/>
                    <a:pt x="487" y="225"/>
                  </a:cubicBezTo>
                  <a:cubicBezTo>
                    <a:pt x="486" y="223"/>
                    <a:pt x="486" y="221"/>
                    <a:pt x="486" y="219"/>
                  </a:cubicBezTo>
                  <a:cubicBezTo>
                    <a:pt x="484" y="214"/>
                    <a:pt x="484" y="210"/>
                    <a:pt x="485" y="200"/>
                  </a:cubicBezTo>
                  <a:cubicBezTo>
                    <a:pt x="486" y="194"/>
                    <a:pt x="486" y="190"/>
                    <a:pt x="487" y="187"/>
                  </a:cubicBezTo>
                  <a:cubicBezTo>
                    <a:pt x="487" y="184"/>
                    <a:pt x="488" y="182"/>
                    <a:pt x="488" y="179"/>
                  </a:cubicBezTo>
                  <a:cubicBezTo>
                    <a:pt x="488" y="176"/>
                    <a:pt x="488" y="173"/>
                    <a:pt x="487" y="171"/>
                  </a:cubicBezTo>
                  <a:cubicBezTo>
                    <a:pt x="487" y="171"/>
                    <a:pt x="486" y="171"/>
                    <a:pt x="486" y="171"/>
                  </a:cubicBezTo>
                  <a:cubicBezTo>
                    <a:pt x="480" y="171"/>
                    <a:pt x="471" y="171"/>
                    <a:pt x="462" y="170"/>
                  </a:cubicBezTo>
                  <a:cubicBezTo>
                    <a:pt x="453" y="170"/>
                    <a:pt x="443" y="168"/>
                    <a:pt x="436" y="167"/>
                  </a:cubicBezTo>
                  <a:cubicBezTo>
                    <a:pt x="428" y="165"/>
                    <a:pt x="423" y="162"/>
                    <a:pt x="419" y="160"/>
                  </a:cubicBezTo>
                  <a:cubicBezTo>
                    <a:pt x="415" y="158"/>
                    <a:pt x="412" y="157"/>
                    <a:pt x="409" y="157"/>
                  </a:cubicBezTo>
                  <a:cubicBezTo>
                    <a:pt x="406" y="156"/>
                    <a:pt x="404" y="157"/>
                    <a:pt x="401" y="159"/>
                  </a:cubicBezTo>
                  <a:cubicBezTo>
                    <a:pt x="399" y="160"/>
                    <a:pt x="396" y="162"/>
                    <a:pt x="392" y="162"/>
                  </a:cubicBezTo>
                  <a:cubicBezTo>
                    <a:pt x="388" y="162"/>
                    <a:pt x="385" y="160"/>
                    <a:pt x="382" y="158"/>
                  </a:cubicBezTo>
                  <a:cubicBezTo>
                    <a:pt x="382" y="158"/>
                    <a:pt x="382" y="158"/>
                    <a:pt x="382" y="158"/>
                  </a:cubicBezTo>
                  <a:cubicBezTo>
                    <a:pt x="380" y="157"/>
                    <a:pt x="377" y="155"/>
                    <a:pt x="375" y="156"/>
                  </a:cubicBezTo>
                  <a:cubicBezTo>
                    <a:pt x="372" y="157"/>
                    <a:pt x="371" y="158"/>
                    <a:pt x="370" y="159"/>
                  </a:cubicBezTo>
                  <a:cubicBezTo>
                    <a:pt x="368" y="161"/>
                    <a:pt x="366" y="162"/>
                    <a:pt x="361" y="161"/>
                  </a:cubicBezTo>
                  <a:cubicBezTo>
                    <a:pt x="357" y="160"/>
                    <a:pt x="354" y="155"/>
                    <a:pt x="351" y="150"/>
                  </a:cubicBezTo>
                  <a:cubicBezTo>
                    <a:pt x="348" y="145"/>
                    <a:pt x="344" y="140"/>
                    <a:pt x="341" y="140"/>
                  </a:cubicBezTo>
                  <a:cubicBezTo>
                    <a:pt x="339" y="139"/>
                    <a:pt x="336" y="139"/>
                    <a:pt x="332" y="139"/>
                  </a:cubicBezTo>
                  <a:cubicBezTo>
                    <a:pt x="322" y="139"/>
                    <a:pt x="309" y="138"/>
                    <a:pt x="307" y="131"/>
                  </a:cubicBezTo>
                  <a:cubicBezTo>
                    <a:pt x="307" y="131"/>
                    <a:pt x="307" y="131"/>
                    <a:pt x="307" y="131"/>
                  </a:cubicBezTo>
                  <a:cubicBezTo>
                    <a:pt x="306" y="129"/>
                    <a:pt x="306" y="127"/>
                    <a:pt x="306" y="125"/>
                  </a:cubicBezTo>
                  <a:cubicBezTo>
                    <a:pt x="305" y="123"/>
                    <a:pt x="305" y="122"/>
                    <a:pt x="304" y="121"/>
                  </a:cubicBezTo>
                  <a:cubicBezTo>
                    <a:pt x="302" y="120"/>
                    <a:pt x="301" y="120"/>
                    <a:pt x="299" y="120"/>
                  </a:cubicBezTo>
                  <a:cubicBezTo>
                    <a:pt x="296" y="120"/>
                    <a:pt x="292" y="120"/>
                    <a:pt x="286" y="119"/>
                  </a:cubicBezTo>
                  <a:cubicBezTo>
                    <a:pt x="280" y="117"/>
                    <a:pt x="277" y="114"/>
                    <a:pt x="272" y="112"/>
                  </a:cubicBezTo>
                  <a:cubicBezTo>
                    <a:pt x="270" y="110"/>
                    <a:pt x="267" y="109"/>
                    <a:pt x="264" y="107"/>
                  </a:cubicBezTo>
                  <a:cubicBezTo>
                    <a:pt x="255" y="103"/>
                    <a:pt x="253" y="97"/>
                    <a:pt x="249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8" y="87"/>
                    <a:pt x="248" y="87"/>
                    <a:pt x="248" y="87"/>
                  </a:cubicBezTo>
                  <a:cubicBezTo>
                    <a:pt x="248" y="87"/>
                    <a:pt x="248" y="87"/>
                    <a:pt x="248" y="87"/>
                  </a:cubicBezTo>
                  <a:cubicBezTo>
                    <a:pt x="247" y="83"/>
                    <a:pt x="246" y="80"/>
                    <a:pt x="244" y="79"/>
                  </a:cubicBezTo>
                  <a:cubicBezTo>
                    <a:pt x="243" y="78"/>
                    <a:pt x="241" y="78"/>
                    <a:pt x="239" y="78"/>
                  </a:cubicBezTo>
                  <a:cubicBezTo>
                    <a:pt x="236" y="78"/>
                    <a:pt x="234" y="78"/>
                    <a:pt x="231" y="79"/>
                  </a:cubicBezTo>
                  <a:cubicBezTo>
                    <a:pt x="227" y="80"/>
                    <a:pt x="222" y="80"/>
                    <a:pt x="217" y="78"/>
                  </a:cubicBezTo>
                  <a:cubicBezTo>
                    <a:pt x="211" y="76"/>
                    <a:pt x="208" y="72"/>
                    <a:pt x="205" y="68"/>
                  </a:cubicBezTo>
                  <a:cubicBezTo>
                    <a:pt x="203" y="65"/>
                    <a:pt x="200" y="62"/>
                    <a:pt x="197" y="59"/>
                  </a:cubicBezTo>
                  <a:cubicBezTo>
                    <a:pt x="194" y="56"/>
                    <a:pt x="191" y="54"/>
                    <a:pt x="188" y="53"/>
                  </a:cubicBezTo>
                  <a:cubicBezTo>
                    <a:pt x="186" y="52"/>
                    <a:pt x="184" y="51"/>
                    <a:pt x="182" y="51"/>
                  </a:cubicBezTo>
                  <a:cubicBezTo>
                    <a:pt x="179" y="51"/>
                    <a:pt x="176" y="50"/>
                    <a:pt x="173" y="48"/>
                  </a:cubicBezTo>
                  <a:cubicBezTo>
                    <a:pt x="170" y="47"/>
                    <a:pt x="167" y="45"/>
                    <a:pt x="164" y="43"/>
                  </a:cubicBezTo>
                  <a:cubicBezTo>
                    <a:pt x="161" y="41"/>
                    <a:pt x="157" y="38"/>
                    <a:pt x="151" y="35"/>
                  </a:cubicBezTo>
                  <a:cubicBezTo>
                    <a:pt x="143" y="30"/>
                    <a:pt x="133" y="23"/>
                    <a:pt x="126" y="18"/>
                  </a:cubicBezTo>
                  <a:cubicBezTo>
                    <a:pt x="126" y="18"/>
                    <a:pt x="126" y="18"/>
                    <a:pt x="126" y="18"/>
                  </a:cubicBezTo>
                  <a:cubicBezTo>
                    <a:pt x="121" y="14"/>
                    <a:pt x="119" y="10"/>
                    <a:pt x="118" y="8"/>
                  </a:cubicBezTo>
                  <a:cubicBezTo>
                    <a:pt x="117" y="6"/>
                    <a:pt x="116" y="4"/>
                    <a:pt x="112" y="3"/>
                  </a:cubicBezTo>
                  <a:cubicBezTo>
                    <a:pt x="107" y="2"/>
                    <a:pt x="102" y="1"/>
                    <a:pt x="97" y="1"/>
                  </a:cubicBezTo>
                  <a:cubicBezTo>
                    <a:pt x="91" y="0"/>
                    <a:pt x="85" y="0"/>
                    <a:pt x="84" y="0"/>
                  </a:cubicBezTo>
                  <a:cubicBezTo>
                    <a:pt x="84" y="0"/>
                    <a:pt x="82" y="2"/>
                    <a:pt x="81" y="4"/>
                  </a:cubicBezTo>
                  <a:cubicBezTo>
                    <a:pt x="81" y="4"/>
                    <a:pt x="81" y="4"/>
                    <a:pt x="81" y="4"/>
                  </a:cubicBezTo>
                  <a:cubicBezTo>
                    <a:pt x="79" y="6"/>
                    <a:pt x="77" y="9"/>
                    <a:pt x="76" y="12"/>
                  </a:cubicBezTo>
                  <a:cubicBezTo>
                    <a:pt x="73" y="20"/>
                    <a:pt x="68" y="20"/>
                    <a:pt x="63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2" y="17"/>
                    <a:pt x="62" y="17"/>
                    <a:pt x="61" y="17"/>
                  </a:cubicBezTo>
                  <a:cubicBezTo>
                    <a:pt x="60" y="17"/>
                    <a:pt x="59" y="16"/>
                    <a:pt x="59" y="16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57" y="16"/>
                    <a:pt x="54" y="14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48" y="15"/>
                    <a:pt x="47" y="17"/>
                    <a:pt x="40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2" y="27"/>
                    <a:pt x="27" y="30"/>
                    <a:pt x="24" y="37"/>
                  </a:cubicBezTo>
                  <a:cubicBezTo>
                    <a:pt x="23" y="39"/>
                    <a:pt x="23" y="41"/>
                    <a:pt x="24" y="42"/>
                  </a:cubicBezTo>
                  <a:cubicBezTo>
                    <a:pt x="24" y="45"/>
                    <a:pt x="24" y="47"/>
                    <a:pt x="20" y="53"/>
                  </a:cubicBezTo>
                  <a:cubicBezTo>
                    <a:pt x="18" y="55"/>
                    <a:pt x="18" y="56"/>
                    <a:pt x="17" y="5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4" name="Freeform 254"/>
            <p:cNvSpPr>
              <a:spLocks/>
            </p:cNvSpPr>
            <p:nvPr/>
          </p:nvSpPr>
          <p:spPr bwMode="auto">
            <a:xfrm>
              <a:off x="5940141" y="4134538"/>
              <a:ext cx="55959" cy="27384"/>
            </a:xfrm>
            <a:custGeom>
              <a:avLst/>
              <a:gdLst>
                <a:gd name="T0" fmla="*/ 193 w 197"/>
                <a:gd name="T1" fmla="*/ 69 h 97"/>
                <a:gd name="T2" fmla="*/ 194 w 197"/>
                <a:gd name="T3" fmla="*/ 60 h 97"/>
                <a:gd name="T4" fmla="*/ 186 w 197"/>
                <a:gd name="T5" fmla="*/ 58 h 97"/>
                <a:gd name="T6" fmla="*/ 178 w 197"/>
                <a:gd name="T7" fmla="*/ 55 h 97"/>
                <a:gd name="T8" fmla="*/ 172 w 197"/>
                <a:gd name="T9" fmla="*/ 48 h 97"/>
                <a:gd name="T10" fmla="*/ 169 w 197"/>
                <a:gd name="T11" fmla="*/ 37 h 97"/>
                <a:gd name="T12" fmla="*/ 171 w 197"/>
                <a:gd name="T13" fmla="*/ 30 h 97"/>
                <a:gd name="T14" fmla="*/ 174 w 197"/>
                <a:gd name="T15" fmla="*/ 28 h 97"/>
                <a:gd name="T16" fmla="*/ 170 w 197"/>
                <a:gd name="T17" fmla="*/ 20 h 97"/>
                <a:gd name="T18" fmla="*/ 164 w 197"/>
                <a:gd name="T19" fmla="*/ 17 h 97"/>
                <a:gd name="T20" fmla="*/ 152 w 197"/>
                <a:gd name="T21" fmla="*/ 15 h 97"/>
                <a:gd name="T22" fmla="*/ 138 w 197"/>
                <a:gd name="T23" fmla="*/ 18 h 97"/>
                <a:gd name="T24" fmla="*/ 124 w 197"/>
                <a:gd name="T25" fmla="*/ 19 h 97"/>
                <a:gd name="T26" fmla="*/ 113 w 197"/>
                <a:gd name="T27" fmla="*/ 16 h 97"/>
                <a:gd name="T28" fmla="*/ 104 w 197"/>
                <a:gd name="T29" fmla="*/ 14 h 97"/>
                <a:gd name="T30" fmla="*/ 89 w 197"/>
                <a:gd name="T31" fmla="*/ 7 h 97"/>
                <a:gd name="T32" fmla="*/ 84 w 197"/>
                <a:gd name="T33" fmla="*/ 2 h 97"/>
                <a:gd name="T34" fmla="*/ 75 w 197"/>
                <a:gd name="T35" fmla="*/ 1 h 97"/>
                <a:gd name="T36" fmla="*/ 65 w 197"/>
                <a:gd name="T37" fmla="*/ 3 h 97"/>
                <a:gd name="T38" fmla="*/ 52 w 197"/>
                <a:gd name="T39" fmla="*/ 11 h 97"/>
                <a:gd name="T40" fmla="*/ 38 w 197"/>
                <a:gd name="T41" fmla="*/ 22 h 97"/>
                <a:gd name="T42" fmla="*/ 24 w 197"/>
                <a:gd name="T43" fmla="*/ 35 h 97"/>
                <a:gd name="T44" fmla="*/ 24 w 197"/>
                <a:gd name="T45" fmla="*/ 35 h 97"/>
                <a:gd name="T46" fmla="*/ 18 w 197"/>
                <a:gd name="T47" fmla="*/ 43 h 97"/>
                <a:gd name="T48" fmla="*/ 11 w 197"/>
                <a:gd name="T49" fmla="*/ 53 h 97"/>
                <a:gd name="T50" fmla="*/ 11 w 197"/>
                <a:gd name="T51" fmla="*/ 53 h 97"/>
                <a:gd name="T52" fmla="*/ 4 w 197"/>
                <a:gd name="T53" fmla="*/ 63 h 97"/>
                <a:gd name="T54" fmla="*/ 4 w 197"/>
                <a:gd name="T55" fmla="*/ 63 h 97"/>
                <a:gd name="T56" fmla="*/ 4 w 197"/>
                <a:gd name="T57" fmla="*/ 63 h 97"/>
                <a:gd name="T58" fmla="*/ 2 w 197"/>
                <a:gd name="T59" fmla="*/ 68 h 97"/>
                <a:gd name="T60" fmla="*/ 2 w 197"/>
                <a:gd name="T61" fmla="*/ 68 h 97"/>
                <a:gd name="T62" fmla="*/ 1 w 197"/>
                <a:gd name="T63" fmla="*/ 72 h 97"/>
                <a:gd name="T64" fmla="*/ 3 w 197"/>
                <a:gd name="T65" fmla="*/ 79 h 97"/>
                <a:gd name="T66" fmla="*/ 15 w 197"/>
                <a:gd name="T67" fmla="*/ 87 h 97"/>
                <a:gd name="T68" fmla="*/ 28 w 197"/>
                <a:gd name="T69" fmla="*/ 89 h 97"/>
                <a:gd name="T70" fmla="*/ 40 w 197"/>
                <a:gd name="T71" fmla="*/ 91 h 97"/>
                <a:gd name="T72" fmla="*/ 47 w 197"/>
                <a:gd name="T73" fmla="*/ 94 h 97"/>
                <a:gd name="T74" fmla="*/ 61 w 197"/>
                <a:gd name="T75" fmla="*/ 97 h 97"/>
                <a:gd name="T76" fmla="*/ 72 w 197"/>
                <a:gd name="T77" fmla="*/ 93 h 97"/>
                <a:gd name="T78" fmla="*/ 89 w 197"/>
                <a:gd name="T79" fmla="*/ 87 h 97"/>
                <a:gd name="T80" fmla="*/ 99 w 197"/>
                <a:gd name="T81" fmla="*/ 90 h 97"/>
                <a:gd name="T82" fmla="*/ 116 w 197"/>
                <a:gd name="T83" fmla="*/ 92 h 97"/>
                <a:gd name="T84" fmla="*/ 163 w 197"/>
                <a:gd name="T85" fmla="*/ 92 h 97"/>
                <a:gd name="T86" fmla="*/ 179 w 197"/>
                <a:gd name="T87" fmla="*/ 92 h 97"/>
                <a:gd name="T88" fmla="*/ 179 w 197"/>
                <a:gd name="T89" fmla="*/ 92 h 97"/>
                <a:gd name="T90" fmla="*/ 182 w 197"/>
                <a:gd name="T91" fmla="*/ 92 h 97"/>
                <a:gd name="T92" fmla="*/ 197 w 197"/>
                <a:gd name="T93" fmla="*/ 91 h 97"/>
                <a:gd name="T94" fmla="*/ 195 w 197"/>
                <a:gd name="T95" fmla="*/ 87 h 97"/>
                <a:gd name="T96" fmla="*/ 192 w 197"/>
                <a:gd name="T97" fmla="*/ 74 h 97"/>
                <a:gd name="T98" fmla="*/ 193 w 197"/>
                <a:gd name="T99" fmla="*/ 6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7" h="97">
                  <a:moveTo>
                    <a:pt x="193" y="69"/>
                  </a:moveTo>
                  <a:cubicBezTo>
                    <a:pt x="195" y="65"/>
                    <a:pt x="196" y="62"/>
                    <a:pt x="194" y="60"/>
                  </a:cubicBezTo>
                  <a:cubicBezTo>
                    <a:pt x="191" y="59"/>
                    <a:pt x="189" y="58"/>
                    <a:pt x="186" y="58"/>
                  </a:cubicBezTo>
                  <a:cubicBezTo>
                    <a:pt x="184" y="57"/>
                    <a:pt x="181" y="57"/>
                    <a:pt x="178" y="55"/>
                  </a:cubicBezTo>
                  <a:cubicBezTo>
                    <a:pt x="176" y="53"/>
                    <a:pt x="173" y="50"/>
                    <a:pt x="172" y="48"/>
                  </a:cubicBezTo>
                  <a:cubicBezTo>
                    <a:pt x="170" y="44"/>
                    <a:pt x="169" y="40"/>
                    <a:pt x="169" y="37"/>
                  </a:cubicBezTo>
                  <a:cubicBezTo>
                    <a:pt x="169" y="34"/>
                    <a:pt x="169" y="32"/>
                    <a:pt x="171" y="30"/>
                  </a:cubicBezTo>
                  <a:cubicBezTo>
                    <a:pt x="172" y="29"/>
                    <a:pt x="173" y="28"/>
                    <a:pt x="174" y="28"/>
                  </a:cubicBezTo>
                  <a:cubicBezTo>
                    <a:pt x="173" y="25"/>
                    <a:pt x="172" y="22"/>
                    <a:pt x="170" y="20"/>
                  </a:cubicBezTo>
                  <a:cubicBezTo>
                    <a:pt x="169" y="19"/>
                    <a:pt x="167" y="18"/>
                    <a:pt x="164" y="17"/>
                  </a:cubicBezTo>
                  <a:cubicBezTo>
                    <a:pt x="161" y="16"/>
                    <a:pt x="157" y="16"/>
                    <a:pt x="152" y="15"/>
                  </a:cubicBezTo>
                  <a:cubicBezTo>
                    <a:pt x="147" y="15"/>
                    <a:pt x="142" y="16"/>
                    <a:pt x="138" y="18"/>
                  </a:cubicBezTo>
                  <a:cubicBezTo>
                    <a:pt x="133" y="19"/>
                    <a:pt x="129" y="21"/>
                    <a:pt x="124" y="19"/>
                  </a:cubicBezTo>
                  <a:cubicBezTo>
                    <a:pt x="120" y="17"/>
                    <a:pt x="118" y="17"/>
                    <a:pt x="113" y="16"/>
                  </a:cubicBezTo>
                  <a:cubicBezTo>
                    <a:pt x="111" y="16"/>
                    <a:pt x="108" y="15"/>
                    <a:pt x="104" y="14"/>
                  </a:cubicBezTo>
                  <a:cubicBezTo>
                    <a:pt x="94" y="13"/>
                    <a:pt x="92" y="10"/>
                    <a:pt x="89" y="7"/>
                  </a:cubicBezTo>
                  <a:cubicBezTo>
                    <a:pt x="88" y="5"/>
                    <a:pt x="86" y="4"/>
                    <a:pt x="84" y="2"/>
                  </a:cubicBezTo>
                  <a:cubicBezTo>
                    <a:pt x="81" y="0"/>
                    <a:pt x="79" y="0"/>
                    <a:pt x="75" y="1"/>
                  </a:cubicBezTo>
                  <a:cubicBezTo>
                    <a:pt x="72" y="2"/>
                    <a:pt x="69" y="3"/>
                    <a:pt x="65" y="3"/>
                  </a:cubicBezTo>
                  <a:cubicBezTo>
                    <a:pt x="60" y="3"/>
                    <a:pt x="56" y="7"/>
                    <a:pt x="52" y="11"/>
                  </a:cubicBezTo>
                  <a:cubicBezTo>
                    <a:pt x="48" y="14"/>
                    <a:pt x="44" y="18"/>
                    <a:pt x="38" y="22"/>
                  </a:cubicBezTo>
                  <a:cubicBezTo>
                    <a:pt x="29" y="26"/>
                    <a:pt x="27" y="30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2" y="38"/>
                    <a:pt x="21" y="40"/>
                    <a:pt x="18" y="43"/>
                  </a:cubicBezTo>
                  <a:cubicBezTo>
                    <a:pt x="15" y="47"/>
                    <a:pt x="13" y="50"/>
                    <a:pt x="11" y="53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9" y="57"/>
                    <a:pt x="7" y="61"/>
                    <a:pt x="4" y="63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3" y="65"/>
                    <a:pt x="2" y="67"/>
                    <a:pt x="2" y="68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1" y="69"/>
                    <a:pt x="0" y="70"/>
                    <a:pt x="1" y="72"/>
                  </a:cubicBezTo>
                  <a:cubicBezTo>
                    <a:pt x="1" y="74"/>
                    <a:pt x="1" y="76"/>
                    <a:pt x="3" y="79"/>
                  </a:cubicBezTo>
                  <a:cubicBezTo>
                    <a:pt x="5" y="81"/>
                    <a:pt x="9" y="84"/>
                    <a:pt x="15" y="87"/>
                  </a:cubicBezTo>
                  <a:cubicBezTo>
                    <a:pt x="21" y="90"/>
                    <a:pt x="25" y="90"/>
                    <a:pt x="28" y="89"/>
                  </a:cubicBezTo>
                  <a:cubicBezTo>
                    <a:pt x="32" y="89"/>
                    <a:pt x="35" y="89"/>
                    <a:pt x="40" y="91"/>
                  </a:cubicBezTo>
                  <a:cubicBezTo>
                    <a:pt x="43" y="92"/>
                    <a:pt x="45" y="93"/>
                    <a:pt x="47" y="94"/>
                  </a:cubicBezTo>
                  <a:cubicBezTo>
                    <a:pt x="51" y="96"/>
                    <a:pt x="53" y="97"/>
                    <a:pt x="61" y="97"/>
                  </a:cubicBezTo>
                  <a:cubicBezTo>
                    <a:pt x="65" y="97"/>
                    <a:pt x="69" y="95"/>
                    <a:pt x="72" y="93"/>
                  </a:cubicBezTo>
                  <a:cubicBezTo>
                    <a:pt x="77" y="90"/>
                    <a:pt x="82" y="87"/>
                    <a:pt x="89" y="87"/>
                  </a:cubicBezTo>
                  <a:cubicBezTo>
                    <a:pt x="94" y="88"/>
                    <a:pt x="97" y="89"/>
                    <a:pt x="99" y="90"/>
                  </a:cubicBezTo>
                  <a:cubicBezTo>
                    <a:pt x="102" y="91"/>
                    <a:pt x="105" y="92"/>
                    <a:pt x="116" y="92"/>
                  </a:cubicBezTo>
                  <a:cubicBezTo>
                    <a:pt x="130" y="92"/>
                    <a:pt x="148" y="92"/>
                    <a:pt x="163" y="92"/>
                  </a:cubicBezTo>
                  <a:cubicBezTo>
                    <a:pt x="170" y="92"/>
                    <a:pt x="177" y="92"/>
                    <a:pt x="179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82" y="92"/>
                    <a:pt x="182" y="92"/>
                    <a:pt x="182" y="92"/>
                  </a:cubicBezTo>
                  <a:cubicBezTo>
                    <a:pt x="191" y="92"/>
                    <a:pt x="197" y="92"/>
                    <a:pt x="197" y="91"/>
                  </a:cubicBezTo>
                  <a:cubicBezTo>
                    <a:pt x="197" y="89"/>
                    <a:pt x="196" y="88"/>
                    <a:pt x="195" y="87"/>
                  </a:cubicBezTo>
                  <a:cubicBezTo>
                    <a:pt x="193" y="84"/>
                    <a:pt x="190" y="80"/>
                    <a:pt x="192" y="74"/>
                  </a:cubicBezTo>
                  <a:cubicBezTo>
                    <a:pt x="192" y="72"/>
                    <a:pt x="193" y="71"/>
                    <a:pt x="193" y="6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5" name="Freeform 255"/>
            <p:cNvSpPr>
              <a:spLocks noEditPoints="1"/>
            </p:cNvSpPr>
            <p:nvPr/>
          </p:nvSpPr>
          <p:spPr bwMode="auto">
            <a:xfrm>
              <a:off x="6567600" y="3836882"/>
              <a:ext cx="113109" cy="111919"/>
            </a:xfrm>
            <a:custGeom>
              <a:avLst/>
              <a:gdLst>
                <a:gd name="T0" fmla="*/ 382 w 395"/>
                <a:gd name="T1" fmla="*/ 33 h 390"/>
                <a:gd name="T2" fmla="*/ 372 w 395"/>
                <a:gd name="T3" fmla="*/ 13 h 390"/>
                <a:gd name="T4" fmla="*/ 364 w 395"/>
                <a:gd name="T5" fmla="*/ 4 h 390"/>
                <a:gd name="T6" fmla="*/ 351 w 395"/>
                <a:gd name="T7" fmla="*/ 2 h 390"/>
                <a:gd name="T8" fmla="*/ 349 w 395"/>
                <a:gd name="T9" fmla="*/ 14 h 390"/>
                <a:gd name="T10" fmla="*/ 341 w 395"/>
                <a:gd name="T11" fmla="*/ 34 h 390"/>
                <a:gd name="T12" fmla="*/ 320 w 395"/>
                <a:gd name="T13" fmla="*/ 40 h 390"/>
                <a:gd name="T14" fmla="*/ 297 w 395"/>
                <a:gd name="T15" fmla="*/ 67 h 390"/>
                <a:gd name="T16" fmla="*/ 245 w 395"/>
                <a:gd name="T17" fmla="*/ 71 h 390"/>
                <a:gd name="T18" fmla="*/ 243 w 395"/>
                <a:gd name="T19" fmla="*/ 71 h 390"/>
                <a:gd name="T20" fmla="*/ 244 w 395"/>
                <a:gd name="T21" fmla="*/ 74 h 390"/>
                <a:gd name="T22" fmla="*/ 255 w 395"/>
                <a:gd name="T23" fmla="*/ 97 h 390"/>
                <a:gd name="T24" fmla="*/ 247 w 395"/>
                <a:gd name="T25" fmla="*/ 117 h 390"/>
                <a:gd name="T26" fmla="*/ 224 w 395"/>
                <a:gd name="T27" fmla="*/ 119 h 390"/>
                <a:gd name="T28" fmla="*/ 192 w 395"/>
                <a:gd name="T29" fmla="*/ 115 h 390"/>
                <a:gd name="T30" fmla="*/ 170 w 395"/>
                <a:gd name="T31" fmla="*/ 93 h 390"/>
                <a:gd name="T32" fmla="*/ 155 w 395"/>
                <a:gd name="T33" fmla="*/ 99 h 390"/>
                <a:gd name="T34" fmla="*/ 113 w 395"/>
                <a:gd name="T35" fmla="*/ 154 h 390"/>
                <a:gd name="T36" fmla="*/ 100 w 395"/>
                <a:gd name="T37" fmla="*/ 157 h 390"/>
                <a:gd name="T38" fmla="*/ 88 w 395"/>
                <a:gd name="T39" fmla="*/ 162 h 390"/>
                <a:gd name="T40" fmla="*/ 30 w 395"/>
                <a:gd name="T41" fmla="*/ 202 h 390"/>
                <a:gd name="T42" fmla="*/ 20 w 395"/>
                <a:gd name="T43" fmla="*/ 207 h 390"/>
                <a:gd name="T44" fmla="*/ 0 w 395"/>
                <a:gd name="T45" fmla="*/ 226 h 390"/>
                <a:gd name="T46" fmla="*/ 17 w 395"/>
                <a:gd name="T47" fmla="*/ 233 h 390"/>
                <a:gd name="T48" fmla="*/ 35 w 395"/>
                <a:gd name="T49" fmla="*/ 232 h 390"/>
                <a:gd name="T50" fmla="*/ 63 w 395"/>
                <a:gd name="T51" fmla="*/ 249 h 390"/>
                <a:gd name="T52" fmla="*/ 66 w 395"/>
                <a:gd name="T53" fmla="*/ 271 h 390"/>
                <a:gd name="T54" fmla="*/ 60 w 395"/>
                <a:gd name="T55" fmla="*/ 306 h 390"/>
                <a:gd name="T56" fmla="*/ 87 w 395"/>
                <a:gd name="T57" fmla="*/ 316 h 390"/>
                <a:gd name="T58" fmla="*/ 70 w 395"/>
                <a:gd name="T59" fmla="*/ 317 h 390"/>
                <a:gd name="T60" fmla="*/ 55 w 395"/>
                <a:gd name="T61" fmla="*/ 323 h 390"/>
                <a:gd name="T62" fmla="*/ 47 w 395"/>
                <a:gd name="T63" fmla="*/ 343 h 390"/>
                <a:gd name="T64" fmla="*/ 34 w 395"/>
                <a:gd name="T65" fmla="*/ 355 h 390"/>
                <a:gd name="T66" fmla="*/ 55 w 395"/>
                <a:gd name="T67" fmla="*/ 370 h 390"/>
                <a:gd name="T68" fmla="*/ 82 w 395"/>
                <a:gd name="T69" fmla="*/ 373 h 390"/>
                <a:gd name="T70" fmla="*/ 87 w 395"/>
                <a:gd name="T71" fmla="*/ 358 h 390"/>
                <a:gd name="T72" fmla="*/ 114 w 395"/>
                <a:gd name="T73" fmla="*/ 378 h 390"/>
                <a:gd name="T74" fmla="*/ 144 w 395"/>
                <a:gd name="T75" fmla="*/ 375 h 390"/>
                <a:gd name="T76" fmla="*/ 146 w 395"/>
                <a:gd name="T77" fmla="*/ 374 h 390"/>
                <a:gd name="T78" fmla="*/ 160 w 395"/>
                <a:gd name="T79" fmla="*/ 356 h 390"/>
                <a:gd name="T80" fmla="*/ 208 w 395"/>
                <a:gd name="T81" fmla="*/ 340 h 390"/>
                <a:gd name="T82" fmla="*/ 235 w 395"/>
                <a:gd name="T83" fmla="*/ 341 h 390"/>
                <a:gd name="T84" fmla="*/ 256 w 395"/>
                <a:gd name="T85" fmla="*/ 320 h 390"/>
                <a:gd name="T86" fmla="*/ 218 w 395"/>
                <a:gd name="T87" fmla="*/ 283 h 390"/>
                <a:gd name="T88" fmla="*/ 206 w 395"/>
                <a:gd name="T89" fmla="*/ 250 h 390"/>
                <a:gd name="T90" fmla="*/ 260 w 395"/>
                <a:gd name="T91" fmla="*/ 208 h 390"/>
                <a:gd name="T92" fmla="*/ 312 w 395"/>
                <a:gd name="T93" fmla="*/ 169 h 390"/>
                <a:gd name="T94" fmla="*/ 342 w 395"/>
                <a:gd name="T95" fmla="*/ 132 h 390"/>
                <a:gd name="T96" fmla="*/ 360 w 395"/>
                <a:gd name="T97" fmla="*/ 75 h 390"/>
                <a:gd name="T98" fmla="*/ 392 w 395"/>
                <a:gd name="T99" fmla="*/ 49 h 390"/>
                <a:gd name="T100" fmla="*/ 386 w 395"/>
                <a:gd name="T101" fmla="*/ 40 h 390"/>
                <a:gd name="T102" fmla="*/ 69 w 395"/>
                <a:gd name="T103" fmla="*/ 383 h 390"/>
                <a:gd name="T104" fmla="*/ 73 w 395"/>
                <a:gd name="T105" fmla="*/ 387 h 390"/>
                <a:gd name="T106" fmla="*/ 26 w 395"/>
                <a:gd name="T107" fmla="*/ 363 h 390"/>
                <a:gd name="T108" fmla="*/ 33 w 395"/>
                <a:gd name="T109" fmla="*/ 368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95" h="390">
                  <a:moveTo>
                    <a:pt x="386" y="40"/>
                  </a:moveTo>
                  <a:cubicBezTo>
                    <a:pt x="384" y="37"/>
                    <a:pt x="383" y="35"/>
                    <a:pt x="382" y="33"/>
                  </a:cubicBezTo>
                  <a:cubicBezTo>
                    <a:pt x="381" y="30"/>
                    <a:pt x="379" y="27"/>
                    <a:pt x="377" y="25"/>
                  </a:cubicBezTo>
                  <a:cubicBezTo>
                    <a:pt x="374" y="21"/>
                    <a:pt x="373" y="17"/>
                    <a:pt x="372" y="13"/>
                  </a:cubicBezTo>
                  <a:cubicBezTo>
                    <a:pt x="372" y="12"/>
                    <a:pt x="371" y="11"/>
                    <a:pt x="371" y="10"/>
                  </a:cubicBezTo>
                  <a:cubicBezTo>
                    <a:pt x="371" y="8"/>
                    <a:pt x="368" y="6"/>
                    <a:pt x="364" y="4"/>
                  </a:cubicBezTo>
                  <a:cubicBezTo>
                    <a:pt x="360" y="2"/>
                    <a:pt x="356" y="0"/>
                    <a:pt x="353" y="0"/>
                  </a:cubicBezTo>
                  <a:cubicBezTo>
                    <a:pt x="351" y="0"/>
                    <a:pt x="351" y="1"/>
                    <a:pt x="351" y="2"/>
                  </a:cubicBezTo>
                  <a:cubicBezTo>
                    <a:pt x="351" y="3"/>
                    <a:pt x="350" y="5"/>
                    <a:pt x="350" y="6"/>
                  </a:cubicBezTo>
                  <a:cubicBezTo>
                    <a:pt x="349" y="8"/>
                    <a:pt x="349" y="11"/>
                    <a:pt x="349" y="14"/>
                  </a:cubicBezTo>
                  <a:cubicBezTo>
                    <a:pt x="348" y="22"/>
                    <a:pt x="348" y="31"/>
                    <a:pt x="341" y="34"/>
                  </a:cubicBezTo>
                  <a:cubicBezTo>
                    <a:pt x="341" y="34"/>
                    <a:pt x="341" y="34"/>
                    <a:pt x="341" y="34"/>
                  </a:cubicBezTo>
                  <a:cubicBezTo>
                    <a:pt x="338" y="35"/>
                    <a:pt x="334" y="36"/>
                    <a:pt x="331" y="36"/>
                  </a:cubicBezTo>
                  <a:cubicBezTo>
                    <a:pt x="326" y="37"/>
                    <a:pt x="322" y="38"/>
                    <a:pt x="320" y="40"/>
                  </a:cubicBezTo>
                  <a:cubicBezTo>
                    <a:pt x="319" y="41"/>
                    <a:pt x="316" y="45"/>
                    <a:pt x="313" y="50"/>
                  </a:cubicBezTo>
                  <a:cubicBezTo>
                    <a:pt x="307" y="58"/>
                    <a:pt x="301" y="66"/>
                    <a:pt x="297" y="67"/>
                  </a:cubicBezTo>
                  <a:cubicBezTo>
                    <a:pt x="296" y="67"/>
                    <a:pt x="289" y="67"/>
                    <a:pt x="281" y="68"/>
                  </a:cubicBezTo>
                  <a:cubicBezTo>
                    <a:pt x="267" y="69"/>
                    <a:pt x="248" y="71"/>
                    <a:pt x="245" y="71"/>
                  </a:cubicBezTo>
                  <a:cubicBezTo>
                    <a:pt x="244" y="71"/>
                    <a:pt x="244" y="71"/>
                    <a:pt x="243" y="71"/>
                  </a:cubicBezTo>
                  <a:cubicBezTo>
                    <a:pt x="243" y="71"/>
                    <a:pt x="243" y="71"/>
                    <a:pt x="243" y="71"/>
                  </a:cubicBezTo>
                  <a:cubicBezTo>
                    <a:pt x="243" y="71"/>
                    <a:pt x="243" y="71"/>
                    <a:pt x="243" y="71"/>
                  </a:cubicBezTo>
                  <a:cubicBezTo>
                    <a:pt x="243" y="72"/>
                    <a:pt x="243" y="73"/>
                    <a:pt x="244" y="74"/>
                  </a:cubicBezTo>
                  <a:cubicBezTo>
                    <a:pt x="245" y="76"/>
                    <a:pt x="246" y="78"/>
                    <a:pt x="248" y="80"/>
                  </a:cubicBezTo>
                  <a:cubicBezTo>
                    <a:pt x="252" y="85"/>
                    <a:pt x="256" y="91"/>
                    <a:pt x="255" y="97"/>
                  </a:cubicBezTo>
                  <a:cubicBezTo>
                    <a:pt x="255" y="98"/>
                    <a:pt x="254" y="99"/>
                    <a:pt x="254" y="100"/>
                  </a:cubicBezTo>
                  <a:cubicBezTo>
                    <a:pt x="253" y="107"/>
                    <a:pt x="253" y="113"/>
                    <a:pt x="247" y="117"/>
                  </a:cubicBezTo>
                  <a:cubicBezTo>
                    <a:pt x="244" y="118"/>
                    <a:pt x="240" y="119"/>
                    <a:pt x="236" y="119"/>
                  </a:cubicBezTo>
                  <a:cubicBezTo>
                    <a:pt x="232" y="119"/>
                    <a:pt x="228" y="119"/>
                    <a:pt x="224" y="119"/>
                  </a:cubicBezTo>
                  <a:cubicBezTo>
                    <a:pt x="219" y="119"/>
                    <a:pt x="210" y="118"/>
                    <a:pt x="203" y="117"/>
                  </a:cubicBezTo>
                  <a:cubicBezTo>
                    <a:pt x="198" y="116"/>
                    <a:pt x="194" y="115"/>
                    <a:pt x="192" y="115"/>
                  </a:cubicBezTo>
                  <a:cubicBezTo>
                    <a:pt x="188" y="115"/>
                    <a:pt x="183" y="109"/>
                    <a:pt x="179" y="103"/>
                  </a:cubicBezTo>
                  <a:cubicBezTo>
                    <a:pt x="175" y="99"/>
                    <a:pt x="172" y="94"/>
                    <a:pt x="170" y="93"/>
                  </a:cubicBezTo>
                  <a:cubicBezTo>
                    <a:pt x="168" y="92"/>
                    <a:pt x="166" y="92"/>
                    <a:pt x="164" y="92"/>
                  </a:cubicBezTo>
                  <a:cubicBezTo>
                    <a:pt x="161" y="93"/>
                    <a:pt x="158" y="95"/>
                    <a:pt x="155" y="99"/>
                  </a:cubicBezTo>
                  <a:cubicBezTo>
                    <a:pt x="151" y="102"/>
                    <a:pt x="143" y="113"/>
                    <a:pt x="136" y="124"/>
                  </a:cubicBezTo>
                  <a:cubicBezTo>
                    <a:pt x="127" y="138"/>
                    <a:pt x="117" y="151"/>
                    <a:pt x="113" y="154"/>
                  </a:cubicBezTo>
                  <a:cubicBezTo>
                    <a:pt x="108" y="157"/>
                    <a:pt x="104" y="157"/>
                    <a:pt x="100" y="157"/>
                  </a:cubicBezTo>
                  <a:cubicBezTo>
                    <a:pt x="100" y="157"/>
                    <a:pt x="100" y="157"/>
                    <a:pt x="100" y="157"/>
                  </a:cubicBezTo>
                  <a:cubicBezTo>
                    <a:pt x="98" y="156"/>
                    <a:pt x="96" y="156"/>
                    <a:pt x="93" y="157"/>
                  </a:cubicBezTo>
                  <a:cubicBezTo>
                    <a:pt x="90" y="158"/>
                    <a:pt x="89" y="160"/>
                    <a:pt x="88" y="162"/>
                  </a:cubicBezTo>
                  <a:cubicBezTo>
                    <a:pt x="86" y="164"/>
                    <a:pt x="83" y="168"/>
                    <a:pt x="76" y="174"/>
                  </a:cubicBezTo>
                  <a:cubicBezTo>
                    <a:pt x="64" y="183"/>
                    <a:pt x="46" y="193"/>
                    <a:pt x="30" y="202"/>
                  </a:cubicBezTo>
                  <a:cubicBezTo>
                    <a:pt x="26" y="204"/>
                    <a:pt x="23" y="206"/>
                    <a:pt x="20" y="207"/>
                  </a:cubicBezTo>
                  <a:cubicBezTo>
                    <a:pt x="20" y="207"/>
                    <a:pt x="20" y="207"/>
                    <a:pt x="20" y="207"/>
                  </a:cubicBezTo>
                  <a:cubicBezTo>
                    <a:pt x="13" y="211"/>
                    <a:pt x="8" y="216"/>
                    <a:pt x="4" y="221"/>
                  </a:cubicBezTo>
                  <a:cubicBezTo>
                    <a:pt x="3" y="223"/>
                    <a:pt x="1" y="224"/>
                    <a:pt x="0" y="226"/>
                  </a:cubicBezTo>
                  <a:cubicBezTo>
                    <a:pt x="1" y="226"/>
                    <a:pt x="2" y="225"/>
                    <a:pt x="4" y="225"/>
                  </a:cubicBezTo>
                  <a:cubicBezTo>
                    <a:pt x="12" y="222"/>
                    <a:pt x="13" y="228"/>
                    <a:pt x="17" y="233"/>
                  </a:cubicBezTo>
                  <a:cubicBezTo>
                    <a:pt x="21" y="238"/>
                    <a:pt x="24" y="242"/>
                    <a:pt x="28" y="243"/>
                  </a:cubicBezTo>
                  <a:cubicBezTo>
                    <a:pt x="32" y="243"/>
                    <a:pt x="31" y="237"/>
                    <a:pt x="35" y="232"/>
                  </a:cubicBezTo>
                  <a:cubicBezTo>
                    <a:pt x="40" y="227"/>
                    <a:pt x="40" y="234"/>
                    <a:pt x="46" y="242"/>
                  </a:cubicBezTo>
                  <a:cubicBezTo>
                    <a:pt x="52" y="249"/>
                    <a:pt x="57" y="249"/>
                    <a:pt x="63" y="249"/>
                  </a:cubicBezTo>
                  <a:cubicBezTo>
                    <a:pt x="70" y="248"/>
                    <a:pt x="73" y="249"/>
                    <a:pt x="72" y="254"/>
                  </a:cubicBezTo>
                  <a:cubicBezTo>
                    <a:pt x="72" y="260"/>
                    <a:pt x="69" y="263"/>
                    <a:pt x="66" y="271"/>
                  </a:cubicBezTo>
                  <a:cubicBezTo>
                    <a:pt x="63" y="278"/>
                    <a:pt x="61" y="283"/>
                    <a:pt x="60" y="291"/>
                  </a:cubicBezTo>
                  <a:cubicBezTo>
                    <a:pt x="59" y="300"/>
                    <a:pt x="58" y="300"/>
                    <a:pt x="60" y="306"/>
                  </a:cubicBezTo>
                  <a:cubicBezTo>
                    <a:pt x="63" y="312"/>
                    <a:pt x="68" y="310"/>
                    <a:pt x="73" y="310"/>
                  </a:cubicBezTo>
                  <a:cubicBezTo>
                    <a:pt x="78" y="311"/>
                    <a:pt x="85" y="314"/>
                    <a:pt x="87" y="316"/>
                  </a:cubicBezTo>
                  <a:cubicBezTo>
                    <a:pt x="88" y="318"/>
                    <a:pt x="86" y="319"/>
                    <a:pt x="84" y="319"/>
                  </a:cubicBezTo>
                  <a:cubicBezTo>
                    <a:pt x="81" y="319"/>
                    <a:pt x="77" y="318"/>
                    <a:pt x="70" y="317"/>
                  </a:cubicBezTo>
                  <a:cubicBezTo>
                    <a:pt x="64" y="316"/>
                    <a:pt x="64" y="317"/>
                    <a:pt x="61" y="317"/>
                  </a:cubicBezTo>
                  <a:cubicBezTo>
                    <a:pt x="58" y="317"/>
                    <a:pt x="58" y="319"/>
                    <a:pt x="55" y="323"/>
                  </a:cubicBezTo>
                  <a:cubicBezTo>
                    <a:pt x="53" y="326"/>
                    <a:pt x="53" y="327"/>
                    <a:pt x="51" y="330"/>
                  </a:cubicBezTo>
                  <a:cubicBezTo>
                    <a:pt x="48" y="334"/>
                    <a:pt x="49" y="337"/>
                    <a:pt x="47" y="343"/>
                  </a:cubicBezTo>
                  <a:cubicBezTo>
                    <a:pt x="45" y="350"/>
                    <a:pt x="44" y="347"/>
                    <a:pt x="41" y="347"/>
                  </a:cubicBezTo>
                  <a:cubicBezTo>
                    <a:pt x="38" y="347"/>
                    <a:pt x="33" y="351"/>
                    <a:pt x="34" y="355"/>
                  </a:cubicBezTo>
                  <a:cubicBezTo>
                    <a:pt x="35" y="359"/>
                    <a:pt x="38" y="357"/>
                    <a:pt x="47" y="361"/>
                  </a:cubicBezTo>
                  <a:cubicBezTo>
                    <a:pt x="57" y="365"/>
                    <a:pt x="50" y="366"/>
                    <a:pt x="55" y="370"/>
                  </a:cubicBezTo>
                  <a:cubicBezTo>
                    <a:pt x="60" y="375"/>
                    <a:pt x="61" y="371"/>
                    <a:pt x="70" y="371"/>
                  </a:cubicBezTo>
                  <a:cubicBezTo>
                    <a:pt x="79" y="371"/>
                    <a:pt x="78" y="374"/>
                    <a:pt x="82" y="373"/>
                  </a:cubicBezTo>
                  <a:cubicBezTo>
                    <a:pt x="87" y="373"/>
                    <a:pt x="87" y="371"/>
                    <a:pt x="86" y="367"/>
                  </a:cubicBezTo>
                  <a:cubicBezTo>
                    <a:pt x="85" y="364"/>
                    <a:pt x="83" y="361"/>
                    <a:pt x="87" y="358"/>
                  </a:cubicBezTo>
                  <a:cubicBezTo>
                    <a:pt x="91" y="356"/>
                    <a:pt x="93" y="362"/>
                    <a:pt x="101" y="368"/>
                  </a:cubicBezTo>
                  <a:cubicBezTo>
                    <a:pt x="109" y="374"/>
                    <a:pt x="109" y="375"/>
                    <a:pt x="114" y="378"/>
                  </a:cubicBezTo>
                  <a:cubicBezTo>
                    <a:pt x="119" y="380"/>
                    <a:pt x="126" y="378"/>
                    <a:pt x="130" y="374"/>
                  </a:cubicBezTo>
                  <a:cubicBezTo>
                    <a:pt x="134" y="371"/>
                    <a:pt x="139" y="372"/>
                    <a:pt x="144" y="375"/>
                  </a:cubicBezTo>
                  <a:cubicBezTo>
                    <a:pt x="145" y="375"/>
                    <a:pt x="145" y="376"/>
                    <a:pt x="146" y="376"/>
                  </a:cubicBezTo>
                  <a:cubicBezTo>
                    <a:pt x="146" y="375"/>
                    <a:pt x="146" y="375"/>
                    <a:pt x="146" y="374"/>
                  </a:cubicBezTo>
                  <a:cubicBezTo>
                    <a:pt x="149" y="370"/>
                    <a:pt x="151" y="366"/>
                    <a:pt x="155" y="361"/>
                  </a:cubicBezTo>
                  <a:cubicBezTo>
                    <a:pt x="157" y="359"/>
                    <a:pt x="159" y="357"/>
                    <a:pt x="160" y="356"/>
                  </a:cubicBezTo>
                  <a:cubicBezTo>
                    <a:pt x="164" y="351"/>
                    <a:pt x="166" y="348"/>
                    <a:pt x="177" y="343"/>
                  </a:cubicBezTo>
                  <a:cubicBezTo>
                    <a:pt x="189" y="338"/>
                    <a:pt x="197" y="339"/>
                    <a:pt x="208" y="340"/>
                  </a:cubicBezTo>
                  <a:cubicBezTo>
                    <a:pt x="211" y="341"/>
                    <a:pt x="215" y="341"/>
                    <a:pt x="219" y="342"/>
                  </a:cubicBezTo>
                  <a:cubicBezTo>
                    <a:pt x="227" y="342"/>
                    <a:pt x="232" y="342"/>
                    <a:pt x="235" y="341"/>
                  </a:cubicBezTo>
                  <a:cubicBezTo>
                    <a:pt x="238" y="341"/>
                    <a:pt x="240" y="340"/>
                    <a:pt x="241" y="339"/>
                  </a:cubicBezTo>
                  <a:cubicBezTo>
                    <a:pt x="243" y="337"/>
                    <a:pt x="251" y="328"/>
                    <a:pt x="256" y="320"/>
                  </a:cubicBezTo>
                  <a:cubicBezTo>
                    <a:pt x="253" y="316"/>
                    <a:pt x="249" y="312"/>
                    <a:pt x="244" y="309"/>
                  </a:cubicBezTo>
                  <a:cubicBezTo>
                    <a:pt x="231" y="298"/>
                    <a:pt x="227" y="288"/>
                    <a:pt x="218" y="283"/>
                  </a:cubicBezTo>
                  <a:cubicBezTo>
                    <a:pt x="210" y="278"/>
                    <a:pt x="206" y="281"/>
                    <a:pt x="202" y="276"/>
                  </a:cubicBezTo>
                  <a:cubicBezTo>
                    <a:pt x="198" y="271"/>
                    <a:pt x="205" y="259"/>
                    <a:pt x="206" y="250"/>
                  </a:cubicBezTo>
                  <a:cubicBezTo>
                    <a:pt x="206" y="241"/>
                    <a:pt x="210" y="231"/>
                    <a:pt x="222" y="224"/>
                  </a:cubicBezTo>
                  <a:cubicBezTo>
                    <a:pt x="233" y="217"/>
                    <a:pt x="245" y="219"/>
                    <a:pt x="260" y="208"/>
                  </a:cubicBezTo>
                  <a:cubicBezTo>
                    <a:pt x="276" y="198"/>
                    <a:pt x="278" y="198"/>
                    <a:pt x="287" y="190"/>
                  </a:cubicBezTo>
                  <a:cubicBezTo>
                    <a:pt x="295" y="183"/>
                    <a:pt x="303" y="176"/>
                    <a:pt x="312" y="169"/>
                  </a:cubicBezTo>
                  <a:cubicBezTo>
                    <a:pt x="321" y="161"/>
                    <a:pt x="333" y="161"/>
                    <a:pt x="338" y="155"/>
                  </a:cubicBezTo>
                  <a:cubicBezTo>
                    <a:pt x="342" y="148"/>
                    <a:pt x="341" y="141"/>
                    <a:pt x="342" y="132"/>
                  </a:cubicBezTo>
                  <a:cubicBezTo>
                    <a:pt x="343" y="123"/>
                    <a:pt x="347" y="105"/>
                    <a:pt x="354" y="90"/>
                  </a:cubicBezTo>
                  <a:cubicBezTo>
                    <a:pt x="362" y="74"/>
                    <a:pt x="357" y="81"/>
                    <a:pt x="360" y="75"/>
                  </a:cubicBezTo>
                  <a:cubicBezTo>
                    <a:pt x="362" y="69"/>
                    <a:pt x="367" y="63"/>
                    <a:pt x="375" y="55"/>
                  </a:cubicBezTo>
                  <a:cubicBezTo>
                    <a:pt x="383" y="48"/>
                    <a:pt x="386" y="49"/>
                    <a:pt x="392" y="49"/>
                  </a:cubicBezTo>
                  <a:cubicBezTo>
                    <a:pt x="393" y="49"/>
                    <a:pt x="394" y="48"/>
                    <a:pt x="395" y="48"/>
                  </a:cubicBezTo>
                  <a:cubicBezTo>
                    <a:pt x="391" y="46"/>
                    <a:pt x="388" y="43"/>
                    <a:pt x="386" y="40"/>
                  </a:cubicBezTo>
                  <a:close/>
                  <a:moveTo>
                    <a:pt x="73" y="387"/>
                  </a:moveTo>
                  <a:cubicBezTo>
                    <a:pt x="75" y="384"/>
                    <a:pt x="73" y="381"/>
                    <a:pt x="69" y="383"/>
                  </a:cubicBezTo>
                  <a:cubicBezTo>
                    <a:pt x="67" y="384"/>
                    <a:pt x="66" y="386"/>
                    <a:pt x="68" y="387"/>
                  </a:cubicBezTo>
                  <a:cubicBezTo>
                    <a:pt x="69" y="388"/>
                    <a:pt x="70" y="390"/>
                    <a:pt x="73" y="387"/>
                  </a:cubicBezTo>
                  <a:close/>
                  <a:moveTo>
                    <a:pt x="33" y="368"/>
                  </a:moveTo>
                  <a:cubicBezTo>
                    <a:pt x="34" y="365"/>
                    <a:pt x="29" y="362"/>
                    <a:pt x="26" y="363"/>
                  </a:cubicBezTo>
                  <a:cubicBezTo>
                    <a:pt x="24" y="366"/>
                    <a:pt x="24" y="368"/>
                    <a:pt x="27" y="369"/>
                  </a:cubicBezTo>
                  <a:cubicBezTo>
                    <a:pt x="30" y="369"/>
                    <a:pt x="31" y="371"/>
                    <a:pt x="33" y="36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6" name="Freeform 256"/>
            <p:cNvSpPr>
              <a:spLocks/>
            </p:cNvSpPr>
            <p:nvPr/>
          </p:nvSpPr>
          <p:spPr bwMode="auto">
            <a:xfrm>
              <a:off x="4695938" y="2991538"/>
              <a:ext cx="8334" cy="5953"/>
            </a:xfrm>
            <a:custGeom>
              <a:avLst/>
              <a:gdLst>
                <a:gd name="T0" fmla="*/ 18 w 29"/>
                <a:gd name="T1" fmla="*/ 21 h 24"/>
                <a:gd name="T2" fmla="*/ 25 w 29"/>
                <a:gd name="T3" fmla="*/ 12 h 24"/>
                <a:gd name="T4" fmla="*/ 28 w 29"/>
                <a:gd name="T5" fmla="*/ 4 h 24"/>
                <a:gd name="T6" fmla="*/ 13 w 29"/>
                <a:gd name="T7" fmla="*/ 3 h 24"/>
                <a:gd name="T8" fmla="*/ 7 w 29"/>
                <a:gd name="T9" fmla="*/ 14 h 24"/>
                <a:gd name="T10" fmla="*/ 18 w 29"/>
                <a:gd name="T11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24">
                  <a:moveTo>
                    <a:pt x="18" y="21"/>
                  </a:moveTo>
                  <a:cubicBezTo>
                    <a:pt x="23" y="18"/>
                    <a:pt x="23" y="15"/>
                    <a:pt x="25" y="12"/>
                  </a:cubicBezTo>
                  <a:cubicBezTo>
                    <a:pt x="27" y="9"/>
                    <a:pt x="29" y="6"/>
                    <a:pt x="28" y="4"/>
                  </a:cubicBezTo>
                  <a:cubicBezTo>
                    <a:pt x="27" y="2"/>
                    <a:pt x="22" y="0"/>
                    <a:pt x="13" y="3"/>
                  </a:cubicBezTo>
                  <a:cubicBezTo>
                    <a:pt x="6" y="5"/>
                    <a:pt x="0" y="8"/>
                    <a:pt x="7" y="14"/>
                  </a:cubicBezTo>
                  <a:cubicBezTo>
                    <a:pt x="13" y="20"/>
                    <a:pt x="14" y="24"/>
                    <a:pt x="18" y="2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7" name="Freeform 257"/>
            <p:cNvSpPr>
              <a:spLocks noEditPoints="1"/>
            </p:cNvSpPr>
            <p:nvPr/>
          </p:nvSpPr>
          <p:spPr bwMode="auto">
            <a:xfrm>
              <a:off x="4554253" y="2765319"/>
              <a:ext cx="398859" cy="157162"/>
            </a:xfrm>
            <a:custGeom>
              <a:avLst/>
              <a:gdLst>
                <a:gd name="T0" fmla="*/ 776 w 1391"/>
                <a:gd name="T1" fmla="*/ 337 h 546"/>
                <a:gd name="T2" fmla="*/ 644 w 1391"/>
                <a:gd name="T3" fmla="*/ 343 h 546"/>
                <a:gd name="T4" fmla="*/ 645 w 1391"/>
                <a:gd name="T5" fmla="*/ 411 h 546"/>
                <a:gd name="T6" fmla="*/ 734 w 1391"/>
                <a:gd name="T7" fmla="*/ 433 h 546"/>
                <a:gd name="T8" fmla="*/ 980 w 1391"/>
                <a:gd name="T9" fmla="*/ 235 h 546"/>
                <a:gd name="T10" fmla="*/ 1110 w 1391"/>
                <a:gd name="T11" fmla="*/ 225 h 546"/>
                <a:gd name="T12" fmla="*/ 1066 w 1391"/>
                <a:gd name="T13" fmla="*/ 235 h 546"/>
                <a:gd name="T14" fmla="*/ 1321 w 1391"/>
                <a:gd name="T15" fmla="*/ 60 h 546"/>
                <a:gd name="T16" fmla="*/ 483 w 1391"/>
                <a:gd name="T17" fmla="*/ 84 h 546"/>
                <a:gd name="T18" fmla="*/ 668 w 1391"/>
                <a:gd name="T19" fmla="*/ 99 h 546"/>
                <a:gd name="T20" fmla="*/ 627 w 1391"/>
                <a:gd name="T21" fmla="*/ 129 h 546"/>
                <a:gd name="T22" fmla="*/ 686 w 1391"/>
                <a:gd name="T23" fmla="*/ 156 h 546"/>
                <a:gd name="T24" fmla="*/ 860 w 1391"/>
                <a:gd name="T25" fmla="*/ 164 h 546"/>
                <a:gd name="T26" fmla="*/ 987 w 1391"/>
                <a:gd name="T27" fmla="*/ 98 h 546"/>
                <a:gd name="T28" fmla="*/ 977 w 1391"/>
                <a:gd name="T29" fmla="*/ 48 h 546"/>
                <a:gd name="T30" fmla="*/ 802 w 1391"/>
                <a:gd name="T31" fmla="*/ 30 h 546"/>
                <a:gd name="T32" fmla="*/ 760 w 1391"/>
                <a:gd name="T33" fmla="*/ 12 h 546"/>
                <a:gd name="T34" fmla="*/ 710 w 1391"/>
                <a:gd name="T35" fmla="*/ 70 h 546"/>
                <a:gd name="T36" fmla="*/ 584 w 1391"/>
                <a:gd name="T37" fmla="*/ 15 h 546"/>
                <a:gd name="T38" fmla="*/ 537 w 1391"/>
                <a:gd name="T39" fmla="*/ 39 h 546"/>
                <a:gd name="T40" fmla="*/ 450 w 1391"/>
                <a:gd name="T41" fmla="*/ 47 h 546"/>
                <a:gd name="T42" fmla="*/ 703 w 1391"/>
                <a:gd name="T43" fmla="*/ 269 h 546"/>
                <a:gd name="T44" fmla="*/ 587 w 1391"/>
                <a:gd name="T45" fmla="*/ 284 h 546"/>
                <a:gd name="T46" fmla="*/ 25 w 1391"/>
                <a:gd name="T47" fmla="*/ 187 h 546"/>
                <a:gd name="T48" fmla="*/ 83 w 1391"/>
                <a:gd name="T49" fmla="*/ 168 h 546"/>
                <a:gd name="T50" fmla="*/ 39 w 1391"/>
                <a:gd name="T51" fmla="*/ 210 h 546"/>
                <a:gd name="T52" fmla="*/ 132 w 1391"/>
                <a:gd name="T53" fmla="*/ 268 h 546"/>
                <a:gd name="T54" fmla="*/ 147 w 1391"/>
                <a:gd name="T55" fmla="*/ 316 h 546"/>
                <a:gd name="T56" fmla="*/ 220 w 1391"/>
                <a:gd name="T57" fmla="*/ 284 h 546"/>
                <a:gd name="T58" fmla="*/ 263 w 1391"/>
                <a:gd name="T59" fmla="*/ 254 h 546"/>
                <a:gd name="T60" fmla="*/ 319 w 1391"/>
                <a:gd name="T61" fmla="*/ 274 h 546"/>
                <a:gd name="T62" fmla="*/ 360 w 1391"/>
                <a:gd name="T63" fmla="*/ 286 h 546"/>
                <a:gd name="T64" fmla="*/ 308 w 1391"/>
                <a:gd name="T65" fmla="*/ 300 h 546"/>
                <a:gd name="T66" fmla="*/ 184 w 1391"/>
                <a:gd name="T67" fmla="*/ 335 h 546"/>
                <a:gd name="T68" fmla="*/ 267 w 1391"/>
                <a:gd name="T69" fmla="*/ 366 h 546"/>
                <a:gd name="T70" fmla="*/ 377 w 1391"/>
                <a:gd name="T71" fmla="*/ 364 h 546"/>
                <a:gd name="T72" fmla="*/ 245 w 1391"/>
                <a:gd name="T73" fmla="*/ 387 h 546"/>
                <a:gd name="T74" fmla="*/ 303 w 1391"/>
                <a:gd name="T75" fmla="*/ 409 h 546"/>
                <a:gd name="T76" fmla="*/ 199 w 1391"/>
                <a:gd name="T77" fmla="*/ 402 h 546"/>
                <a:gd name="T78" fmla="*/ 298 w 1391"/>
                <a:gd name="T79" fmla="*/ 474 h 546"/>
                <a:gd name="T80" fmla="*/ 311 w 1391"/>
                <a:gd name="T81" fmla="*/ 481 h 546"/>
                <a:gd name="T82" fmla="*/ 356 w 1391"/>
                <a:gd name="T83" fmla="*/ 525 h 546"/>
                <a:gd name="T84" fmla="*/ 394 w 1391"/>
                <a:gd name="T85" fmla="*/ 480 h 546"/>
                <a:gd name="T86" fmla="*/ 460 w 1391"/>
                <a:gd name="T87" fmla="*/ 400 h 546"/>
                <a:gd name="T88" fmla="*/ 504 w 1391"/>
                <a:gd name="T89" fmla="*/ 279 h 546"/>
                <a:gd name="T90" fmla="*/ 613 w 1391"/>
                <a:gd name="T91" fmla="*/ 251 h 546"/>
                <a:gd name="T92" fmla="*/ 557 w 1391"/>
                <a:gd name="T93" fmla="*/ 202 h 546"/>
                <a:gd name="T94" fmla="*/ 481 w 1391"/>
                <a:gd name="T95" fmla="*/ 138 h 546"/>
                <a:gd name="T96" fmla="*/ 427 w 1391"/>
                <a:gd name="T97" fmla="*/ 123 h 546"/>
                <a:gd name="T98" fmla="*/ 341 w 1391"/>
                <a:gd name="T99" fmla="*/ 78 h 546"/>
                <a:gd name="T100" fmla="*/ 351 w 1391"/>
                <a:gd name="T101" fmla="*/ 216 h 546"/>
                <a:gd name="T102" fmla="*/ 263 w 1391"/>
                <a:gd name="T103" fmla="*/ 108 h 546"/>
                <a:gd name="T104" fmla="*/ 208 w 1391"/>
                <a:gd name="T105" fmla="*/ 166 h 546"/>
                <a:gd name="T106" fmla="*/ 152 w 1391"/>
                <a:gd name="T107" fmla="*/ 127 h 546"/>
                <a:gd name="T108" fmla="*/ 183 w 1391"/>
                <a:gd name="T109" fmla="*/ 109 h 546"/>
                <a:gd name="T110" fmla="*/ 92 w 1391"/>
                <a:gd name="T111" fmla="*/ 91 h 546"/>
                <a:gd name="T112" fmla="*/ 21 w 1391"/>
                <a:gd name="T113" fmla="*/ 120 h 546"/>
                <a:gd name="T114" fmla="*/ 890 w 1391"/>
                <a:gd name="T115" fmla="*/ 533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1" h="546">
                  <a:moveTo>
                    <a:pt x="862" y="380"/>
                  </a:moveTo>
                  <a:cubicBezTo>
                    <a:pt x="871" y="378"/>
                    <a:pt x="873" y="376"/>
                    <a:pt x="869" y="373"/>
                  </a:cubicBezTo>
                  <a:cubicBezTo>
                    <a:pt x="866" y="369"/>
                    <a:pt x="860" y="370"/>
                    <a:pt x="852" y="365"/>
                  </a:cubicBezTo>
                  <a:cubicBezTo>
                    <a:pt x="844" y="359"/>
                    <a:pt x="844" y="359"/>
                    <a:pt x="835" y="357"/>
                  </a:cubicBezTo>
                  <a:cubicBezTo>
                    <a:pt x="826" y="356"/>
                    <a:pt x="827" y="358"/>
                    <a:pt x="820" y="361"/>
                  </a:cubicBezTo>
                  <a:cubicBezTo>
                    <a:pt x="813" y="364"/>
                    <a:pt x="809" y="367"/>
                    <a:pt x="802" y="361"/>
                  </a:cubicBezTo>
                  <a:cubicBezTo>
                    <a:pt x="796" y="355"/>
                    <a:pt x="794" y="356"/>
                    <a:pt x="787" y="353"/>
                  </a:cubicBezTo>
                  <a:cubicBezTo>
                    <a:pt x="779" y="350"/>
                    <a:pt x="777" y="351"/>
                    <a:pt x="774" y="348"/>
                  </a:cubicBezTo>
                  <a:cubicBezTo>
                    <a:pt x="771" y="344"/>
                    <a:pt x="773" y="342"/>
                    <a:pt x="776" y="337"/>
                  </a:cubicBezTo>
                  <a:cubicBezTo>
                    <a:pt x="781" y="331"/>
                    <a:pt x="784" y="324"/>
                    <a:pt x="778" y="320"/>
                  </a:cubicBezTo>
                  <a:cubicBezTo>
                    <a:pt x="772" y="315"/>
                    <a:pt x="769" y="314"/>
                    <a:pt x="761" y="311"/>
                  </a:cubicBezTo>
                  <a:cubicBezTo>
                    <a:pt x="752" y="309"/>
                    <a:pt x="739" y="313"/>
                    <a:pt x="730" y="315"/>
                  </a:cubicBezTo>
                  <a:cubicBezTo>
                    <a:pt x="721" y="317"/>
                    <a:pt x="719" y="319"/>
                    <a:pt x="711" y="320"/>
                  </a:cubicBezTo>
                  <a:cubicBezTo>
                    <a:pt x="704" y="320"/>
                    <a:pt x="689" y="323"/>
                    <a:pt x="675" y="320"/>
                  </a:cubicBezTo>
                  <a:cubicBezTo>
                    <a:pt x="662" y="318"/>
                    <a:pt x="664" y="321"/>
                    <a:pt x="652" y="324"/>
                  </a:cubicBezTo>
                  <a:cubicBezTo>
                    <a:pt x="641" y="327"/>
                    <a:pt x="640" y="327"/>
                    <a:pt x="633" y="329"/>
                  </a:cubicBezTo>
                  <a:cubicBezTo>
                    <a:pt x="627" y="331"/>
                    <a:pt x="625" y="331"/>
                    <a:pt x="632" y="335"/>
                  </a:cubicBezTo>
                  <a:cubicBezTo>
                    <a:pt x="639" y="340"/>
                    <a:pt x="640" y="339"/>
                    <a:pt x="644" y="343"/>
                  </a:cubicBezTo>
                  <a:cubicBezTo>
                    <a:pt x="649" y="348"/>
                    <a:pt x="654" y="351"/>
                    <a:pt x="663" y="352"/>
                  </a:cubicBezTo>
                  <a:cubicBezTo>
                    <a:pt x="673" y="353"/>
                    <a:pt x="671" y="355"/>
                    <a:pt x="671" y="358"/>
                  </a:cubicBezTo>
                  <a:cubicBezTo>
                    <a:pt x="672" y="361"/>
                    <a:pt x="665" y="366"/>
                    <a:pt x="660" y="368"/>
                  </a:cubicBezTo>
                  <a:cubicBezTo>
                    <a:pt x="655" y="370"/>
                    <a:pt x="650" y="377"/>
                    <a:pt x="648" y="379"/>
                  </a:cubicBezTo>
                  <a:cubicBezTo>
                    <a:pt x="645" y="381"/>
                    <a:pt x="647" y="389"/>
                    <a:pt x="647" y="392"/>
                  </a:cubicBezTo>
                  <a:cubicBezTo>
                    <a:pt x="647" y="394"/>
                    <a:pt x="644" y="400"/>
                    <a:pt x="639" y="399"/>
                  </a:cubicBezTo>
                  <a:cubicBezTo>
                    <a:pt x="634" y="398"/>
                    <a:pt x="629" y="402"/>
                    <a:pt x="626" y="407"/>
                  </a:cubicBezTo>
                  <a:cubicBezTo>
                    <a:pt x="623" y="412"/>
                    <a:pt x="623" y="412"/>
                    <a:pt x="626" y="415"/>
                  </a:cubicBezTo>
                  <a:cubicBezTo>
                    <a:pt x="630" y="417"/>
                    <a:pt x="638" y="414"/>
                    <a:pt x="645" y="411"/>
                  </a:cubicBezTo>
                  <a:cubicBezTo>
                    <a:pt x="651" y="409"/>
                    <a:pt x="655" y="411"/>
                    <a:pt x="666" y="411"/>
                  </a:cubicBezTo>
                  <a:cubicBezTo>
                    <a:pt x="677" y="412"/>
                    <a:pt x="677" y="410"/>
                    <a:pt x="685" y="407"/>
                  </a:cubicBezTo>
                  <a:cubicBezTo>
                    <a:pt x="693" y="405"/>
                    <a:pt x="699" y="407"/>
                    <a:pt x="709" y="406"/>
                  </a:cubicBezTo>
                  <a:cubicBezTo>
                    <a:pt x="720" y="405"/>
                    <a:pt x="719" y="405"/>
                    <a:pt x="724" y="403"/>
                  </a:cubicBezTo>
                  <a:cubicBezTo>
                    <a:pt x="729" y="401"/>
                    <a:pt x="734" y="402"/>
                    <a:pt x="738" y="402"/>
                  </a:cubicBezTo>
                  <a:cubicBezTo>
                    <a:pt x="743" y="403"/>
                    <a:pt x="737" y="406"/>
                    <a:pt x="735" y="411"/>
                  </a:cubicBezTo>
                  <a:cubicBezTo>
                    <a:pt x="732" y="415"/>
                    <a:pt x="729" y="416"/>
                    <a:pt x="724" y="418"/>
                  </a:cubicBezTo>
                  <a:cubicBezTo>
                    <a:pt x="719" y="419"/>
                    <a:pt x="720" y="422"/>
                    <a:pt x="722" y="425"/>
                  </a:cubicBezTo>
                  <a:cubicBezTo>
                    <a:pt x="724" y="428"/>
                    <a:pt x="729" y="429"/>
                    <a:pt x="734" y="433"/>
                  </a:cubicBezTo>
                  <a:cubicBezTo>
                    <a:pt x="739" y="438"/>
                    <a:pt x="744" y="441"/>
                    <a:pt x="745" y="437"/>
                  </a:cubicBezTo>
                  <a:cubicBezTo>
                    <a:pt x="747" y="433"/>
                    <a:pt x="751" y="429"/>
                    <a:pt x="756" y="428"/>
                  </a:cubicBezTo>
                  <a:cubicBezTo>
                    <a:pt x="762" y="427"/>
                    <a:pt x="761" y="428"/>
                    <a:pt x="771" y="423"/>
                  </a:cubicBezTo>
                  <a:cubicBezTo>
                    <a:pt x="781" y="418"/>
                    <a:pt x="783" y="419"/>
                    <a:pt x="794" y="416"/>
                  </a:cubicBezTo>
                  <a:cubicBezTo>
                    <a:pt x="805" y="414"/>
                    <a:pt x="806" y="412"/>
                    <a:pt x="809" y="407"/>
                  </a:cubicBezTo>
                  <a:cubicBezTo>
                    <a:pt x="812" y="402"/>
                    <a:pt x="816" y="399"/>
                    <a:pt x="821" y="395"/>
                  </a:cubicBezTo>
                  <a:cubicBezTo>
                    <a:pt x="826" y="391"/>
                    <a:pt x="836" y="392"/>
                    <a:pt x="841" y="390"/>
                  </a:cubicBezTo>
                  <a:cubicBezTo>
                    <a:pt x="846" y="387"/>
                    <a:pt x="854" y="382"/>
                    <a:pt x="862" y="380"/>
                  </a:cubicBezTo>
                  <a:close/>
                  <a:moveTo>
                    <a:pt x="980" y="235"/>
                  </a:moveTo>
                  <a:cubicBezTo>
                    <a:pt x="978" y="234"/>
                    <a:pt x="975" y="232"/>
                    <a:pt x="970" y="234"/>
                  </a:cubicBezTo>
                  <a:cubicBezTo>
                    <a:pt x="965" y="239"/>
                    <a:pt x="971" y="240"/>
                    <a:pt x="977" y="247"/>
                  </a:cubicBezTo>
                  <a:cubicBezTo>
                    <a:pt x="982" y="254"/>
                    <a:pt x="978" y="260"/>
                    <a:pt x="986" y="261"/>
                  </a:cubicBezTo>
                  <a:cubicBezTo>
                    <a:pt x="994" y="263"/>
                    <a:pt x="997" y="253"/>
                    <a:pt x="1001" y="251"/>
                  </a:cubicBezTo>
                  <a:cubicBezTo>
                    <a:pt x="1005" y="249"/>
                    <a:pt x="999" y="244"/>
                    <a:pt x="994" y="243"/>
                  </a:cubicBezTo>
                  <a:cubicBezTo>
                    <a:pt x="989" y="241"/>
                    <a:pt x="982" y="236"/>
                    <a:pt x="980" y="235"/>
                  </a:cubicBezTo>
                  <a:close/>
                  <a:moveTo>
                    <a:pt x="1066" y="235"/>
                  </a:moveTo>
                  <a:cubicBezTo>
                    <a:pt x="1072" y="235"/>
                    <a:pt x="1078" y="232"/>
                    <a:pt x="1084" y="229"/>
                  </a:cubicBezTo>
                  <a:cubicBezTo>
                    <a:pt x="1091" y="227"/>
                    <a:pt x="1105" y="225"/>
                    <a:pt x="1110" y="225"/>
                  </a:cubicBezTo>
                  <a:cubicBezTo>
                    <a:pt x="1115" y="224"/>
                    <a:pt x="1119" y="223"/>
                    <a:pt x="1124" y="225"/>
                  </a:cubicBezTo>
                  <a:cubicBezTo>
                    <a:pt x="1128" y="227"/>
                    <a:pt x="1131" y="230"/>
                    <a:pt x="1142" y="230"/>
                  </a:cubicBezTo>
                  <a:cubicBezTo>
                    <a:pt x="1152" y="230"/>
                    <a:pt x="1167" y="230"/>
                    <a:pt x="1168" y="226"/>
                  </a:cubicBezTo>
                  <a:cubicBezTo>
                    <a:pt x="1168" y="222"/>
                    <a:pt x="1156" y="220"/>
                    <a:pt x="1148" y="220"/>
                  </a:cubicBezTo>
                  <a:cubicBezTo>
                    <a:pt x="1140" y="221"/>
                    <a:pt x="1132" y="217"/>
                    <a:pt x="1126" y="216"/>
                  </a:cubicBezTo>
                  <a:cubicBezTo>
                    <a:pt x="1120" y="215"/>
                    <a:pt x="1115" y="216"/>
                    <a:pt x="1107" y="215"/>
                  </a:cubicBezTo>
                  <a:cubicBezTo>
                    <a:pt x="1100" y="214"/>
                    <a:pt x="1090" y="210"/>
                    <a:pt x="1083" y="215"/>
                  </a:cubicBezTo>
                  <a:cubicBezTo>
                    <a:pt x="1073" y="222"/>
                    <a:pt x="1069" y="220"/>
                    <a:pt x="1065" y="225"/>
                  </a:cubicBezTo>
                  <a:cubicBezTo>
                    <a:pt x="1062" y="230"/>
                    <a:pt x="1060" y="235"/>
                    <a:pt x="1066" y="235"/>
                  </a:cubicBezTo>
                  <a:close/>
                  <a:moveTo>
                    <a:pt x="1321" y="60"/>
                  </a:moveTo>
                  <a:cubicBezTo>
                    <a:pt x="1330" y="58"/>
                    <a:pt x="1330" y="58"/>
                    <a:pt x="1342" y="58"/>
                  </a:cubicBezTo>
                  <a:cubicBezTo>
                    <a:pt x="1355" y="57"/>
                    <a:pt x="1357" y="53"/>
                    <a:pt x="1368" y="51"/>
                  </a:cubicBezTo>
                  <a:cubicBezTo>
                    <a:pt x="1378" y="49"/>
                    <a:pt x="1391" y="45"/>
                    <a:pt x="1381" y="43"/>
                  </a:cubicBezTo>
                  <a:cubicBezTo>
                    <a:pt x="1372" y="41"/>
                    <a:pt x="1372" y="46"/>
                    <a:pt x="1364" y="46"/>
                  </a:cubicBezTo>
                  <a:cubicBezTo>
                    <a:pt x="1356" y="46"/>
                    <a:pt x="1350" y="39"/>
                    <a:pt x="1347" y="46"/>
                  </a:cubicBezTo>
                  <a:cubicBezTo>
                    <a:pt x="1343" y="49"/>
                    <a:pt x="1352" y="52"/>
                    <a:pt x="1332" y="53"/>
                  </a:cubicBezTo>
                  <a:cubicBezTo>
                    <a:pt x="1312" y="53"/>
                    <a:pt x="1304" y="50"/>
                    <a:pt x="1303" y="55"/>
                  </a:cubicBezTo>
                  <a:cubicBezTo>
                    <a:pt x="1302" y="60"/>
                    <a:pt x="1312" y="62"/>
                    <a:pt x="1321" y="60"/>
                  </a:cubicBezTo>
                  <a:close/>
                  <a:moveTo>
                    <a:pt x="458" y="56"/>
                  </a:moveTo>
                  <a:cubicBezTo>
                    <a:pt x="466" y="56"/>
                    <a:pt x="467" y="57"/>
                    <a:pt x="472" y="58"/>
                  </a:cubicBezTo>
                  <a:cubicBezTo>
                    <a:pt x="476" y="60"/>
                    <a:pt x="481" y="60"/>
                    <a:pt x="487" y="59"/>
                  </a:cubicBezTo>
                  <a:cubicBezTo>
                    <a:pt x="493" y="58"/>
                    <a:pt x="496" y="58"/>
                    <a:pt x="501" y="59"/>
                  </a:cubicBezTo>
                  <a:cubicBezTo>
                    <a:pt x="507" y="60"/>
                    <a:pt x="504" y="64"/>
                    <a:pt x="501" y="68"/>
                  </a:cubicBezTo>
                  <a:cubicBezTo>
                    <a:pt x="498" y="71"/>
                    <a:pt x="500" y="71"/>
                    <a:pt x="495" y="74"/>
                  </a:cubicBezTo>
                  <a:cubicBezTo>
                    <a:pt x="491" y="77"/>
                    <a:pt x="492" y="74"/>
                    <a:pt x="488" y="72"/>
                  </a:cubicBezTo>
                  <a:cubicBezTo>
                    <a:pt x="485" y="69"/>
                    <a:pt x="481" y="72"/>
                    <a:pt x="480" y="75"/>
                  </a:cubicBezTo>
                  <a:cubicBezTo>
                    <a:pt x="479" y="78"/>
                    <a:pt x="481" y="80"/>
                    <a:pt x="483" y="84"/>
                  </a:cubicBezTo>
                  <a:cubicBezTo>
                    <a:pt x="486" y="87"/>
                    <a:pt x="488" y="90"/>
                    <a:pt x="489" y="96"/>
                  </a:cubicBezTo>
                  <a:cubicBezTo>
                    <a:pt x="490" y="101"/>
                    <a:pt x="493" y="105"/>
                    <a:pt x="501" y="108"/>
                  </a:cubicBezTo>
                  <a:cubicBezTo>
                    <a:pt x="509" y="111"/>
                    <a:pt x="509" y="108"/>
                    <a:pt x="514" y="108"/>
                  </a:cubicBezTo>
                  <a:cubicBezTo>
                    <a:pt x="520" y="108"/>
                    <a:pt x="526" y="110"/>
                    <a:pt x="532" y="110"/>
                  </a:cubicBezTo>
                  <a:cubicBezTo>
                    <a:pt x="541" y="111"/>
                    <a:pt x="554" y="106"/>
                    <a:pt x="558" y="106"/>
                  </a:cubicBezTo>
                  <a:cubicBezTo>
                    <a:pt x="562" y="105"/>
                    <a:pt x="577" y="104"/>
                    <a:pt x="582" y="100"/>
                  </a:cubicBezTo>
                  <a:cubicBezTo>
                    <a:pt x="587" y="97"/>
                    <a:pt x="590" y="99"/>
                    <a:pt x="599" y="99"/>
                  </a:cubicBezTo>
                  <a:cubicBezTo>
                    <a:pt x="607" y="99"/>
                    <a:pt x="619" y="100"/>
                    <a:pt x="625" y="98"/>
                  </a:cubicBezTo>
                  <a:cubicBezTo>
                    <a:pt x="630" y="97"/>
                    <a:pt x="658" y="96"/>
                    <a:pt x="668" y="99"/>
                  </a:cubicBezTo>
                  <a:cubicBezTo>
                    <a:pt x="677" y="103"/>
                    <a:pt x="683" y="101"/>
                    <a:pt x="693" y="100"/>
                  </a:cubicBezTo>
                  <a:cubicBezTo>
                    <a:pt x="703" y="98"/>
                    <a:pt x="707" y="101"/>
                    <a:pt x="700" y="106"/>
                  </a:cubicBezTo>
                  <a:cubicBezTo>
                    <a:pt x="693" y="112"/>
                    <a:pt x="690" y="113"/>
                    <a:pt x="680" y="112"/>
                  </a:cubicBezTo>
                  <a:cubicBezTo>
                    <a:pt x="671" y="112"/>
                    <a:pt x="669" y="112"/>
                    <a:pt x="659" y="114"/>
                  </a:cubicBezTo>
                  <a:cubicBezTo>
                    <a:pt x="650" y="117"/>
                    <a:pt x="642" y="117"/>
                    <a:pt x="635" y="114"/>
                  </a:cubicBezTo>
                  <a:cubicBezTo>
                    <a:pt x="627" y="111"/>
                    <a:pt x="622" y="111"/>
                    <a:pt x="619" y="112"/>
                  </a:cubicBezTo>
                  <a:cubicBezTo>
                    <a:pt x="615" y="113"/>
                    <a:pt x="619" y="117"/>
                    <a:pt x="625" y="122"/>
                  </a:cubicBezTo>
                  <a:cubicBezTo>
                    <a:pt x="630" y="127"/>
                    <a:pt x="634" y="124"/>
                    <a:pt x="637" y="126"/>
                  </a:cubicBezTo>
                  <a:cubicBezTo>
                    <a:pt x="641" y="129"/>
                    <a:pt x="634" y="132"/>
                    <a:pt x="627" y="129"/>
                  </a:cubicBezTo>
                  <a:cubicBezTo>
                    <a:pt x="620" y="127"/>
                    <a:pt x="616" y="129"/>
                    <a:pt x="606" y="129"/>
                  </a:cubicBezTo>
                  <a:cubicBezTo>
                    <a:pt x="597" y="129"/>
                    <a:pt x="594" y="129"/>
                    <a:pt x="589" y="125"/>
                  </a:cubicBezTo>
                  <a:cubicBezTo>
                    <a:pt x="584" y="122"/>
                    <a:pt x="573" y="119"/>
                    <a:pt x="571" y="122"/>
                  </a:cubicBezTo>
                  <a:cubicBezTo>
                    <a:pt x="569" y="125"/>
                    <a:pt x="572" y="127"/>
                    <a:pt x="576" y="134"/>
                  </a:cubicBezTo>
                  <a:cubicBezTo>
                    <a:pt x="580" y="141"/>
                    <a:pt x="581" y="141"/>
                    <a:pt x="587" y="145"/>
                  </a:cubicBezTo>
                  <a:cubicBezTo>
                    <a:pt x="594" y="149"/>
                    <a:pt x="598" y="151"/>
                    <a:pt x="607" y="157"/>
                  </a:cubicBezTo>
                  <a:cubicBezTo>
                    <a:pt x="616" y="162"/>
                    <a:pt x="615" y="156"/>
                    <a:pt x="635" y="156"/>
                  </a:cubicBezTo>
                  <a:cubicBezTo>
                    <a:pt x="656" y="156"/>
                    <a:pt x="647" y="158"/>
                    <a:pt x="660" y="159"/>
                  </a:cubicBezTo>
                  <a:cubicBezTo>
                    <a:pt x="674" y="160"/>
                    <a:pt x="676" y="159"/>
                    <a:pt x="686" y="156"/>
                  </a:cubicBezTo>
                  <a:cubicBezTo>
                    <a:pt x="696" y="152"/>
                    <a:pt x="702" y="151"/>
                    <a:pt x="710" y="150"/>
                  </a:cubicBezTo>
                  <a:cubicBezTo>
                    <a:pt x="718" y="148"/>
                    <a:pt x="721" y="152"/>
                    <a:pt x="731" y="156"/>
                  </a:cubicBezTo>
                  <a:cubicBezTo>
                    <a:pt x="741" y="160"/>
                    <a:pt x="745" y="160"/>
                    <a:pt x="758" y="162"/>
                  </a:cubicBezTo>
                  <a:cubicBezTo>
                    <a:pt x="771" y="163"/>
                    <a:pt x="776" y="169"/>
                    <a:pt x="783" y="174"/>
                  </a:cubicBezTo>
                  <a:cubicBezTo>
                    <a:pt x="789" y="178"/>
                    <a:pt x="796" y="180"/>
                    <a:pt x="805" y="181"/>
                  </a:cubicBezTo>
                  <a:cubicBezTo>
                    <a:pt x="813" y="181"/>
                    <a:pt x="815" y="179"/>
                    <a:pt x="821" y="178"/>
                  </a:cubicBezTo>
                  <a:cubicBezTo>
                    <a:pt x="828" y="178"/>
                    <a:pt x="838" y="174"/>
                    <a:pt x="837" y="169"/>
                  </a:cubicBezTo>
                  <a:cubicBezTo>
                    <a:pt x="835" y="165"/>
                    <a:pt x="836" y="165"/>
                    <a:pt x="842" y="163"/>
                  </a:cubicBezTo>
                  <a:cubicBezTo>
                    <a:pt x="847" y="160"/>
                    <a:pt x="852" y="163"/>
                    <a:pt x="860" y="164"/>
                  </a:cubicBezTo>
                  <a:cubicBezTo>
                    <a:pt x="868" y="165"/>
                    <a:pt x="875" y="164"/>
                    <a:pt x="881" y="163"/>
                  </a:cubicBezTo>
                  <a:cubicBezTo>
                    <a:pt x="888" y="163"/>
                    <a:pt x="893" y="161"/>
                    <a:pt x="899" y="158"/>
                  </a:cubicBezTo>
                  <a:cubicBezTo>
                    <a:pt x="906" y="155"/>
                    <a:pt x="914" y="152"/>
                    <a:pt x="922" y="148"/>
                  </a:cubicBezTo>
                  <a:cubicBezTo>
                    <a:pt x="930" y="144"/>
                    <a:pt x="932" y="146"/>
                    <a:pt x="936" y="141"/>
                  </a:cubicBezTo>
                  <a:cubicBezTo>
                    <a:pt x="940" y="137"/>
                    <a:pt x="938" y="132"/>
                    <a:pt x="935" y="130"/>
                  </a:cubicBezTo>
                  <a:cubicBezTo>
                    <a:pt x="932" y="127"/>
                    <a:pt x="930" y="123"/>
                    <a:pt x="931" y="120"/>
                  </a:cubicBezTo>
                  <a:cubicBezTo>
                    <a:pt x="932" y="117"/>
                    <a:pt x="943" y="117"/>
                    <a:pt x="947" y="113"/>
                  </a:cubicBezTo>
                  <a:cubicBezTo>
                    <a:pt x="951" y="110"/>
                    <a:pt x="959" y="109"/>
                    <a:pt x="966" y="107"/>
                  </a:cubicBezTo>
                  <a:cubicBezTo>
                    <a:pt x="974" y="104"/>
                    <a:pt x="980" y="103"/>
                    <a:pt x="987" y="98"/>
                  </a:cubicBezTo>
                  <a:cubicBezTo>
                    <a:pt x="994" y="92"/>
                    <a:pt x="996" y="95"/>
                    <a:pt x="999" y="93"/>
                  </a:cubicBezTo>
                  <a:cubicBezTo>
                    <a:pt x="1001" y="91"/>
                    <a:pt x="1006" y="90"/>
                    <a:pt x="1011" y="88"/>
                  </a:cubicBezTo>
                  <a:cubicBezTo>
                    <a:pt x="1015" y="87"/>
                    <a:pt x="1017" y="84"/>
                    <a:pt x="1017" y="81"/>
                  </a:cubicBezTo>
                  <a:cubicBezTo>
                    <a:pt x="1018" y="78"/>
                    <a:pt x="1014" y="75"/>
                    <a:pt x="1011" y="73"/>
                  </a:cubicBezTo>
                  <a:cubicBezTo>
                    <a:pt x="1008" y="70"/>
                    <a:pt x="1012" y="69"/>
                    <a:pt x="1014" y="67"/>
                  </a:cubicBezTo>
                  <a:cubicBezTo>
                    <a:pt x="1015" y="64"/>
                    <a:pt x="1015" y="61"/>
                    <a:pt x="1013" y="57"/>
                  </a:cubicBezTo>
                  <a:cubicBezTo>
                    <a:pt x="1011" y="54"/>
                    <a:pt x="1007" y="55"/>
                    <a:pt x="1003" y="53"/>
                  </a:cubicBezTo>
                  <a:cubicBezTo>
                    <a:pt x="999" y="51"/>
                    <a:pt x="999" y="53"/>
                    <a:pt x="996" y="51"/>
                  </a:cubicBezTo>
                  <a:cubicBezTo>
                    <a:pt x="994" y="49"/>
                    <a:pt x="988" y="49"/>
                    <a:pt x="977" y="48"/>
                  </a:cubicBezTo>
                  <a:cubicBezTo>
                    <a:pt x="965" y="47"/>
                    <a:pt x="962" y="46"/>
                    <a:pt x="955" y="44"/>
                  </a:cubicBezTo>
                  <a:cubicBezTo>
                    <a:pt x="949" y="41"/>
                    <a:pt x="945" y="40"/>
                    <a:pt x="936" y="39"/>
                  </a:cubicBezTo>
                  <a:cubicBezTo>
                    <a:pt x="927" y="38"/>
                    <a:pt x="919" y="36"/>
                    <a:pt x="911" y="34"/>
                  </a:cubicBezTo>
                  <a:cubicBezTo>
                    <a:pt x="903" y="32"/>
                    <a:pt x="897" y="31"/>
                    <a:pt x="890" y="30"/>
                  </a:cubicBezTo>
                  <a:cubicBezTo>
                    <a:pt x="883" y="30"/>
                    <a:pt x="880" y="30"/>
                    <a:pt x="867" y="26"/>
                  </a:cubicBezTo>
                  <a:cubicBezTo>
                    <a:pt x="854" y="23"/>
                    <a:pt x="856" y="22"/>
                    <a:pt x="849" y="22"/>
                  </a:cubicBezTo>
                  <a:cubicBezTo>
                    <a:pt x="841" y="22"/>
                    <a:pt x="843" y="23"/>
                    <a:pt x="836" y="27"/>
                  </a:cubicBezTo>
                  <a:cubicBezTo>
                    <a:pt x="829" y="31"/>
                    <a:pt x="825" y="28"/>
                    <a:pt x="820" y="27"/>
                  </a:cubicBezTo>
                  <a:cubicBezTo>
                    <a:pt x="815" y="25"/>
                    <a:pt x="804" y="27"/>
                    <a:pt x="802" y="30"/>
                  </a:cubicBezTo>
                  <a:cubicBezTo>
                    <a:pt x="800" y="32"/>
                    <a:pt x="800" y="41"/>
                    <a:pt x="795" y="43"/>
                  </a:cubicBezTo>
                  <a:cubicBezTo>
                    <a:pt x="790" y="45"/>
                    <a:pt x="783" y="44"/>
                    <a:pt x="776" y="47"/>
                  </a:cubicBezTo>
                  <a:cubicBezTo>
                    <a:pt x="769" y="50"/>
                    <a:pt x="768" y="53"/>
                    <a:pt x="763" y="55"/>
                  </a:cubicBezTo>
                  <a:cubicBezTo>
                    <a:pt x="758" y="57"/>
                    <a:pt x="756" y="53"/>
                    <a:pt x="754" y="48"/>
                  </a:cubicBezTo>
                  <a:cubicBezTo>
                    <a:pt x="753" y="44"/>
                    <a:pt x="756" y="41"/>
                    <a:pt x="758" y="35"/>
                  </a:cubicBezTo>
                  <a:cubicBezTo>
                    <a:pt x="759" y="29"/>
                    <a:pt x="762" y="32"/>
                    <a:pt x="765" y="32"/>
                  </a:cubicBezTo>
                  <a:cubicBezTo>
                    <a:pt x="767" y="32"/>
                    <a:pt x="772" y="31"/>
                    <a:pt x="773" y="27"/>
                  </a:cubicBezTo>
                  <a:cubicBezTo>
                    <a:pt x="774" y="24"/>
                    <a:pt x="771" y="24"/>
                    <a:pt x="767" y="21"/>
                  </a:cubicBezTo>
                  <a:cubicBezTo>
                    <a:pt x="763" y="18"/>
                    <a:pt x="762" y="16"/>
                    <a:pt x="760" y="12"/>
                  </a:cubicBezTo>
                  <a:cubicBezTo>
                    <a:pt x="758" y="9"/>
                    <a:pt x="749" y="2"/>
                    <a:pt x="744" y="2"/>
                  </a:cubicBezTo>
                  <a:cubicBezTo>
                    <a:pt x="740" y="2"/>
                    <a:pt x="742" y="5"/>
                    <a:pt x="738" y="8"/>
                  </a:cubicBezTo>
                  <a:cubicBezTo>
                    <a:pt x="733" y="11"/>
                    <a:pt x="728" y="10"/>
                    <a:pt x="725" y="10"/>
                  </a:cubicBezTo>
                  <a:cubicBezTo>
                    <a:pt x="722" y="10"/>
                    <a:pt x="720" y="14"/>
                    <a:pt x="721" y="19"/>
                  </a:cubicBezTo>
                  <a:cubicBezTo>
                    <a:pt x="721" y="24"/>
                    <a:pt x="724" y="22"/>
                    <a:pt x="727" y="25"/>
                  </a:cubicBezTo>
                  <a:cubicBezTo>
                    <a:pt x="730" y="29"/>
                    <a:pt x="728" y="30"/>
                    <a:pt x="726" y="33"/>
                  </a:cubicBezTo>
                  <a:cubicBezTo>
                    <a:pt x="725" y="37"/>
                    <a:pt x="722" y="38"/>
                    <a:pt x="720" y="42"/>
                  </a:cubicBezTo>
                  <a:cubicBezTo>
                    <a:pt x="717" y="47"/>
                    <a:pt x="720" y="50"/>
                    <a:pt x="720" y="55"/>
                  </a:cubicBezTo>
                  <a:cubicBezTo>
                    <a:pt x="721" y="60"/>
                    <a:pt x="715" y="68"/>
                    <a:pt x="710" y="70"/>
                  </a:cubicBezTo>
                  <a:cubicBezTo>
                    <a:pt x="704" y="71"/>
                    <a:pt x="702" y="67"/>
                    <a:pt x="701" y="63"/>
                  </a:cubicBezTo>
                  <a:cubicBezTo>
                    <a:pt x="700" y="60"/>
                    <a:pt x="697" y="61"/>
                    <a:pt x="692" y="59"/>
                  </a:cubicBezTo>
                  <a:cubicBezTo>
                    <a:pt x="688" y="56"/>
                    <a:pt x="685" y="56"/>
                    <a:pt x="679" y="55"/>
                  </a:cubicBezTo>
                  <a:cubicBezTo>
                    <a:pt x="673" y="54"/>
                    <a:pt x="669" y="53"/>
                    <a:pt x="665" y="48"/>
                  </a:cubicBezTo>
                  <a:cubicBezTo>
                    <a:pt x="661" y="44"/>
                    <a:pt x="658" y="46"/>
                    <a:pt x="651" y="42"/>
                  </a:cubicBezTo>
                  <a:cubicBezTo>
                    <a:pt x="644" y="39"/>
                    <a:pt x="640" y="41"/>
                    <a:pt x="624" y="39"/>
                  </a:cubicBezTo>
                  <a:cubicBezTo>
                    <a:pt x="609" y="37"/>
                    <a:pt x="619" y="36"/>
                    <a:pt x="614" y="31"/>
                  </a:cubicBezTo>
                  <a:cubicBezTo>
                    <a:pt x="610" y="25"/>
                    <a:pt x="606" y="24"/>
                    <a:pt x="598" y="20"/>
                  </a:cubicBezTo>
                  <a:cubicBezTo>
                    <a:pt x="591" y="16"/>
                    <a:pt x="589" y="19"/>
                    <a:pt x="584" y="15"/>
                  </a:cubicBezTo>
                  <a:cubicBezTo>
                    <a:pt x="578" y="11"/>
                    <a:pt x="574" y="11"/>
                    <a:pt x="566" y="9"/>
                  </a:cubicBezTo>
                  <a:cubicBezTo>
                    <a:pt x="558" y="6"/>
                    <a:pt x="561" y="5"/>
                    <a:pt x="555" y="3"/>
                  </a:cubicBezTo>
                  <a:cubicBezTo>
                    <a:pt x="550" y="0"/>
                    <a:pt x="550" y="2"/>
                    <a:pt x="545" y="3"/>
                  </a:cubicBezTo>
                  <a:cubicBezTo>
                    <a:pt x="541" y="4"/>
                    <a:pt x="538" y="5"/>
                    <a:pt x="537" y="9"/>
                  </a:cubicBezTo>
                  <a:cubicBezTo>
                    <a:pt x="535" y="13"/>
                    <a:pt x="544" y="14"/>
                    <a:pt x="549" y="13"/>
                  </a:cubicBezTo>
                  <a:cubicBezTo>
                    <a:pt x="555" y="12"/>
                    <a:pt x="558" y="13"/>
                    <a:pt x="560" y="17"/>
                  </a:cubicBezTo>
                  <a:cubicBezTo>
                    <a:pt x="561" y="21"/>
                    <a:pt x="559" y="23"/>
                    <a:pt x="556" y="25"/>
                  </a:cubicBezTo>
                  <a:cubicBezTo>
                    <a:pt x="552" y="27"/>
                    <a:pt x="553" y="27"/>
                    <a:pt x="551" y="32"/>
                  </a:cubicBezTo>
                  <a:cubicBezTo>
                    <a:pt x="548" y="38"/>
                    <a:pt x="544" y="41"/>
                    <a:pt x="537" y="39"/>
                  </a:cubicBezTo>
                  <a:cubicBezTo>
                    <a:pt x="530" y="37"/>
                    <a:pt x="532" y="35"/>
                    <a:pt x="528" y="32"/>
                  </a:cubicBezTo>
                  <a:cubicBezTo>
                    <a:pt x="525" y="29"/>
                    <a:pt x="523" y="25"/>
                    <a:pt x="518" y="24"/>
                  </a:cubicBezTo>
                  <a:cubicBezTo>
                    <a:pt x="514" y="22"/>
                    <a:pt x="514" y="25"/>
                    <a:pt x="515" y="31"/>
                  </a:cubicBezTo>
                  <a:cubicBezTo>
                    <a:pt x="516" y="36"/>
                    <a:pt x="519" y="34"/>
                    <a:pt x="518" y="38"/>
                  </a:cubicBezTo>
                  <a:cubicBezTo>
                    <a:pt x="517" y="42"/>
                    <a:pt x="511" y="41"/>
                    <a:pt x="505" y="42"/>
                  </a:cubicBezTo>
                  <a:cubicBezTo>
                    <a:pt x="498" y="43"/>
                    <a:pt x="498" y="42"/>
                    <a:pt x="493" y="41"/>
                  </a:cubicBezTo>
                  <a:cubicBezTo>
                    <a:pt x="488" y="41"/>
                    <a:pt x="487" y="42"/>
                    <a:pt x="479" y="42"/>
                  </a:cubicBezTo>
                  <a:cubicBezTo>
                    <a:pt x="471" y="43"/>
                    <a:pt x="471" y="45"/>
                    <a:pt x="464" y="46"/>
                  </a:cubicBezTo>
                  <a:cubicBezTo>
                    <a:pt x="457" y="48"/>
                    <a:pt x="457" y="47"/>
                    <a:pt x="450" y="47"/>
                  </a:cubicBezTo>
                  <a:cubicBezTo>
                    <a:pt x="443" y="47"/>
                    <a:pt x="440" y="49"/>
                    <a:pt x="442" y="53"/>
                  </a:cubicBezTo>
                  <a:cubicBezTo>
                    <a:pt x="444" y="58"/>
                    <a:pt x="451" y="55"/>
                    <a:pt x="458" y="56"/>
                  </a:cubicBezTo>
                  <a:close/>
                  <a:moveTo>
                    <a:pt x="644" y="312"/>
                  </a:moveTo>
                  <a:cubicBezTo>
                    <a:pt x="650" y="308"/>
                    <a:pt x="656" y="310"/>
                    <a:pt x="663" y="310"/>
                  </a:cubicBezTo>
                  <a:cubicBezTo>
                    <a:pt x="669" y="310"/>
                    <a:pt x="674" y="308"/>
                    <a:pt x="683" y="305"/>
                  </a:cubicBezTo>
                  <a:cubicBezTo>
                    <a:pt x="692" y="302"/>
                    <a:pt x="690" y="305"/>
                    <a:pt x="698" y="304"/>
                  </a:cubicBezTo>
                  <a:cubicBezTo>
                    <a:pt x="706" y="304"/>
                    <a:pt x="707" y="302"/>
                    <a:pt x="708" y="298"/>
                  </a:cubicBezTo>
                  <a:cubicBezTo>
                    <a:pt x="709" y="295"/>
                    <a:pt x="709" y="286"/>
                    <a:pt x="705" y="279"/>
                  </a:cubicBezTo>
                  <a:cubicBezTo>
                    <a:pt x="701" y="272"/>
                    <a:pt x="705" y="275"/>
                    <a:pt x="703" y="269"/>
                  </a:cubicBezTo>
                  <a:cubicBezTo>
                    <a:pt x="702" y="263"/>
                    <a:pt x="693" y="264"/>
                    <a:pt x="688" y="264"/>
                  </a:cubicBezTo>
                  <a:cubicBezTo>
                    <a:pt x="683" y="265"/>
                    <a:pt x="682" y="267"/>
                    <a:pt x="673" y="268"/>
                  </a:cubicBezTo>
                  <a:cubicBezTo>
                    <a:pt x="669" y="268"/>
                    <a:pt x="665" y="270"/>
                    <a:pt x="662" y="268"/>
                  </a:cubicBezTo>
                  <a:cubicBezTo>
                    <a:pt x="659" y="266"/>
                    <a:pt x="654" y="266"/>
                    <a:pt x="646" y="266"/>
                  </a:cubicBezTo>
                  <a:cubicBezTo>
                    <a:pt x="638" y="266"/>
                    <a:pt x="639" y="270"/>
                    <a:pt x="635" y="271"/>
                  </a:cubicBezTo>
                  <a:cubicBezTo>
                    <a:pt x="631" y="273"/>
                    <a:pt x="629" y="272"/>
                    <a:pt x="622" y="272"/>
                  </a:cubicBezTo>
                  <a:cubicBezTo>
                    <a:pt x="614" y="272"/>
                    <a:pt x="613" y="276"/>
                    <a:pt x="607" y="277"/>
                  </a:cubicBezTo>
                  <a:cubicBezTo>
                    <a:pt x="601" y="279"/>
                    <a:pt x="598" y="278"/>
                    <a:pt x="593" y="278"/>
                  </a:cubicBezTo>
                  <a:cubicBezTo>
                    <a:pt x="589" y="278"/>
                    <a:pt x="584" y="279"/>
                    <a:pt x="587" y="284"/>
                  </a:cubicBezTo>
                  <a:cubicBezTo>
                    <a:pt x="589" y="288"/>
                    <a:pt x="594" y="285"/>
                    <a:pt x="598" y="289"/>
                  </a:cubicBezTo>
                  <a:cubicBezTo>
                    <a:pt x="603" y="292"/>
                    <a:pt x="605" y="293"/>
                    <a:pt x="612" y="296"/>
                  </a:cubicBezTo>
                  <a:cubicBezTo>
                    <a:pt x="619" y="299"/>
                    <a:pt x="618" y="302"/>
                    <a:pt x="617" y="306"/>
                  </a:cubicBezTo>
                  <a:cubicBezTo>
                    <a:pt x="616" y="309"/>
                    <a:pt x="614" y="312"/>
                    <a:pt x="616" y="315"/>
                  </a:cubicBezTo>
                  <a:cubicBezTo>
                    <a:pt x="618" y="318"/>
                    <a:pt x="626" y="315"/>
                    <a:pt x="629" y="315"/>
                  </a:cubicBezTo>
                  <a:cubicBezTo>
                    <a:pt x="631" y="315"/>
                    <a:pt x="638" y="315"/>
                    <a:pt x="644" y="312"/>
                  </a:cubicBezTo>
                  <a:close/>
                  <a:moveTo>
                    <a:pt x="6" y="159"/>
                  </a:moveTo>
                  <a:cubicBezTo>
                    <a:pt x="8" y="167"/>
                    <a:pt x="6" y="166"/>
                    <a:pt x="15" y="171"/>
                  </a:cubicBezTo>
                  <a:cubicBezTo>
                    <a:pt x="24" y="176"/>
                    <a:pt x="23" y="184"/>
                    <a:pt x="25" y="187"/>
                  </a:cubicBezTo>
                  <a:cubicBezTo>
                    <a:pt x="26" y="191"/>
                    <a:pt x="27" y="192"/>
                    <a:pt x="31" y="191"/>
                  </a:cubicBezTo>
                  <a:cubicBezTo>
                    <a:pt x="36" y="191"/>
                    <a:pt x="33" y="186"/>
                    <a:pt x="39" y="186"/>
                  </a:cubicBezTo>
                  <a:cubicBezTo>
                    <a:pt x="45" y="186"/>
                    <a:pt x="44" y="185"/>
                    <a:pt x="50" y="186"/>
                  </a:cubicBezTo>
                  <a:cubicBezTo>
                    <a:pt x="56" y="186"/>
                    <a:pt x="60" y="183"/>
                    <a:pt x="57" y="179"/>
                  </a:cubicBezTo>
                  <a:cubicBezTo>
                    <a:pt x="55" y="175"/>
                    <a:pt x="49" y="173"/>
                    <a:pt x="48" y="170"/>
                  </a:cubicBezTo>
                  <a:cubicBezTo>
                    <a:pt x="48" y="167"/>
                    <a:pt x="51" y="160"/>
                    <a:pt x="54" y="162"/>
                  </a:cubicBezTo>
                  <a:cubicBezTo>
                    <a:pt x="58" y="164"/>
                    <a:pt x="55" y="167"/>
                    <a:pt x="61" y="168"/>
                  </a:cubicBezTo>
                  <a:cubicBezTo>
                    <a:pt x="68" y="169"/>
                    <a:pt x="69" y="170"/>
                    <a:pt x="73" y="169"/>
                  </a:cubicBezTo>
                  <a:cubicBezTo>
                    <a:pt x="77" y="167"/>
                    <a:pt x="82" y="166"/>
                    <a:pt x="83" y="168"/>
                  </a:cubicBezTo>
                  <a:cubicBezTo>
                    <a:pt x="84" y="170"/>
                    <a:pt x="83" y="176"/>
                    <a:pt x="78" y="177"/>
                  </a:cubicBezTo>
                  <a:cubicBezTo>
                    <a:pt x="72" y="179"/>
                    <a:pt x="63" y="183"/>
                    <a:pt x="63" y="186"/>
                  </a:cubicBezTo>
                  <a:cubicBezTo>
                    <a:pt x="62" y="190"/>
                    <a:pt x="56" y="190"/>
                    <a:pt x="59" y="195"/>
                  </a:cubicBezTo>
                  <a:cubicBezTo>
                    <a:pt x="62" y="200"/>
                    <a:pt x="65" y="200"/>
                    <a:pt x="74" y="202"/>
                  </a:cubicBezTo>
                  <a:cubicBezTo>
                    <a:pt x="83" y="204"/>
                    <a:pt x="87" y="204"/>
                    <a:pt x="90" y="207"/>
                  </a:cubicBezTo>
                  <a:cubicBezTo>
                    <a:pt x="93" y="210"/>
                    <a:pt x="100" y="214"/>
                    <a:pt x="96" y="217"/>
                  </a:cubicBezTo>
                  <a:cubicBezTo>
                    <a:pt x="91" y="220"/>
                    <a:pt x="79" y="220"/>
                    <a:pt x="75" y="220"/>
                  </a:cubicBezTo>
                  <a:cubicBezTo>
                    <a:pt x="71" y="221"/>
                    <a:pt x="56" y="215"/>
                    <a:pt x="53" y="214"/>
                  </a:cubicBezTo>
                  <a:cubicBezTo>
                    <a:pt x="50" y="212"/>
                    <a:pt x="43" y="210"/>
                    <a:pt x="39" y="210"/>
                  </a:cubicBezTo>
                  <a:cubicBezTo>
                    <a:pt x="34" y="211"/>
                    <a:pt x="21" y="207"/>
                    <a:pt x="23" y="212"/>
                  </a:cubicBezTo>
                  <a:cubicBezTo>
                    <a:pt x="24" y="216"/>
                    <a:pt x="27" y="219"/>
                    <a:pt x="33" y="223"/>
                  </a:cubicBezTo>
                  <a:cubicBezTo>
                    <a:pt x="40" y="227"/>
                    <a:pt x="37" y="231"/>
                    <a:pt x="41" y="238"/>
                  </a:cubicBezTo>
                  <a:cubicBezTo>
                    <a:pt x="45" y="245"/>
                    <a:pt x="53" y="247"/>
                    <a:pt x="64" y="251"/>
                  </a:cubicBezTo>
                  <a:cubicBezTo>
                    <a:pt x="75" y="254"/>
                    <a:pt x="83" y="253"/>
                    <a:pt x="87" y="259"/>
                  </a:cubicBezTo>
                  <a:cubicBezTo>
                    <a:pt x="92" y="265"/>
                    <a:pt x="94" y="265"/>
                    <a:pt x="99" y="267"/>
                  </a:cubicBezTo>
                  <a:cubicBezTo>
                    <a:pt x="105" y="268"/>
                    <a:pt x="106" y="268"/>
                    <a:pt x="111" y="268"/>
                  </a:cubicBezTo>
                  <a:cubicBezTo>
                    <a:pt x="116" y="269"/>
                    <a:pt x="122" y="270"/>
                    <a:pt x="124" y="269"/>
                  </a:cubicBezTo>
                  <a:cubicBezTo>
                    <a:pt x="127" y="268"/>
                    <a:pt x="130" y="266"/>
                    <a:pt x="132" y="268"/>
                  </a:cubicBezTo>
                  <a:cubicBezTo>
                    <a:pt x="135" y="270"/>
                    <a:pt x="135" y="274"/>
                    <a:pt x="129" y="274"/>
                  </a:cubicBezTo>
                  <a:cubicBezTo>
                    <a:pt x="124" y="275"/>
                    <a:pt x="117" y="275"/>
                    <a:pt x="115" y="277"/>
                  </a:cubicBezTo>
                  <a:cubicBezTo>
                    <a:pt x="112" y="279"/>
                    <a:pt x="109" y="281"/>
                    <a:pt x="103" y="279"/>
                  </a:cubicBezTo>
                  <a:cubicBezTo>
                    <a:pt x="97" y="277"/>
                    <a:pt x="88" y="274"/>
                    <a:pt x="87" y="278"/>
                  </a:cubicBezTo>
                  <a:cubicBezTo>
                    <a:pt x="86" y="282"/>
                    <a:pt x="86" y="285"/>
                    <a:pt x="93" y="287"/>
                  </a:cubicBezTo>
                  <a:cubicBezTo>
                    <a:pt x="99" y="290"/>
                    <a:pt x="102" y="292"/>
                    <a:pt x="106" y="298"/>
                  </a:cubicBezTo>
                  <a:cubicBezTo>
                    <a:pt x="109" y="303"/>
                    <a:pt x="109" y="307"/>
                    <a:pt x="116" y="311"/>
                  </a:cubicBezTo>
                  <a:cubicBezTo>
                    <a:pt x="122" y="316"/>
                    <a:pt x="126" y="317"/>
                    <a:pt x="132" y="317"/>
                  </a:cubicBezTo>
                  <a:cubicBezTo>
                    <a:pt x="138" y="317"/>
                    <a:pt x="137" y="314"/>
                    <a:pt x="147" y="316"/>
                  </a:cubicBezTo>
                  <a:cubicBezTo>
                    <a:pt x="156" y="317"/>
                    <a:pt x="160" y="319"/>
                    <a:pt x="164" y="317"/>
                  </a:cubicBezTo>
                  <a:cubicBezTo>
                    <a:pt x="167" y="315"/>
                    <a:pt x="169" y="313"/>
                    <a:pt x="170" y="310"/>
                  </a:cubicBezTo>
                  <a:cubicBezTo>
                    <a:pt x="171" y="307"/>
                    <a:pt x="179" y="308"/>
                    <a:pt x="182" y="310"/>
                  </a:cubicBezTo>
                  <a:cubicBezTo>
                    <a:pt x="186" y="312"/>
                    <a:pt x="188" y="306"/>
                    <a:pt x="193" y="305"/>
                  </a:cubicBezTo>
                  <a:cubicBezTo>
                    <a:pt x="197" y="305"/>
                    <a:pt x="198" y="308"/>
                    <a:pt x="201" y="305"/>
                  </a:cubicBezTo>
                  <a:cubicBezTo>
                    <a:pt x="203" y="302"/>
                    <a:pt x="205" y="299"/>
                    <a:pt x="205" y="296"/>
                  </a:cubicBezTo>
                  <a:cubicBezTo>
                    <a:pt x="206" y="292"/>
                    <a:pt x="206" y="290"/>
                    <a:pt x="211" y="291"/>
                  </a:cubicBezTo>
                  <a:cubicBezTo>
                    <a:pt x="216" y="292"/>
                    <a:pt x="222" y="295"/>
                    <a:pt x="223" y="292"/>
                  </a:cubicBezTo>
                  <a:cubicBezTo>
                    <a:pt x="223" y="288"/>
                    <a:pt x="224" y="286"/>
                    <a:pt x="220" y="284"/>
                  </a:cubicBezTo>
                  <a:cubicBezTo>
                    <a:pt x="216" y="282"/>
                    <a:pt x="215" y="282"/>
                    <a:pt x="215" y="279"/>
                  </a:cubicBezTo>
                  <a:cubicBezTo>
                    <a:pt x="216" y="276"/>
                    <a:pt x="220" y="274"/>
                    <a:pt x="222" y="272"/>
                  </a:cubicBezTo>
                  <a:cubicBezTo>
                    <a:pt x="224" y="270"/>
                    <a:pt x="223" y="267"/>
                    <a:pt x="221" y="264"/>
                  </a:cubicBezTo>
                  <a:cubicBezTo>
                    <a:pt x="220" y="261"/>
                    <a:pt x="216" y="259"/>
                    <a:pt x="218" y="256"/>
                  </a:cubicBezTo>
                  <a:cubicBezTo>
                    <a:pt x="220" y="253"/>
                    <a:pt x="226" y="250"/>
                    <a:pt x="230" y="249"/>
                  </a:cubicBezTo>
                  <a:cubicBezTo>
                    <a:pt x="235" y="249"/>
                    <a:pt x="235" y="243"/>
                    <a:pt x="240" y="246"/>
                  </a:cubicBezTo>
                  <a:cubicBezTo>
                    <a:pt x="244" y="250"/>
                    <a:pt x="242" y="255"/>
                    <a:pt x="246" y="259"/>
                  </a:cubicBezTo>
                  <a:cubicBezTo>
                    <a:pt x="249" y="262"/>
                    <a:pt x="253" y="263"/>
                    <a:pt x="256" y="262"/>
                  </a:cubicBezTo>
                  <a:cubicBezTo>
                    <a:pt x="259" y="260"/>
                    <a:pt x="263" y="256"/>
                    <a:pt x="263" y="254"/>
                  </a:cubicBezTo>
                  <a:cubicBezTo>
                    <a:pt x="263" y="251"/>
                    <a:pt x="264" y="243"/>
                    <a:pt x="265" y="241"/>
                  </a:cubicBezTo>
                  <a:cubicBezTo>
                    <a:pt x="266" y="239"/>
                    <a:pt x="268" y="238"/>
                    <a:pt x="271" y="236"/>
                  </a:cubicBezTo>
                  <a:cubicBezTo>
                    <a:pt x="273" y="235"/>
                    <a:pt x="280" y="234"/>
                    <a:pt x="281" y="237"/>
                  </a:cubicBezTo>
                  <a:cubicBezTo>
                    <a:pt x="282" y="239"/>
                    <a:pt x="284" y="242"/>
                    <a:pt x="283" y="248"/>
                  </a:cubicBezTo>
                  <a:cubicBezTo>
                    <a:pt x="283" y="253"/>
                    <a:pt x="278" y="258"/>
                    <a:pt x="277" y="260"/>
                  </a:cubicBezTo>
                  <a:cubicBezTo>
                    <a:pt x="276" y="263"/>
                    <a:pt x="273" y="268"/>
                    <a:pt x="276" y="271"/>
                  </a:cubicBezTo>
                  <a:cubicBezTo>
                    <a:pt x="278" y="275"/>
                    <a:pt x="282" y="275"/>
                    <a:pt x="287" y="275"/>
                  </a:cubicBezTo>
                  <a:cubicBezTo>
                    <a:pt x="292" y="275"/>
                    <a:pt x="304" y="277"/>
                    <a:pt x="309" y="277"/>
                  </a:cubicBezTo>
                  <a:cubicBezTo>
                    <a:pt x="314" y="277"/>
                    <a:pt x="317" y="276"/>
                    <a:pt x="319" y="274"/>
                  </a:cubicBezTo>
                  <a:cubicBezTo>
                    <a:pt x="322" y="273"/>
                    <a:pt x="323" y="270"/>
                    <a:pt x="327" y="269"/>
                  </a:cubicBezTo>
                  <a:cubicBezTo>
                    <a:pt x="330" y="267"/>
                    <a:pt x="335" y="267"/>
                    <a:pt x="338" y="263"/>
                  </a:cubicBezTo>
                  <a:cubicBezTo>
                    <a:pt x="341" y="258"/>
                    <a:pt x="345" y="254"/>
                    <a:pt x="347" y="252"/>
                  </a:cubicBezTo>
                  <a:cubicBezTo>
                    <a:pt x="350" y="249"/>
                    <a:pt x="351" y="247"/>
                    <a:pt x="357" y="249"/>
                  </a:cubicBezTo>
                  <a:cubicBezTo>
                    <a:pt x="362" y="250"/>
                    <a:pt x="366" y="251"/>
                    <a:pt x="365" y="254"/>
                  </a:cubicBezTo>
                  <a:cubicBezTo>
                    <a:pt x="365" y="257"/>
                    <a:pt x="362" y="263"/>
                    <a:pt x="358" y="265"/>
                  </a:cubicBezTo>
                  <a:cubicBezTo>
                    <a:pt x="355" y="267"/>
                    <a:pt x="350" y="274"/>
                    <a:pt x="349" y="278"/>
                  </a:cubicBezTo>
                  <a:cubicBezTo>
                    <a:pt x="349" y="281"/>
                    <a:pt x="348" y="284"/>
                    <a:pt x="350" y="285"/>
                  </a:cubicBezTo>
                  <a:cubicBezTo>
                    <a:pt x="352" y="286"/>
                    <a:pt x="355" y="286"/>
                    <a:pt x="360" y="286"/>
                  </a:cubicBezTo>
                  <a:cubicBezTo>
                    <a:pt x="366" y="286"/>
                    <a:pt x="371" y="290"/>
                    <a:pt x="375" y="288"/>
                  </a:cubicBezTo>
                  <a:cubicBezTo>
                    <a:pt x="380" y="286"/>
                    <a:pt x="387" y="286"/>
                    <a:pt x="391" y="286"/>
                  </a:cubicBezTo>
                  <a:cubicBezTo>
                    <a:pt x="394" y="286"/>
                    <a:pt x="398" y="288"/>
                    <a:pt x="395" y="289"/>
                  </a:cubicBezTo>
                  <a:cubicBezTo>
                    <a:pt x="393" y="290"/>
                    <a:pt x="388" y="288"/>
                    <a:pt x="383" y="291"/>
                  </a:cubicBezTo>
                  <a:cubicBezTo>
                    <a:pt x="379" y="293"/>
                    <a:pt x="378" y="294"/>
                    <a:pt x="372" y="295"/>
                  </a:cubicBezTo>
                  <a:cubicBezTo>
                    <a:pt x="366" y="295"/>
                    <a:pt x="355" y="294"/>
                    <a:pt x="350" y="295"/>
                  </a:cubicBezTo>
                  <a:cubicBezTo>
                    <a:pt x="345" y="296"/>
                    <a:pt x="340" y="298"/>
                    <a:pt x="337" y="299"/>
                  </a:cubicBezTo>
                  <a:cubicBezTo>
                    <a:pt x="334" y="299"/>
                    <a:pt x="331" y="299"/>
                    <a:pt x="324" y="299"/>
                  </a:cubicBezTo>
                  <a:cubicBezTo>
                    <a:pt x="317" y="299"/>
                    <a:pt x="311" y="298"/>
                    <a:pt x="308" y="300"/>
                  </a:cubicBezTo>
                  <a:cubicBezTo>
                    <a:pt x="306" y="303"/>
                    <a:pt x="306" y="306"/>
                    <a:pt x="304" y="309"/>
                  </a:cubicBezTo>
                  <a:cubicBezTo>
                    <a:pt x="301" y="313"/>
                    <a:pt x="298" y="317"/>
                    <a:pt x="292" y="319"/>
                  </a:cubicBezTo>
                  <a:cubicBezTo>
                    <a:pt x="287" y="321"/>
                    <a:pt x="282" y="320"/>
                    <a:pt x="277" y="322"/>
                  </a:cubicBezTo>
                  <a:cubicBezTo>
                    <a:pt x="272" y="323"/>
                    <a:pt x="264" y="325"/>
                    <a:pt x="260" y="327"/>
                  </a:cubicBezTo>
                  <a:cubicBezTo>
                    <a:pt x="257" y="330"/>
                    <a:pt x="253" y="330"/>
                    <a:pt x="246" y="333"/>
                  </a:cubicBezTo>
                  <a:cubicBezTo>
                    <a:pt x="239" y="335"/>
                    <a:pt x="229" y="338"/>
                    <a:pt x="221" y="339"/>
                  </a:cubicBezTo>
                  <a:cubicBezTo>
                    <a:pt x="214" y="340"/>
                    <a:pt x="207" y="345"/>
                    <a:pt x="204" y="345"/>
                  </a:cubicBezTo>
                  <a:cubicBezTo>
                    <a:pt x="201" y="346"/>
                    <a:pt x="196" y="345"/>
                    <a:pt x="193" y="343"/>
                  </a:cubicBezTo>
                  <a:cubicBezTo>
                    <a:pt x="189" y="340"/>
                    <a:pt x="187" y="337"/>
                    <a:pt x="184" y="335"/>
                  </a:cubicBezTo>
                  <a:cubicBezTo>
                    <a:pt x="181" y="333"/>
                    <a:pt x="174" y="334"/>
                    <a:pt x="171" y="336"/>
                  </a:cubicBezTo>
                  <a:cubicBezTo>
                    <a:pt x="168" y="338"/>
                    <a:pt x="165" y="343"/>
                    <a:pt x="165" y="347"/>
                  </a:cubicBezTo>
                  <a:cubicBezTo>
                    <a:pt x="166" y="352"/>
                    <a:pt x="168" y="356"/>
                    <a:pt x="170" y="361"/>
                  </a:cubicBezTo>
                  <a:cubicBezTo>
                    <a:pt x="171" y="365"/>
                    <a:pt x="171" y="370"/>
                    <a:pt x="171" y="373"/>
                  </a:cubicBezTo>
                  <a:cubicBezTo>
                    <a:pt x="171" y="376"/>
                    <a:pt x="178" y="378"/>
                    <a:pt x="182" y="377"/>
                  </a:cubicBezTo>
                  <a:cubicBezTo>
                    <a:pt x="186" y="377"/>
                    <a:pt x="193" y="376"/>
                    <a:pt x="199" y="373"/>
                  </a:cubicBezTo>
                  <a:cubicBezTo>
                    <a:pt x="206" y="371"/>
                    <a:pt x="220" y="370"/>
                    <a:pt x="227" y="371"/>
                  </a:cubicBezTo>
                  <a:cubicBezTo>
                    <a:pt x="235" y="371"/>
                    <a:pt x="244" y="371"/>
                    <a:pt x="249" y="371"/>
                  </a:cubicBezTo>
                  <a:cubicBezTo>
                    <a:pt x="254" y="371"/>
                    <a:pt x="263" y="369"/>
                    <a:pt x="267" y="366"/>
                  </a:cubicBezTo>
                  <a:cubicBezTo>
                    <a:pt x="272" y="363"/>
                    <a:pt x="281" y="360"/>
                    <a:pt x="288" y="360"/>
                  </a:cubicBezTo>
                  <a:cubicBezTo>
                    <a:pt x="296" y="360"/>
                    <a:pt x="299" y="362"/>
                    <a:pt x="306" y="363"/>
                  </a:cubicBezTo>
                  <a:cubicBezTo>
                    <a:pt x="313" y="365"/>
                    <a:pt x="313" y="366"/>
                    <a:pt x="322" y="364"/>
                  </a:cubicBezTo>
                  <a:cubicBezTo>
                    <a:pt x="332" y="362"/>
                    <a:pt x="335" y="361"/>
                    <a:pt x="340" y="361"/>
                  </a:cubicBezTo>
                  <a:cubicBezTo>
                    <a:pt x="345" y="362"/>
                    <a:pt x="352" y="362"/>
                    <a:pt x="356" y="361"/>
                  </a:cubicBezTo>
                  <a:cubicBezTo>
                    <a:pt x="360" y="360"/>
                    <a:pt x="366" y="353"/>
                    <a:pt x="371" y="352"/>
                  </a:cubicBezTo>
                  <a:cubicBezTo>
                    <a:pt x="375" y="351"/>
                    <a:pt x="382" y="349"/>
                    <a:pt x="383" y="351"/>
                  </a:cubicBezTo>
                  <a:cubicBezTo>
                    <a:pt x="383" y="353"/>
                    <a:pt x="380" y="355"/>
                    <a:pt x="379" y="357"/>
                  </a:cubicBezTo>
                  <a:cubicBezTo>
                    <a:pt x="377" y="359"/>
                    <a:pt x="376" y="362"/>
                    <a:pt x="377" y="364"/>
                  </a:cubicBezTo>
                  <a:cubicBezTo>
                    <a:pt x="379" y="365"/>
                    <a:pt x="384" y="368"/>
                    <a:pt x="385" y="370"/>
                  </a:cubicBezTo>
                  <a:cubicBezTo>
                    <a:pt x="387" y="372"/>
                    <a:pt x="386" y="374"/>
                    <a:pt x="381" y="375"/>
                  </a:cubicBezTo>
                  <a:cubicBezTo>
                    <a:pt x="376" y="376"/>
                    <a:pt x="372" y="374"/>
                    <a:pt x="365" y="374"/>
                  </a:cubicBezTo>
                  <a:cubicBezTo>
                    <a:pt x="358" y="373"/>
                    <a:pt x="347" y="371"/>
                    <a:pt x="342" y="373"/>
                  </a:cubicBezTo>
                  <a:cubicBezTo>
                    <a:pt x="337" y="375"/>
                    <a:pt x="329" y="375"/>
                    <a:pt x="324" y="375"/>
                  </a:cubicBezTo>
                  <a:cubicBezTo>
                    <a:pt x="319" y="375"/>
                    <a:pt x="312" y="374"/>
                    <a:pt x="305" y="376"/>
                  </a:cubicBezTo>
                  <a:cubicBezTo>
                    <a:pt x="299" y="379"/>
                    <a:pt x="289" y="379"/>
                    <a:pt x="283" y="380"/>
                  </a:cubicBezTo>
                  <a:cubicBezTo>
                    <a:pt x="276" y="381"/>
                    <a:pt x="274" y="384"/>
                    <a:pt x="266" y="385"/>
                  </a:cubicBezTo>
                  <a:cubicBezTo>
                    <a:pt x="257" y="386"/>
                    <a:pt x="246" y="385"/>
                    <a:pt x="245" y="387"/>
                  </a:cubicBezTo>
                  <a:cubicBezTo>
                    <a:pt x="244" y="390"/>
                    <a:pt x="243" y="394"/>
                    <a:pt x="251" y="394"/>
                  </a:cubicBezTo>
                  <a:cubicBezTo>
                    <a:pt x="260" y="394"/>
                    <a:pt x="266" y="393"/>
                    <a:pt x="271" y="393"/>
                  </a:cubicBezTo>
                  <a:cubicBezTo>
                    <a:pt x="277" y="393"/>
                    <a:pt x="281" y="391"/>
                    <a:pt x="286" y="394"/>
                  </a:cubicBezTo>
                  <a:cubicBezTo>
                    <a:pt x="292" y="397"/>
                    <a:pt x="301" y="398"/>
                    <a:pt x="306" y="399"/>
                  </a:cubicBezTo>
                  <a:cubicBezTo>
                    <a:pt x="310" y="400"/>
                    <a:pt x="313" y="397"/>
                    <a:pt x="317" y="400"/>
                  </a:cubicBezTo>
                  <a:cubicBezTo>
                    <a:pt x="321" y="403"/>
                    <a:pt x="320" y="403"/>
                    <a:pt x="325" y="405"/>
                  </a:cubicBezTo>
                  <a:cubicBezTo>
                    <a:pt x="330" y="408"/>
                    <a:pt x="334" y="408"/>
                    <a:pt x="334" y="413"/>
                  </a:cubicBezTo>
                  <a:cubicBezTo>
                    <a:pt x="335" y="417"/>
                    <a:pt x="331" y="422"/>
                    <a:pt x="326" y="421"/>
                  </a:cubicBezTo>
                  <a:cubicBezTo>
                    <a:pt x="320" y="420"/>
                    <a:pt x="310" y="411"/>
                    <a:pt x="303" y="409"/>
                  </a:cubicBezTo>
                  <a:cubicBezTo>
                    <a:pt x="296" y="407"/>
                    <a:pt x="294" y="407"/>
                    <a:pt x="289" y="407"/>
                  </a:cubicBezTo>
                  <a:cubicBezTo>
                    <a:pt x="283" y="406"/>
                    <a:pt x="280" y="404"/>
                    <a:pt x="277" y="404"/>
                  </a:cubicBezTo>
                  <a:cubicBezTo>
                    <a:pt x="273" y="403"/>
                    <a:pt x="265" y="401"/>
                    <a:pt x="260" y="403"/>
                  </a:cubicBezTo>
                  <a:cubicBezTo>
                    <a:pt x="255" y="405"/>
                    <a:pt x="251" y="403"/>
                    <a:pt x="248" y="406"/>
                  </a:cubicBezTo>
                  <a:cubicBezTo>
                    <a:pt x="245" y="408"/>
                    <a:pt x="244" y="410"/>
                    <a:pt x="238" y="411"/>
                  </a:cubicBezTo>
                  <a:cubicBezTo>
                    <a:pt x="231" y="413"/>
                    <a:pt x="226" y="414"/>
                    <a:pt x="224" y="411"/>
                  </a:cubicBezTo>
                  <a:cubicBezTo>
                    <a:pt x="223" y="408"/>
                    <a:pt x="224" y="404"/>
                    <a:pt x="223" y="402"/>
                  </a:cubicBezTo>
                  <a:cubicBezTo>
                    <a:pt x="221" y="400"/>
                    <a:pt x="214" y="399"/>
                    <a:pt x="210" y="401"/>
                  </a:cubicBezTo>
                  <a:cubicBezTo>
                    <a:pt x="206" y="402"/>
                    <a:pt x="203" y="403"/>
                    <a:pt x="199" y="402"/>
                  </a:cubicBezTo>
                  <a:cubicBezTo>
                    <a:pt x="195" y="401"/>
                    <a:pt x="184" y="402"/>
                    <a:pt x="183" y="405"/>
                  </a:cubicBezTo>
                  <a:cubicBezTo>
                    <a:pt x="182" y="407"/>
                    <a:pt x="182" y="414"/>
                    <a:pt x="188" y="416"/>
                  </a:cubicBezTo>
                  <a:cubicBezTo>
                    <a:pt x="194" y="419"/>
                    <a:pt x="196" y="421"/>
                    <a:pt x="198" y="425"/>
                  </a:cubicBezTo>
                  <a:cubicBezTo>
                    <a:pt x="199" y="429"/>
                    <a:pt x="203" y="440"/>
                    <a:pt x="207" y="444"/>
                  </a:cubicBezTo>
                  <a:cubicBezTo>
                    <a:pt x="210" y="448"/>
                    <a:pt x="212" y="448"/>
                    <a:pt x="221" y="450"/>
                  </a:cubicBezTo>
                  <a:cubicBezTo>
                    <a:pt x="230" y="453"/>
                    <a:pt x="236" y="452"/>
                    <a:pt x="246" y="455"/>
                  </a:cubicBezTo>
                  <a:cubicBezTo>
                    <a:pt x="256" y="457"/>
                    <a:pt x="272" y="466"/>
                    <a:pt x="277" y="470"/>
                  </a:cubicBezTo>
                  <a:cubicBezTo>
                    <a:pt x="282" y="473"/>
                    <a:pt x="283" y="473"/>
                    <a:pt x="288" y="474"/>
                  </a:cubicBezTo>
                  <a:cubicBezTo>
                    <a:pt x="293" y="474"/>
                    <a:pt x="293" y="474"/>
                    <a:pt x="298" y="474"/>
                  </a:cubicBezTo>
                  <a:cubicBezTo>
                    <a:pt x="304" y="473"/>
                    <a:pt x="307" y="473"/>
                    <a:pt x="308" y="470"/>
                  </a:cubicBezTo>
                  <a:cubicBezTo>
                    <a:pt x="309" y="468"/>
                    <a:pt x="308" y="465"/>
                    <a:pt x="314" y="465"/>
                  </a:cubicBezTo>
                  <a:cubicBezTo>
                    <a:pt x="320" y="465"/>
                    <a:pt x="323" y="467"/>
                    <a:pt x="326" y="470"/>
                  </a:cubicBezTo>
                  <a:cubicBezTo>
                    <a:pt x="328" y="472"/>
                    <a:pt x="332" y="475"/>
                    <a:pt x="338" y="476"/>
                  </a:cubicBezTo>
                  <a:cubicBezTo>
                    <a:pt x="344" y="476"/>
                    <a:pt x="349" y="475"/>
                    <a:pt x="351" y="477"/>
                  </a:cubicBezTo>
                  <a:cubicBezTo>
                    <a:pt x="352" y="479"/>
                    <a:pt x="344" y="480"/>
                    <a:pt x="340" y="483"/>
                  </a:cubicBezTo>
                  <a:cubicBezTo>
                    <a:pt x="336" y="486"/>
                    <a:pt x="336" y="489"/>
                    <a:pt x="332" y="488"/>
                  </a:cubicBezTo>
                  <a:cubicBezTo>
                    <a:pt x="329" y="488"/>
                    <a:pt x="329" y="484"/>
                    <a:pt x="324" y="483"/>
                  </a:cubicBezTo>
                  <a:cubicBezTo>
                    <a:pt x="318" y="481"/>
                    <a:pt x="314" y="479"/>
                    <a:pt x="311" y="481"/>
                  </a:cubicBezTo>
                  <a:cubicBezTo>
                    <a:pt x="307" y="484"/>
                    <a:pt x="306" y="487"/>
                    <a:pt x="300" y="487"/>
                  </a:cubicBezTo>
                  <a:cubicBezTo>
                    <a:pt x="293" y="488"/>
                    <a:pt x="287" y="487"/>
                    <a:pt x="289" y="491"/>
                  </a:cubicBezTo>
                  <a:cubicBezTo>
                    <a:pt x="290" y="495"/>
                    <a:pt x="292" y="498"/>
                    <a:pt x="300" y="498"/>
                  </a:cubicBezTo>
                  <a:cubicBezTo>
                    <a:pt x="308" y="498"/>
                    <a:pt x="314" y="498"/>
                    <a:pt x="317" y="500"/>
                  </a:cubicBezTo>
                  <a:cubicBezTo>
                    <a:pt x="320" y="502"/>
                    <a:pt x="322" y="505"/>
                    <a:pt x="324" y="508"/>
                  </a:cubicBezTo>
                  <a:cubicBezTo>
                    <a:pt x="326" y="511"/>
                    <a:pt x="331" y="512"/>
                    <a:pt x="332" y="514"/>
                  </a:cubicBezTo>
                  <a:cubicBezTo>
                    <a:pt x="334" y="516"/>
                    <a:pt x="334" y="523"/>
                    <a:pt x="335" y="527"/>
                  </a:cubicBezTo>
                  <a:cubicBezTo>
                    <a:pt x="337" y="532"/>
                    <a:pt x="341" y="532"/>
                    <a:pt x="344" y="528"/>
                  </a:cubicBezTo>
                  <a:cubicBezTo>
                    <a:pt x="347" y="525"/>
                    <a:pt x="351" y="522"/>
                    <a:pt x="356" y="525"/>
                  </a:cubicBezTo>
                  <a:cubicBezTo>
                    <a:pt x="361" y="528"/>
                    <a:pt x="364" y="530"/>
                    <a:pt x="367" y="530"/>
                  </a:cubicBezTo>
                  <a:cubicBezTo>
                    <a:pt x="371" y="531"/>
                    <a:pt x="373" y="529"/>
                    <a:pt x="376" y="527"/>
                  </a:cubicBezTo>
                  <a:cubicBezTo>
                    <a:pt x="379" y="524"/>
                    <a:pt x="380" y="523"/>
                    <a:pt x="385" y="522"/>
                  </a:cubicBezTo>
                  <a:cubicBezTo>
                    <a:pt x="389" y="521"/>
                    <a:pt x="394" y="519"/>
                    <a:pt x="391" y="515"/>
                  </a:cubicBezTo>
                  <a:cubicBezTo>
                    <a:pt x="388" y="512"/>
                    <a:pt x="385" y="512"/>
                    <a:pt x="382" y="511"/>
                  </a:cubicBezTo>
                  <a:cubicBezTo>
                    <a:pt x="379" y="509"/>
                    <a:pt x="373" y="509"/>
                    <a:pt x="376" y="504"/>
                  </a:cubicBezTo>
                  <a:cubicBezTo>
                    <a:pt x="378" y="500"/>
                    <a:pt x="378" y="496"/>
                    <a:pt x="384" y="495"/>
                  </a:cubicBezTo>
                  <a:cubicBezTo>
                    <a:pt x="390" y="494"/>
                    <a:pt x="395" y="490"/>
                    <a:pt x="396" y="487"/>
                  </a:cubicBezTo>
                  <a:cubicBezTo>
                    <a:pt x="397" y="484"/>
                    <a:pt x="398" y="482"/>
                    <a:pt x="394" y="480"/>
                  </a:cubicBezTo>
                  <a:cubicBezTo>
                    <a:pt x="390" y="479"/>
                    <a:pt x="385" y="479"/>
                    <a:pt x="385" y="475"/>
                  </a:cubicBezTo>
                  <a:cubicBezTo>
                    <a:pt x="386" y="472"/>
                    <a:pt x="391" y="468"/>
                    <a:pt x="395" y="469"/>
                  </a:cubicBezTo>
                  <a:cubicBezTo>
                    <a:pt x="399" y="469"/>
                    <a:pt x="405" y="465"/>
                    <a:pt x="405" y="459"/>
                  </a:cubicBezTo>
                  <a:cubicBezTo>
                    <a:pt x="405" y="453"/>
                    <a:pt x="407" y="451"/>
                    <a:pt x="409" y="443"/>
                  </a:cubicBezTo>
                  <a:cubicBezTo>
                    <a:pt x="411" y="435"/>
                    <a:pt x="411" y="434"/>
                    <a:pt x="415" y="428"/>
                  </a:cubicBezTo>
                  <a:cubicBezTo>
                    <a:pt x="420" y="422"/>
                    <a:pt x="418" y="416"/>
                    <a:pt x="422" y="414"/>
                  </a:cubicBezTo>
                  <a:cubicBezTo>
                    <a:pt x="425" y="413"/>
                    <a:pt x="429" y="410"/>
                    <a:pt x="436" y="411"/>
                  </a:cubicBezTo>
                  <a:cubicBezTo>
                    <a:pt x="444" y="411"/>
                    <a:pt x="449" y="413"/>
                    <a:pt x="453" y="409"/>
                  </a:cubicBezTo>
                  <a:cubicBezTo>
                    <a:pt x="457" y="405"/>
                    <a:pt x="457" y="408"/>
                    <a:pt x="460" y="400"/>
                  </a:cubicBezTo>
                  <a:cubicBezTo>
                    <a:pt x="463" y="392"/>
                    <a:pt x="466" y="382"/>
                    <a:pt x="466" y="375"/>
                  </a:cubicBezTo>
                  <a:cubicBezTo>
                    <a:pt x="466" y="368"/>
                    <a:pt x="467" y="366"/>
                    <a:pt x="470" y="359"/>
                  </a:cubicBezTo>
                  <a:cubicBezTo>
                    <a:pt x="472" y="351"/>
                    <a:pt x="471" y="346"/>
                    <a:pt x="472" y="341"/>
                  </a:cubicBezTo>
                  <a:cubicBezTo>
                    <a:pt x="474" y="336"/>
                    <a:pt x="476" y="332"/>
                    <a:pt x="480" y="335"/>
                  </a:cubicBezTo>
                  <a:cubicBezTo>
                    <a:pt x="484" y="337"/>
                    <a:pt x="483" y="340"/>
                    <a:pt x="491" y="340"/>
                  </a:cubicBezTo>
                  <a:cubicBezTo>
                    <a:pt x="498" y="340"/>
                    <a:pt x="503" y="337"/>
                    <a:pt x="506" y="332"/>
                  </a:cubicBezTo>
                  <a:cubicBezTo>
                    <a:pt x="508" y="328"/>
                    <a:pt x="512" y="325"/>
                    <a:pt x="509" y="318"/>
                  </a:cubicBezTo>
                  <a:cubicBezTo>
                    <a:pt x="506" y="310"/>
                    <a:pt x="506" y="300"/>
                    <a:pt x="504" y="294"/>
                  </a:cubicBezTo>
                  <a:cubicBezTo>
                    <a:pt x="502" y="288"/>
                    <a:pt x="502" y="281"/>
                    <a:pt x="504" y="279"/>
                  </a:cubicBezTo>
                  <a:cubicBezTo>
                    <a:pt x="507" y="277"/>
                    <a:pt x="508" y="275"/>
                    <a:pt x="515" y="277"/>
                  </a:cubicBezTo>
                  <a:cubicBezTo>
                    <a:pt x="523" y="279"/>
                    <a:pt x="525" y="279"/>
                    <a:pt x="531" y="276"/>
                  </a:cubicBezTo>
                  <a:cubicBezTo>
                    <a:pt x="537" y="274"/>
                    <a:pt x="538" y="276"/>
                    <a:pt x="542" y="273"/>
                  </a:cubicBezTo>
                  <a:cubicBezTo>
                    <a:pt x="547" y="270"/>
                    <a:pt x="550" y="264"/>
                    <a:pt x="551" y="261"/>
                  </a:cubicBezTo>
                  <a:cubicBezTo>
                    <a:pt x="552" y="258"/>
                    <a:pt x="562" y="257"/>
                    <a:pt x="566" y="259"/>
                  </a:cubicBezTo>
                  <a:cubicBezTo>
                    <a:pt x="571" y="260"/>
                    <a:pt x="572" y="260"/>
                    <a:pt x="578" y="260"/>
                  </a:cubicBezTo>
                  <a:cubicBezTo>
                    <a:pt x="585" y="259"/>
                    <a:pt x="586" y="258"/>
                    <a:pt x="591" y="258"/>
                  </a:cubicBezTo>
                  <a:cubicBezTo>
                    <a:pt x="597" y="259"/>
                    <a:pt x="601" y="259"/>
                    <a:pt x="604" y="257"/>
                  </a:cubicBezTo>
                  <a:cubicBezTo>
                    <a:pt x="607" y="256"/>
                    <a:pt x="606" y="251"/>
                    <a:pt x="613" y="251"/>
                  </a:cubicBezTo>
                  <a:cubicBezTo>
                    <a:pt x="621" y="251"/>
                    <a:pt x="622" y="251"/>
                    <a:pt x="627" y="254"/>
                  </a:cubicBezTo>
                  <a:cubicBezTo>
                    <a:pt x="632" y="256"/>
                    <a:pt x="642" y="256"/>
                    <a:pt x="647" y="253"/>
                  </a:cubicBezTo>
                  <a:cubicBezTo>
                    <a:pt x="651" y="251"/>
                    <a:pt x="655" y="250"/>
                    <a:pt x="657" y="246"/>
                  </a:cubicBezTo>
                  <a:cubicBezTo>
                    <a:pt x="659" y="243"/>
                    <a:pt x="663" y="239"/>
                    <a:pt x="656" y="238"/>
                  </a:cubicBezTo>
                  <a:cubicBezTo>
                    <a:pt x="649" y="237"/>
                    <a:pt x="649" y="239"/>
                    <a:pt x="638" y="234"/>
                  </a:cubicBezTo>
                  <a:cubicBezTo>
                    <a:pt x="628" y="230"/>
                    <a:pt x="624" y="227"/>
                    <a:pt x="617" y="225"/>
                  </a:cubicBezTo>
                  <a:cubicBezTo>
                    <a:pt x="610" y="223"/>
                    <a:pt x="607" y="223"/>
                    <a:pt x="598" y="221"/>
                  </a:cubicBezTo>
                  <a:cubicBezTo>
                    <a:pt x="589" y="220"/>
                    <a:pt x="581" y="218"/>
                    <a:pt x="575" y="214"/>
                  </a:cubicBezTo>
                  <a:cubicBezTo>
                    <a:pt x="569" y="210"/>
                    <a:pt x="561" y="209"/>
                    <a:pt x="557" y="202"/>
                  </a:cubicBezTo>
                  <a:cubicBezTo>
                    <a:pt x="553" y="195"/>
                    <a:pt x="550" y="190"/>
                    <a:pt x="546" y="190"/>
                  </a:cubicBezTo>
                  <a:cubicBezTo>
                    <a:pt x="543" y="190"/>
                    <a:pt x="540" y="191"/>
                    <a:pt x="536" y="192"/>
                  </a:cubicBezTo>
                  <a:cubicBezTo>
                    <a:pt x="531" y="193"/>
                    <a:pt x="520" y="193"/>
                    <a:pt x="514" y="192"/>
                  </a:cubicBezTo>
                  <a:cubicBezTo>
                    <a:pt x="509" y="191"/>
                    <a:pt x="501" y="192"/>
                    <a:pt x="499" y="187"/>
                  </a:cubicBezTo>
                  <a:cubicBezTo>
                    <a:pt x="497" y="181"/>
                    <a:pt x="500" y="179"/>
                    <a:pt x="497" y="174"/>
                  </a:cubicBezTo>
                  <a:cubicBezTo>
                    <a:pt x="493" y="169"/>
                    <a:pt x="491" y="169"/>
                    <a:pt x="491" y="165"/>
                  </a:cubicBezTo>
                  <a:cubicBezTo>
                    <a:pt x="491" y="161"/>
                    <a:pt x="495" y="160"/>
                    <a:pt x="496" y="157"/>
                  </a:cubicBezTo>
                  <a:cubicBezTo>
                    <a:pt x="497" y="153"/>
                    <a:pt x="494" y="148"/>
                    <a:pt x="490" y="145"/>
                  </a:cubicBezTo>
                  <a:cubicBezTo>
                    <a:pt x="486" y="141"/>
                    <a:pt x="486" y="138"/>
                    <a:pt x="481" y="138"/>
                  </a:cubicBezTo>
                  <a:cubicBezTo>
                    <a:pt x="477" y="137"/>
                    <a:pt x="471" y="139"/>
                    <a:pt x="466" y="137"/>
                  </a:cubicBezTo>
                  <a:cubicBezTo>
                    <a:pt x="461" y="135"/>
                    <a:pt x="455" y="131"/>
                    <a:pt x="450" y="133"/>
                  </a:cubicBezTo>
                  <a:cubicBezTo>
                    <a:pt x="446" y="134"/>
                    <a:pt x="445" y="139"/>
                    <a:pt x="444" y="144"/>
                  </a:cubicBezTo>
                  <a:cubicBezTo>
                    <a:pt x="443" y="149"/>
                    <a:pt x="443" y="150"/>
                    <a:pt x="438" y="152"/>
                  </a:cubicBezTo>
                  <a:cubicBezTo>
                    <a:pt x="434" y="153"/>
                    <a:pt x="431" y="156"/>
                    <a:pt x="427" y="158"/>
                  </a:cubicBezTo>
                  <a:cubicBezTo>
                    <a:pt x="423" y="160"/>
                    <a:pt x="419" y="160"/>
                    <a:pt x="419" y="157"/>
                  </a:cubicBezTo>
                  <a:cubicBezTo>
                    <a:pt x="419" y="154"/>
                    <a:pt x="423" y="154"/>
                    <a:pt x="425" y="148"/>
                  </a:cubicBezTo>
                  <a:cubicBezTo>
                    <a:pt x="427" y="142"/>
                    <a:pt x="427" y="140"/>
                    <a:pt x="427" y="134"/>
                  </a:cubicBezTo>
                  <a:cubicBezTo>
                    <a:pt x="426" y="128"/>
                    <a:pt x="423" y="126"/>
                    <a:pt x="427" y="123"/>
                  </a:cubicBezTo>
                  <a:cubicBezTo>
                    <a:pt x="430" y="119"/>
                    <a:pt x="429" y="118"/>
                    <a:pt x="434" y="116"/>
                  </a:cubicBezTo>
                  <a:cubicBezTo>
                    <a:pt x="439" y="114"/>
                    <a:pt x="443" y="114"/>
                    <a:pt x="440" y="111"/>
                  </a:cubicBezTo>
                  <a:cubicBezTo>
                    <a:pt x="438" y="107"/>
                    <a:pt x="437" y="106"/>
                    <a:pt x="429" y="106"/>
                  </a:cubicBezTo>
                  <a:cubicBezTo>
                    <a:pt x="421" y="107"/>
                    <a:pt x="416" y="104"/>
                    <a:pt x="408" y="100"/>
                  </a:cubicBezTo>
                  <a:cubicBezTo>
                    <a:pt x="400" y="97"/>
                    <a:pt x="398" y="95"/>
                    <a:pt x="389" y="95"/>
                  </a:cubicBezTo>
                  <a:cubicBezTo>
                    <a:pt x="380" y="94"/>
                    <a:pt x="374" y="92"/>
                    <a:pt x="368" y="87"/>
                  </a:cubicBezTo>
                  <a:cubicBezTo>
                    <a:pt x="361" y="81"/>
                    <a:pt x="363" y="80"/>
                    <a:pt x="358" y="75"/>
                  </a:cubicBezTo>
                  <a:cubicBezTo>
                    <a:pt x="354" y="71"/>
                    <a:pt x="348" y="67"/>
                    <a:pt x="345" y="69"/>
                  </a:cubicBezTo>
                  <a:cubicBezTo>
                    <a:pt x="341" y="71"/>
                    <a:pt x="339" y="71"/>
                    <a:pt x="341" y="78"/>
                  </a:cubicBezTo>
                  <a:cubicBezTo>
                    <a:pt x="343" y="85"/>
                    <a:pt x="345" y="88"/>
                    <a:pt x="337" y="88"/>
                  </a:cubicBezTo>
                  <a:cubicBezTo>
                    <a:pt x="330" y="88"/>
                    <a:pt x="328" y="86"/>
                    <a:pt x="324" y="87"/>
                  </a:cubicBezTo>
                  <a:cubicBezTo>
                    <a:pt x="319" y="88"/>
                    <a:pt x="313" y="87"/>
                    <a:pt x="312" y="100"/>
                  </a:cubicBezTo>
                  <a:cubicBezTo>
                    <a:pt x="312" y="114"/>
                    <a:pt x="317" y="109"/>
                    <a:pt x="323" y="119"/>
                  </a:cubicBezTo>
                  <a:cubicBezTo>
                    <a:pt x="329" y="128"/>
                    <a:pt x="327" y="130"/>
                    <a:pt x="327" y="141"/>
                  </a:cubicBezTo>
                  <a:cubicBezTo>
                    <a:pt x="327" y="151"/>
                    <a:pt x="325" y="158"/>
                    <a:pt x="331" y="166"/>
                  </a:cubicBezTo>
                  <a:cubicBezTo>
                    <a:pt x="338" y="174"/>
                    <a:pt x="340" y="175"/>
                    <a:pt x="345" y="180"/>
                  </a:cubicBezTo>
                  <a:cubicBezTo>
                    <a:pt x="350" y="186"/>
                    <a:pt x="355" y="204"/>
                    <a:pt x="358" y="210"/>
                  </a:cubicBezTo>
                  <a:cubicBezTo>
                    <a:pt x="361" y="216"/>
                    <a:pt x="356" y="219"/>
                    <a:pt x="351" y="216"/>
                  </a:cubicBezTo>
                  <a:cubicBezTo>
                    <a:pt x="346" y="214"/>
                    <a:pt x="334" y="207"/>
                    <a:pt x="332" y="199"/>
                  </a:cubicBezTo>
                  <a:cubicBezTo>
                    <a:pt x="329" y="192"/>
                    <a:pt x="328" y="188"/>
                    <a:pt x="323" y="188"/>
                  </a:cubicBezTo>
                  <a:cubicBezTo>
                    <a:pt x="317" y="188"/>
                    <a:pt x="309" y="190"/>
                    <a:pt x="308" y="187"/>
                  </a:cubicBezTo>
                  <a:cubicBezTo>
                    <a:pt x="307" y="185"/>
                    <a:pt x="311" y="181"/>
                    <a:pt x="313" y="179"/>
                  </a:cubicBezTo>
                  <a:cubicBezTo>
                    <a:pt x="316" y="177"/>
                    <a:pt x="312" y="170"/>
                    <a:pt x="306" y="168"/>
                  </a:cubicBezTo>
                  <a:cubicBezTo>
                    <a:pt x="300" y="165"/>
                    <a:pt x="294" y="163"/>
                    <a:pt x="293" y="156"/>
                  </a:cubicBezTo>
                  <a:cubicBezTo>
                    <a:pt x="293" y="149"/>
                    <a:pt x="295" y="144"/>
                    <a:pt x="293" y="139"/>
                  </a:cubicBezTo>
                  <a:cubicBezTo>
                    <a:pt x="290" y="135"/>
                    <a:pt x="289" y="125"/>
                    <a:pt x="282" y="121"/>
                  </a:cubicBezTo>
                  <a:cubicBezTo>
                    <a:pt x="275" y="116"/>
                    <a:pt x="269" y="112"/>
                    <a:pt x="263" y="108"/>
                  </a:cubicBezTo>
                  <a:cubicBezTo>
                    <a:pt x="257" y="104"/>
                    <a:pt x="252" y="99"/>
                    <a:pt x="249" y="96"/>
                  </a:cubicBezTo>
                  <a:cubicBezTo>
                    <a:pt x="246" y="94"/>
                    <a:pt x="230" y="98"/>
                    <a:pt x="229" y="105"/>
                  </a:cubicBezTo>
                  <a:cubicBezTo>
                    <a:pt x="227" y="112"/>
                    <a:pt x="218" y="117"/>
                    <a:pt x="217" y="120"/>
                  </a:cubicBezTo>
                  <a:cubicBezTo>
                    <a:pt x="217" y="124"/>
                    <a:pt x="212" y="126"/>
                    <a:pt x="209" y="128"/>
                  </a:cubicBezTo>
                  <a:cubicBezTo>
                    <a:pt x="206" y="130"/>
                    <a:pt x="202" y="131"/>
                    <a:pt x="200" y="132"/>
                  </a:cubicBezTo>
                  <a:cubicBezTo>
                    <a:pt x="198" y="134"/>
                    <a:pt x="202" y="138"/>
                    <a:pt x="205" y="141"/>
                  </a:cubicBezTo>
                  <a:cubicBezTo>
                    <a:pt x="208" y="144"/>
                    <a:pt x="211" y="148"/>
                    <a:pt x="212" y="151"/>
                  </a:cubicBezTo>
                  <a:cubicBezTo>
                    <a:pt x="213" y="154"/>
                    <a:pt x="214" y="155"/>
                    <a:pt x="213" y="159"/>
                  </a:cubicBezTo>
                  <a:cubicBezTo>
                    <a:pt x="212" y="163"/>
                    <a:pt x="209" y="163"/>
                    <a:pt x="208" y="166"/>
                  </a:cubicBezTo>
                  <a:cubicBezTo>
                    <a:pt x="206" y="169"/>
                    <a:pt x="203" y="171"/>
                    <a:pt x="201" y="168"/>
                  </a:cubicBezTo>
                  <a:cubicBezTo>
                    <a:pt x="199" y="165"/>
                    <a:pt x="198" y="163"/>
                    <a:pt x="197" y="160"/>
                  </a:cubicBezTo>
                  <a:cubicBezTo>
                    <a:pt x="195" y="157"/>
                    <a:pt x="195" y="154"/>
                    <a:pt x="189" y="151"/>
                  </a:cubicBezTo>
                  <a:cubicBezTo>
                    <a:pt x="183" y="149"/>
                    <a:pt x="181" y="146"/>
                    <a:pt x="178" y="145"/>
                  </a:cubicBezTo>
                  <a:cubicBezTo>
                    <a:pt x="176" y="143"/>
                    <a:pt x="173" y="141"/>
                    <a:pt x="169" y="143"/>
                  </a:cubicBezTo>
                  <a:cubicBezTo>
                    <a:pt x="164" y="145"/>
                    <a:pt x="156" y="145"/>
                    <a:pt x="156" y="143"/>
                  </a:cubicBezTo>
                  <a:cubicBezTo>
                    <a:pt x="155" y="141"/>
                    <a:pt x="156" y="138"/>
                    <a:pt x="160" y="138"/>
                  </a:cubicBezTo>
                  <a:cubicBezTo>
                    <a:pt x="164" y="137"/>
                    <a:pt x="168" y="134"/>
                    <a:pt x="166" y="132"/>
                  </a:cubicBezTo>
                  <a:cubicBezTo>
                    <a:pt x="164" y="130"/>
                    <a:pt x="156" y="127"/>
                    <a:pt x="152" y="127"/>
                  </a:cubicBezTo>
                  <a:cubicBezTo>
                    <a:pt x="149" y="127"/>
                    <a:pt x="146" y="129"/>
                    <a:pt x="140" y="130"/>
                  </a:cubicBezTo>
                  <a:cubicBezTo>
                    <a:pt x="133" y="131"/>
                    <a:pt x="127" y="129"/>
                    <a:pt x="122" y="129"/>
                  </a:cubicBezTo>
                  <a:cubicBezTo>
                    <a:pt x="118" y="129"/>
                    <a:pt x="113" y="135"/>
                    <a:pt x="107" y="133"/>
                  </a:cubicBezTo>
                  <a:cubicBezTo>
                    <a:pt x="101" y="131"/>
                    <a:pt x="103" y="128"/>
                    <a:pt x="108" y="127"/>
                  </a:cubicBezTo>
                  <a:cubicBezTo>
                    <a:pt x="113" y="125"/>
                    <a:pt x="116" y="123"/>
                    <a:pt x="123" y="121"/>
                  </a:cubicBezTo>
                  <a:cubicBezTo>
                    <a:pt x="129" y="119"/>
                    <a:pt x="131" y="118"/>
                    <a:pt x="135" y="116"/>
                  </a:cubicBezTo>
                  <a:cubicBezTo>
                    <a:pt x="139" y="114"/>
                    <a:pt x="141" y="112"/>
                    <a:pt x="148" y="112"/>
                  </a:cubicBezTo>
                  <a:cubicBezTo>
                    <a:pt x="155" y="112"/>
                    <a:pt x="156" y="113"/>
                    <a:pt x="166" y="112"/>
                  </a:cubicBezTo>
                  <a:cubicBezTo>
                    <a:pt x="176" y="112"/>
                    <a:pt x="177" y="109"/>
                    <a:pt x="183" y="109"/>
                  </a:cubicBezTo>
                  <a:cubicBezTo>
                    <a:pt x="189" y="108"/>
                    <a:pt x="194" y="111"/>
                    <a:pt x="197" y="107"/>
                  </a:cubicBezTo>
                  <a:cubicBezTo>
                    <a:pt x="201" y="103"/>
                    <a:pt x="202" y="97"/>
                    <a:pt x="201" y="95"/>
                  </a:cubicBezTo>
                  <a:cubicBezTo>
                    <a:pt x="199" y="92"/>
                    <a:pt x="194" y="87"/>
                    <a:pt x="188" y="89"/>
                  </a:cubicBezTo>
                  <a:cubicBezTo>
                    <a:pt x="181" y="91"/>
                    <a:pt x="167" y="93"/>
                    <a:pt x="165" y="94"/>
                  </a:cubicBezTo>
                  <a:cubicBezTo>
                    <a:pt x="163" y="95"/>
                    <a:pt x="149" y="94"/>
                    <a:pt x="143" y="96"/>
                  </a:cubicBezTo>
                  <a:cubicBezTo>
                    <a:pt x="138" y="98"/>
                    <a:pt x="136" y="100"/>
                    <a:pt x="131" y="102"/>
                  </a:cubicBezTo>
                  <a:cubicBezTo>
                    <a:pt x="126" y="104"/>
                    <a:pt x="118" y="102"/>
                    <a:pt x="115" y="104"/>
                  </a:cubicBezTo>
                  <a:cubicBezTo>
                    <a:pt x="112" y="106"/>
                    <a:pt x="106" y="103"/>
                    <a:pt x="104" y="98"/>
                  </a:cubicBezTo>
                  <a:cubicBezTo>
                    <a:pt x="101" y="94"/>
                    <a:pt x="95" y="91"/>
                    <a:pt x="92" y="91"/>
                  </a:cubicBezTo>
                  <a:cubicBezTo>
                    <a:pt x="90" y="92"/>
                    <a:pt x="85" y="96"/>
                    <a:pt x="87" y="101"/>
                  </a:cubicBezTo>
                  <a:cubicBezTo>
                    <a:pt x="89" y="107"/>
                    <a:pt x="86" y="112"/>
                    <a:pt x="83" y="112"/>
                  </a:cubicBezTo>
                  <a:cubicBezTo>
                    <a:pt x="79" y="111"/>
                    <a:pt x="78" y="107"/>
                    <a:pt x="74" y="104"/>
                  </a:cubicBezTo>
                  <a:cubicBezTo>
                    <a:pt x="71" y="101"/>
                    <a:pt x="72" y="98"/>
                    <a:pt x="70" y="96"/>
                  </a:cubicBezTo>
                  <a:cubicBezTo>
                    <a:pt x="67" y="94"/>
                    <a:pt x="65" y="92"/>
                    <a:pt x="57" y="92"/>
                  </a:cubicBezTo>
                  <a:cubicBezTo>
                    <a:pt x="50" y="93"/>
                    <a:pt x="48" y="96"/>
                    <a:pt x="46" y="99"/>
                  </a:cubicBezTo>
                  <a:cubicBezTo>
                    <a:pt x="43" y="103"/>
                    <a:pt x="33" y="101"/>
                    <a:pt x="30" y="101"/>
                  </a:cubicBezTo>
                  <a:cubicBezTo>
                    <a:pt x="27" y="101"/>
                    <a:pt x="25" y="110"/>
                    <a:pt x="25" y="113"/>
                  </a:cubicBezTo>
                  <a:cubicBezTo>
                    <a:pt x="25" y="116"/>
                    <a:pt x="25" y="119"/>
                    <a:pt x="21" y="120"/>
                  </a:cubicBezTo>
                  <a:cubicBezTo>
                    <a:pt x="18" y="121"/>
                    <a:pt x="14" y="122"/>
                    <a:pt x="14" y="123"/>
                  </a:cubicBezTo>
                  <a:cubicBezTo>
                    <a:pt x="13" y="124"/>
                    <a:pt x="11" y="125"/>
                    <a:pt x="14" y="127"/>
                  </a:cubicBezTo>
                  <a:cubicBezTo>
                    <a:pt x="18" y="129"/>
                    <a:pt x="19" y="131"/>
                    <a:pt x="18" y="132"/>
                  </a:cubicBezTo>
                  <a:cubicBezTo>
                    <a:pt x="17" y="134"/>
                    <a:pt x="12" y="134"/>
                    <a:pt x="10" y="134"/>
                  </a:cubicBezTo>
                  <a:cubicBezTo>
                    <a:pt x="8" y="133"/>
                    <a:pt x="2" y="132"/>
                    <a:pt x="2" y="134"/>
                  </a:cubicBezTo>
                  <a:cubicBezTo>
                    <a:pt x="1" y="136"/>
                    <a:pt x="0" y="139"/>
                    <a:pt x="1" y="143"/>
                  </a:cubicBezTo>
                  <a:cubicBezTo>
                    <a:pt x="3" y="148"/>
                    <a:pt x="3" y="152"/>
                    <a:pt x="6" y="159"/>
                  </a:cubicBezTo>
                  <a:close/>
                  <a:moveTo>
                    <a:pt x="895" y="527"/>
                  </a:moveTo>
                  <a:cubicBezTo>
                    <a:pt x="893" y="530"/>
                    <a:pt x="895" y="531"/>
                    <a:pt x="890" y="533"/>
                  </a:cubicBezTo>
                  <a:cubicBezTo>
                    <a:pt x="886" y="536"/>
                    <a:pt x="880" y="538"/>
                    <a:pt x="880" y="544"/>
                  </a:cubicBezTo>
                  <a:cubicBezTo>
                    <a:pt x="880" y="546"/>
                    <a:pt x="892" y="537"/>
                    <a:pt x="896" y="536"/>
                  </a:cubicBezTo>
                  <a:cubicBezTo>
                    <a:pt x="901" y="534"/>
                    <a:pt x="908" y="528"/>
                    <a:pt x="908" y="524"/>
                  </a:cubicBezTo>
                  <a:cubicBezTo>
                    <a:pt x="908" y="520"/>
                    <a:pt x="900" y="517"/>
                    <a:pt x="895" y="5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8" name="Freeform 259"/>
            <p:cNvSpPr>
              <a:spLocks/>
            </p:cNvSpPr>
            <p:nvPr/>
          </p:nvSpPr>
          <p:spPr bwMode="auto">
            <a:xfrm>
              <a:off x="6843825" y="3779732"/>
              <a:ext cx="104775" cy="89297"/>
            </a:xfrm>
            <a:custGeom>
              <a:avLst/>
              <a:gdLst>
                <a:gd name="T0" fmla="*/ 4 w 366"/>
                <a:gd name="T1" fmla="*/ 255 h 311"/>
                <a:gd name="T2" fmla="*/ 22 w 366"/>
                <a:gd name="T3" fmla="*/ 279 h 311"/>
                <a:gd name="T4" fmla="*/ 24 w 366"/>
                <a:gd name="T5" fmla="*/ 308 h 311"/>
                <a:gd name="T6" fmla="*/ 53 w 366"/>
                <a:gd name="T7" fmla="*/ 282 h 311"/>
                <a:gd name="T8" fmla="*/ 79 w 366"/>
                <a:gd name="T9" fmla="*/ 279 h 311"/>
                <a:gd name="T10" fmla="*/ 57 w 366"/>
                <a:gd name="T11" fmla="*/ 261 h 311"/>
                <a:gd name="T12" fmla="*/ 33 w 366"/>
                <a:gd name="T13" fmla="*/ 253 h 311"/>
                <a:gd name="T14" fmla="*/ 44 w 366"/>
                <a:gd name="T15" fmla="*/ 224 h 311"/>
                <a:gd name="T16" fmla="*/ 66 w 366"/>
                <a:gd name="T17" fmla="*/ 236 h 311"/>
                <a:gd name="T18" fmla="*/ 91 w 366"/>
                <a:gd name="T19" fmla="*/ 230 h 311"/>
                <a:gd name="T20" fmla="*/ 127 w 366"/>
                <a:gd name="T21" fmla="*/ 227 h 311"/>
                <a:gd name="T22" fmla="*/ 173 w 366"/>
                <a:gd name="T23" fmla="*/ 251 h 311"/>
                <a:gd name="T24" fmla="*/ 208 w 366"/>
                <a:gd name="T25" fmla="*/ 270 h 311"/>
                <a:gd name="T26" fmla="*/ 227 w 366"/>
                <a:gd name="T27" fmla="*/ 229 h 311"/>
                <a:gd name="T28" fmla="*/ 258 w 366"/>
                <a:gd name="T29" fmla="*/ 203 h 311"/>
                <a:gd name="T30" fmla="*/ 299 w 366"/>
                <a:gd name="T31" fmla="*/ 200 h 311"/>
                <a:gd name="T32" fmla="*/ 314 w 366"/>
                <a:gd name="T33" fmla="*/ 191 h 311"/>
                <a:gd name="T34" fmla="*/ 343 w 366"/>
                <a:gd name="T35" fmla="*/ 185 h 311"/>
                <a:gd name="T36" fmla="*/ 365 w 366"/>
                <a:gd name="T37" fmla="*/ 167 h 311"/>
                <a:gd name="T38" fmla="*/ 340 w 366"/>
                <a:gd name="T39" fmla="*/ 171 h 311"/>
                <a:gd name="T40" fmla="*/ 335 w 366"/>
                <a:gd name="T41" fmla="*/ 148 h 311"/>
                <a:gd name="T42" fmla="*/ 326 w 366"/>
                <a:gd name="T43" fmla="*/ 124 h 311"/>
                <a:gd name="T44" fmla="*/ 329 w 366"/>
                <a:gd name="T45" fmla="*/ 103 h 311"/>
                <a:gd name="T46" fmla="*/ 298 w 366"/>
                <a:gd name="T47" fmla="*/ 122 h 311"/>
                <a:gd name="T48" fmla="*/ 251 w 366"/>
                <a:gd name="T49" fmla="*/ 110 h 311"/>
                <a:gd name="T50" fmla="*/ 219 w 366"/>
                <a:gd name="T51" fmla="*/ 86 h 311"/>
                <a:gd name="T52" fmla="*/ 174 w 366"/>
                <a:gd name="T53" fmla="*/ 51 h 311"/>
                <a:gd name="T54" fmla="*/ 137 w 366"/>
                <a:gd name="T55" fmla="*/ 5 h 311"/>
                <a:gd name="T56" fmla="*/ 119 w 366"/>
                <a:gd name="T57" fmla="*/ 21 h 311"/>
                <a:gd name="T58" fmla="*/ 126 w 366"/>
                <a:gd name="T59" fmla="*/ 64 h 311"/>
                <a:gd name="T60" fmla="*/ 120 w 366"/>
                <a:gd name="T61" fmla="*/ 109 h 311"/>
                <a:gd name="T62" fmla="*/ 98 w 366"/>
                <a:gd name="T63" fmla="*/ 140 h 311"/>
                <a:gd name="T64" fmla="*/ 101 w 366"/>
                <a:gd name="T65" fmla="*/ 171 h 311"/>
                <a:gd name="T66" fmla="*/ 71 w 366"/>
                <a:gd name="T67" fmla="*/ 177 h 311"/>
                <a:gd name="T68" fmla="*/ 46 w 366"/>
                <a:gd name="T69" fmla="*/ 167 h 311"/>
                <a:gd name="T70" fmla="*/ 42 w 366"/>
                <a:gd name="T71" fmla="*/ 188 h 311"/>
                <a:gd name="T72" fmla="*/ 23 w 366"/>
                <a:gd name="T73" fmla="*/ 212 h 311"/>
                <a:gd name="T74" fmla="*/ 2 w 366"/>
                <a:gd name="T75" fmla="*/ 23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6" h="311">
                  <a:moveTo>
                    <a:pt x="1" y="242"/>
                  </a:moveTo>
                  <a:cubicBezTo>
                    <a:pt x="1" y="248"/>
                    <a:pt x="2" y="250"/>
                    <a:pt x="4" y="255"/>
                  </a:cubicBezTo>
                  <a:cubicBezTo>
                    <a:pt x="5" y="260"/>
                    <a:pt x="14" y="262"/>
                    <a:pt x="20" y="266"/>
                  </a:cubicBezTo>
                  <a:cubicBezTo>
                    <a:pt x="26" y="270"/>
                    <a:pt x="22" y="271"/>
                    <a:pt x="22" y="279"/>
                  </a:cubicBezTo>
                  <a:cubicBezTo>
                    <a:pt x="22" y="286"/>
                    <a:pt x="16" y="291"/>
                    <a:pt x="14" y="296"/>
                  </a:cubicBezTo>
                  <a:cubicBezTo>
                    <a:pt x="12" y="301"/>
                    <a:pt x="18" y="305"/>
                    <a:pt x="24" y="308"/>
                  </a:cubicBezTo>
                  <a:cubicBezTo>
                    <a:pt x="30" y="311"/>
                    <a:pt x="36" y="302"/>
                    <a:pt x="40" y="295"/>
                  </a:cubicBezTo>
                  <a:cubicBezTo>
                    <a:pt x="44" y="287"/>
                    <a:pt x="47" y="286"/>
                    <a:pt x="53" y="282"/>
                  </a:cubicBezTo>
                  <a:cubicBezTo>
                    <a:pt x="59" y="279"/>
                    <a:pt x="63" y="285"/>
                    <a:pt x="69" y="288"/>
                  </a:cubicBezTo>
                  <a:cubicBezTo>
                    <a:pt x="75" y="290"/>
                    <a:pt x="77" y="287"/>
                    <a:pt x="79" y="279"/>
                  </a:cubicBezTo>
                  <a:cubicBezTo>
                    <a:pt x="81" y="271"/>
                    <a:pt x="75" y="275"/>
                    <a:pt x="69" y="268"/>
                  </a:cubicBezTo>
                  <a:cubicBezTo>
                    <a:pt x="64" y="261"/>
                    <a:pt x="62" y="262"/>
                    <a:pt x="57" y="261"/>
                  </a:cubicBezTo>
                  <a:cubicBezTo>
                    <a:pt x="53" y="260"/>
                    <a:pt x="53" y="261"/>
                    <a:pt x="48" y="259"/>
                  </a:cubicBezTo>
                  <a:cubicBezTo>
                    <a:pt x="44" y="257"/>
                    <a:pt x="38" y="255"/>
                    <a:pt x="33" y="253"/>
                  </a:cubicBezTo>
                  <a:cubicBezTo>
                    <a:pt x="29" y="251"/>
                    <a:pt x="31" y="245"/>
                    <a:pt x="32" y="237"/>
                  </a:cubicBezTo>
                  <a:cubicBezTo>
                    <a:pt x="32" y="230"/>
                    <a:pt x="40" y="226"/>
                    <a:pt x="44" y="224"/>
                  </a:cubicBezTo>
                  <a:cubicBezTo>
                    <a:pt x="48" y="223"/>
                    <a:pt x="48" y="227"/>
                    <a:pt x="54" y="227"/>
                  </a:cubicBezTo>
                  <a:cubicBezTo>
                    <a:pt x="61" y="228"/>
                    <a:pt x="63" y="230"/>
                    <a:pt x="66" y="236"/>
                  </a:cubicBezTo>
                  <a:cubicBezTo>
                    <a:pt x="69" y="242"/>
                    <a:pt x="70" y="243"/>
                    <a:pt x="77" y="244"/>
                  </a:cubicBezTo>
                  <a:cubicBezTo>
                    <a:pt x="83" y="246"/>
                    <a:pt x="84" y="238"/>
                    <a:pt x="91" y="230"/>
                  </a:cubicBezTo>
                  <a:cubicBezTo>
                    <a:pt x="98" y="221"/>
                    <a:pt x="103" y="226"/>
                    <a:pt x="108" y="225"/>
                  </a:cubicBezTo>
                  <a:cubicBezTo>
                    <a:pt x="114" y="224"/>
                    <a:pt x="123" y="225"/>
                    <a:pt x="127" y="227"/>
                  </a:cubicBezTo>
                  <a:cubicBezTo>
                    <a:pt x="131" y="228"/>
                    <a:pt x="142" y="233"/>
                    <a:pt x="146" y="236"/>
                  </a:cubicBezTo>
                  <a:cubicBezTo>
                    <a:pt x="149" y="239"/>
                    <a:pt x="165" y="248"/>
                    <a:pt x="173" y="251"/>
                  </a:cubicBezTo>
                  <a:cubicBezTo>
                    <a:pt x="182" y="254"/>
                    <a:pt x="193" y="261"/>
                    <a:pt x="194" y="265"/>
                  </a:cubicBezTo>
                  <a:cubicBezTo>
                    <a:pt x="196" y="270"/>
                    <a:pt x="206" y="271"/>
                    <a:pt x="208" y="270"/>
                  </a:cubicBezTo>
                  <a:cubicBezTo>
                    <a:pt x="210" y="270"/>
                    <a:pt x="218" y="263"/>
                    <a:pt x="219" y="253"/>
                  </a:cubicBezTo>
                  <a:cubicBezTo>
                    <a:pt x="220" y="242"/>
                    <a:pt x="222" y="237"/>
                    <a:pt x="227" y="229"/>
                  </a:cubicBezTo>
                  <a:cubicBezTo>
                    <a:pt x="232" y="221"/>
                    <a:pt x="236" y="224"/>
                    <a:pt x="242" y="220"/>
                  </a:cubicBezTo>
                  <a:cubicBezTo>
                    <a:pt x="248" y="216"/>
                    <a:pt x="250" y="211"/>
                    <a:pt x="258" y="203"/>
                  </a:cubicBezTo>
                  <a:cubicBezTo>
                    <a:pt x="265" y="195"/>
                    <a:pt x="268" y="200"/>
                    <a:pt x="275" y="199"/>
                  </a:cubicBezTo>
                  <a:cubicBezTo>
                    <a:pt x="282" y="197"/>
                    <a:pt x="291" y="199"/>
                    <a:pt x="299" y="200"/>
                  </a:cubicBezTo>
                  <a:cubicBezTo>
                    <a:pt x="307" y="200"/>
                    <a:pt x="311" y="203"/>
                    <a:pt x="314" y="198"/>
                  </a:cubicBezTo>
                  <a:cubicBezTo>
                    <a:pt x="316" y="194"/>
                    <a:pt x="311" y="192"/>
                    <a:pt x="314" y="191"/>
                  </a:cubicBezTo>
                  <a:cubicBezTo>
                    <a:pt x="317" y="189"/>
                    <a:pt x="324" y="195"/>
                    <a:pt x="328" y="191"/>
                  </a:cubicBezTo>
                  <a:cubicBezTo>
                    <a:pt x="332" y="187"/>
                    <a:pt x="337" y="191"/>
                    <a:pt x="343" y="185"/>
                  </a:cubicBezTo>
                  <a:cubicBezTo>
                    <a:pt x="349" y="180"/>
                    <a:pt x="353" y="179"/>
                    <a:pt x="358" y="176"/>
                  </a:cubicBezTo>
                  <a:cubicBezTo>
                    <a:pt x="364" y="173"/>
                    <a:pt x="366" y="170"/>
                    <a:pt x="365" y="167"/>
                  </a:cubicBezTo>
                  <a:cubicBezTo>
                    <a:pt x="363" y="164"/>
                    <a:pt x="360" y="169"/>
                    <a:pt x="355" y="173"/>
                  </a:cubicBezTo>
                  <a:cubicBezTo>
                    <a:pt x="350" y="177"/>
                    <a:pt x="346" y="174"/>
                    <a:pt x="340" y="171"/>
                  </a:cubicBezTo>
                  <a:cubicBezTo>
                    <a:pt x="334" y="168"/>
                    <a:pt x="335" y="164"/>
                    <a:pt x="333" y="156"/>
                  </a:cubicBezTo>
                  <a:cubicBezTo>
                    <a:pt x="330" y="149"/>
                    <a:pt x="334" y="150"/>
                    <a:pt x="335" y="148"/>
                  </a:cubicBezTo>
                  <a:cubicBezTo>
                    <a:pt x="336" y="146"/>
                    <a:pt x="335" y="143"/>
                    <a:pt x="326" y="139"/>
                  </a:cubicBezTo>
                  <a:cubicBezTo>
                    <a:pt x="317" y="134"/>
                    <a:pt x="323" y="132"/>
                    <a:pt x="326" y="124"/>
                  </a:cubicBezTo>
                  <a:cubicBezTo>
                    <a:pt x="328" y="115"/>
                    <a:pt x="332" y="112"/>
                    <a:pt x="338" y="106"/>
                  </a:cubicBezTo>
                  <a:cubicBezTo>
                    <a:pt x="343" y="100"/>
                    <a:pt x="337" y="100"/>
                    <a:pt x="329" y="103"/>
                  </a:cubicBezTo>
                  <a:cubicBezTo>
                    <a:pt x="320" y="106"/>
                    <a:pt x="321" y="110"/>
                    <a:pt x="315" y="116"/>
                  </a:cubicBezTo>
                  <a:cubicBezTo>
                    <a:pt x="309" y="123"/>
                    <a:pt x="306" y="123"/>
                    <a:pt x="298" y="122"/>
                  </a:cubicBezTo>
                  <a:cubicBezTo>
                    <a:pt x="291" y="122"/>
                    <a:pt x="286" y="122"/>
                    <a:pt x="278" y="116"/>
                  </a:cubicBezTo>
                  <a:cubicBezTo>
                    <a:pt x="271" y="111"/>
                    <a:pt x="264" y="110"/>
                    <a:pt x="251" y="110"/>
                  </a:cubicBezTo>
                  <a:cubicBezTo>
                    <a:pt x="238" y="110"/>
                    <a:pt x="243" y="109"/>
                    <a:pt x="236" y="104"/>
                  </a:cubicBezTo>
                  <a:cubicBezTo>
                    <a:pt x="228" y="98"/>
                    <a:pt x="227" y="95"/>
                    <a:pt x="219" y="86"/>
                  </a:cubicBezTo>
                  <a:cubicBezTo>
                    <a:pt x="212" y="76"/>
                    <a:pt x="205" y="80"/>
                    <a:pt x="191" y="74"/>
                  </a:cubicBezTo>
                  <a:cubicBezTo>
                    <a:pt x="177" y="67"/>
                    <a:pt x="179" y="61"/>
                    <a:pt x="174" y="51"/>
                  </a:cubicBezTo>
                  <a:cubicBezTo>
                    <a:pt x="168" y="42"/>
                    <a:pt x="170" y="41"/>
                    <a:pt x="161" y="32"/>
                  </a:cubicBezTo>
                  <a:cubicBezTo>
                    <a:pt x="149" y="26"/>
                    <a:pt x="140" y="10"/>
                    <a:pt x="137" y="5"/>
                  </a:cubicBezTo>
                  <a:cubicBezTo>
                    <a:pt x="134" y="0"/>
                    <a:pt x="131" y="7"/>
                    <a:pt x="126" y="9"/>
                  </a:cubicBezTo>
                  <a:cubicBezTo>
                    <a:pt x="122" y="10"/>
                    <a:pt x="120" y="12"/>
                    <a:pt x="119" y="21"/>
                  </a:cubicBezTo>
                  <a:cubicBezTo>
                    <a:pt x="117" y="30"/>
                    <a:pt x="116" y="33"/>
                    <a:pt x="117" y="41"/>
                  </a:cubicBezTo>
                  <a:cubicBezTo>
                    <a:pt x="118" y="48"/>
                    <a:pt x="124" y="56"/>
                    <a:pt x="126" y="64"/>
                  </a:cubicBezTo>
                  <a:cubicBezTo>
                    <a:pt x="128" y="73"/>
                    <a:pt x="130" y="79"/>
                    <a:pt x="122" y="87"/>
                  </a:cubicBezTo>
                  <a:cubicBezTo>
                    <a:pt x="114" y="95"/>
                    <a:pt x="122" y="100"/>
                    <a:pt x="120" y="109"/>
                  </a:cubicBezTo>
                  <a:cubicBezTo>
                    <a:pt x="118" y="118"/>
                    <a:pt x="113" y="127"/>
                    <a:pt x="108" y="131"/>
                  </a:cubicBezTo>
                  <a:cubicBezTo>
                    <a:pt x="103" y="134"/>
                    <a:pt x="102" y="136"/>
                    <a:pt x="98" y="140"/>
                  </a:cubicBezTo>
                  <a:cubicBezTo>
                    <a:pt x="93" y="143"/>
                    <a:pt x="98" y="149"/>
                    <a:pt x="101" y="156"/>
                  </a:cubicBezTo>
                  <a:cubicBezTo>
                    <a:pt x="104" y="164"/>
                    <a:pt x="102" y="166"/>
                    <a:pt x="101" y="171"/>
                  </a:cubicBezTo>
                  <a:cubicBezTo>
                    <a:pt x="99" y="177"/>
                    <a:pt x="93" y="176"/>
                    <a:pt x="89" y="181"/>
                  </a:cubicBezTo>
                  <a:cubicBezTo>
                    <a:pt x="85" y="185"/>
                    <a:pt x="80" y="179"/>
                    <a:pt x="71" y="177"/>
                  </a:cubicBezTo>
                  <a:cubicBezTo>
                    <a:pt x="62" y="174"/>
                    <a:pt x="65" y="180"/>
                    <a:pt x="60" y="179"/>
                  </a:cubicBezTo>
                  <a:cubicBezTo>
                    <a:pt x="56" y="179"/>
                    <a:pt x="53" y="172"/>
                    <a:pt x="46" y="167"/>
                  </a:cubicBezTo>
                  <a:cubicBezTo>
                    <a:pt x="39" y="162"/>
                    <a:pt x="39" y="169"/>
                    <a:pt x="38" y="176"/>
                  </a:cubicBezTo>
                  <a:cubicBezTo>
                    <a:pt x="36" y="182"/>
                    <a:pt x="40" y="182"/>
                    <a:pt x="42" y="188"/>
                  </a:cubicBezTo>
                  <a:cubicBezTo>
                    <a:pt x="44" y="195"/>
                    <a:pt x="42" y="194"/>
                    <a:pt x="39" y="202"/>
                  </a:cubicBezTo>
                  <a:cubicBezTo>
                    <a:pt x="36" y="209"/>
                    <a:pt x="31" y="209"/>
                    <a:pt x="23" y="212"/>
                  </a:cubicBezTo>
                  <a:cubicBezTo>
                    <a:pt x="16" y="215"/>
                    <a:pt x="11" y="216"/>
                    <a:pt x="5" y="220"/>
                  </a:cubicBezTo>
                  <a:cubicBezTo>
                    <a:pt x="0" y="223"/>
                    <a:pt x="3" y="225"/>
                    <a:pt x="2" y="231"/>
                  </a:cubicBezTo>
                  <a:cubicBezTo>
                    <a:pt x="2" y="236"/>
                    <a:pt x="1" y="236"/>
                    <a:pt x="1" y="24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9" name="Freeform 268"/>
            <p:cNvSpPr>
              <a:spLocks noEditPoints="1"/>
            </p:cNvSpPr>
            <p:nvPr/>
          </p:nvSpPr>
          <p:spPr bwMode="auto">
            <a:xfrm>
              <a:off x="6556884" y="3865457"/>
              <a:ext cx="328612" cy="346472"/>
            </a:xfrm>
            <a:custGeom>
              <a:avLst/>
              <a:gdLst>
                <a:gd name="T0" fmla="*/ 493 w 1143"/>
                <a:gd name="T1" fmla="*/ 496 h 1206"/>
                <a:gd name="T2" fmla="*/ 453 w 1143"/>
                <a:gd name="T3" fmla="*/ 544 h 1206"/>
                <a:gd name="T4" fmla="*/ 521 w 1143"/>
                <a:gd name="T5" fmla="*/ 556 h 1206"/>
                <a:gd name="T6" fmla="*/ 567 w 1143"/>
                <a:gd name="T7" fmla="*/ 529 h 1206"/>
                <a:gd name="T8" fmla="*/ 640 w 1143"/>
                <a:gd name="T9" fmla="*/ 503 h 1206"/>
                <a:gd name="T10" fmla="*/ 724 w 1143"/>
                <a:gd name="T11" fmla="*/ 497 h 1206"/>
                <a:gd name="T12" fmla="*/ 708 w 1143"/>
                <a:gd name="T13" fmla="*/ 546 h 1206"/>
                <a:gd name="T14" fmla="*/ 753 w 1143"/>
                <a:gd name="T15" fmla="*/ 577 h 1206"/>
                <a:gd name="T16" fmla="*/ 813 w 1143"/>
                <a:gd name="T17" fmla="*/ 521 h 1206"/>
                <a:gd name="T18" fmla="*/ 812 w 1143"/>
                <a:gd name="T19" fmla="*/ 468 h 1206"/>
                <a:gd name="T20" fmla="*/ 830 w 1143"/>
                <a:gd name="T21" fmla="*/ 502 h 1206"/>
                <a:gd name="T22" fmla="*/ 907 w 1143"/>
                <a:gd name="T23" fmla="*/ 490 h 1206"/>
                <a:gd name="T24" fmla="*/ 935 w 1143"/>
                <a:gd name="T25" fmla="*/ 493 h 1206"/>
                <a:gd name="T26" fmla="*/ 974 w 1143"/>
                <a:gd name="T27" fmla="*/ 460 h 1206"/>
                <a:gd name="T28" fmla="*/ 1007 w 1143"/>
                <a:gd name="T29" fmla="*/ 448 h 1206"/>
                <a:gd name="T30" fmla="*/ 1023 w 1143"/>
                <a:gd name="T31" fmla="*/ 469 h 1206"/>
                <a:gd name="T32" fmla="*/ 1061 w 1143"/>
                <a:gd name="T33" fmla="*/ 412 h 1206"/>
                <a:gd name="T34" fmla="*/ 1066 w 1143"/>
                <a:gd name="T35" fmla="*/ 334 h 1206"/>
                <a:gd name="T36" fmla="*/ 1071 w 1143"/>
                <a:gd name="T37" fmla="*/ 253 h 1206"/>
                <a:gd name="T38" fmla="*/ 1104 w 1143"/>
                <a:gd name="T39" fmla="*/ 224 h 1206"/>
                <a:gd name="T40" fmla="*/ 1134 w 1143"/>
                <a:gd name="T41" fmla="*/ 159 h 1206"/>
                <a:gd name="T42" fmla="*/ 1112 w 1143"/>
                <a:gd name="T43" fmla="*/ 76 h 1206"/>
                <a:gd name="T44" fmla="*/ 1096 w 1143"/>
                <a:gd name="T45" fmla="*/ 12 h 1206"/>
                <a:gd name="T46" fmla="*/ 1067 w 1143"/>
                <a:gd name="T47" fmla="*/ 28 h 1206"/>
                <a:gd name="T48" fmla="*/ 1069 w 1143"/>
                <a:gd name="T49" fmla="*/ 54 h 1206"/>
                <a:gd name="T50" fmla="*/ 1028 w 1143"/>
                <a:gd name="T51" fmla="*/ 27 h 1206"/>
                <a:gd name="T52" fmla="*/ 1004 w 1143"/>
                <a:gd name="T53" fmla="*/ 91 h 1206"/>
                <a:gd name="T54" fmla="*/ 1008 w 1143"/>
                <a:gd name="T55" fmla="*/ 145 h 1206"/>
                <a:gd name="T56" fmla="*/ 976 w 1143"/>
                <a:gd name="T57" fmla="*/ 241 h 1206"/>
                <a:gd name="T58" fmla="*/ 895 w 1143"/>
                <a:gd name="T59" fmla="*/ 320 h 1206"/>
                <a:gd name="T60" fmla="*/ 823 w 1143"/>
                <a:gd name="T61" fmla="*/ 331 h 1206"/>
                <a:gd name="T62" fmla="*/ 769 w 1143"/>
                <a:gd name="T63" fmla="*/ 392 h 1206"/>
                <a:gd name="T64" fmla="*/ 731 w 1143"/>
                <a:gd name="T65" fmla="*/ 434 h 1206"/>
                <a:gd name="T66" fmla="*/ 696 w 1143"/>
                <a:gd name="T67" fmla="*/ 426 h 1206"/>
                <a:gd name="T68" fmla="*/ 560 w 1143"/>
                <a:gd name="T69" fmla="*/ 443 h 1206"/>
                <a:gd name="T70" fmla="*/ 263 w 1143"/>
                <a:gd name="T71" fmla="*/ 1042 h 1206"/>
                <a:gd name="T72" fmla="*/ 250 w 1143"/>
                <a:gd name="T73" fmla="*/ 1074 h 1206"/>
                <a:gd name="T74" fmla="*/ 280 w 1143"/>
                <a:gd name="T75" fmla="*/ 1042 h 1206"/>
                <a:gd name="T76" fmla="*/ 97 w 1143"/>
                <a:gd name="T77" fmla="*/ 1161 h 1206"/>
                <a:gd name="T78" fmla="*/ 7 w 1143"/>
                <a:gd name="T79" fmla="*/ 1191 h 1206"/>
                <a:gd name="T80" fmla="*/ 352 w 1143"/>
                <a:gd name="T81" fmla="*/ 932 h 1206"/>
                <a:gd name="T82" fmla="*/ 365 w 1143"/>
                <a:gd name="T83" fmla="*/ 928 h 1206"/>
                <a:gd name="T84" fmla="*/ 310 w 1143"/>
                <a:gd name="T85" fmla="*/ 988 h 1206"/>
                <a:gd name="T86" fmla="*/ 312 w 1143"/>
                <a:gd name="T87" fmla="*/ 631 h 1206"/>
                <a:gd name="T88" fmla="*/ 325 w 1143"/>
                <a:gd name="T89" fmla="*/ 972 h 1206"/>
                <a:gd name="T90" fmla="*/ 325 w 1143"/>
                <a:gd name="T91" fmla="*/ 972 h 1206"/>
                <a:gd name="T92" fmla="*/ 407 w 1143"/>
                <a:gd name="T93" fmla="*/ 638 h 1206"/>
                <a:gd name="T94" fmla="*/ 333 w 1143"/>
                <a:gd name="T95" fmla="*/ 611 h 1206"/>
                <a:gd name="T96" fmla="*/ 454 w 1143"/>
                <a:gd name="T97" fmla="*/ 782 h 1206"/>
                <a:gd name="T98" fmla="*/ 452 w 1143"/>
                <a:gd name="T99" fmla="*/ 771 h 1206"/>
                <a:gd name="T100" fmla="*/ 402 w 1143"/>
                <a:gd name="T101" fmla="*/ 657 h 1206"/>
                <a:gd name="T102" fmla="*/ 425 w 1143"/>
                <a:gd name="T103" fmla="*/ 801 h 1206"/>
                <a:gd name="T104" fmla="*/ 425 w 1143"/>
                <a:gd name="T105" fmla="*/ 801 h 1206"/>
                <a:gd name="T106" fmla="*/ 473 w 1143"/>
                <a:gd name="T107" fmla="*/ 1103 h 1206"/>
                <a:gd name="T108" fmla="*/ 30 w 1143"/>
                <a:gd name="T109" fmla="*/ 1192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43" h="1206">
                  <a:moveTo>
                    <a:pt x="560" y="443"/>
                  </a:moveTo>
                  <a:cubicBezTo>
                    <a:pt x="557" y="449"/>
                    <a:pt x="554" y="455"/>
                    <a:pt x="548" y="460"/>
                  </a:cubicBezTo>
                  <a:cubicBezTo>
                    <a:pt x="542" y="464"/>
                    <a:pt x="541" y="466"/>
                    <a:pt x="525" y="475"/>
                  </a:cubicBezTo>
                  <a:cubicBezTo>
                    <a:pt x="509" y="485"/>
                    <a:pt x="499" y="487"/>
                    <a:pt x="493" y="496"/>
                  </a:cubicBezTo>
                  <a:cubicBezTo>
                    <a:pt x="488" y="504"/>
                    <a:pt x="482" y="511"/>
                    <a:pt x="480" y="513"/>
                  </a:cubicBezTo>
                  <a:cubicBezTo>
                    <a:pt x="478" y="514"/>
                    <a:pt x="463" y="512"/>
                    <a:pt x="456" y="512"/>
                  </a:cubicBezTo>
                  <a:cubicBezTo>
                    <a:pt x="449" y="513"/>
                    <a:pt x="446" y="528"/>
                    <a:pt x="448" y="534"/>
                  </a:cubicBezTo>
                  <a:cubicBezTo>
                    <a:pt x="449" y="541"/>
                    <a:pt x="446" y="543"/>
                    <a:pt x="453" y="544"/>
                  </a:cubicBezTo>
                  <a:cubicBezTo>
                    <a:pt x="459" y="544"/>
                    <a:pt x="464" y="546"/>
                    <a:pt x="473" y="544"/>
                  </a:cubicBezTo>
                  <a:cubicBezTo>
                    <a:pt x="482" y="542"/>
                    <a:pt x="484" y="536"/>
                    <a:pt x="493" y="540"/>
                  </a:cubicBezTo>
                  <a:cubicBezTo>
                    <a:pt x="502" y="544"/>
                    <a:pt x="510" y="542"/>
                    <a:pt x="514" y="549"/>
                  </a:cubicBezTo>
                  <a:cubicBezTo>
                    <a:pt x="518" y="557"/>
                    <a:pt x="519" y="562"/>
                    <a:pt x="521" y="556"/>
                  </a:cubicBezTo>
                  <a:cubicBezTo>
                    <a:pt x="523" y="550"/>
                    <a:pt x="521" y="550"/>
                    <a:pt x="524" y="541"/>
                  </a:cubicBezTo>
                  <a:cubicBezTo>
                    <a:pt x="526" y="531"/>
                    <a:pt x="527" y="525"/>
                    <a:pt x="532" y="522"/>
                  </a:cubicBezTo>
                  <a:cubicBezTo>
                    <a:pt x="536" y="519"/>
                    <a:pt x="541" y="517"/>
                    <a:pt x="548" y="524"/>
                  </a:cubicBezTo>
                  <a:cubicBezTo>
                    <a:pt x="556" y="530"/>
                    <a:pt x="559" y="532"/>
                    <a:pt x="567" y="529"/>
                  </a:cubicBezTo>
                  <a:cubicBezTo>
                    <a:pt x="574" y="525"/>
                    <a:pt x="573" y="520"/>
                    <a:pt x="582" y="520"/>
                  </a:cubicBezTo>
                  <a:cubicBezTo>
                    <a:pt x="591" y="519"/>
                    <a:pt x="594" y="519"/>
                    <a:pt x="599" y="513"/>
                  </a:cubicBezTo>
                  <a:cubicBezTo>
                    <a:pt x="604" y="507"/>
                    <a:pt x="613" y="503"/>
                    <a:pt x="621" y="507"/>
                  </a:cubicBezTo>
                  <a:cubicBezTo>
                    <a:pt x="629" y="511"/>
                    <a:pt x="634" y="507"/>
                    <a:pt x="640" y="503"/>
                  </a:cubicBezTo>
                  <a:cubicBezTo>
                    <a:pt x="647" y="499"/>
                    <a:pt x="648" y="496"/>
                    <a:pt x="656" y="495"/>
                  </a:cubicBezTo>
                  <a:cubicBezTo>
                    <a:pt x="664" y="495"/>
                    <a:pt x="670" y="493"/>
                    <a:pt x="679" y="495"/>
                  </a:cubicBezTo>
                  <a:cubicBezTo>
                    <a:pt x="688" y="497"/>
                    <a:pt x="694" y="494"/>
                    <a:pt x="702" y="494"/>
                  </a:cubicBezTo>
                  <a:cubicBezTo>
                    <a:pt x="709" y="494"/>
                    <a:pt x="720" y="492"/>
                    <a:pt x="724" y="497"/>
                  </a:cubicBezTo>
                  <a:cubicBezTo>
                    <a:pt x="728" y="502"/>
                    <a:pt x="730" y="502"/>
                    <a:pt x="723" y="508"/>
                  </a:cubicBezTo>
                  <a:cubicBezTo>
                    <a:pt x="716" y="514"/>
                    <a:pt x="711" y="511"/>
                    <a:pt x="711" y="518"/>
                  </a:cubicBezTo>
                  <a:cubicBezTo>
                    <a:pt x="710" y="525"/>
                    <a:pt x="711" y="522"/>
                    <a:pt x="712" y="531"/>
                  </a:cubicBezTo>
                  <a:cubicBezTo>
                    <a:pt x="713" y="540"/>
                    <a:pt x="707" y="538"/>
                    <a:pt x="708" y="546"/>
                  </a:cubicBezTo>
                  <a:cubicBezTo>
                    <a:pt x="709" y="554"/>
                    <a:pt x="712" y="550"/>
                    <a:pt x="719" y="557"/>
                  </a:cubicBezTo>
                  <a:cubicBezTo>
                    <a:pt x="727" y="564"/>
                    <a:pt x="727" y="563"/>
                    <a:pt x="728" y="569"/>
                  </a:cubicBezTo>
                  <a:cubicBezTo>
                    <a:pt x="730" y="574"/>
                    <a:pt x="734" y="575"/>
                    <a:pt x="740" y="578"/>
                  </a:cubicBezTo>
                  <a:cubicBezTo>
                    <a:pt x="746" y="581"/>
                    <a:pt x="749" y="589"/>
                    <a:pt x="753" y="577"/>
                  </a:cubicBezTo>
                  <a:cubicBezTo>
                    <a:pt x="757" y="565"/>
                    <a:pt x="754" y="561"/>
                    <a:pt x="765" y="554"/>
                  </a:cubicBezTo>
                  <a:cubicBezTo>
                    <a:pt x="777" y="547"/>
                    <a:pt x="780" y="546"/>
                    <a:pt x="787" y="536"/>
                  </a:cubicBezTo>
                  <a:cubicBezTo>
                    <a:pt x="793" y="527"/>
                    <a:pt x="790" y="526"/>
                    <a:pt x="797" y="523"/>
                  </a:cubicBezTo>
                  <a:cubicBezTo>
                    <a:pt x="805" y="520"/>
                    <a:pt x="811" y="529"/>
                    <a:pt x="813" y="521"/>
                  </a:cubicBezTo>
                  <a:cubicBezTo>
                    <a:pt x="815" y="514"/>
                    <a:pt x="806" y="511"/>
                    <a:pt x="800" y="505"/>
                  </a:cubicBezTo>
                  <a:cubicBezTo>
                    <a:pt x="795" y="500"/>
                    <a:pt x="790" y="494"/>
                    <a:pt x="796" y="491"/>
                  </a:cubicBezTo>
                  <a:cubicBezTo>
                    <a:pt x="803" y="487"/>
                    <a:pt x="803" y="489"/>
                    <a:pt x="805" y="481"/>
                  </a:cubicBezTo>
                  <a:cubicBezTo>
                    <a:pt x="807" y="473"/>
                    <a:pt x="808" y="467"/>
                    <a:pt x="812" y="468"/>
                  </a:cubicBezTo>
                  <a:cubicBezTo>
                    <a:pt x="817" y="469"/>
                    <a:pt x="818" y="471"/>
                    <a:pt x="818" y="479"/>
                  </a:cubicBezTo>
                  <a:cubicBezTo>
                    <a:pt x="817" y="488"/>
                    <a:pt x="815" y="487"/>
                    <a:pt x="823" y="488"/>
                  </a:cubicBezTo>
                  <a:cubicBezTo>
                    <a:pt x="830" y="490"/>
                    <a:pt x="834" y="490"/>
                    <a:pt x="834" y="494"/>
                  </a:cubicBezTo>
                  <a:cubicBezTo>
                    <a:pt x="835" y="498"/>
                    <a:pt x="827" y="498"/>
                    <a:pt x="830" y="502"/>
                  </a:cubicBezTo>
                  <a:cubicBezTo>
                    <a:pt x="833" y="507"/>
                    <a:pt x="838" y="505"/>
                    <a:pt x="844" y="503"/>
                  </a:cubicBezTo>
                  <a:cubicBezTo>
                    <a:pt x="850" y="501"/>
                    <a:pt x="857" y="499"/>
                    <a:pt x="866" y="500"/>
                  </a:cubicBezTo>
                  <a:cubicBezTo>
                    <a:pt x="874" y="500"/>
                    <a:pt x="878" y="500"/>
                    <a:pt x="888" y="496"/>
                  </a:cubicBezTo>
                  <a:cubicBezTo>
                    <a:pt x="899" y="493"/>
                    <a:pt x="902" y="497"/>
                    <a:pt x="907" y="490"/>
                  </a:cubicBezTo>
                  <a:cubicBezTo>
                    <a:pt x="912" y="482"/>
                    <a:pt x="911" y="477"/>
                    <a:pt x="917" y="471"/>
                  </a:cubicBezTo>
                  <a:cubicBezTo>
                    <a:pt x="922" y="464"/>
                    <a:pt x="926" y="461"/>
                    <a:pt x="932" y="463"/>
                  </a:cubicBezTo>
                  <a:cubicBezTo>
                    <a:pt x="937" y="464"/>
                    <a:pt x="939" y="465"/>
                    <a:pt x="937" y="474"/>
                  </a:cubicBezTo>
                  <a:cubicBezTo>
                    <a:pt x="935" y="483"/>
                    <a:pt x="932" y="485"/>
                    <a:pt x="935" y="493"/>
                  </a:cubicBezTo>
                  <a:cubicBezTo>
                    <a:pt x="938" y="500"/>
                    <a:pt x="942" y="506"/>
                    <a:pt x="944" y="500"/>
                  </a:cubicBezTo>
                  <a:cubicBezTo>
                    <a:pt x="947" y="495"/>
                    <a:pt x="950" y="491"/>
                    <a:pt x="956" y="485"/>
                  </a:cubicBezTo>
                  <a:cubicBezTo>
                    <a:pt x="963" y="479"/>
                    <a:pt x="961" y="472"/>
                    <a:pt x="963" y="467"/>
                  </a:cubicBezTo>
                  <a:cubicBezTo>
                    <a:pt x="965" y="463"/>
                    <a:pt x="966" y="463"/>
                    <a:pt x="974" y="460"/>
                  </a:cubicBezTo>
                  <a:cubicBezTo>
                    <a:pt x="983" y="457"/>
                    <a:pt x="987" y="457"/>
                    <a:pt x="989" y="451"/>
                  </a:cubicBezTo>
                  <a:cubicBezTo>
                    <a:pt x="992" y="446"/>
                    <a:pt x="987" y="443"/>
                    <a:pt x="992" y="438"/>
                  </a:cubicBezTo>
                  <a:cubicBezTo>
                    <a:pt x="997" y="433"/>
                    <a:pt x="1000" y="435"/>
                    <a:pt x="1010" y="437"/>
                  </a:cubicBezTo>
                  <a:cubicBezTo>
                    <a:pt x="1019" y="439"/>
                    <a:pt x="1012" y="442"/>
                    <a:pt x="1007" y="448"/>
                  </a:cubicBezTo>
                  <a:cubicBezTo>
                    <a:pt x="1002" y="454"/>
                    <a:pt x="998" y="453"/>
                    <a:pt x="1001" y="461"/>
                  </a:cubicBezTo>
                  <a:cubicBezTo>
                    <a:pt x="1005" y="468"/>
                    <a:pt x="1001" y="469"/>
                    <a:pt x="1001" y="475"/>
                  </a:cubicBezTo>
                  <a:cubicBezTo>
                    <a:pt x="1002" y="481"/>
                    <a:pt x="1001" y="483"/>
                    <a:pt x="1008" y="481"/>
                  </a:cubicBezTo>
                  <a:cubicBezTo>
                    <a:pt x="1014" y="479"/>
                    <a:pt x="1012" y="473"/>
                    <a:pt x="1023" y="469"/>
                  </a:cubicBezTo>
                  <a:cubicBezTo>
                    <a:pt x="1035" y="465"/>
                    <a:pt x="1039" y="460"/>
                    <a:pt x="1040" y="452"/>
                  </a:cubicBezTo>
                  <a:cubicBezTo>
                    <a:pt x="1040" y="444"/>
                    <a:pt x="1038" y="438"/>
                    <a:pt x="1046" y="434"/>
                  </a:cubicBezTo>
                  <a:cubicBezTo>
                    <a:pt x="1055" y="431"/>
                    <a:pt x="1063" y="428"/>
                    <a:pt x="1064" y="425"/>
                  </a:cubicBezTo>
                  <a:cubicBezTo>
                    <a:pt x="1066" y="423"/>
                    <a:pt x="1069" y="418"/>
                    <a:pt x="1061" y="412"/>
                  </a:cubicBezTo>
                  <a:cubicBezTo>
                    <a:pt x="1053" y="405"/>
                    <a:pt x="1047" y="401"/>
                    <a:pt x="1048" y="392"/>
                  </a:cubicBezTo>
                  <a:cubicBezTo>
                    <a:pt x="1048" y="383"/>
                    <a:pt x="1051" y="377"/>
                    <a:pt x="1055" y="371"/>
                  </a:cubicBezTo>
                  <a:cubicBezTo>
                    <a:pt x="1059" y="364"/>
                    <a:pt x="1059" y="359"/>
                    <a:pt x="1059" y="352"/>
                  </a:cubicBezTo>
                  <a:cubicBezTo>
                    <a:pt x="1060" y="346"/>
                    <a:pt x="1059" y="342"/>
                    <a:pt x="1066" y="334"/>
                  </a:cubicBezTo>
                  <a:cubicBezTo>
                    <a:pt x="1073" y="326"/>
                    <a:pt x="1076" y="322"/>
                    <a:pt x="1076" y="311"/>
                  </a:cubicBezTo>
                  <a:cubicBezTo>
                    <a:pt x="1076" y="301"/>
                    <a:pt x="1072" y="306"/>
                    <a:pt x="1072" y="296"/>
                  </a:cubicBezTo>
                  <a:cubicBezTo>
                    <a:pt x="1072" y="286"/>
                    <a:pt x="1071" y="285"/>
                    <a:pt x="1071" y="274"/>
                  </a:cubicBezTo>
                  <a:cubicBezTo>
                    <a:pt x="1071" y="263"/>
                    <a:pt x="1067" y="263"/>
                    <a:pt x="1071" y="253"/>
                  </a:cubicBezTo>
                  <a:cubicBezTo>
                    <a:pt x="1075" y="243"/>
                    <a:pt x="1069" y="240"/>
                    <a:pt x="1078" y="237"/>
                  </a:cubicBezTo>
                  <a:cubicBezTo>
                    <a:pt x="1087" y="235"/>
                    <a:pt x="1090" y="231"/>
                    <a:pt x="1097" y="238"/>
                  </a:cubicBezTo>
                  <a:cubicBezTo>
                    <a:pt x="1105" y="246"/>
                    <a:pt x="1108" y="242"/>
                    <a:pt x="1108" y="238"/>
                  </a:cubicBezTo>
                  <a:cubicBezTo>
                    <a:pt x="1107" y="233"/>
                    <a:pt x="1104" y="234"/>
                    <a:pt x="1104" y="224"/>
                  </a:cubicBezTo>
                  <a:cubicBezTo>
                    <a:pt x="1104" y="215"/>
                    <a:pt x="1101" y="210"/>
                    <a:pt x="1108" y="203"/>
                  </a:cubicBezTo>
                  <a:cubicBezTo>
                    <a:pt x="1114" y="196"/>
                    <a:pt x="1113" y="192"/>
                    <a:pt x="1121" y="188"/>
                  </a:cubicBezTo>
                  <a:cubicBezTo>
                    <a:pt x="1128" y="185"/>
                    <a:pt x="1131" y="187"/>
                    <a:pt x="1131" y="178"/>
                  </a:cubicBezTo>
                  <a:cubicBezTo>
                    <a:pt x="1131" y="169"/>
                    <a:pt x="1128" y="167"/>
                    <a:pt x="1134" y="159"/>
                  </a:cubicBezTo>
                  <a:cubicBezTo>
                    <a:pt x="1140" y="150"/>
                    <a:pt x="1143" y="146"/>
                    <a:pt x="1138" y="141"/>
                  </a:cubicBezTo>
                  <a:cubicBezTo>
                    <a:pt x="1134" y="135"/>
                    <a:pt x="1126" y="127"/>
                    <a:pt x="1126" y="119"/>
                  </a:cubicBezTo>
                  <a:cubicBezTo>
                    <a:pt x="1126" y="112"/>
                    <a:pt x="1122" y="95"/>
                    <a:pt x="1120" y="91"/>
                  </a:cubicBezTo>
                  <a:cubicBezTo>
                    <a:pt x="1119" y="86"/>
                    <a:pt x="1119" y="82"/>
                    <a:pt x="1112" y="76"/>
                  </a:cubicBezTo>
                  <a:cubicBezTo>
                    <a:pt x="1104" y="70"/>
                    <a:pt x="1103" y="74"/>
                    <a:pt x="1102" y="65"/>
                  </a:cubicBezTo>
                  <a:cubicBezTo>
                    <a:pt x="1101" y="56"/>
                    <a:pt x="1100" y="53"/>
                    <a:pt x="1101" y="41"/>
                  </a:cubicBezTo>
                  <a:cubicBezTo>
                    <a:pt x="1103" y="28"/>
                    <a:pt x="1105" y="22"/>
                    <a:pt x="1103" y="17"/>
                  </a:cubicBezTo>
                  <a:cubicBezTo>
                    <a:pt x="1101" y="13"/>
                    <a:pt x="1105" y="13"/>
                    <a:pt x="1096" y="12"/>
                  </a:cubicBezTo>
                  <a:cubicBezTo>
                    <a:pt x="1087" y="12"/>
                    <a:pt x="1091" y="14"/>
                    <a:pt x="1081" y="10"/>
                  </a:cubicBezTo>
                  <a:cubicBezTo>
                    <a:pt x="1072" y="6"/>
                    <a:pt x="1072" y="0"/>
                    <a:pt x="1067" y="5"/>
                  </a:cubicBezTo>
                  <a:cubicBezTo>
                    <a:pt x="1063" y="10"/>
                    <a:pt x="1060" y="14"/>
                    <a:pt x="1061" y="21"/>
                  </a:cubicBezTo>
                  <a:cubicBezTo>
                    <a:pt x="1062" y="28"/>
                    <a:pt x="1059" y="30"/>
                    <a:pt x="1067" y="28"/>
                  </a:cubicBezTo>
                  <a:cubicBezTo>
                    <a:pt x="1075" y="26"/>
                    <a:pt x="1080" y="22"/>
                    <a:pt x="1084" y="24"/>
                  </a:cubicBezTo>
                  <a:cubicBezTo>
                    <a:pt x="1087" y="26"/>
                    <a:pt x="1091" y="24"/>
                    <a:pt x="1087" y="32"/>
                  </a:cubicBezTo>
                  <a:cubicBezTo>
                    <a:pt x="1083" y="40"/>
                    <a:pt x="1082" y="38"/>
                    <a:pt x="1080" y="45"/>
                  </a:cubicBezTo>
                  <a:cubicBezTo>
                    <a:pt x="1078" y="52"/>
                    <a:pt x="1075" y="54"/>
                    <a:pt x="1069" y="54"/>
                  </a:cubicBezTo>
                  <a:cubicBezTo>
                    <a:pt x="1063" y="54"/>
                    <a:pt x="1055" y="53"/>
                    <a:pt x="1055" y="47"/>
                  </a:cubicBezTo>
                  <a:cubicBezTo>
                    <a:pt x="1055" y="41"/>
                    <a:pt x="1060" y="35"/>
                    <a:pt x="1054" y="34"/>
                  </a:cubicBezTo>
                  <a:cubicBezTo>
                    <a:pt x="1048" y="32"/>
                    <a:pt x="1043" y="32"/>
                    <a:pt x="1039" y="30"/>
                  </a:cubicBezTo>
                  <a:cubicBezTo>
                    <a:pt x="1034" y="27"/>
                    <a:pt x="1030" y="22"/>
                    <a:pt x="1028" y="27"/>
                  </a:cubicBezTo>
                  <a:cubicBezTo>
                    <a:pt x="1027" y="32"/>
                    <a:pt x="1031" y="31"/>
                    <a:pt x="1031" y="38"/>
                  </a:cubicBezTo>
                  <a:cubicBezTo>
                    <a:pt x="1030" y="45"/>
                    <a:pt x="1024" y="44"/>
                    <a:pt x="1024" y="52"/>
                  </a:cubicBezTo>
                  <a:cubicBezTo>
                    <a:pt x="1018" y="64"/>
                    <a:pt x="1014" y="62"/>
                    <a:pt x="1008" y="68"/>
                  </a:cubicBezTo>
                  <a:cubicBezTo>
                    <a:pt x="1001" y="73"/>
                    <a:pt x="1003" y="84"/>
                    <a:pt x="1004" y="91"/>
                  </a:cubicBezTo>
                  <a:cubicBezTo>
                    <a:pt x="1005" y="99"/>
                    <a:pt x="1004" y="103"/>
                    <a:pt x="1000" y="109"/>
                  </a:cubicBezTo>
                  <a:cubicBezTo>
                    <a:pt x="997" y="114"/>
                    <a:pt x="994" y="111"/>
                    <a:pt x="996" y="118"/>
                  </a:cubicBezTo>
                  <a:cubicBezTo>
                    <a:pt x="997" y="126"/>
                    <a:pt x="1001" y="127"/>
                    <a:pt x="1005" y="131"/>
                  </a:cubicBezTo>
                  <a:cubicBezTo>
                    <a:pt x="1008" y="135"/>
                    <a:pt x="1010" y="130"/>
                    <a:pt x="1008" y="145"/>
                  </a:cubicBezTo>
                  <a:cubicBezTo>
                    <a:pt x="1007" y="160"/>
                    <a:pt x="1003" y="158"/>
                    <a:pt x="1002" y="169"/>
                  </a:cubicBezTo>
                  <a:cubicBezTo>
                    <a:pt x="1002" y="181"/>
                    <a:pt x="1008" y="178"/>
                    <a:pt x="998" y="190"/>
                  </a:cubicBezTo>
                  <a:cubicBezTo>
                    <a:pt x="987" y="202"/>
                    <a:pt x="982" y="201"/>
                    <a:pt x="980" y="214"/>
                  </a:cubicBezTo>
                  <a:cubicBezTo>
                    <a:pt x="978" y="228"/>
                    <a:pt x="977" y="230"/>
                    <a:pt x="976" y="241"/>
                  </a:cubicBezTo>
                  <a:cubicBezTo>
                    <a:pt x="976" y="252"/>
                    <a:pt x="970" y="258"/>
                    <a:pt x="958" y="265"/>
                  </a:cubicBezTo>
                  <a:cubicBezTo>
                    <a:pt x="947" y="273"/>
                    <a:pt x="941" y="275"/>
                    <a:pt x="936" y="287"/>
                  </a:cubicBezTo>
                  <a:cubicBezTo>
                    <a:pt x="930" y="298"/>
                    <a:pt x="927" y="299"/>
                    <a:pt x="917" y="305"/>
                  </a:cubicBezTo>
                  <a:cubicBezTo>
                    <a:pt x="907" y="310"/>
                    <a:pt x="903" y="314"/>
                    <a:pt x="895" y="320"/>
                  </a:cubicBezTo>
                  <a:cubicBezTo>
                    <a:pt x="886" y="326"/>
                    <a:pt x="866" y="324"/>
                    <a:pt x="860" y="331"/>
                  </a:cubicBezTo>
                  <a:cubicBezTo>
                    <a:pt x="854" y="338"/>
                    <a:pt x="853" y="342"/>
                    <a:pt x="846" y="345"/>
                  </a:cubicBezTo>
                  <a:cubicBezTo>
                    <a:pt x="839" y="348"/>
                    <a:pt x="828" y="348"/>
                    <a:pt x="828" y="343"/>
                  </a:cubicBezTo>
                  <a:cubicBezTo>
                    <a:pt x="827" y="338"/>
                    <a:pt x="830" y="331"/>
                    <a:pt x="823" y="331"/>
                  </a:cubicBezTo>
                  <a:cubicBezTo>
                    <a:pt x="817" y="331"/>
                    <a:pt x="812" y="326"/>
                    <a:pt x="810" y="334"/>
                  </a:cubicBezTo>
                  <a:cubicBezTo>
                    <a:pt x="809" y="343"/>
                    <a:pt x="807" y="344"/>
                    <a:pt x="802" y="350"/>
                  </a:cubicBezTo>
                  <a:cubicBezTo>
                    <a:pt x="796" y="355"/>
                    <a:pt x="802" y="359"/>
                    <a:pt x="789" y="370"/>
                  </a:cubicBezTo>
                  <a:cubicBezTo>
                    <a:pt x="776" y="380"/>
                    <a:pt x="769" y="385"/>
                    <a:pt x="769" y="392"/>
                  </a:cubicBezTo>
                  <a:cubicBezTo>
                    <a:pt x="769" y="400"/>
                    <a:pt x="765" y="395"/>
                    <a:pt x="763" y="407"/>
                  </a:cubicBezTo>
                  <a:cubicBezTo>
                    <a:pt x="761" y="420"/>
                    <a:pt x="766" y="422"/>
                    <a:pt x="760" y="429"/>
                  </a:cubicBezTo>
                  <a:cubicBezTo>
                    <a:pt x="754" y="436"/>
                    <a:pt x="749" y="440"/>
                    <a:pt x="744" y="438"/>
                  </a:cubicBezTo>
                  <a:cubicBezTo>
                    <a:pt x="739" y="436"/>
                    <a:pt x="736" y="431"/>
                    <a:pt x="731" y="434"/>
                  </a:cubicBezTo>
                  <a:cubicBezTo>
                    <a:pt x="726" y="436"/>
                    <a:pt x="724" y="442"/>
                    <a:pt x="721" y="442"/>
                  </a:cubicBezTo>
                  <a:cubicBezTo>
                    <a:pt x="718" y="441"/>
                    <a:pt x="716" y="442"/>
                    <a:pt x="716" y="436"/>
                  </a:cubicBezTo>
                  <a:cubicBezTo>
                    <a:pt x="717" y="429"/>
                    <a:pt x="719" y="424"/>
                    <a:pt x="715" y="424"/>
                  </a:cubicBezTo>
                  <a:cubicBezTo>
                    <a:pt x="710" y="424"/>
                    <a:pt x="703" y="420"/>
                    <a:pt x="696" y="426"/>
                  </a:cubicBezTo>
                  <a:cubicBezTo>
                    <a:pt x="690" y="431"/>
                    <a:pt x="669" y="432"/>
                    <a:pt x="656" y="432"/>
                  </a:cubicBezTo>
                  <a:cubicBezTo>
                    <a:pt x="644" y="432"/>
                    <a:pt x="627" y="429"/>
                    <a:pt x="616" y="434"/>
                  </a:cubicBezTo>
                  <a:cubicBezTo>
                    <a:pt x="606" y="439"/>
                    <a:pt x="593" y="440"/>
                    <a:pt x="585" y="440"/>
                  </a:cubicBezTo>
                  <a:cubicBezTo>
                    <a:pt x="576" y="440"/>
                    <a:pt x="563" y="437"/>
                    <a:pt x="560" y="443"/>
                  </a:cubicBezTo>
                  <a:close/>
                  <a:moveTo>
                    <a:pt x="280" y="1042"/>
                  </a:moveTo>
                  <a:cubicBezTo>
                    <a:pt x="282" y="1039"/>
                    <a:pt x="281" y="1033"/>
                    <a:pt x="277" y="1037"/>
                  </a:cubicBezTo>
                  <a:cubicBezTo>
                    <a:pt x="275" y="1040"/>
                    <a:pt x="274" y="1041"/>
                    <a:pt x="271" y="1041"/>
                  </a:cubicBezTo>
                  <a:cubicBezTo>
                    <a:pt x="267" y="1042"/>
                    <a:pt x="264" y="1038"/>
                    <a:pt x="263" y="1042"/>
                  </a:cubicBezTo>
                  <a:cubicBezTo>
                    <a:pt x="262" y="1045"/>
                    <a:pt x="262" y="1048"/>
                    <a:pt x="262" y="1050"/>
                  </a:cubicBezTo>
                  <a:cubicBezTo>
                    <a:pt x="262" y="1051"/>
                    <a:pt x="259" y="1051"/>
                    <a:pt x="255" y="1053"/>
                  </a:cubicBezTo>
                  <a:cubicBezTo>
                    <a:pt x="251" y="1055"/>
                    <a:pt x="248" y="1065"/>
                    <a:pt x="248" y="1069"/>
                  </a:cubicBezTo>
                  <a:cubicBezTo>
                    <a:pt x="249" y="1073"/>
                    <a:pt x="247" y="1074"/>
                    <a:pt x="250" y="1074"/>
                  </a:cubicBezTo>
                  <a:cubicBezTo>
                    <a:pt x="253" y="1073"/>
                    <a:pt x="255" y="1067"/>
                    <a:pt x="257" y="1065"/>
                  </a:cubicBezTo>
                  <a:cubicBezTo>
                    <a:pt x="258" y="1062"/>
                    <a:pt x="259" y="1059"/>
                    <a:pt x="263" y="1057"/>
                  </a:cubicBezTo>
                  <a:cubicBezTo>
                    <a:pt x="268" y="1056"/>
                    <a:pt x="267" y="1053"/>
                    <a:pt x="271" y="1049"/>
                  </a:cubicBezTo>
                  <a:cubicBezTo>
                    <a:pt x="275" y="1046"/>
                    <a:pt x="279" y="1044"/>
                    <a:pt x="280" y="1042"/>
                  </a:cubicBezTo>
                  <a:close/>
                  <a:moveTo>
                    <a:pt x="98" y="1168"/>
                  </a:moveTo>
                  <a:cubicBezTo>
                    <a:pt x="100" y="1171"/>
                    <a:pt x="106" y="1173"/>
                    <a:pt x="110" y="1171"/>
                  </a:cubicBezTo>
                  <a:cubicBezTo>
                    <a:pt x="111" y="1169"/>
                    <a:pt x="109" y="1162"/>
                    <a:pt x="107" y="1161"/>
                  </a:cubicBezTo>
                  <a:cubicBezTo>
                    <a:pt x="105" y="1160"/>
                    <a:pt x="98" y="1159"/>
                    <a:pt x="97" y="1161"/>
                  </a:cubicBezTo>
                  <a:cubicBezTo>
                    <a:pt x="97" y="1164"/>
                    <a:pt x="96" y="1166"/>
                    <a:pt x="98" y="1168"/>
                  </a:cubicBezTo>
                  <a:close/>
                  <a:moveTo>
                    <a:pt x="11" y="1203"/>
                  </a:moveTo>
                  <a:cubicBezTo>
                    <a:pt x="14" y="1199"/>
                    <a:pt x="15" y="1198"/>
                    <a:pt x="14" y="1196"/>
                  </a:cubicBezTo>
                  <a:cubicBezTo>
                    <a:pt x="14" y="1194"/>
                    <a:pt x="11" y="1191"/>
                    <a:pt x="7" y="1191"/>
                  </a:cubicBezTo>
                  <a:cubicBezTo>
                    <a:pt x="1" y="1191"/>
                    <a:pt x="0" y="1194"/>
                    <a:pt x="2" y="1197"/>
                  </a:cubicBezTo>
                  <a:cubicBezTo>
                    <a:pt x="4" y="1200"/>
                    <a:pt x="8" y="1206"/>
                    <a:pt x="11" y="1203"/>
                  </a:cubicBezTo>
                  <a:close/>
                  <a:moveTo>
                    <a:pt x="361" y="926"/>
                  </a:moveTo>
                  <a:cubicBezTo>
                    <a:pt x="357" y="929"/>
                    <a:pt x="359" y="931"/>
                    <a:pt x="352" y="932"/>
                  </a:cubicBezTo>
                  <a:cubicBezTo>
                    <a:pt x="345" y="932"/>
                    <a:pt x="340" y="933"/>
                    <a:pt x="341" y="936"/>
                  </a:cubicBezTo>
                  <a:cubicBezTo>
                    <a:pt x="341" y="939"/>
                    <a:pt x="342" y="939"/>
                    <a:pt x="346" y="942"/>
                  </a:cubicBezTo>
                  <a:cubicBezTo>
                    <a:pt x="351" y="945"/>
                    <a:pt x="355" y="949"/>
                    <a:pt x="355" y="945"/>
                  </a:cubicBezTo>
                  <a:cubicBezTo>
                    <a:pt x="358" y="940"/>
                    <a:pt x="365" y="931"/>
                    <a:pt x="365" y="928"/>
                  </a:cubicBezTo>
                  <a:cubicBezTo>
                    <a:pt x="365" y="925"/>
                    <a:pt x="363" y="924"/>
                    <a:pt x="361" y="926"/>
                  </a:cubicBezTo>
                  <a:close/>
                  <a:moveTo>
                    <a:pt x="303" y="994"/>
                  </a:moveTo>
                  <a:cubicBezTo>
                    <a:pt x="306" y="995"/>
                    <a:pt x="306" y="995"/>
                    <a:pt x="309" y="994"/>
                  </a:cubicBezTo>
                  <a:cubicBezTo>
                    <a:pt x="312" y="992"/>
                    <a:pt x="313" y="988"/>
                    <a:pt x="310" y="988"/>
                  </a:cubicBezTo>
                  <a:cubicBezTo>
                    <a:pt x="306" y="989"/>
                    <a:pt x="304" y="986"/>
                    <a:pt x="303" y="988"/>
                  </a:cubicBezTo>
                  <a:cubicBezTo>
                    <a:pt x="302" y="989"/>
                    <a:pt x="301" y="993"/>
                    <a:pt x="303" y="994"/>
                  </a:cubicBezTo>
                  <a:close/>
                  <a:moveTo>
                    <a:pt x="322" y="638"/>
                  </a:moveTo>
                  <a:cubicBezTo>
                    <a:pt x="322" y="634"/>
                    <a:pt x="321" y="628"/>
                    <a:pt x="312" y="631"/>
                  </a:cubicBezTo>
                  <a:cubicBezTo>
                    <a:pt x="310" y="633"/>
                    <a:pt x="308" y="633"/>
                    <a:pt x="309" y="637"/>
                  </a:cubicBezTo>
                  <a:cubicBezTo>
                    <a:pt x="310" y="640"/>
                    <a:pt x="310" y="643"/>
                    <a:pt x="313" y="643"/>
                  </a:cubicBezTo>
                  <a:cubicBezTo>
                    <a:pt x="317" y="642"/>
                    <a:pt x="321" y="641"/>
                    <a:pt x="322" y="638"/>
                  </a:cubicBezTo>
                  <a:close/>
                  <a:moveTo>
                    <a:pt x="325" y="972"/>
                  </a:moveTo>
                  <a:cubicBezTo>
                    <a:pt x="327" y="974"/>
                    <a:pt x="329" y="974"/>
                    <a:pt x="329" y="970"/>
                  </a:cubicBezTo>
                  <a:cubicBezTo>
                    <a:pt x="329" y="966"/>
                    <a:pt x="329" y="959"/>
                    <a:pt x="326" y="960"/>
                  </a:cubicBezTo>
                  <a:cubicBezTo>
                    <a:pt x="325" y="962"/>
                    <a:pt x="323" y="962"/>
                    <a:pt x="325" y="965"/>
                  </a:cubicBezTo>
                  <a:cubicBezTo>
                    <a:pt x="326" y="968"/>
                    <a:pt x="323" y="970"/>
                    <a:pt x="325" y="972"/>
                  </a:cubicBezTo>
                  <a:close/>
                  <a:moveTo>
                    <a:pt x="407" y="638"/>
                  </a:moveTo>
                  <a:cubicBezTo>
                    <a:pt x="411" y="638"/>
                    <a:pt x="413" y="638"/>
                    <a:pt x="413" y="635"/>
                  </a:cubicBezTo>
                  <a:cubicBezTo>
                    <a:pt x="413" y="632"/>
                    <a:pt x="407" y="630"/>
                    <a:pt x="406" y="633"/>
                  </a:cubicBezTo>
                  <a:cubicBezTo>
                    <a:pt x="406" y="637"/>
                    <a:pt x="404" y="639"/>
                    <a:pt x="407" y="638"/>
                  </a:cubicBezTo>
                  <a:close/>
                  <a:moveTo>
                    <a:pt x="333" y="611"/>
                  </a:moveTo>
                  <a:cubicBezTo>
                    <a:pt x="330" y="613"/>
                    <a:pt x="329" y="615"/>
                    <a:pt x="331" y="620"/>
                  </a:cubicBezTo>
                  <a:cubicBezTo>
                    <a:pt x="333" y="622"/>
                    <a:pt x="338" y="618"/>
                    <a:pt x="339" y="617"/>
                  </a:cubicBezTo>
                  <a:cubicBezTo>
                    <a:pt x="339" y="615"/>
                    <a:pt x="339" y="609"/>
                    <a:pt x="333" y="611"/>
                  </a:cubicBezTo>
                  <a:close/>
                  <a:moveTo>
                    <a:pt x="445" y="787"/>
                  </a:moveTo>
                  <a:cubicBezTo>
                    <a:pt x="444" y="791"/>
                    <a:pt x="443" y="795"/>
                    <a:pt x="445" y="795"/>
                  </a:cubicBezTo>
                  <a:cubicBezTo>
                    <a:pt x="448" y="795"/>
                    <a:pt x="450" y="789"/>
                    <a:pt x="450" y="787"/>
                  </a:cubicBezTo>
                  <a:cubicBezTo>
                    <a:pt x="450" y="785"/>
                    <a:pt x="452" y="784"/>
                    <a:pt x="454" y="782"/>
                  </a:cubicBezTo>
                  <a:cubicBezTo>
                    <a:pt x="456" y="780"/>
                    <a:pt x="457" y="778"/>
                    <a:pt x="457" y="775"/>
                  </a:cubicBezTo>
                  <a:cubicBezTo>
                    <a:pt x="457" y="772"/>
                    <a:pt x="458" y="769"/>
                    <a:pt x="459" y="767"/>
                  </a:cubicBezTo>
                  <a:cubicBezTo>
                    <a:pt x="461" y="766"/>
                    <a:pt x="458" y="761"/>
                    <a:pt x="455" y="762"/>
                  </a:cubicBezTo>
                  <a:cubicBezTo>
                    <a:pt x="451" y="766"/>
                    <a:pt x="452" y="767"/>
                    <a:pt x="452" y="771"/>
                  </a:cubicBezTo>
                  <a:cubicBezTo>
                    <a:pt x="452" y="775"/>
                    <a:pt x="453" y="774"/>
                    <a:pt x="451" y="777"/>
                  </a:cubicBezTo>
                  <a:cubicBezTo>
                    <a:pt x="449" y="780"/>
                    <a:pt x="445" y="783"/>
                    <a:pt x="445" y="787"/>
                  </a:cubicBezTo>
                  <a:close/>
                  <a:moveTo>
                    <a:pt x="394" y="663"/>
                  </a:moveTo>
                  <a:cubicBezTo>
                    <a:pt x="397" y="663"/>
                    <a:pt x="400" y="663"/>
                    <a:pt x="402" y="657"/>
                  </a:cubicBezTo>
                  <a:cubicBezTo>
                    <a:pt x="403" y="652"/>
                    <a:pt x="397" y="642"/>
                    <a:pt x="394" y="650"/>
                  </a:cubicBezTo>
                  <a:cubicBezTo>
                    <a:pt x="394" y="654"/>
                    <a:pt x="395" y="654"/>
                    <a:pt x="394" y="657"/>
                  </a:cubicBezTo>
                  <a:cubicBezTo>
                    <a:pt x="394" y="660"/>
                    <a:pt x="390" y="662"/>
                    <a:pt x="394" y="663"/>
                  </a:cubicBezTo>
                  <a:close/>
                  <a:moveTo>
                    <a:pt x="425" y="801"/>
                  </a:moveTo>
                  <a:cubicBezTo>
                    <a:pt x="429" y="801"/>
                    <a:pt x="431" y="800"/>
                    <a:pt x="430" y="796"/>
                  </a:cubicBezTo>
                  <a:cubicBezTo>
                    <a:pt x="430" y="793"/>
                    <a:pt x="425" y="789"/>
                    <a:pt x="419" y="790"/>
                  </a:cubicBezTo>
                  <a:cubicBezTo>
                    <a:pt x="416" y="792"/>
                    <a:pt x="416" y="793"/>
                    <a:pt x="418" y="795"/>
                  </a:cubicBezTo>
                  <a:cubicBezTo>
                    <a:pt x="421" y="797"/>
                    <a:pt x="422" y="802"/>
                    <a:pt x="425" y="801"/>
                  </a:cubicBezTo>
                  <a:close/>
                  <a:moveTo>
                    <a:pt x="480" y="1091"/>
                  </a:moveTo>
                  <a:cubicBezTo>
                    <a:pt x="480" y="1086"/>
                    <a:pt x="467" y="1079"/>
                    <a:pt x="466" y="1086"/>
                  </a:cubicBezTo>
                  <a:cubicBezTo>
                    <a:pt x="463" y="1090"/>
                    <a:pt x="460" y="1095"/>
                    <a:pt x="463" y="1099"/>
                  </a:cubicBezTo>
                  <a:cubicBezTo>
                    <a:pt x="467" y="1103"/>
                    <a:pt x="468" y="1107"/>
                    <a:pt x="473" y="1103"/>
                  </a:cubicBezTo>
                  <a:cubicBezTo>
                    <a:pt x="479" y="1099"/>
                    <a:pt x="479" y="1096"/>
                    <a:pt x="480" y="1091"/>
                  </a:cubicBezTo>
                  <a:close/>
                  <a:moveTo>
                    <a:pt x="38" y="1179"/>
                  </a:moveTo>
                  <a:cubicBezTo>
                    <a:pt x="35" y="1182"/>
                    <a:pt x="31" y="1180"/>
                    <a:pt x="30" y="1184"/>
                  </a:cubicBezTo>
                  <a:cubicBezTo>
                    <a:pt x="29" y="1187"/>
                    <a:pt x="27" y="1188"/>
                    <a:pt x="30" y="1192"/>
                  </a:cubicBezTo>
                  <a:cubicBezTo>
                    <a:pt x="32" y="1196"/>
                    <a:pt x="37" y="1193"/>
                    <a:pt x="38" y="1190"/>
                  </a:cubicBezTo>
                  <a:cubicBezTo>
                    <a:pt x="39" y="1186"/>
                    <a:pt x="43" y="1178"/>
                    <a:pt x="38" y="117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0" name="Freeform 269"/>
            <p:cNvSpPr>
              <a:spLocks/>
            </p:cNvSpPr>
            <p:nvPr/>
          </p:nvSpPr>
          <p:spPr bwMode="auto">
            <a:xfrm>
              <a:off x="5922281" y="3630904"/>
              <a:ext cx="567928" cy="233362"/>
            </a:xfrm>
            <a:custGeom>
              <a:avLst/>
              <a:gdLst>
                <a:gd name="T0" fmla="*/ 13 w 1980"/>
                <a:gd name="T1" fmla="*/ 274 h 814"/>
                <a:gd name="T2" fmla="*/ 52 w 1980"/>
                <a:gd name="T3" fmla="*/ 305 h 814"/>
                <a:gd name="T4" fmla="*/ 104 w 1980"/>
                <a:gd name="T5" fmla="*/ 322 h 814"/>
                <a:gd name="T6" fmla="*/ 165 w 1980"/>
                <a:gd name="T7" fmla="*/ 371 h 814"/>
                <a:gd name="T8" fmla="*/ 197 w 1980"/>
                <a:gd name="T9" fmla="*/ 456 h 814"/>
                <a:gd name="T10" fmla="*/ 182 w 1980"/>
                <a:gd name="T11" fmla="*/ 511 h 814"/>
                <a:gd name="T12" fmla="*/ 246 w 1980"/>
                <a:gd name="T13" fmla="*/ 550 h 814"/>
                <a:gd name="T14" fmla="*/ 420 w 1980"/>
                <a:gd name="T15" fmla="*/ 601 h 814"/>
                <a:gd name="T16" fmla="*/ 471 w 1980"/>
                <a:gd name="T17" fmla="*/ 636 h 814"/>
                <a:gd name="T18" fmla="*/ 505 w 1980"/>
                <a:gd name="T19" fmla="*/ 698 h 814"/>
                <a:gd name="T20" fmla="*/ 581 w 1980"/>
                <a:gd name="T21" fmla="*/ 723 h 814"/>
                <a:gd name="T22" fmla="*/ 736 w 1980"/>
                <a:gd name="T23" fmla="*/ 737 h 814"/>
                <a:gd name="T24" fmla="*/ 879 w 1980"/>
                <a:gd name="T25" fmla="*/ 763 h 814"/>
                <a:gd name="T26" fmla="*/ 998 w 1980"/>
                <a:gd name="T27" fmla="*/ 798 h 814"/>
                <a:gd name="T28" fmla="*/ 1036 w 1980"/>
                <a:gd name="T29" fmla="*/ 808 h 814"/>
                <a:gd name="T30" fmla="*/ 1228 w 1980"/>
                <a:gd name="T31" fmla="*/ 753 h 814"/>
                <a:gd name="T32" fmla="*/ 1399 w 1980"/>
                <a:gd name="T33" fmla="*/ 714 h 814"/>
                <a:gd name="T34" fmla="*/ 1482 w 1980"/>
                <a:gd name="T35" fmla="*/ 649 h 814"/>
                <a:gd name="T36" fmla="*/ 1505 w 1980"/>
                <a:gd name="T37" fmla="*/ 549 h 814"/>
                <a:gd name="T38" fmla="*/ 1597 w 1980"/>
                <a:gd name="T39" fmla="*/ 568 h 814"/>
                <a:gd name="T40" fmla="*/ 1722 w 1980"/>
                <a:gd name="T41" fmla="*/ 518 h 814"/>
                <a:gd name="T42" fmla="*/ 1753 w 1980"/>
                <a:gd name="T43" fmla="*/ 481 h 814"/>
                <a:gd name="T44" fmla="*/ 1850 w 1980"/>
                <a:gd name="T45" fmla="*/ 441 h 814"/>
                <a:gd name="T46" fmla="*/ 1971 w 1980"/>
                <a:gd name="T47" fmla="*/ 405 h 814"/>
                <a:gd name="T48" fmla="*/ 1833 w 1980"/>
                <a:gd name="T49" fmla="*/ 351 h 814"/>
                <a:gd name="T50" fmla="*/ 1761 w 1980"/>
                <a:gd name="T51" fmla="*/ 348 h 814"/>
                <a:gd name="T52" fmla="*/ 1714 w 1980"/>
                <a:gd name="T53" fmla="*/ 315 h 814"/>
                <a:gd name="T54" fmla="*/ 1724 w 1980"/>
                <a:gd name="T55" fmla="*/ 297 h 814"/>
                <a:gd name="T56" fmla="*/ 1779 w 1980"/>
                <a:gd name="T57" fmla="*/ 182 h 814"/>
                <a:gd name="T58" fmla="*/ 1689 w 1980"/>
                <a:gd name="T59" fmla="*/ 169 h 814"/>
                <a:gd name="T60" fmla="*/ 1605 w 1980"/>
                <a:gd name="T61" fmla="*/ 163 h 814"/>
                <a:gd name="T62" fmla="*/ 1513 w 1980"/>
                <a:gd name="T63" fmla="*/ 217 h 814"/>
                <a:gd name="T64" fmla="*/ 1374 w 1980"/>
                <a:gd name="T65" fmla="*/ 235 h 814"/>
                <a:gd name="T66" fmla="*/ 1248 w 1980"/>
                <a:gd name="T67" fmla="*/ 206 h 814"/>
                <a:gd name="T68" fmla="*/ 1197 w 1980"/>
                <a:gd name="T69" fmla="*/ 164 h 814"/>
                <a:gd name="T70" fmla="*/ 1118 w 1980"/>
                <a:gd name="T71" fmla="*/ 139 h 814"/>
                <a:gd name="T72" fmla="*/ 998 w 1980"/>
                <a:gd name="T73" fmla="*/ 158 h 814"/>
                <a:gd name="T74" fmla="*/ 883 w 1980"/>
                <a:gd name="T75" fmla="*/ 84 h 814"/>
                <a:gd name="T76" fmla="*/ 839 w 1980"/>
                <a:gd name="T77" fmla="*/ 49 h 814"/>
                <a:gd name="T78" fmla="*/ 686 w 1980"/>
                <a:gd name="T79" fmla="*/ 0 h 814"/>
                <a:gd name="T80" fmla="*/ 635 w 1980"/>
                <a:gd name="T81" fmla="*/ 52 h 814"/>
                <a:gd name="T82" fmla="*/ 632 w 1980"/>
                <a:gd name="T83" fmla="*/ 109 h 814"/>
                <a:gd name="T84" fmla="*/ 616 w 1980"/>
                <a:gd name="T85" fmla="*/ 174 h 814"/>
                <a:gd name="T86" fmla="*/ 550 w 1980"/>
                <a:gd name="T87" fmla="*/ 183 h 814"/>
                <a:gd name="T88" fmla="*/ 456 w 1980"/>
                <a:gd name="T89" fmla="*/ 177 h 814"/>
                <a:gd name="T90" fmla="*/ 387 w 1980"/>
                <a:gd name="T91" fmla="*/ 124 h 814"/>
                <a:gd name="T92" fmla="*/ 315 w 1980"/>
                <a:gd name="T93" fmla="*/ 108 h 814"/>
                <a:gd name="T94" fmla="*/ 240 w 1980"/>
                <a:gd name="T95" fmla="*/ 121 h 814"/>
                <a:gd name="T96" fmla="*/ 129 w 1980"/>
                <a:gd name="T97" fmla="*/ 171 h 814"/>
                <a:gd name="T98" fmla="*/ 96 w 1980"/>
                <a:gd name="T99" fmla="*/ 200 h 814"/>
                <a:gd name="T100" fmla="*/ 14 w 1980"/>
                <a:gd name="T101" fmla="*/ 231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80" h="814">
                  <a:moveTo>
                    <a:pt x="1" y="258"/>
                  </a:moveTo>
                  <a:cubicBezTo>
                    <a:pt x="3" y="262"/>
                    <a:pt x="4" y="262"/>
                    <a:pt x="5" y="263"/>
                  </a:cubicBezTo>
                  <a:cubicBezTo>
                    <a:pt x="7" y="264"/>
                    <a:pt x="9" y="265"/>
                    <a:pt x="10" y="267"/>
                  </a:cubicBezTo>
                  <a:cubicBezTo>
                    <a:pt x="13" y="270"/>
                    <a:pt x="13" y="272"/>
                    <a:pt x="13" y="274"/>
                  </a:cubicBezTo>
                  <a:cubicBezTo>
                    <a:pt x="13" y="274"/>
                    <a:pt x="13" y="274"/>
                    <a:pt x="13" y="274"/>
                  </a:cubicBezTo>
                  <a:cubicBezTo>
                    <a:pt x="13" y="274"/>
                    <a:pt x="13" y="275"/>
                    <a:pt x="15" y="277"/>
                  </a:cubicBezTo>
                  <a:cubicBezTo>
                    <a:pt x="17" y="279"/>
                    <a:pt x="19" y="281"/>
                    <a:pt x="23" y="283"/>
                  </a:cubicBezTo>
                  <a:cubicBezTo>
                    <a:pt x="27" y="286"/>
                    <a:pt x="32" y="288"/>
                    <a:pt x="39" y="292"/>
                  </a:cubicBezTo>
                  <a:cubicBezTo>
                    <a:pt x="39" y="292"/>
                    <a:pt x="39" y="292"/>
                    <a:pt x="39" y="292"/>
                  </a:cubicBezTo>
                  <a:cubicBezTo>
                    <a:pt x="51" y="298"/>
                    <a:pt x="51" y="300"/>
                    <a:pt x="52" y="305"/>
                  </a:cubicBezTo>
                  <a:cubicBezTo>
                    <a:pt x="52" y="307"/>
                    <a:pt x="52" y="308"/>
                    <a:pt x="54" y="311"/>
                  </a:cubicBezTo>
                  <a:cubicBezTo>
                    <a:pt x="56" y="317"/>
                    <a:pt x="60" y="318"/>
                    <a:pt x="63" y="319"/>
                  </a:cubicBezTo>
                  <a:cubicBezTo>
                    <a:pt x="66" y="320"/>
                    <a:pt x="69" y="321"/>
                    <a:pt x="71" y="323"/>
                  </a:cubicBezTo>
                  <a:cubicBezTo>
                    <a:pt x="74" y="325"/>
                    <a:pt x="80" y="324"/>
                    <a:pt x="86" y="322"/>
                  </a:cubicBezTo>
                  <a:cubicBezTo>
                    <a:pt x="93" y="321"/>
                    <a:pt x="99" y="320"/>
                    <a:pt x="104" y="322"/>
                  </a:cubicBezTo>
                  <a:cubicBezTo>
                    <a:pt x="107" y="324"/>
                    <a:pt x="110" y="326"/>
                    <a:pt x="115" y="329"/>
                  </a:cubicBezTo>
                  <a:cubicBezTo>
                    <a:pt x="119" y="331"/>
                    <a:pt x="124" y="333"/>
                    <a:pt x="131" y="335"/>
                  </a:cubicBezTo>
                  <a:cubicBezTo>
                    <a:pt x="139" y="338"/>
                    <a:pt x="144" y="340"/>
                    <a:pt x="148" y="342"/>
                  </a:cubicBezTo>
                  <a:cubicBezTo>
                    <a:pt x="152" y="345"/>
                    <a:pt x="155" y="349"/>
                    <a:pt x="159" y="355"/>
                  </a:cubicBezTo>
                  <a:cubicBezTo>
                    <a:pt x="162" y="361"/>
                    <a:pt x="163" y="366"/>
                    <a:pt x="165" y="371"/>
                  </a:cubicBezTo>
                  <a:cubicBezTo>
                    <a:pt x="166" y="375"/>
                    <a:pt x="167" y="380"/>
                    <a:pt x="170" y="387"/>
                  </a:cubicBezTo>
                  <a:cubicBezTo>
                    <a:pt x="174" y="398"/>
                    <a:pt x="183" y="407"/>
                    <a:pt x="189" y="413"/>
                  </a:cubicBezTo>
                  <a:cubicBezTo>
                    <a:pt x="191" y="415"/>
                    <a:pt x="193" y="417"/>
                    <a:pt x="194" y="419"/>
                  </a:cubicBezTo>
                  <a:cubicBezTo>
                    <a:pt x="197" y="422"/>
                    <a:pt x="199" y="429"/>
                    <a:pt x="199" y="436"/>
                  </a:cubicBezTo>
                  <a:cubicBezTo>
                    <a:pt x="200" y="443"/>
                    <a:pt x="199" y="450"/>
                    <a:pt x="197" y="456"/>
                  </a:cubicBezTo>
                  <a:cubicBezTo>
                    <a:pt x="195" y="461"/>
                    <a:pt x="196" y="465"/>
                    <a:pt x="197" y="468"/>
                  </a:cubicBezTo>
                  <a:cubicBezTo>
                    <a:pt x="198" y="471"/>
                    <a:pt x="198" y="473"/>
                    <a:pt x="198" y="475"/>
                  </a:cubicBezTo>
                  <a:cubicBezTo>
                    <a:pt x="199" y="479"/>
                    <a:pt x="198" y="483"/>
                    <a:pt x="196" y="487"/>
                  </a:cubicBezTo>
                  <a:cubicBezTo>
                    <a:pt x="195" y="491"/>
                    <a:pt x="192" y="496"/>
                    <a:pt x="188" y="500"/>
                  </a:cubicBezTo>
                  <a:cubicBezTo>
                    <a:pt x="185" y="505"/>
                    <a:pt x="183" y="508"/>
                    <a:pt x="182" y="511"/>
                  </a:cubicBezTo>
                  <a:cubicBezTo>
                    <a:pt x="181" y="514"/>
                    <a:pt x="180" y="518"/>
                    <a:pt x="180" y="523"/>
                  </a:cubicBezTo>
                  <a:cubicBezTo>
                    <a:pt x="180" y="529"/>
                    <a:pt x="186" y="534"/>
                    <a:pt x="192" y="539"/>
                  </a:cubicBezTo>
                  <a:cubicBezTo>
                    <a:pt x="193" y="539"/>
                    <a:pt x="194" y="540"/>
                    <a:pt x="195" y="541"/>
                  </a:cubicBezTo>
                  <a:cubicBezTo>
                    <a:pt x="198" y="543"/>
                    <a:pt x="204" y="545"/>
                    <a:pt x="212" y="547"/>
                  </a:cubicBezTo>
                  <a:cubicBezTo>
                    <a:pt x="221" y="548"/>
                    <a:pt x="233" y="549"/>
                    <a:pt x="246" y="550"/>
                  </a:cubicBezTo>
                  <a:cubicBezTo>
                    <a:pt x="260" y="550"/>
                    <a:pt x="274" y="550"/>
                    <a:pt x="290" y="551"/>
                  </a:cubicBezTo>
                  <a:cubicBezTo>
                    <a:pt x="306" y="552"/>
                    <a:pt x="323" y="554"/>
                    <a:pt x="342" y="556"/>
                  </a:cubicBezTo>
                  <a:cubicBezTo>
                    <a:pt x="369" y="560"/>
                    <a:pt x="375" y="566"/>
                    <a:pt x="383" y="574"/>
                  </a:cubicBezTo>
                  <a:cubicBezTo>
                    <a:pt x="387" y="578"/>
                    <a:pt x="391" y="582"/>
                    <a:pt x="398" y="587"/>
                  </a:cubicBezTo>
                  <a:cubicBezTo>
                    <a:pt x="409" y="593"/>
                    <a:pt x="415" y="598"/>
                    <a:pt x="420" y="601"/>
                  </a:cubicBezTo>
                  <a:cubicBezTo>
                    <a:pt x="425" y="606"/>
                    <a:pt x="429" y="609"/>
                    <a:pt x="436" y="612"/>
                  </a:cubicBezTo>
                  <a:cubicBezTo>
                    <a:pt x="442" y="614"/>
                    <a:pt x="448" y="613"/>
                    <a:pt x="452" y="613"/>
                  </a:cubicBezTo>
                  <a:cubicBezTo>
                    <a:pt x="457" y="612"/>
                    <a:pt x="462" y="612"/>
                    <a:pt x="466" y="617"/>
                  </a:cubicBezTo>
                  <a:cubicBezTo>
                    <a:pt x="469" y="621"/>
                    <a:pt x="469" y="625"/>
                    <a:pt x="469" y="628"/>
                  </a:cubicBezTo>
                  <a:cubicBezTo>
                    <a:pt x="469" y="631"/>
                    <a:pt x="469" y="633"/>
                    <a:pt x="471" y="636"/>
                  </a:cubicBezTo>
                  <a:cubicBezTo>
                    <a:pt x="473" y="638"/>
                    <a:pt x="475" y="639"/>
                    <a:pt x="476" y="640"/>
                  </a:cubicBezTo>
                  <a:cubicBezTo>
                    <a:pt x="480" y="643"/>
                    <a:pt x="483" y="646"/>
                    <a:pt x="486" y="654"/>
                  </a:cubicBezTo>
                  <a:cubicBezTo>
                    <a:pt x="488" y="660"/>
                    <a:pt x="490" y="666"/>
                    <a:pt x="492" y="671"/>
                  </a:cubicBezTo>
                  <a:cubicBezTo>
                    <a:pt x="493" y="677"/>
                    <a:pt x="495" y="683"/>
                    <a:pt x="497" y="688"/>
                  </a:cubicBezTo>
                  <a:cubicBezTo>
                    <a:pt x="499" y="693"/>
                    <a:pt x="502" y="695"/>
                    <a:pt x="505" y="698"/>
                  </a:cubicBezTo>
                  <a:cubicBezTo>
                    <a:pt x="508" y="701"/>
                    <a:pt x="511" y="704"/>
                    <a:pt x="514" y="708"/>
                  </a:cubicBezTo>
                  <a:cubicBezTo>
                    <a:pt x="517" y="711"/>
                    <a:pt x="519" y="715"/>
                    <a:pt x="520" y="717"/>
                  </a:cubicBezTo>
                  <a:cubicBezTo>
                    <a:pt x="523" y="722"/>
                    <a:pt x="525" y="726"/>
                    <a:pt x="533" y="728"/>
                  </a:cubicBezTo>
                  <a:cubicBezTo>
                    <a:pt x="539" y="730"/>
                    <a:pt x="544" y="728"/>
                    <a:pt x="550" y="727"/>
                  </a:cubicBezTo>
                  <a:cubicBezTo>
                    <a:pt x="558" y="725"/>
                    <a:pt x="567" y="722"/>
                    <a:pt x="581" y="723"/>
                  </a:cubicBezTo>
                  <a:cubicBezTo>
                    <a:pt x="598" y="724"/>
                    <a:pt x="608" y="726"/>
                    <a:pt x="620" y="728"/>
                  </a:cubicBezTo>
                  <a:cubicBezTo>
                    <a:pt x="627" y="730"/>
                    <a:pt x="634" y="731"/>
                    <a:pt x="643" y="733"/>
                  </a:cubicBezTo>
                  <a:cubicBezTo>
                    <a:pt x="656" y="735"/>
                    <a:pt x="672" y="737"/>
                    <a:pt x="687" y="738"/>
                  </a:cubicBezTo>
                  <a:cubicBezTo>
                    <a:pt x="702" y="740"/>
                    <a:pt x="715" y="741"/>
                    <a:pt x="721" y="741"/>
                  </a:cubicBezTo>
                  <a:cubicBezTo>
                    <a:pt x="726" y="741"/>
                    <a:pt x="731" y="739"/>
                    <a:pt x="736" y="737"/>
                  </a:cubicBezTo>
                  <a:cubicBezTo>
                    <a:pt x="739" y="736"/>
                    <a:pt x="743" y="734"/>
                    <a:pt x="748" y="733"/>
                  </a:cubicBezTo>
                  <a:cubicBezTo>
                    <a:pt x="757" y="731"/>
                    <a:pt x="797" y="739"/>
                    <a:pt x="828" y="745"/>
                  </a:cubicBezTo>
                  <a:cubicBezTo>
                    <a:pt x="845" y="748"/>
                    <a:pt x="858" y="751"/>
                    <a:pt x="863" y="751"/>
                  </a:cubicBezTo>
                  <a:cubicBezTo>
                    <a:pt x="871" y="752"/>
                    <a:pt x="875" y="758"/>
                    <a:pt x="879" y="763"/>
                  </a:cubicBezTo>
                  <a:cubicBezTo>
                    <a:pt x="879" y="763"/>
                    <a:pt x="879" y="763"/>
                    <a:pt x="879" y="763"/>
                  </a:cubicBezTo>
                  <a:cubicBezTo>
                    <a:pt x="882" y="768"/>
                    <a:pt x="885" y="772"/>
                    <a:pt x="890" y="773"/>
                  </a:cubicBezTo>
                  <a:cubicBezTo>
                    <a:pt x="897" y="773"/>
                    <a:pt x="923" y="781"/>
                    <a:pt x="946" y="788"/>
                  </a:cubicBezTo>
                  <a:cubicBezTo>
                    <a:pt x="962" y="793"/>
                    <a:pt x="976" y="798"/>
                    <a:pt x="982" y="799"/>
                  </a:cubicBezTo>
                  <a:cubicBezTo>
                    <a:pt x="990" y="801"/>
                    <a:pt x="994" y="800"/>
                    <a:pt x="998" y="798"/>
                  </a:cubicBezTo>
                  <a:cubicBezTo>
                    <a:pt x="998" y="798"/>
                    <a:pt x="998" y="798"/>
                    <a:pt x="998" y="798"/>
                  </a:cubicBezTo>
                  <a:cubicBezTo>
                    <a:pt x="1002" y="797"/>
                    <a:pt x="1006" y="796"/>
                    <a:pt x="1013" y="796"/>
                  </a:cubicBezTo>
                  <a:cubicBezTo>
                    <a:pt x="1023" y="796"/>
                    <a:pt x="1026" y="800"/>
                    <a:pt x="1030" y="804"/>
                  </a:cubicBezTo>
                  <a:cubicBezTo>
                    <a:pt x="1031" y="805"/>
                    <a:pt x="1033" y="807"/>
                    <a:pt x="1035" y="808"/>
                  </a:cubicBezTo>
                  <a:cubicBezTo>
                    <a:pt x="1035" y="808"/>
                    <a:pt x="1035" y="808"/>
                    <a:pt x="1035" y="808"/>
                  </a:cubicBezTo>
                  <a:cubicBezTo>
                    <a:pt x="1036" y="808"/>
                    <a:pt x="1036" y="808"/>
                    <a:pt x="1036" y="808"/>
                  </a:cubicBezTo>
                  <a:cubicBezTo>
                    <a:pt x="1044" y="811"/>
                    <a:pt x="1055" y="814"/>
                    <a:pt x="1066" y="808"/>
                  </a:cubicBezTo>
                  <a:cubicBezTo>
                    <a:pt x="1072" y="804"/>
                    <a:pt x="1082" y="800"/>
                    <a:pt x="1094" y="794"/>
                  </a:cubicBezTo>
                  <a:cubicBezTo>
                    <a:pt x="1109" y="787"/>
                    <a:pt x="1127" y="779"/>
                    <a:pt x="1143" y="771"/>
                  </a:cubicBezTo>
                  <a:cubicBezTo>
                    <a:pt x="1165" y="759"/>
                    <a:pt x="1193" y="756"/>
                    <a:pt x="1213" y="754"/>
                  </a:cubicBezTo>
                  <a:cubicBezTo>
                    <a:pt x="1219" y="754"/>
                    <a:pt x="1224" y="753"/>
                    <a:pt x="1228" y="753"/>
                  </a:cubicBezTo>
                  <a:cubicBezTo>
                    <a:pt x="1240" y="751"/>
                    <a:pt x="1272" y="750"/>
                    <a:pt x="1298" y="749"/>
                  </a:cubicBezTo>
                  <a:cubicBezTo>
                    <a:pt x="1313" y="748"/>
                    <a:pt x="1326" y="748"/>
                    <a:pt x="1331" y="747"/>
                  </a:cubicBezTo>
                  <a:cubicBezTo>
                    <a:pt x="1338" y="747"/>
                    <a:pt x="1351" y="743"/>
                    <a:pt x="1363" y="738"/>
                  </a:cubicBezTo>
                  <a:cubicBezTo>
                    <a:pt x="1375" y="733"/>
                    <a:pt x="1387" y="727"/>
                    <a:pt x="1391" y="723"/>
                  </a:cubicBezTo>
                  <a:cubicBezTo>
                    <a:pt x="1394" y="720"/>
                    <a:pt x="1396" y="717"/>
                    <a:pt x="1399" y="714"/>
                  </a:cubicBezTo>
                  <a:cubicBezTo>
                    <a:pt x="1402" y="710"/>
                    <a:pt x="1405" y="706"/>
                    <a:pt x="1412" y="699"/>
                  </a:cubicBezTo>
                  <a:cubicBezTo>
                    <a:pt x="1423" y="689"/>
                    <a:pt x="1449" y="674"/>
                    <a:pt x="1462" y="666"/>
                  </a:cubicBezTo>
                  <a:cubicBezTo>
                    <a:pt x="1464" y="664"/>
                    <a:pt x="1466" y="663"/>
                    <a:pt x="1468" y="662"/>
                  </a:cubicBezTo>
                  <a:cubicBezTo>
                    <a:pt x="1472" y="660"/>
                    <a:pt x="1476" y="657"/>
                    <a:pt x="1478" y="655"/>
                  </a:cubicBezTo>
                  <a:cubicBezTo>
                    <a:pt x="1480" y="653"/>
                    <a:pt x="1482" y="651"/>
                    <a:pt x="1482" y="649"/>
                  </a:cubicBezTo>
                  <a:cubicBezTo>
                    <a:pt x="1482" y="648"/>
                    <a:pt x="1476" y="640"/>
                    <a:pt x="1470" y="632"/>
                  </a:cubicBezTo>
                  <a:cubicBezTo>
                    <a:pt x="1461" y="621"/>
                    <a:pt x="1453" y="609"/>
                    <a:pt x="1453" y="603"/>
                  </a:cubicBezTo>
                  <a:cubicBezTo>
                    <a:pt x="1453" y="598"/>
                    <a:pt x="1458" y="588"/>
                    <a:pt x="1464" y="579"/>
                  </a:cubicBezTo>
                  <a:cubicBezTo>
                    <a:pt x="1472" y="568"/>
                    <a:pt x="1480" y="558"/>
                    <a:pt x="1485" y="554"/>
                  </a:cubicBezTo>
                  <a:cubicBezTo>
                    <a:pt x="1490" y="551"/>
                    <a:pt x="1497" y="549"/>
                    <a:pt x="1505" y="549"/>
                  </a:cubicBezTo>
                  <a:cubicBezTo>
                    <a:pt x="1512" y="549"/>
                    <a:pt x="1520" y="551"/>
                    <a:pt x="1528" y="555"/>
                  </a:cubicBezTo>
                  <a:cubicBezTo>
                    <a:pt x="1535" y="559"/>
                    <a:pt x="1543" y="563"/>
                    <a:pt x="1551" y="566"/>
                  </a:cubicBezTo>
                  <a:cubicBezTo>
                    <a:pt x="1561" y="570"/>
                    <a:pt x="1569" y="573"/>
                    <a:pt x="1573" y="574"/>
                  </a:cubicBezTo>
                  <a:cubicBezTo>
                    <a:pt x="1576" y="575"/>
                    <a:pt x="1580" y="575"/>
                    <a:pt x="1585" y="574"/>
                  </a:cubicBezTo>
                  <a:cubicBezTo>
                    <a:pt x="1589" y="573"/>
                    <a:pt x="1594" y="571"/>
                    <a:pt x="1597" y="568"/>
                  </a:cubicBezTo>
                  <a:cubicBezTo>
                    <a:pt x="1597" y="568"/>
                    <a:pt x="1597" y="568"/>
                    <a:pt x="1597" y="568"/>
                  </a:cubicBezTo>
                  <a:cubicBezTo>
                    <a:pt x="1600" y="566"/>
                    <a:pt x="1600" y="566"/>
                    <a:pt x="1600" y="566"/>
                  </a:cubicBezTo>
                  <a:cubicBezTo>
                    <a:pt x="1612" y="556"/>
                    <a:pt x="1650" y="524"/>
                    <a:pt x="1661" y="522"/>
                  </a:cubicBezTo>
                  <a:cubicBezTo>
                    <a:pt x="1665" y="522"/>
                    <a:pt x="1673" y="521"/>
                    <a:pt x="1683" y="521"/>
                  </a:cubicBezTo>
                  <a:cubicBezTo>
                    <a:pt x="1698" y="521"/>
                    <a:pt x="1717" y="520"/>
                    <a:pt x="1722" y="518"/>
                  </a:cubicBezTo>
                  <a:cubicBezTo>
                    <a:pt x="1726" y="516"/>
                    <a:pt x="1730" y="514"/>
                    <a:pt x="1734" y="511"/>
                  </a:cubicBezTo>
                  <a:cubicBezTo>
                    <a:pt x="1734" y="511"/>
                    <a:pt x="1734" y="511"/>
                    <a:pt x="1734" y="511"/>
                  </a:cubicBezTo>
                  <a:cubicBezTo>
                    <a:pt x="1740" y="507"/>
                    <a:pt x="1745" y="503"/>
                    <a:pt x="1749" y="500"/>
                  </a:cubicBezTo>
                  <a:cubicBezTo>
                    <a:pt x="1751" y="498"/>
                    <a:pt x="1751" y="496"/>
                    <a:pt x="1751" y="494"/>
                  </a:cubicBezTo>
                  <a:cubicBezTo>
                    <a:pt x="1751" y="490"/>
                    <a:pt x="1750" y="486"/>
                    <a:pt x="1753" y="481"/>
                  </a:cubicBezTo>
                  <a:cubicBezTo>
                    <a:pt x="1755" y="475"/>
                    <a:pt x="1762" y="467"/>
                    <a:pt x="1769" y="461"/>
                  </a:cubicBezTo>
                  <a:cubicBezTo>
                    <a:pt x="1775" y="455"/>
                    <a:pt x="1782" y="451"/>
                    <a:pt x="1787" y="451"/>
                  </a:cubicBezTo>
                  <a:cubicBezTo>
                    <a:pt x="1788" y="451"/>
                    <a:pt x="1788" y="451"/>
                    <a:pt x="1788" y="451"/>
                  </a:cubicBezTo>
                  <a:cubicBezTo>
                    <a:pt x="1797" y="450"/>
                    <a:pt x="1821" y="450"/>
                    <a:pt x="1829" y="449"/>
                  </a:cubicBezTo>
                  <a:cubicBezTo>
                    <a:pt x="1832" y="448"/>
                    <a:pt x="1840" y="445"/>
                    <a:pt x="1850" y="441"/>
                  </a:cubicBezTo>
                  <a:cubicBezTo>
                    <a:pt x="1865" y="435"/>
                    <a:pt x="1883" y="427"/>
                    <a:pt x="1892" y="426"/>
                  </a:cubicBezTo>
                  <a:cubicBezTo>
                    <a:pt x="1899" y="426"/>
                    <a:pt x="1911" y="426"/>
                    <a:pt x="1925" y="426"/>
                  </a:cubicBezTo>
                  <a:cubicBezTo>
                    <a:pt x="1947" y="427"/>
                    <a:pt x="1971" y="427"/>
                    <a:pt x="1976" y="425"/>
                  </a:cubicBezTo>
                  <a:cubicBezTo>
                    <a:pt x="1979" y="424"/>
                    <a:pt x="1980" y="422"/>
                    <a:pt x="1980" y="420"/>
                  </a:cubicBezTo>
                  <a:cubicBezTo>
                    <a:pt x="1979" y="416"/>
                    <a:pt x="1975" y="411"/>
                    <a:pt x="1971" y="405"/>
                  </a:cubicBezTo>
                  <a:cubicBezTo>
                    <a:pt x="1966" y="397"/>
                    <a:pt x="1946" y="376"/>
                    <a:pt x="1928" y="359"/>
                  </a:cubicBezTo>
                  <a:cubicBezTo>
                    <a:pt x="1915" y="347"/>
                    <a:pt x="1903" y="338"/>
                    <a:pt x="1898" y="336"/>
                  </a:cubicBezTo>
                  <a:cubicBezTo>
                    <a:pt x="1891" y="334"/>
                    <a:pt x="1881" y="334"/>
                    <a:pt x="1872" y="335"/>
                  </a:cubicBezTo>
                  <a:cubicBezTo>
                    <a:pt x="1862" y="335"/>
                    <a:pt x="1853" y="337"/>
                    <a:pt x="1846" y="340"/>
                  </a:cubicBezTo>
                  <a:cubicBezTo>
                    <a:pt x="1840" y="343"/>
                    <a:pt x="1836" y="347"/>
                    <a:pt x="1833" y="351"/>
                  </a:cubicBezTo>
                  <a:cubicBezTo>
                    <a:pt x="1830" y="356"/>
                    <a:pt x="1828" y="359"/>
                    <a:pt x="1823" y="360"/>
                  </a:cubicBezTo>
                  <a:cubicBezTo>
                    <a:pt x="1818" y="360"/>
                    <a:pt x="1811" y="356"/>
                    <a:pt x="1804" y="352"/>
                  </a:cubicBezTo>
                  <a:cubicBezTo>
                    <a:pt x="1799" y="348"/>
                    <a:pt x="1793" y="345"/>
                    <a:pt x="1789" y="345"/>
                  </a:cubicBezTo>
                  <a:cubicBezTo>
                    <a:pt x="1785" y="345"/>
                    <a:pt x="1779" y="345"/>
                    <a:pt x="1774" y="346"/>
                  </a:cubicBezTo>
                  <a:cubicBezTo>
                    <a:pt x="1769" y="347"/>
                    <a:pt x="1764" y="347"/>
                    <a:pt x="1761" y="348"/>
                  </a:cubicBezTo>
                  <a:cubicBezTo>
                    <a:pt x="1758" y="348"/>
                    <a:pt x="1754" y="349"/>
                    <a:pt x="1750" y="351"/>
                  </a:cubicBezTo>
                  <a:cubicBezTo>
                    <a:pt x="1744" y="354"/>
                    <a:pt x="1736" y="357"/>
                    <a:pt x="1730" y="355"/>
                  </a:cubicBezTo>
                  <a:cubicBezTo>
                    <a:pt x="1721" y="351"/>
                    <a:pt x="1717" y="343"/>
                    <a:pt x="1713" y="335"/>
                  </a:cubicBezTo>
                  <a:cubicBezTo>
                    <a:pt x="1712" y="334"/>
                    <a:pt x="1712" y="333"/>
                    <a:pt x="1711" y="332"/>
                  </a:cubicBezTo>
                  <a:cubicBezTo>
                    <a:pt x="1706" y="323"/>
                    <a:pt x="1709" y="320"/>
                    <a:pt x="1714" y="315"/>
                  </a:cubicBezTo>
                  <a:cubicBezTo>
                    <a:pt x="1714" y="315"/>
                    <a:pt x="1714" y="315"/>
                    <a:pt x="1714" y="315"/>
                  </a:cubicBezTo>
                  <a:cubicBezTo>
                    <a:pt x="1715" y="313"/>
                    <a:pt x="1717" y="311"/>
                    <a:pt x="1718" y="309"/>
                  </a:cubicBezTo>
                  <a:cubicBezTo>
                    <a:pt x="1720" y="307"/>
                    <a:pt x="1720" y="307"/>
                    <a:pt x="1720" y="307"/>
                  </a:cubicBezTo>
                  <a:cubicBezTo>
                    <a:pt x="1722" y="304"/>
                    <a:pt x="1723" y="303"/>
                    <a:pt x="1723" y="302"/>
                  </a:cubicBezTo>
                  <a:cubicBezTo>
                    <a:pt x="1724" y="301"/>
                    <a:pt x="1724" y="300"/>
                    <a:pt x="1724" y="297"/>
                  </a:cubicBezTo>
                  <a:cubicBezTo>
                    <a:pt x="1724" y="296"/>
                    <a:pt x="1723" y="295"/>
                    <a:pt x="1723" y="293"/>
                  </a:cubicBezTo>
                  <a:cubicBezTo>
                    <a:pt x="1723" y="285"/>
                    <a:pt x="1725" y="282"/>
                    <a:pt x="1727" y="278"/>
                  </a:cubicBezTo>
                  <a:cubicBezTo>
                    <a:pt x="1727" y="277"/>
                    <a:pt x="1728" y="275"/>
                    <a:pt x="1729" y="272"/>
                  </a:cubicBezTo>
                  <a:cubicBezTo>
                    <a:pt x="1731" y="268"/>
                    <a:pt x="1741" y="250"/>
                    <a:pt x="1751" y="230"/>
                  </a:cubicBezTo>
                  <a:cubicBezTo>
                    <a:pt x="1762" y="211"/>
                    <a:pt x="1774" y="190"/>
                    <a:pt x="1779" y="182"/>
                  </a:cubicBezTo>
                  <a:cubicBezTo>
                    <a:pt x="1777" y="181"/>
                    <a:pt x="1777" y="181"/>
                    <a:pt x="1777" y="181"/>
                  </a:cubicBezTo>
                  <a:cubicBezTo>
                    <a:pt x="1767" y="176"/>
                    <a:pt x="1758" y="172"/>
                    <a:pt x="1749" y="173"/>
                  </a:cubicBezTo>
                  <a:cubicBezTo>
                    <a:pt x="1741" y="174"/>
                    <a:pt x="1734" y="176"/>
                    <a:pt x="1728" y="178"/>
                  </a:cubicBezTo>
                  <a:cubicBezTo>
                    <a:pt x="1721" y="179"/>
                    <a:pt x="1715" y="181"/>
                    <a:pt x="1710" y="182"/>
                  </a:cubicBezTo>
                  <a:cubicBezTo>
                    <a:pt x="1704" y="182"/>
                    <a:pt x="1697" y="176"/>
                    <a:pt x="1689" y="169"/>
                  </a:cubicBezTo>
                  <a:cubicBezTo>
                    <a:pt x="1681" y="163"/>
                    <a:pt x="1673" y="156"/>
                    <a:pt x="1666" y="156"/>
                  </a:cubicBezTo>
                  <a:cubicBezTo>
                    <a:pt x="1658" y="155"/>
                    <a:pt x="1648" y="155"/>
                    <a:pt x="1639" y="155"/>
                  </a:cubicBezTo>
                  <a:cubicBezTo>
                    <a:pt x="1631" y="155"/>
                    <a:pt x="1625" y="155"/>
                    <a:pt x="1623" y="155"/>
                  </a:cubicBezTo>
                  <a:cubicBezTo>
                    <a:pt x="1623" y="155"/>
                    <a:pt x="1623" y="155"/>
                    <a:pt x="1623" y="155"/>
                  </a:cubicBezTo>
                  <a:cubicBezTo>
                    <a:pt x="1620" y="156"/>
                    <a:pt x="1613" y="159"/>
                    <a:pt x="1605" y="163"/>
                  </a:cubicBezTo>
                  <a:cubicBezTo>
                    <a:pt x="1598" y="167"/>
                    <a:pt x="1590" y="173"/>
                    <a:pt x="1583" y="177"/>
                  </a:cubicBezTo>
                  <a:cubicBezTo>
                    <a:pt x="1576" y="183"/>
                    <a:pt x="1569" y="190"/>
                    <a:pt x="1564" y="196"/>
                  </a:cubicBezTo>
                  <a:cubicBezTo>
                    <a:pt x="1558" y="203"/>
                    <a:pt x="1553" y="209"/>
                    <a:pt x="1548" y="211"/>
                  </a:cubicBezTo>
                  <a:cubicBezTo>
                    <a:pt x="1548" y="211"/>
                    <a:pt x="1548" y="211"/>
                    <a:pt x="1548" y="211"/>
                  </a:cubicBezTo>
                  <a:cubicBezTo>
                    <a:pt x="1543" y="213"/>
                    <a:pt x="1528" y="215"/>
                    <a:pt x="1513" y="217"/>
                  </a:cubicBezTo>
                  <a:cubicBezTo>
                    <a:pt x="1503" y="218"/>
                    <a:pt x="1492" y="219"/>
                    <a:pt x="1485" y="221"/>
                  </a:cubicBezTo>
                  <a:cubicBezTo>
                    <a:pt x="1479" y="222"/>
                    <a:pt x="1469" y="225"/>
                    <a:pt x="1460" y="227"/>
                  </a:cubicBezTo>
                  <a:cubicBezTo>
                    <a:pt x="1443" y="233"/>
                    <a:pt x="1425" y="239"/>
                    <a:pt x="1421" y="241"/>
                  </a:cubicBezTo>
                  <a:cubicBezTo>
                    <a:pt x="1416" y="242"/>
                    <a:pt x="1408" y="241"/>
                    <a:pt x="1396" y="239"/>
                  </a:cubicBezTo>
                  <a:cubicBezTo>
                    <a:pt x="1390" y="238"/>
                    <a:pt x="1382" y="237"/>
                    <a:pt x="1374" y="235"/>
                  </a:cubicBezTo>
                  <a:cubicBezTo>
                    <a:pt x="1361" y="234"/>
                    <a:pt x="1351" y="232"/>
                    <a:pt x="1342" y="230"/>
                  </a:cubicBezTo>
                  <a:cubicBezTo>
                    <a:pt x="1333" y="228"/>
                    <a:pt x="1326" y="226"/>
                    <a:pt x="1317" y="225"/>
                  </a:cubicBezTo>
                  <a:cubicBezTo>
                    <a:pt x="1310" y="224"/>
                    <a:pt x="1305" y="225"/>
                    <a:pt x="1301" y="225"/>
                  </a:cubicBezTo>
                  <a:cubicBezTo>
                    <a:pt x="1295" y="225"/>
                    <a:pt x="1289" y="226"/>
                    <a:pt x="1275" y="223"/>
                  </a:cubicBezTo>
                  <a:cubicBezTo>
                    <a:pt x="1255" y="220"/>
                    <a:pt x="1252" y="214"/>
                    <a:pt x="1248" y="206"/>
                  </a:cubicBezTo>
                  <a:cubicBezTo>
                    <a:pt x="1247" y="204"/>
                    <a:pt x="1246" y="202"/>
                    <a:pt x="1244" y="199"/>
                  </a:cubicBezTo>
                  <a:cubicBezTo>
                    <a:pt x="1240" y="194"/>
                    <a:pt x="1240" y="188"/>
                    <a:pt x="1239" y="183"/>
                  </a:cubicBezTo>
                  <a:cubicBezTo>
                    <a:pt x="1239" y="178"/>
                    <a:pt x="1238" y="174"/>
                    <a:pt x="1234" y="173"/>
                  </a:cubicBezTo>
                  <a:cubicBezTo>
                    <a:pt x="1230" y="172"/>
                    <a:pt x="1226" y="172"/>
                    <a:pt x="1222" y="172"/>
                  </a:cubicBezTo>
                  <a:cubicBezTo>
                    <a:pt x="1213" y="171"/>
                    <a:pt x="1204" y="171"/>
                    <a:pt x="1197" y="164"/>
                  </a:cubicBezTo>
                  <a:cubicBezTo>
                    <a:pt x="1193" y="160"/>
                    <a:pt x="1188" y="157"/>
                    <a:pt x="1182" y="154"/>
                  </a:cubicBezTo>
                  <a:cubicBezTo>
                    <a:pt x="1176" y="151"/>
                    <a:pt x="1170" y="149"/>
                    <a:pt x="1165" y="148"/>
                  </a:cubicBezTo>
                  <a:cubicBezTo>
                    <a:pt x="1160" y="148"/>
                    <a:pt x="1156" y="147"/>
                    <a:pt x="1152" y="147"/>
                  </a:cubicBezTo>
                  <a:cubicBezTo>
                    <a:pt x="1146" y="147"/>
                    <a:pt x="1141" y="146"/>
                    <a:pt x="1135" y="144"/>
                  </a:cubicBezTo>
                  <a:cubicBezTo>
                    <a:pt x="1131" y="143"/>
                    <a:pt x="1125" y="141"/>
                    <a:pt x="1118" y="139"/>
                  </a:cubicBezTo>
                  <a:cubicBezTo>
                    <a:pt x="1111" y="138"/>
                    <a:pt x="1102" y="136"/>
                    <a:pt x="1092" y="135"/>
                  </a:cubicBezTo>
                  <a:cubicBezTo>
                    <a:pt x="1082" y="135"/>
                    <a:pt x="1074" y="135"/>
                    <a:pt x="1066" y="136"/>
                  </a:cubicBezTo>
                  <a:cubicBezTo>
                    <a:pt x="1058" y="138"/>
                    <a:pt x="1050" y="140"/>
                    <a:pt x="1041" y="145"/>
                  </a:cubicBezTo>
                  <a:cubicBezTo>
                    <a:pt x="1032" y="149"/>
                    <a:pt x="1024" y="152"/>
                    <a:pt x="1017" y="154"/>
                  </a:cubicBezTo>
                  <a:cubicBezTo>
                    <a:pt x="1010" y="156"/>
                    <a:pt x="1004" y="157"/>
                    <a:pt x="998" y="158"/>
                  </a:cubicBezTo>
                  <a:cubicBezTo>
                    <a:pt x="991" y="158"/>
                    <a:pt x="981" y="156"/>
                    <a:pt x="970" y="153"/>
                  </a:cubicBezTo>
                  <a:cubicBezTo>
                    <a:pt x="963" y="152"/>
                    <a:pt x="956" y="150"/>
                    <a:pt x="949" y="149"/>
                  </a:cubicBezTo>
                  <a:cubicBezTo>
                    <a:pt x="938" y="147"/>
                    <a:pt x="926" y="143"/>
                    <a:pt x="916" y="139"/>
                  </a:cubicBezTo>
                  <a:cubicBezTo>
                    <a:pt x="908" y="134"/>
                    <a:pt x="900" y="129"/>
                    <a:pt x="895" y="123"/>
                  </a:cubicBezTo>
                  <a:cubicBezTo>
                    <a:pt x="884" y="110"/>
                    <a:pt x="884" y="102"/>
                    <a:pt x="883" y="84"/>
                  </a:cubicBezTo>
                  <a:cubicBezTo>
                    <a:pt x="883" y="81"/>
                    <a:pt x="883" y="81"/>
                    <a:pt x="883" y="81"/>
                  </a:cubicBezTo>
                  <a:cubicBezTo>
                    <a:pt x="883" y="66"/>
                    <a:pt x="881" y="64"/>
                    <a:pt x="876" y="62"/>
                  </a:cubicBezTo>
                  <a:cubicBezTo>
                    <a:pt x="875" y="61"/>
                    <a:pt x="875" y="61"/>
                    <a:pt x="875" y="61"/>
                  </a:cubicBezTo>
                  <a:cubicBezTo>
                    <a:pt x="875" y="61"/>
                    <a:pt x="875" y="61"/>
                    <a:pt x="875" y="61"/>
                  </a:cubicBezTo>
                  <a:cubicBezTo>
                    <a:pt x="872" y="60"/>
                    <a:pt x="857" y="55"/>
                    <a:pt x="839" y="49"/>
                  </a:cubicBezTo>
                  <a:cubicBezTo>
                    <a:pt x="818" y="43"/>
                    <a:pt x="795" y="36"/>
                    <a:pt x="784" y="34"/>
                  </a:cubicBezTo>
                  <a:cubicBezTo>
                    <a:pt x="773" y="31"/>
                    <a:pt x="768" y="31"/>
                    <a:pt x="764" y="31"/>
                  </a:cubicBezTo>
                  <a:cubicBezTo>
                    <a:pt x="759" y="31"/>
                    <a:pt x="755" y="30"/>
                    <a:pt x="744" y="28"/>
                  </a:cubicBezTo>
                  <a:cubicBezTo>
                    <a:pt x="734" y="26"/>
                    <a:pt x="720" y="18"/>
                    <a:pt x="708" y="11"/>
                  </a:cubicBezTo>
                  <a:cubicBezTo>
                    <a:pt x="698" y="5"/>
                    <a:pt x="689" y="0"/>
                    <a:pt x="686" y="0"/>
                  </a:cubicBezTo>
                  <a:cubicBezTo>
                    <a:pt x="683" y="1"/>
                    <a:pt x="677" y="4"/>
                    <a:pt x="671" y="9"/>
                  </a:cubicBezTo>
                  <a:cubicBezTo>
                    <a:pt x="663" y="15"/>
                    <a:pt x="654" y="23"/>
                    <a:pt x="651" y="27"/>
                  </a:cubicBezTo>
                  <a:cubicBezTo>
                    <a:pt x="647" y="31"/>
                    <a:pt x="646" y="34"/>
                    <a:pt x="646" y="36"/>
                  </a:cubicBezTo>
                  <a:cubicBezTo>
                    <a:pt x="645" y="38"/>
                    <a:pt x="645" y="41"/>
                    <a:pt x="643" y="43"/>
                  </a:cubicBezTo>
                  <a:cubicBezTo>
                    <a:pt x="641" y="48"/>
                    <a:pt x="638" y="50"/>
                    <a:pt x="635" y="52"/>
                  </a:cubicBezTo>
                  <a:cubicBezTo>
                    <a:pt x="633" y="53"/>
                    <a:pt x="631" y="54"/>
                    <a:pt x="630" y="56"/>
                  </a:cubicBezTo>
                  <a:cubicBezTo>
                    <a:pt x="628" y="58"/>
                    <a:pt x="627" y="60"/>
                    <a:pt x="626" y="64"/>
                  </a:cubicBezTo>
                  <a:cubicBezTo>
                    <a:pt x="624" y="67"/>
                    <a:pt x="623" y="72"/>
                    <a:pt x="623" y="78"/>
                  </a:cubicBezTo>
                  <a:cubicBezTo>
                    <a:pt x="622" y="85"/>
                    <a:pt x="625" y="92"/>
                    <a:pt x="628" y="98"/>
                  </a:cubicBezTo>
                  <a:cubicBezTo>
                    <a:pt x="629" y="102"/>
                    <a:pt x="631" y="105"/>
                    <a:pt x="632" y="109"/>
                  </a:cubicBezTo>
                  <a:cubicBezTo>
                    <a:pt x="633" y="113"/>
                    <a:pt x="636" y="115"/>
                    <a:pt x="639" y="118"/>
                  </a:cubicBezTo>
                  <a:cubicBezTo>
                    <a:pt x="643" y="121"/>
                    <a:pt x="646" y="124"/>
                    <a:pt x="646" y="130"/>
                  </a:cubicBezTo>
                  <a:cubicBezTo>
                    <a:pt x="646" y="135"/>
                    <a:pt x="644" y="144"/>
                    <a:pt x="641" y="152"/>
                  </a:cubicBezTo>
                  <a:cubicBezTo>
                    <a:pt x="638" y="160"/>
                    <a:pt x="634" y="167"/>
                    <a:pt x="630" y="169"/>
                  </a:cubicBezTo>
                  <a:cubicBezTo>
                    <a:pt x="626" y="173"/>
                    <a:pt x="621" y="174"/>
                    <a:pt x="616" y="174"/>
                  </a:cubicBezTo>
                  <a:cubicBezTo>
                    <a:pt x="613" y="174"/>
                    <a:pt x="610" y="174"/>
                    <a:pt x="607" y="176"/>
                  </a:cubicBezTo>
                  <a:cubicBezTo>
                    <a:pt x="604" y="177"/>
                    <a:pt x="602" y="179"/>
                    <a:pt x="600" y="181"/>
                  </a:cubicBezTo>
                  <a:cubicBezTo>
                    <a:pt x="596" y="183"/>
                    <a:pt x="593" y="186"/>
                    <a:pt x="587" y="187"/>
                  </a:cubicBezTo>
                  <a:cubicBezTo>
                    <a:pt x="582" y="189"/>
                    <a:pt x="577" y="189"/>
                    <a:pt x="571" y="188"/>
                  </a:cubicBezTo>
                  <a:cubicBezTo>
                    <a:pt x="565" y="187"/>
                    <a:pt x="558" y="185"/>
                    <a:pt x="550" y="183"/>
                  </a:cubicBezTo>
                  <a:cubicBezTo>
                    <a:pt x="547" y="182"/>
                    <a:pt x="542" y="180"/>
                    <a:pt x="538" y="179"/>
                  </a:cubicBezTo>
                  <a:cubicBezTo>
                    <a:pt x="526" y="175"/>
                    <a:pt x="513" y="170"/>
                    <a:pt x="498" y="169"/>
                  </a:cubicBezTo>
                  <a:cubicBezTo>
                    <a:pt x="487" y="168"/>
                    <a:pt x="486" y="170"/>
                    <a:pt x="484" y="172"/>
                  </a:cubicBezTo>
                  <a:cubicBezTo>
                    <a:pt x="482" y="174"/>
                    <a:pt x="480" y="176"/>
                    <a:pt x="475" y="178"/>
                  </a:cubicBezTo>
                  <a:cubicBezTo>
                    <a:pt x="468" y="180"/>
                    <a:pt x="464" y="179"/>
                    <a:pt x="456" y="177"/>
                  </a:cubicBezTo>
                  <a:cubicBezTo>
                    <a:pt x="451" y="176"/>
                    <a:pt x="443" y="174"/>
                    <a:pt x="429" y="172"/>
                  </a:cubicBezTo>
                  <a:cubicBezTo>
                    <a:pt x="403" y="168"/>
                    <a:pt x="402" y="162"/>
                    <a:pt x="401" y="152"/>
                  </a:cubicBezTo>
                  <a:cubicBezTo>
                    <a:pt x="400" y="149"/>
                    <a:pt x="400" y="145"/>
                    <a:pt x="398" y="142"/>
                  </a:cubicBezTo>
                  <a:cubicBezTo>
                    <a:pt x="396" y="138"/>
                    <a:pt x="395" y="136"/>
                    <a:pt x="394" y="133"/>
                  </a:cubicBezTo>
                  <a:cubicBezTo>
                    <a:pt x="391" y="127"/>
                    <a:pt x="390" y="125"/>
                    <a:pt x="387" y="124"/>
                  </a:cubicBezTo>
                  <a:cubicBezTo>
                    <a:pt x="383" y="123"/>
                    <a:pt x="379" y="123"/>
                    <a:pt x="372" y="123"/>
                  </a:cubicBezTo>
                  <a:cubicBezTo>
                    <a:pt x="367" y="124"/>
                    <a:pt x="361" y="124"/>
                    <a:pt x="355" y="124"/>
                  </a:cubicBezTo>
                  <a:cubicBezTo>
                    <a:pt x="335" y="124"/>
                    <a:pt x="323" y="114"/>
                    <a:pt x="317" y="109"/>
                  </a:cubicBezTo>
                  <a:cubicBezTo>
                    <a:pt x="316" y="109"/>
                    <a:pt x="316" y="109"/>
                    <a:pt x="315" y="108"/>
                  </a:cubicBezTo>
                  <a:cubicBezTo>
                    <a:pt x="315" y="108"/>
                    <a:pt x="315" y="108"/>
                    <a:pt x="315" y="108"/>
                  </a:cubicBezTo>
                  <a:cubicBezTo>
                    <a:pt x="313" y="106"/>
                    <a:pt x="307" y="104"/>
                    <a:pt x="301" y="102"/>
                  </a:cubicBezTo>
                  <a:cubicBezTo>
                    <a:pt x="297" y="101"/>
                    <a:pt x="292" y="100"/>
                    <a:pt x="288" y="101"/>
                  </a:cubicBezTo>
                  <a:cubicBezTo>
                    <a:pt x="284" y="102"/>
                    <a:pt x="281" y="104"/>
                    <a:pt x="278" y="107"/>
                  </a:cubicBezTo>
                  <a:cubicBezTo>
                    <a:pt x="274" y="111"/>
                    <a:pt x="270" y="115"/>
                    <a:pt x="262" y="118"/>
                  </a:cubicBezTo>
                  <a:cubicBezTo>
                    <a:pt x="252" y="122"/>
                    <a:pt x="246" y="121"/>
                    <a:pt x="240" y="121"/>
                  </a:cubicBezTo>
                  <a:cubicBezTo>
                    <a:pt x="237" y="120"/>
                    <a:pt x="234" y="120"/>
                    <a:pt x="232" y="121"/>
                  </a:cubicBezTo>
                  <a:cubicBezTo>
                    <a:pt x="225" y="124"/>
                    <a:pt x="216" y="128"/>
                    <a:pt x="204" y="134"/>
                  </a:cubicBezTo>
                  <a:cubicBezTo>
                    <a:pt x="202" y="135"/>
                    <a:pt x="200" y="136"/>
                    <a:pt x="195" y="139"/>
                  </a:cubicBezTo>
                  <a:cubicBezTo>
                    <a:pt x="186" y="144"/>
                    <a:pt x="172" y="151"/>
                    <a:pt x="158" y="157"/>
                  </a:cubicBezTo>
                  <a:cubicBezTo>
                    <a:pt x="146" y="163"/>
                    <a:pt x="134" y="168"/>
                    <a:pt x="129" y="171"/>
                  </a:cubicBezTo>
                  <a:cubicBezTo>
                    <a:pt x="127" y="172"/>
                    <a:pt x="126" y="173"/>
                    <a:pt x="125" y="173"/>
                  </a:cubicBezTo>
                  <a:cubicBezTo>
                    <a:pt x="117" y="177"/>
                    <a:pt x="113" y="179"/>
                    <a:pt x="113" y="184"/>
                  </a:cubicBezTo>
                  <a:cubicBezTo>
                    <a:pt x="112" y="192"/>
                    <a:pt x="111" y="193"/>
                    <a:pt x="103" y="197"/>
                  </a:cubicBezTo>
                  <a:cubicBezTo>
                    <a:pt x="101" y="198"/>
                    <a:pt x="99" y="199"/>
                    <a:pt x="97" y="200"/>
                  </a:cubicBezTo>
                  <a:cubicBezTo>
                    <a:pt x="96" y="200"/>
                    <a:pt x="96" y="200"/>
                    <a:pt x="96" y="200"/>
                  </a:cubicBezTo>
                  <a:cubicBezTo>
                    <a:pt x="84" y="206"/>
                    <a:pt x="77" y="210"/>
                    <a:pt x="66" y="212"/>
                  </a:cubicBezTo>
                  <a:cubicBezTo>
                    <a:pt x="62" y="213"/>
                    <a:pt x="55" y="213"/>
                    <a:pt x="47" y="213"/>
                  </a:cubicBezTo>
                  <a:cubicBezTo>
                    <a:pt x="35" y="214"/>
                    <a:pt x="22" y="215"/>
                    <a:pt x="22" y="215"/>
                  </a:cubicBezTo>
                  <a:cubicBezTo>
                    <a:pt x="21" y="216"/>
                    <a:pt x="21" y="217"/>
                    <a:pt x="20" y="219"/>
                  </a:cubicBezTo>
                  <a:cubicBezTo>
                    <a:pt x="19" y="221"/>
                    <a:pt x="18" y="225"/>
                    <a:pt x="14" y="231"/>
                  </a:cubicBezTo>
                  <a:cubicBezTo>
                    <a:pt x="9" y="238"/>
                    <a:pt x="6" y="240"/>
                    <a:pt x="2" y="241"/>
                  </a:cubicBezTo>
                  <a:cubicBezTo>
                    <a:pt x="2" y="242"/>
                    <a:pt x="2" y="243"/>
                    <a:pt x="2" y="244"/>
                  </a:cubicBezTo>
                  <a:cubicBezTo>
                    <a:pt x="2" y="246"/>
                    <a:pt x="2" y="247"/>
                    <a:pt x="1" y="249"/>
                  </a:cubicBezTo>
                  <a:cubicBezTo>
                    <a:pt x="1" y="251"/>
                    <a:pt x="0" y="254"/>
                    <a:pt x="1" y="25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1" name="Rectangle 270"/>
            <p:cNvSpPr>
              <a:spLocks noChangeArrowheads="1"/>
            </p:cNvSpPr>
            <p:nvPr/>
          </p:nvSpPr>
          <p:spPr bwMode="auto">
            <a:xfrm>
              <a:off x="5723447" y="3580897"/>
              <a:ext cx="1191" cy="1191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2" name="Freeform 272"/>
            <p:cNvSpPr>
              <a:spLocks/>
            </p:cNvSpPr>
            <p:nvPr/>
          </p:nvSpPr>
          <p:spPr bwMode="auto">
            <a:xfrm>
              <a:off x="6141356" y="4244075"/>
              <a:ext cx="129778" cy="154781"/>
            </a:xfrm>
            <a:custGeom>
              <a:avLst/>
              <a:gdLst>
                <a:gd name="T0" fmla="*/ 74 w 454"/>
                <a:gd name="T1" fmla="*/ 83 h 536"/>
                <a:gd name="T2" fmla="*/ 58 w 454"/>
                <a:gd name="T3" fmla="*/ 61 h 536"/>
                <a:gd name="T4" fmla="*/ 29 w 454"/>
                <a:gd name="T5" fmla="*/ 86 h 536"/>
                <a:gd name="T6" fmla="*/ 4 w 454"/>
                <a:gd name="T7" fmla="*/ 117 h 536"/>
                <a:gd name="T8" fmla="*/ 0 w 454"/>
                <a:gd name="T9" fmla="*/ 126 h 536"/>
                <a:gd name="T10" fmla="*/ 8 w 454"/>
                <a:gd name="T11" fmla="*/ 129 h 536"/>
                <a:gd name="T12" fmla="*/ 21 w 454"/>
                <a:gd name="T13" fmla="*/ 161 h 536"/>
                <a:gd name="T14" fmla="*/ 24 w 454"/>
                <a:gd name="T15" fmla="*/ 180 h 536"/>
                <a:gd name="T16" fmla="*/ 60 w 454"/>
                <a:gd name="T17" fmla="*/ 185 h 536"/>
                <a:gd name="T18" fmla="*/ 72 w 454"/>
                <a:gd name="T19" fmla="*/ 218 h 536"/>
                <a:gd name="T20" fmla="*/ 62 w 454"/>
                <a:gd name="T21" fmla="*/ 257 h 536"/>
                <a:gd name="T22" fmla="*/ 56 w 454"/>
                <a:gd name="T23" fmla="*/ 290 h 536"/>
                <a:gd name="T24" fmla="*/ 55 w 454"/>
                <a:gd name="T25" fmla="*/ 311 h 536"/>
                <a:gd name="T26" fmla="*/ 96 w 454"/>
                <a:gd name="T27" fmla="*/ 280 h 536"/>
                <a:gd name="T28" fmla="*/ 144 w 454"/>
                <a:gd name="T29" fmla="*/ 285 h 536"/>
                <a:gd name="T30" fmla="*/ 161 w 454"/>
                <a:gd name="T31" fmla="*/ 282 h 536"/>
                <a:gd name="T32" fmla="*/ 209 w 454"/>
                <a:gd name="T33" fmla="*/ 254 h 536"/>
                <a:gd name="T34" fmla="*/ 260 w 454"/>
                <a:gd name="T35" fmla="*/ 293 h 536"/>
                <a:gd name="T36" fmla="*/ 287 w 454"/>
                <a:gd name="T37" fmla="*/ 330 h 536"/>
                <a:gd name="T38" fmla="*/ 286 w 454"/>
                <a:gd name="T39" fmla="*/ 366 h 536"/>
                <a:gd name="T40" fmla="*/ 306 w 454"/>
                <a:gd name="T41" fmla="*/ 392 h 536"/>
                <a:gd name="T42" fmla="*/ 334 w 454"/>
                <a:gd name="T43" fmla="*/ 434 h 536"/>
                <a:gd name="T44" fmla="*/ 331 w 454"/>
                <a:gd name="T45" fmla="*/ 491 h 536"/>
                <a:gd name="T46" fmla="*/ 313 w 454"/>
                <a:gd name="T47" fmla="*/ 522 h 536"/>
                <a:gd name="T48" fmla="*/ 342 w 454"/>
                <a:gd name="T49" fmla="*/ 530 h 536"/>
                <a:gd name="T50" fmla="*/ 362 w 454"/>
                <a:gd name="T51" fmla="*/ 534 h 536"/>
                <a:gd name="T52" fmla="*/ 367 w 454"/>
                <a:gd name="T53" fmla="*/ 505 h 536"/>
                <a:gd name="T54" fmla="*/ 409 w 454"/>
                <a:gd name="T55" fmla="*/ 507 h 536"/>
                <a:gd name="T56" fmla="*/ 429 w 454"/>
                <a:gd name="T57" fmla="*/ 506 h 536"/>
                <a:gd name="T58" fmla="*/ 446 w 454"/>
                <a:gd name="T59" fmla="*/ 479 h 536"/>
                <a:gd name="T60" fmla="*/ 451 w 454"/>
                <a:gd name="T61" fmla="*/ 451 h 536"/>
                <a:gd name="T62" fmla="*/ 427 w 454"/>
                <a:gd name="T63" fmla="*/ 424 h 536"/>
                <a:gd name="T64" fmla="*/ 436 w 454"/>
                <a:gd name="T65" fmla="*/ 399 h 536"/>
                <a:gd name="T66" fmla="*/ 415 w 454"/>
                <a:gd name="T67" fmla="*/ 386 h 536"/>
                <a:gd name="T68" fmla="*/ 395 w 454"/>
                <a:gd name="T69" fmla="*/ 375 h 536"/>
                <a:gd name="T70" fmla="*/ 374 w 454"/>
                <a:gd name="T71" fmla="*/ 334 h 536"/>
                <a:gd name="T72" fmla="*/ 336 w 454"/>
                <a:gd name="T73" fmla="*/ 295 h 536"/>
                <a:gd name="T74" fmla="*/ 317 w 454"/>
                <a:gd name="T75" fmla="*/ 276 h 536"/>
                <a:gd name="T76" fmla="*/ 300 w 454"/>
                <a:gd name="T77" fmla="*/ 248 h 536"/>
                <a:gd name="T78" fmla="*/ 260 w 454"/>
                <a:gd name="T79" fmla="*/ 224 h 536"/>
                <a:gd name="T80" fmla="*/ 232 w 454"/>
                <a:gd name="T81" fmla="*/ 194 h 536"/>
                <a:gd name="T82" fmla="*/ 240 w 454"/>
                <a:gd name="T83" fmla="*/ 177 h 536"/>
                <a:gd name="T84" fmla="*/ 283 w 454"/>
                <a:gd name="T85" fmla="*/ 165 h 536"/>
                <a:gd name="T86" fmla="*/ 289 w 454"/>
                <a:gd name="T87" fmla="*/ 152 h 536"/>
                <a:gd name="T88" fmla="*/ 277 w 454"/>
                <a:gd name="T89" fmla="*/ 138 h 536"/>
                <a:gd name="T90" fmla="*/ 265 w 454"/>
                <a:gd name="T91" fmla="*/ 121 h 536"/>
                <a:gd name="T92" fmla="*/ 245 w 454"/>
                <a:gd name="T93" fmla="*/ 101 h 536"/>
                <a:gd name="T94" fmla="*/ 214 w 454"/>
                <a:gd name="T95" fmla="*/ 114 h 536"/>
                <a:gd name="T96" fmla="*/ 169 w 454"/>
                <a:gd name="T97" fmla="*/ 86 h 536"/>
                <a:gd name="T98" fmla="*/ 164 w 454"/>
                <a:gd name="T99" fmla="*/ 53 h 536"/>
                <a:gd name="T100" fmla="*/ 147 w 454"/>
                <a:gd name="T101" fmla="*/ 45 h 536"/>
                <a:gd name="T102" fmla="*/ 132 w 454"/>
                <a:gd name="T103" fmla="*/ 19 h 536"/>
                <a:gd name="T104" fmla="*/ 132 w 454"/>
                <a:gd name="T105" fmla="*/ 19 h 536"/>
                <a:gd name="T106" fmla="*/ 108 w 454"/>
                <a:gd name="T107" fmla="*/ 1 h 536"/>
                <a:gd name="T108" fmla="*/ 87 w 454"/>
                <a:gd name="T109" fmla="*/ 14 h 536"/>
                <a:gd name="T110" fmla="*/ 98 w 454"/>
                <a:gd name="T111" fmla="*/ 30 h 536"/>
                <a:gd name="T112" fmla="*/ 101 w 454"/>
                <a:gd name="T113" fmla="*/ 67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54" h="536">
                  <a:moveTo>
                    <a:pt x="99" y="84"/>
                  </a:moveTo>
                  <a:cubicBezTo>
                    <a:pt x="96" y="86"/>
                    <a:pt x="93" y="86"/>
                    <a:pt x="87" y="86"/>
                  </a:cubicBezTo>
                  <a:cubicBezTo>
                    <a:pt x="82" y="86"/>
                    <a:pt x="77" y="85"/>
                    <a:pt x="74" y="83"/>
                  </a:cubicBezTo>
                  <a:cubicBezTo>
                    <a:pt x="69" y="81"/>
                    <a:pt x="66" y="78"/>
                    <a:pt x="63" y="75"/>
                  </a:cubicBezTo>
                  <a:cubicBezTo>
                    <a:pt x="61" y="71"/>
                    <a:pt x="60" y="67"/>
                    <a:pt x="58" y="63"/>
                  </a:cubicBezTo>
                  <a:cubicBezTo>
                    <a:pt x="58" y="61"/>
                    <a:pt x="58" y="61"/>
                    <a:pt x="58" y="61"/>
                  </a:cubicBezTo>
                  <a:cubicBezTo>
                    <a:pt x="53" y="63"/>
                    <a:pt x="45" y="66"/>
                    <a:pt x="37" y="71"/>
                  </a:cubicBezTo>
                  <a:cubicBezTo>
                    <a:pt x="30" y="76"/>
                    <a:pt x="30" y="78"/>
                    <a:pt x="30" y="81"/>
                  </a:cubicBezTo>
                  <a:cubicBezTo>
                    <a:pt x="30" y="82"/>
                    <a:pt x="30" y="84"/>
                    <a:pt x="29" y="86"/>
                  </a:cubicBezTo>
                  <a:cubicBezTo>
                    <a:pt x="29" y="87"/>
                    <a:pt x="29" y="89"/>
                    <a:pt x="29" y="91"/>
                  </a:cubicBezTo>
                  <a:cubicBezTo>
                    <a:pt x="28" y="97"/>
                    <a:pt x="27" y="103"/>
                    <a:pt x="18" y="107"/>
                  </a:cubicBezTo>
                  <a:cubicBezTo>
                    <a:pt x="10" y="110"/>
                    <a:pt x="8" y="112"/>
                    <a:pt x="4" y="117"/>
                  </a:cubicBezTo>
                  <a:cubicBezTo>
                    <a:pt x="4" y="117"/>
                    <a:pt x="4" y="117"/>
                    <a:pt x="4" y="117"/>
                  </a:cubicBezTo>
                  <a:cubicBezTo>
                    <a:pt x="3" y="119"/>
                    <a:pt x="2" y="121"/>
                    <a:pt x="1" y="124"/>
                  </a:cubicBezTo>
                  <a:cubicBezTo>
                    <a:pt x="1" y="124"/>
                    <a:pt x="0" y="125"/>
                    <a:pt x="0" y="126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3" y="127"/>
                    <a:pt x="6" y="128"/>
                    <a:pt x="8" y="129"/>
                  </a:cubicBezTo>
                  <a:cubicBezTo>
                    <a:pt x="8" y="129"/>
                    <a:pt x="8" y="129"/>
                    <a:pt x="8" y="129"/>
                  </a:cubicBezTo>
                  <a:cubicBezTo>
                    <a:pt x="10" y="130"/>
                    <a:pt x="10" y="130"/>
                    <a:pt x="10" y="130"/>
                  </a:cubicBezTo>
                  <a:cubicBezTo>
                    <a:pt x="15" y="133"/>
                    <a:pt x="19" y="135"/>
                    <a:pt x="22" y="143"/>
                  </a:cubicBezTo>
                  <a:cubicBezTo>
                    <a:pt x="25" y="149"/>
                    <a:pt x="23" y="155"/>
                    <a:pt x="21" y="161"/>
                  </a:cubicBezTo>
                  <a:cubicBezTo>
                    <a:pt x="20" y="163"/>
                    <a:pt x="20" y="166"/>
                    <a:pt x="19" y="168"/>
                  </a:cubicBezTo>
                  <a:cubicBezTo>
                    <a:pt x="19" y="171"/>
                    <a:pt x="19" y="173"/>
                    <a:pt x="19" y="174"/>
                  </a:cubicBezTo>
                  <a:cubicBezTo>
                    <a:pt x="20" y="176"/>
                    <a:pt x="21" y="178"/>
                    <a:pt x="24" y="180"/>
                  </a:cubicBezTo>
                  <a:cubicBezTo>
                    <a:pt x="26" y="182"/>
                    <a:pt x="29" y="183"/>
                    <a:pt x="33" y="184"/>
                  </a:cubicBezTo>
                  <a:cubicBezTo>
                    <a:pt x="37" y="185"/>
                    <a:pt x="42" y="184"/>
                    <a:pt x="46" y="183"/>
                  </a:cubicBezTo>
                  <a:cubicBezTo>
                    <a:pt x="51" y="182"/>
                    <a:pt x="56" y="183"/>
                    <a:pt x="60" y="185"/>
                  </a:cubicBezTo>
                  <a:cubicBezTo>
                    <a:pt x="65" y="187"/>
                    <a:pt x="68" y="192"/>
                    <a:pt x="70" y="196"/>
                  </a:cubicBezTo>
                  <a:cubicBezTo>
                    <a:pt x="70" y="196"/>
                    <a:pt x="70" y="196"/>
                    <a:pt x="70" y="196"/>
                  </a:cubicBezTo>
                  <a:cubicBezTo>
                    <a:pt x="71" y="199"/>
                    <a:pt x="72" y="209"/>
                    <a:pt x="72" y="218"/>
                  </a:cubicBezTo>
                  <a:cubicBezTo>
                    <a:pt x="72" y="225"/>
                    <a:pt x="72" y="231"/>
                    <a:pt x="70" y="235"/>
                  </a:cubicBezTo>
                  <a:cubicBezTo>
                    <a:pt x="69" y="238"/>
                    <a:pt x="68" y="240"/>
                    <a:pt x="67" y="242"/>
                  </a:cubicBezTo>
                  <a:cubicBezTo>
                    <a:pt x="64" y="247"/>
                    <a:pt x="61" y="251"/>
                    <a:pt x="62" y="257"/>
                  </a:cubicBezTo>
                  <a:cubicBezTo>
                    <a:pt x="62" y="260"/>
                    <a:pt x="63" y="263"/>
                    <a:pt x="64" y="265"/>
                  </a:cubicBezTo>
                  <a:cubicBezTo>
                    <a:pt x="66" y="271"/>
                    <a:pt x="67" y="275"/>
                    <a:pt x="63" y="279"/>
                  </a:cubicBezTo>
                  <a:cubicBezTo>
                    <a:pt x="61" y="281"/>
                    <a:pt x="58" y="285"/>
                    <a:pt x="56" y="290"/>
                  </a:cubicBezTo>
                  <a:cubicBezTo>
                    <a:pt x="54" y="294"/>
                    <a:pt x="53" y="299"/>
                    <a:pt x="52" y="302"/>
                  </a:cubicBezTo>
                  <a:cubicBezTo>
                    <a:pt x="52" y="305"/>
                    <a:pt x="51" y="307"/>
                    <a:pt x="52" y="309"/>
                  </a:cubicBezTo>
                  <a:cubicBezTo>
                    <a:pt x="52" y="310"/>
                    <a:pt x="53" y="310"/>
                    <a:pt x="55" y="311"/>
                  </a:cubicBezTo>
                  <a:cubicBezTo>
                    <a:pt x="57" y="311"/>
                    <a:pt x="60" y="311"/>
                    <a:pt x="63" y="310"/>
                  </a:cubicBezTo>
                  <a:cubicBezTo>
                    <a:pt x="66" y="308"/>
                    <a:pt x="70" y="305"/>
                    <a:pt x="75" y="300"/>
                  </a:cubicBezTo>
                  <a:cubicBezTo>
                    <a:pt x="82" y="294"/>
                    <a:pt x="89" y="286"/>
                    <a:pt x="96" y="280"/>
                  </a:cubicBezTo>
                  <a:cubicBezTo>
                    <a:pt x="101" y="276"/>
                    <a:pt x="106" y="272"/>
                    <a:pt x="109" y="271"/>
                  </a:cubicBezTo>
                  <a:cubicBezTo>
                    <a:pt x="114" y="269"/>
                    <a:pt x="121" y="273"/>
                    <a:pt x="128" y="277"/>
                  </a:cubicBezTo>
                  <a:cubicBezTo>
                    <a:pt x="133" y="280"/>
                    <a:pt x="139" y="284"/>
                    <a:pt x="144" y="285"/>
                  </a:cubicBezTo>
                  <a:cubicBezTo>
                    <a:pt x="153" y="288"/>
                    <a:pt x="155" y="287"/>
                    <a:pt x="158" y="285"/>
                  </a:cubicBezTo>
                  <a:cubicBezTo>
                    <a:pt x="158" y="284"/>
                    <a:pt x="159" y="283"/>
                    <a:pt x="161" y="282"/>
                  </a:cubicBezTo>
                  <a:cubicBezTo>
                    <a:pt x="161" y="282"/>
                    <a:pt x="161" y="282"/>
                    <a:pt x="161" y="282"/>
                  </a:cubicBezTo>
                  <a:cubicBezTo>
                    <a:pt x="163" y="281"/>
                    <a:pt x="169" y="276"/>
                    <a:pt x="174" y="271"/>
                  </a:cubicBezTo>
                  <a:cubicBezTo>
                    <a:pt x="180" y="266"/>
                    <a:pt x="185" y="261"/>
                    <a:pt x="189" y="258"/>
                  </a:cubicBezTo>
                  <a:cubicBezTo>
                    <a:pt x="193" y="255"/>
                    <a:pt x="201" y="253"/>
                    <a:pt x="209" y="254"/>
                  </a:cubicBezTo>
                  <a:cubicBezTo>
                    <a:pt x="217" y="254"/>
                    <a:pt x="225" y="256"/>
                    <a:pt x="232" y="260"/>
                  </a:cubicBezTo>
                  <a:cubicBezTo>
                    <a:pt x="242" y="265"/>
                    <a:pt x="248" y="274"/>
                    <a:pt x="253" y="283"/>
                  </a:cubicBezTo>
                  <a:cubicBezTo>
                    <a:pt x="256" y="287"/>
                    <a:pt x="258" y="290"/>
                    <a:pt x="260" y="293"/>
                  </a:cubicBezTo>
                  <a:cubicBezTo>
                    <a:pt x="264" y="297"/>
                    <a:pt x="269" y="302"/>
                    <a:pt x="274" y="307"/>
                  </a:cubicBezTo>
                  <a:cubicBezTo>
                    <a:pt x="278" y="311"/>
                    <a:pt x="282" y="315"/>
                    <a:pt x="284" y="317"/>
                  </a:cubicBezTo>
                  <a:cubicBezTo>
                    <a:pt x="288" y="322"/>
                    <a:pt x="287" y="324"/>
                    <a:pt x="287" y="330"/>
                  </a:cubicBezTo>
                  <a:cubicBezTo>
                    <a:pt x="287" y="332"/>
                    <a:pt x="286" y="334"/>
                    <a:pt x="286" y="338"/>
                  </a:cubicBezTo>
                  <a:cubicBezTo>
                    <a:pt x="286" y="342"/>
                    <a:pt x="286" y="346"/>
                    <a:pt x="286" y="349"/>
                  </a:cubicBezTo>
                  <a:cubicBezTo>
                    <a:pt x="285" y="355"/>
                    <a:pt x="285" y="360"/>
                    <a:pt x="286" y="366"/>
                  </a:cubicBezTo>
                  <a:cubicBezTo>
                    <a:pt x="286" y="370"/>
                    <a:pt x="287" y="373"/>
                    <a:pt x="288" y="375"/>
                  </a:cubicBezTo>
                  <a:cubicBezTo>
                    <a:pt x="290" y="378"/>
                    <a:pt x="293" y="381"/>
                    <a:pt x="297" y="384"/>
                  </a:cubicBezTo>
                  <a:cubicBezTo>
                    <a:pt x="299" y="387"/>
                    <a:pt x="303" y="389"/>
                    <a:pt x="306" y="392"/>
                  </a:cubicBezTo>
                  <a:cubicBezTo>
                    <a:pt x="314" y="398"/>
                    <a:pt x="321" y="404"/>
                    <a:pt x="324" y="409"/>
                  </a:cubicBezTo>
                  <a:cubicBezTo>
                    <a:pt x="325" y="410"/>
                    <a:pt x="325" y="411"/>
                    <a:pt x="326" y="412"/>
                  </a:cubicBezTo>
                  <a:cubicBezTo>
                    <a:pt x="329" y="418"/>
                    <a:pt x="332" y="422"/>
                    <a:pt x="334" y="434"/>
                  </a:cubicBezTo>
                  <a:cubicBezTo>
                    <a:pt x="335" y="442"/>
                    <a:pt x="334" y="448"/>
                    <a:pt x="332" y="454"/>
                  </a:cubicBezTo>
                  <a:cubicBezTo>
                    <a:pt x="331" y="459"/>
                    <a:pt x="330" y="463"/>
                    <a:pt x="330" y="468"/>
                  </a:cubicBezTo>
                  <a:cubicBezTo>
                    <a:pt x="331" y="477"/>
                    <a:pt x="331" y="484"/>
                    <a:pt x="331" y="491"/>
                  </a:cubicBezTo>
                  <a:cubicBezTo>
                    <a:pt x="331" y="491"/>
                    <a:pt x="331" y="491"/>
                    <a:pt x="331" y="491"/>
                  </a:cubicBezTo>
                  <a:cubicBezTo>
                    <a:pt x="331" y="492"/>
                    <a:pt x="331" y="493"/>
                    <a:pt x="331" y="496"/>
                  </a:cubicBezTo>
                  <a:cubicBezTo>
                    <a:pt x="331" y="502"/>
                    <a:pt x="319" y="515"/>
                    <a:pt x="313" y="522"/>
                  </a:cubicBezTo>
                  <a:cubicBezTo>
                    <a:pt x="317" y="523"/>
                    <a:pt x="320" y="524"/>
                    <a:pt x="323" y="525"/>
                  </a:cubicBezTo>
                  <a:cubicBezTo>
                    <a:pt x="327" y="526"/>
                    <a:pt x="331" y="527"/>
                    <a:pt x="335" y="527"/>
                  </a:cubicBezTo>
                  <a:cubicBezTo>
                    <a:pt x="339" y="528"/>
                    <a:pt x="340" y="529"/>
                    <a:pt x="342" y="530"/>
                  </a:cubicBezTo>
                  <a:cubicBezTo>
                    <a:pt x="344" y="531"/>
                    <a:pt x="346" y="532"/>
                    <a:pt x="352" y="534"/>
                  </a:cubicBezTo>
                  <a:cubicBezTo>
                    <a:pt x="358" y="535"/>
                    <a:pt x="361" y="536"/>
                    <a:pt x="362" y="536"/>
                  </a:cubicBezTo>
                  <a:cubicBezTo>
                    <a:pt x="363" y="536"/>
                    <a:pt x="362" y="535"/>
                    <a:pt x="362" y="534"/>
                  </a:cubicBezTo>
                  <a:cubicBezTo>
                    <a:pt x="362" y="532"/>
                    <a:pt x="361" y="531"/>
                    <a:pt x="360" y="529"/>
                  </a:cubicBezTo>
                  <a:cubicBezTo>
                    <a:pt x="358" y="526"/>
                    <a:pt x="357" y="523"/>
                    <a:pt x="358" y="517"/>
                  </a:cubicBezTo>
                  <a:cubicBezTo>
                    <a:pt x="359" y="512"/>
                    <a:pt x="363" y="508"/>
                    <a:pt x="367" y="505"/>
                  </a:cubicBezTo>
                  <a:cubicBezTo>
                    <a:pt x="373" y="501"/>
                    <a:pt x="379" y="498"/>
                    <a:pt x="384" y="498"/>
                  </a:cubicBezTo>
                  <a:cubicBezTo>
                    <a:pt x="391" y="497"/>
                    <a:pt x="396" y="500"/>
                    <a:pt x="403" y="504"/>
                  </a:cubicBezTo>
                  <a:cubicBezTo>
                    <a:pt x="405" y="505"/>
                    <a:pt x="407" y="506"/>
                    <a:pt x="409" y="507"/>
                  </a:cubicBezTo>
                  <a:cubicBezTo>
                    <a:pt x="412" y="509"/>
                    <a:pt x="416" y="509"/>
                    <a:pt x="419" y="509"/>
                  </a:cubicBezTo>
                  <a:cubicBezTo>
                    <a:pt x="423" y="509"/>
                    <a:pt x="426" y="508"/>
                    <a:pt x="429" y="506"/>
                  </a:cubicBezTo>
                  <a:cubicBezTo>
                    <a:pt x="429" y="506"/>
                    <a:pt x="429" y="506"/>
                    <a:pt x="429" y="506"/>
                  </a:cubicBezTo>
                  <a:cubicBezTo>
                    <a:pt x="434" y="502"/>
                    <a:pt x="438" y="500"/>
                    <a:pt x="442" y="495"/>
                  </a:cubicBezTo>
                  <a:cubicBezTo>
                    <a:pt x="444" y="490"/>
                    <a:pt x="445" y="490"/>
                    <a:pt x="446" y="483"/>
                  </a:cubicBezTo>
                  <a:cubicBezTo>
                    <a:pt x="446" y="479"/>
                    <a:pt x="446" y="479"/>
                    <a:pt x="446" y="479"/>
                  </a:cubicBezTo>
                  <a:cubicBezTo>
                    <a:pt x="448" y="472"/>
                    <a:pt x="450" y="469"/>
                    <a:pt x="452" y="466"/>
                  </a:cubicBezTo>
                  <a:cubicBezTo>
                    <a:pt x="453" y="464"/>
                    <a:pt x="454" y="462"/>
                    <a:pt x="454" y="460"/>
                  </a:cubicBezTo>
                  <a:cubicBezTo>
                    <a:pt x="454" y="457"/>
                    <a:pt x="452" y="454"/>
                    <a:pt x="451" y="451"/>
                  </a:cubicBezTo>
                  <a:cubicBezTo>
                    <a:pt x="449" y="448"/>
                    <a:pt x="447" y="446"/>
                    <a:pt x="445" y="445"/>
                  </a:cubicBezTo>
                  <a:cubicBezTo>
                    <a:pt x="442" y="443"/>
                    <a:pt x="436" y="439"/>
                    <a:pt x="432" y="435"/>
                  </a:cubicBezTo>
                  <a:cubicBezTo>
                    <a:pt x="428" y="431"/>
                    <a:pt x="426" y="427"/>
                    <a:pt x="427" y="424"/>
                  </a:cubicBezTo>
                  <a:cubicBezTo>
                    <a:pt x="427" y="419"/>
                    <a:pt x="431" y="418"/>
                    <a:pt x="435" y="415"/>
                  </a:cubicBezTo>
                  <a:cubicBezTo>
                    <a:pt x="439" y="414"/>
                    <a:pt x="443" y="411"/>
                    <a:pt x="442" y="408"/>
                  </a:cubicBezTo>
                  <a:cubicBezTo>
                    <a:pt x="440" y="401"/>
                    <a:pt x="440" y="401"/>
                    <a:pt x="436" y="399"/>
                  </a:cubicBezTo>
                  <a:cubicBezTo>
                    <a:pt x="436" y="399"/>
                    <a:pt x="436" y="399"/>
                    <a:pt x="436" y="399"/>
                  </a:cubicBezTo>
                  <a:cubicBezTo>
                    <a:pt x="434" y="398"/>
                    <a:pt x="433" y="398"/>
                    <a:pt x="431" y="397"/>
                  </a:cubicBezTo>
                  <a:cubicBezTo>
                    <a:pt x="423" y="393"/>
                    <a:pt x="419" y="389"/>
                    <a:pt x="415" y="386"/>
                  </a:cubicBezTo>
                  <a:cubicBezTo>
                    <a:pt x="414" y="385"/>
                    <a:pt x="413" y="384"/>
                    <a:pt x="412" y="383"/>
                  </a:cubicBezTo>
                  <a:cubicBezTo>
                    <a:pt x="412" y="383"/>
                    <a:pt x="410" y="383"/>
                    <a:pt x="409" y="383"/>
                  </a:cubicBezTo>
                  <a:cubicBezTo>
                    <a:pt x="403" y="384"/>
                    <a:pt x="397" y="384"/>
                    <a:pt x="395" y="375"/>
                  </a:cubicBezTo>
                  <a:cubicBezTo>
                    <a:pt x="394" y="372"/>
                    <a:pt x="394" y="369"/>
                    <a:pt x="394" y="366"/>
                  </a:cubicBezTo>
                  <a:cubicBezTo>
                    <a:pt x="394" y="360"/>
                    <a:pt x="394" y="354"/>
                    <a:pt x="389" y="348"/>
                  </a:cubicBezTo>
                  <a:cubicBezTo>
                    <a:pt x="384" y="341"/>
                    <a:pt x="380" y="338"/>
                    <a:pt x="374" y="334"/>
                  </a:cubicBezTo>
                  <a:cubicBezTo>
                    <a:pt x="371" y="332"/>
                    <a:pt x="367" y="329"/>
                    <a:pt x="362" y="325"/>
                  </a:cubicBezTo>
                  <a:cubicBezTo>
                    <a:pt x="350" y="315"/>
                    <a:pt x="343" y="305"/>
                    <a:pt x="337" y="297"/>
                  </a:cubicBezTo>
                  <a:cubicBezTo>
                    <a:pt x="336" y="295"/>
                    <a:pt x="336" y="295"/>
                    <a:pt x="336" y="295"/>
                  </a:cubicBezTo>
                  <a:cubicBezTo>
                    <a:pt x="336" y="295"/>
                    <a:pt x="336" y="295"/>
                    <a:pt x="336" y="295"/>
                  </a:cubicBezTo>
                  <a:cubicBezTo>
                    <a:pt x="331" y="288"/>
                    <a:pt x="327" y="285"/>
                    <a:pt x="321" y="280"/>
                  </a:cubicBezTo>
                  <a:cubicBezTo>
                    <a:pt x="320" y="279"/>
                    <a:pt x="319" y="278"/>
                    <a:pt x="317" y="276"/>
                  </a:cubicBezTo>
                  <a:cubicBezTo>
                    <a:pt x="314" y="274"/>
                    <a:pt x="313" y="273"/>
                    <a:pt x="311" y="272"/>
                  </a:cubicBezTo>
                  <a:cubicBezTo>
                    <a:pt x="306" y="270"/>
                    <a:pt x="303" y="268"/>
                    <a:pt x="303" y="258"/>
                  </a:cubicBezTo>
                  <a:cubicBezTo>
                    <a:pt x="303" y="254"/>
                    <a:pt x="302" y="250"/>
                    <a:pt x="300" y="248"/>
                  </a:cubicBezTo>
                  <a:cubicBezTo>
                    <a:pt x="299" y="246"/>
                    <a:pt x="297" y="244"/>
                    <a:pt x="295" y="242"/>
                  </a:cubicBezTo>
                  <a:cubicBezTo>
                    <a:pt x="293" y="240"/>
                    <a:pt x="288" y="238"/>
                    <a:pt x="283" y="235"/>
                  </a:cubicBezTo>
                  <a:cubicBezTo>
                    <a:pt x="275" y="231"/>
                    <a:pt x="265" y="226"/>
                    <a:pt x="260" y="224"/>
                  </a:cubicBezTo>
                  <a:cubicBezTo>
                    <a:pt x="259" y="224"/>
                    <a:pt x="257" y="223"/>
                    <a:pt x="256" y="223"/>
                  </a:cubicBezTo>
                  <a:cubicBezTo>
                    <a:pt x="248" y="220"/>
                    <a:pt x="239" y="216"/>
                    <a:pt x="234" y="210"/>
                  </a:cubicBezTo>
                  <a:cubicBezTo>
                    <a:pt x="229" y="202"/>
                    <a:pt x="230" y="200"/>
                    <a:pt x="232" y="194"/>
                  </a:cubicBezTo>
                  <a:cubicBezTo>
                    <a:pt x="232" y="193"/>
                    <a:pt x="232" y="193"/>
                    <a:pt x="233" y="192"/>
                  </a:cubicBezTo>
                  <a:cubicBezTo>
                    <a:pt x="233" y="190"/>
                    <a:pt x="234" y="188"/>
                    <a:pt x="234" y="187"/>
                  </a:cubicBezTo>
                  <a:cubicBezTo>
                    <a:pt x="235" y="182"/>
                    <a:pt x="235" y="179"/>
                    <a:pt x="240" y="177"/>
                  </a:cubicBezTo>
                  <a:cubicBezTo>
                    <a:pt x="243" y="175"/>
                    <a:pt x="248" y="176"/>
                    <a:pt x="253" y="177"/>
                  </a:cubicBezTo>
                  <a:cubicBezTo>
                    <a:pt x="258" y="177"/>
                    <a:pt x="263" y="178"/>
                    <a:pt x="267" y="177"/>
                  </a:cubicBezTo>
                  <a:cubicBezTo>
                    <a:pt x="272" y="176"/>
                    <a:pt x="278" y="170"/>
                    <a:pt x="283" y="165"/>
                  </a:cubicBezTo>
                  <a:cubicBezTo>
                    <a:pt x="285" y="163"/>
                    <a:pt x="287" y="161"/>
                    <a:pt x="289" y="159"/>
                  </a:cubicBezTo>
                  <a:cubicBezTo>
                    <a:pt x="289" y="159"/>
                    <a:pt x="289" y="159"/>
                    <a:pt x="289" y="159"/>
                  </a:cubicBezTo>
                  <a:cubicBezTo>
                    <a:pt x="290" y="158"/>
                    <a:pt x="290" y="155"/>
                    <a:pt x="289" y="152"/>
                  </a:cubicBezTo>
                  <a:cubicBezTo>
                    <a:pt x="288" y="148"/>
                    <a:pt x="286" y="145"/>
                    <a:pt x="284" y="142"/>
                  </a:cubicBezTo>
                  <a:cubicBezTo>
                    <a:pt x="283" y="142"/>
                    <a:pt x="282" y="141"/>
                    <a:pt x="282" y="140"/>
                  </a:cubicBezTo>
                  <a:cubicBezTo>
                    <a:pt x="281" y="139"/>
                    <a:pt x="279" y="139"/>
                    <a:pt x="277" y="138"/>
                  </a:cubicBezTo>
                  <a:cubicBezTo>
                    <a:pt x="277" y="138"/>
                    <a:pt x="277" y="138"/>
                    <a:pt x="277" y="138"/>
                  </a:cubicBezTo>
                  <a:cubicBezTo>
                    <a:pt x="273" y="137"/>
                    <a:pt x="269" y="136"/>
                    <a:pt x="267" y="130"/>
                  </a:cubicBezTo>
                  <a:cubicBezTo>
                    <a:pt x="265" y="126"/>
                    <a:pt x="265" y="124"/>
                    <a:pt x="265" y="121"/>
                  </a:cubicBezTo>
                  <a:cubicBezTo>
                    <a:pt x="265" y="120"/>
                    <a:pt x="266" y="119"/>
                    <a:pt x="265" y="116"/>
                  </a:cubicBezTo>
                  <a:cubicBezTo>
                    <a:pt x="264" y="114"/>
                    <a:pt x="261" y="111"/>
                    <a:pt x="257" y="107"/>
                  </a:cubicBezTo>
                  <a:cubicBezTo>
                    <a:pt x="253" y="104"/>
                    <a:pt x="248" y="102"/>
                    <a:pt x="245" y="101"/>
                  </a:cubicBezTo>
                  <a:cubicBezTo>
                    <a:pt x="242" y="101"/>
                    <a:pt x="239" y="103"/>
                    <a:pt x="236" y="106"/>
                  </a:cubicBezTo>
                  <a:cubicBezTo>
                    <a:pt x="235" y="108"/>
                    <a:pt x="233" y="110"/>
                    <a:pt x="231" y="111"/>
                  </a:cubicBezTo>
                  <a:cubicBezTo>
                    <a:pt x="227" y="114"/>
                    <a:pt x="221" y="114"/>
                    <a:pt x="214" y="114"/>
                  </a:cubicBezTo>
                  <a:cubicBezTo>
                    <a:pt x="206" y="113"/>
                    <a:pt x="198" y="111"/>
                    <a:pt x="194" y="108"/>
                  </a:cubicBezTo>
                  <a:cubicBezTo>
                    <a:pt x="190" y="106"/>
                    <a:pt x="186" y="103"/>
                    <a:pt x="182" y="99"/>
                  </a:cubicBezTo>
                  <a:cubicBezTo>
                    <a:pt x="177" y="95"/>
                    <a:pt x="172" y="90"/>
                    <a:pt x="169" y="86"/>
                  </a:cubicBezTo>
                  <a:cubicBezTo>
                    <a:pt x="166" y="83"/>
                    <a:pt x="165" y="79"/>
                    <a:pt x="164" y="75"/>
                  </a:cubicBezTo>
                  <a:cubicBezTo>
                    <a:pt x="163" y="72"/>
                    <a:pt x="163" y="67"/>
                    <a:pt x="164" y="62"/>
                  </a:cubicBezTo>
                  <a:cubicBezTo>
                    <a:pt x="165" y="58"/>
                    <a:pt x="165" y="55"/>
                    <a:pt x="164" y="53"/>
                  </a:cubicBezTo>
                  <a:cubicBezTo>
                    <a:pt x="164" y="52"/>
                    <a:pt x="164" y="51"/>
                    <a:pt x="164" y="51"/>
                  </a:cubicBezTo>
                  <a:cubicBezTo>
                    <a:pt x="163" y="51"/>
                    <a:pt x="163" y="52"/>
                    <a:pt x="162" y="52"/>
                  </a:cubicBezTo>
                  <a:cubicBezTo>
                    <a:pt x="158" y="52"/>
                    <a:pt x="153" y="53"/>
                    <a:pt x="147" y="45"/>
                  </a:cubicBezTo>
                  <a:cubicBezTo>
                    <a:pt x="143" y="39"/>
                    <a:pt x="142" y="35"/>
                    <a:pt x="141" y="33"/>
                  </a:cubicBezTo>
                  <a:cubicBezTo>
                    <a:pt x="141" y="32"/>
                    <a:pt x="141" y="31"/>
                    <a:pt x="140" y="30"/>
                  </a:cubicBezTo>
                  <a:cubicBezTo>
                    <a:pt x="138" y="26"/>
                    <a:pt x="135" y="23"/>
                    <a:pt x="132" y="19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29" y="16"/>
                    <a:pt x="121" y="6"/>
                    <a:pt x="118" y="2"/>
                  </a:cubicBezTo>
                  <a:cubicBezTo>
                    <a:pt x="116" y="2"/>
                    <a:pt x="115" y="2"/>
                    <a:pt x="114" y="2"/>
                  </a:cubicBezTo>
                  <a:cubicBezTo>
                    <a:pt x="112" y="2"/>
                    <a:pt x="110" y="1"/>
                    <a:pt x="108" y="1"/>
                  </a:cubicBezTo>
                  <a:cubicBezTo>
                    <a:pt x="104" y="0"/>
                    <a:pt x="101" y="0"/>
                    <a:pt x="98" y="1"/>
                  </a:cubicBezTo>
                  <a:cubicBezTo>
                    <a:pt x="96" y="1"/>
                    <a:pt x="93" y="4"/>
                    <a:pt x="90" y="7"/>
                  </a:cubicBezTo>
                  <a:cubicBezTo>
                    <a:pt x="88" y="9"/>
                    <a:pt x="87" y="12"/>
                    <a:pt x="87" y="14"/>
                  </a:cubicBezTo>
                  <a:cubicBezTo>
                    <a:pt x="87" y="17"/>
                    <a:pt x="90" y="21"/>
                    <a:pt x="93" y="25"/>
                  </a:cubicBezTo>
                  <a:cubicBezTo>
                    <a:pt x="93" y="25"/>
                    <a:pt x="93" y="25"/>
                    <a:pt x="93" y="25"/>
                  </a:cubicBezTo>
                  <a:cubicBezTo>
                    <a:pt x="95" y="27"/>
                    <a:pt x="96" y="28"/>
                    <a:pt x="98" y="30"/>
                  </a:cubicBezTo>
                  <a:cubicBezTo>
                    <a:pt x="101" y="35"/>
                    <a:pt x="100" y="38"/>
                    <a:pt x="100" y="43"/>
                  </a:cubicBezTo>
                  <a:cubicBezTo>
                    <a:pt x="99" y="45"/>
                    <a:pt x="99" y="48"/>
                    <a:pt x="99" y="52"/>
                  </a:cubicBezTo>
                  <a:cubicBezTo>
                    <a:pt x="99" y="59"/>
                    <a:pt x="100" y="63"/>
                    <a:pt x="101" y="67"/>
                  </a:cubicBezTo>
                  <a:cubicBezTo>
                    <a:pt x="101" y="69"/>
                    <a:pt x="102" y="71"/>
                    <a:pt x="102" y="74"/>
                  </a:cubicBezTo>
                  <a:cubicBezTo>
                    <a:pt x="103" y="79"/>
                    <a:pt x="102" y="82"/>
                    <a:pt x="99" y="8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3" name="Freeform 273"/>
            <p:cNvSpPr>
              <a:spLocks/>
            </p:cNvSpPr>
            <p:nvPr/>
          </p:nvSpPr>
          <p:spPr bwMode="auto">
            <a:xfrm>
              <a:off x="6205650" y="4461960"/>
              <a:ext cx="3572" cy="9525"/>
            </a:xfrm>
            <a:custGeom>
              <a:avLst/>
              <a:gdLst>
                <a:gd name="T0" fmla="*/ 2 w 15"/>
                <a:gd name="T1" fmla="*/ 8 h 35"/>
                <a:gd name="T2" fmla="*/ 4 w 15"/>
                <a:gd name="T3" fmla="*/ 21 h 35"/>
                <a:gd name="T4" fmla="*/ 15 w 15"/>
                <a:gd name="T5" fmla="*/ 24 h 35"/>
                <a:gd name="T6" fmla="*/ 2 w 15"/>
                <a:gd name="T7" fmla="*/ 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5">
                  <a:moveTo>
                    <a:pt x="2" y="8"/>
                  </a:moveTo>
                  <a:cubicBezTo>
                    <a:pt x="0" y="13"/>
                    <a:pt x="0" y="13"/>
                    <a:pt x="4" y="21"/>
                  </a:cubicBezTo>
                  <a:cubicBezTo>
                    <a:pt x="8" y="28"/>
                    <a:pt x="15" y="35"/>
                    <a:pt x="15" y="24"/>
                  </a:cubicBezTo>
                  <a:cubicBezTo>
                    <a:pt x="14" y="13"/>
                    <a:pt x="8" y="0"/>
                    <a:pt x="2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4" name="Freeform 274"/>
            <p:cNvSpPr>
              <a:spLocks/>
            </p:cNvSpPr>
            <p:nvPr/>
          </p:nvSpPr>
          <p:spPr bwMode="auto">
            <a:xfrm>
              <a:off x="6180647" y="4388141"/>
              <a:ext cx="92869" cy="73819"/>
            </a:xfrm>
            <a:custGeom>
              <a:avLst/>
              <a:gdLst>
                <a:gd name="T0" fmla="*/ 314 w 323"/>
                <a:gd name="T1" fmla="*/ 9 h 257"/>
                <a:gd name="T2" fmla="*/ 310 w 323"/>
                <a:gd name="T3" fmla="*/ 0 h 257"/>
                <a:gd name="T4" fmla="*/ 296 w 323"/>
                <a:gd name="T5" fmla="*/ 12 h 257"/>
                <a:gd name="T6" fmla="*/ 268 w 323"/>
                <a:gd name="T7" fmla="*/ 13 h 257"/>
                <a:gd name="T8" fmla="*/ 248 w 323"/>
                <a:gd name="T9" fmla="*/ 5 h 257"/>
                <a:gd name="T10" fmla="*/ 229 w 323"/>
                <a:gd name="T11" fmla="*/ 18 h 257"/>
                <a:gd name="T12" fmla="*/ 233 w 323"/>
                <a:gd name="T13" fmla="*/ 33 h 257"/>
                <a:gd name="T14" fmla="*/ 213 w 323"/>
                <a:gd name="T15" fmla="*/ 40 h 257"/>
                <a:gd name="T16" fmla="*/ 196 w 323"/>
                <a:gd name="T17" fmla="*/ 34 h 257"/>
                <a:gd name="T18" fmla="*/ 170 w 323"/>
                <a:gd name="T19" fmla="*/ 27 h 257"/>
                <a:gd name="T20" fmla="*/ 143 w 323"/>
                <a:gd name="T21" fmla="*/ 16 h 257"/>
                <a:gd name="T22" fmla="*/ 83 w 323"/>
                <a:gd name="T23" fmla="*/ 15 h 257"/>
                <a:gd name="T24" fmla="*/ 35 w 323"/>
                <a:gd name="T25" fmla="*/ 30 h 257"/>
                <a:gd name="T26" fmla="*/ 13 w 323"/>
                <a:gd name="T27" fmla="*/ 57 h 257"/>
                <a:gd name="T28" fmla="*/ 0 w 323"/>
                <a:gd name="T29" fmla="*/ 76 h 257"/>
                <a:gd name="T30" fmla="*/ 10 w 323"/>
                <a:gd name="T31" fmla="*/ 93 h 257"/>
                <a:gd name="T32" fmla="*/ 12 w 323"/>
                <a:gd name="T33" fmla="*/ 118 h 257"/>
                <a:gd name="T34" fmla="*/ 25 w 323"/>
                <a:gd name="T35" fmla="*/ 137 h 257"/>
                <a:gd name="T36" fmla="*/ 27 w 323"/>
                <a:gd name="T37" fmla="*/ 155 h 257"/>
                <a:gd name="T38" fmla="*/ 29 w 323"/>
                <a:gd name="T39" fmla="*/ 163 h 257"/>
                <a:gd name="T40" fmla="*/ 42 w 323"/>
                <a:gd name="T41" fmla="*/ 194 h 257"/>
                <a:gd name="T42" fmla="*/ 44 w 323"/>
                <a:gd name="T43" fmla="*/ 225 h 257"/>
                <a:gd name="T44" fmla="*/ 71 w 323"/>
                <a:gd name="T45" fmla="*/ 216 h 257"/>
                <a:gd name="T46" fmla="*/ 73 w 323"/>
                <a:gd name="T47" fmla="*/ 241 h 257"/>
                <a:gd name="T48" fmla="*/ 96 w 323"/>
                <a:gd name="T49" fmla="*/ 248 h 257"/>
                <a:gd name="T50" fmla="*/ 127 w 323"/>
                <a:gd name="T51" fmla="*/ 257 h 257"/>
                <a:gd name="T52" fmla="*/ 167 w 323"/>
                <a:gd name="T53" fmla="*/ 237 h 257"/>
                <a:gd name="T54" fmla="*/ 199 w 323"/>
                <a:gd name="T55" fmla="*/ 223 h 257"/>
                <a:gd name="T56" fmla="*/ 214 w 323"/>
                <a:gd name="T57" fmla="*/ 209 h 257"/>
                <a:gd name="T58" fmla="*/ 211 w 323"/>
                <a:gd name="T59" fmla="*/ 195 h 257"/>
                <a:gd name="T60" fmla="*/ 227 w 323"/>
                <a:gd name="T61" fmla="*/ 175 h 257"/>
                <a:gd name="T62" fmla="*/ 243 w 323"/>
                <a:gd name="T63" fmla="*/ 174 h 257"/>
                <a:gd name="T64" fmla="*/ 262 w 323"/>
                <a:gd name="T65" fmla="*/ 154 h 257"/>
                <a:gd name="T66" fmla="*/ 301 w 323"/>
                <a:gd name="T67" fmla="*/ 125 h 257"/>
                <a:gd name="T68" fmla="*/ 318 w 323"/>
                <a:gd name="T69" fmla="*/ 74 h 257"/>
                <a:gd name="T70" fmla="*/ 306 w 323"/>
                <a:gd name="T71" fmla="*/ 2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3" h="257">
                  <a:moveTo>
                    <a:pt x="311" y="16"/>
                  </a:moveTo>
                  <a:cubicBezTo>
                    <a:pt x="313" y="13"/>
                    <a:pt x="314" y="11"/>
                    <a:pt x="314" y="9"/>
                  </a:cubicBezTo>
                  <a:cubicBezTo>
                    <a:pt x="314" y="7"/>
                    <a:pt x="313" y="4"/>
                    <a:pt x="312" y="2"/>
                  </a:cubicBezTo>
                  <a:cubicBezTo>
                    <a:pt x="311" y="1"/>
                    <a:pt x="311" y="0"/>
                    <a:pt x="310" y="0"/>
                  </a:cubicBezTo>
                  <a:cubicBezTo>
                    <a:pt x="306" y="5"/>
                    <a:pt x="302" y="8"/>
                    <a:pt x="297" y="12"/>
                  </a:cubicBezTo>
                  <a:cubicBezTo>
                    <a:pt x="296" y="12"/>
                    <a:pt x="296" y="12"/>
                    <a:pt x="296" y="12"/>
                  </a:cubicBezTo>
                  <a:cubicBezTo>
                    <a:pt x="292" y="14"/>
                    <a:pt x="288" y="16"/>
                    <a:pt x="282" y="16"/>
                  </a:cubicBezTo>
                  <a:cubicBezTo>
                    <a:pt x="278" y="16"/>
                    <a:pt x="273" y="15"/>
                    <a:pt x="268" y="13"/>
                  </a:cubicBezTo>
                  <a:cubicBezTo>
                    <a:pt x="266" y="12"/>
                    <a:pt x="264" y="11"/>
                    <a:pt x="262" y="10"/>
                  </a:cubicBezTo>
                  <a:cubicBezTo>
                    <a:pt x="257" y="7"/>
                    <a:pt x="253" y="4"/>
                    <a:pt x="248" y="5"/>
                  </a:cubicBezTo>
                  <a:cubicBezTo>
                    <a:pt x="244" y="5"/>
                    <a:pt x="239" y="7"/>
                    <a:pt x="235" y="10"/>
                  </a:cubicBezTo>
                  <a:cubicBezTo>
                    <a:pt x="232" y="12"/>
                    <a:pt x="229" y="15"/>
                    <a:pt x="229" y="18"/>
                  </a:cubicBezTo>
                  <a:cubicBezTo>
                    <a:pt x="228" y="20"/>
                    <a:pt x="229" y="22"/>
                    <a:pt x="230" y="24"/>
                  </a:cubicBezTo>
                  <a:cubicBezTo>
                    <a:pt x="231" y="27"/>
                    <a:pt x="233" y="29"/>
                    <a:pt x="233" y="33"/>
                  </a:cubicBezTo>
                  <a:cubicBezTo>
                    <a:pt x="232" y="39"/>
                    <a:pt x="231" y="42"/>
                    <a:pt x="227" y="43"/>
                  </a:cubicBezTo>
                  <a:cubicBezTo>
                    <a:pt x="224" y="43"/>
                    <a:pt x="220" y="42"/>
                    <a:pt x="213" y="40"/>
                  </a:cubicBezTo>
                  <a:cubicBezTo>
                    <a:pt x="206" y="39"/>
                    <a:pt x="203" y="37"/>
                    <a:pt x="201" y="36"/>
                  </a:cubicBezTo>
                  <a:cubicBezTo>
                    <a:pt x="200" y="35"/>
                    <a:pt x="199" y="35"/>
                    <a:pt x="196" y="34"/>
                  </a:cubicBezTo>
                  <a:cubicBezTo>
                    <a:pt x="192" y="34"/>
                    <a:pt x="188" y="33"/>
                    <a:pt x="184" y="31"/>
                  </a:cubicBezTo>
                  <a:cubicBezTo>
                    <a:pt x="180" y="30"/>
                    <a:pt x="175" y="29"/>
                    <a:pt x="170" y="27"/>
                  </a:cubicBezTo>
                  <a:cubicBezTo>
                    <a:pt x="165" y="26"/>
                    <a:pt x="163" y="24"/>
                    <a:pt x="160" y="22"/>
                  </a:cubicBezTo>
                  <a:cubicBezTo>
                    <a:pt x="157" y="19"/>
                    <a:pt x="153" y="16"/>
                    <a:pt x="143" y="16"/>
                  </a:cubicBezTo>
                  <a:cubicBezTo>
                    <a:pt x="134" y="16"/>
                    <a:pt x="126" y="16"/>
                    <a:pt x="116" y="16"/>
                  </a:cubicBezTo>
                  <a:cubicBezTo>
                    <a:pt x="106" y="15"/>
                    <a:pt x="96" y="15"/>
                    <a:pt x="83" y="15"/>
                  </a:cubicBezTo>
                  <a:cubicBezTo>
                    <a:pt x="72" y="15"/>
                    <a:pt x="64" y="16"/>
                    <a:pt x="57" y="18"/>
                  </a:cubicBezTo>
                  <a:cubicBezTo>
                    <a:pt x="50" y="20"/>
                    <a:pt x="43" y="24"/>
                    <a:pt x="35" y="30"/>
                  </a:cubicBezTo>
                  <a:cubicBezTo>
                    <a:pt x="26" y="37"/>
                    <a:pt x="23" y="43"/>
                    <a:pt x="20" y="47"/>
                  </a:cubicBezTo>
                  <a:cubicBezTo>
                    <a:pt x="19" y="51"/>
                    <a:pt x="17" y="54"/>
                    <a:pt x="13" y="57"/>
                  </a:cubicBezTo>
                  <a:cubicBezTo>
                    <a:pt x="10" y="60"/>
                    <a:pt x="7" y="63"/>
                    <a:pt x="5" y="66"/>
                  </a:cubicBezTo>
                  <a:cubicBezTo>
                    <a:pt x="3" y="70"/>
                    <a:pt x="1" y="73"/>
                    <a:pt x="0" y="76"/>
                  </a:cubicBezTo>
                  <a:cubicBezTo>
                    <a:pt x="0" y="78"/>
                    <a:pt x="1" y="80"/>
                    <a:pt x="3" y="82"/>
                  </a:cubicBezTo>
                  <a:cubicBezTo>
                    <a:pt x="6" y="85"/>
                    <a:pt x="8" y="88"/>
                    <a:pt x="10" y="93"/>
                  </a:cubicBezTo>
                  <a:cubicBezTo>
                    <a:pt x="13" y="100"/>
                    <a:pt x="12" y="103"/>
                    <a:pt x="12" y="108"/>
                  </a:cubicBezTo>
                  <a:cubicBezTo>
                    <a:pt x="12" y="110"/>
                    <a:pt x="12" y="113"/>
                    <a:pt x="12" y="118"/>
                  </a:cubicBezTo>
                  <a:cubicBezTo>
                    <a:pt x="12" y="124"/>
                    <a:pt x="16" y="126"/>
                    <a:pt x="18" y="129"/>
                  </a:cubicBezTo>
                  <a:cubicBezTo>
                    <a:pt x="21" y="131"/>
                    <a:pt x="23" y="133"/>
                    <a:pt x="25" y="137"/>
                  </a:cubicBezTo>
                  <a:cubicBezTo>
                    <a:pt x="25" y="137"/>
                    <a:pt x="25" y="137"/>
                    <a:pt x="25" y="137"/>
                  </a:cubicBezTo>
                  <a:cubicBezTo>
                    <a:pt x="26" y="141"/>
                    <a:pt x="26" y="147"/>
                    <a:pt x="27" y="155"/>
                  </a:cubicBezTo>
                  <a:cubicBezTo>
                    <a:pt x="27" y="157"/>
                    <a:pt x="27" y="159"/>
                    <a:pt x="27" y="162"/>
                  </a:cubicBezTo>
                  <a:cubicBezTo>
                    <a:pt x="28" y="162"/>
                    <a:pt x="28" y="162"/>
                    <a:pt x="29" y="163"/>
                  </a:cubicBezTo>
                  <a:cubicBezTo>
                    <a:pt x="37" y="169"/>
                    <a:pt x="32" y="169"/>
                    <a:pt x="36" y="175"/>
                  </a:cubicBezTo>
                  <a:cubicBezTo>
                    <a:pt x="41" y="181"/>
                    <a:pt x="43" y="184"/>
                    <a:pt x="42" y="194"/>
                  </a:cubicBezTo>
                  <a:cubicBezTo>
                    <a:pt x="42" y="205"/>
                    <a:pt x="34" y="202"/>
                    <a:pt x="40" y="208"/>
                  </a:cubicBezTo>
                  <a:cubicBezTo>
                    <a:pt x="46" y="213"/>
                    <a:pt x="41" y="217"/>
                    <a:pt x="44" y="225"/>
                  </a:cubicBezTo>
                  <a:cubicBezTo>
                    <a:pt x="46" y="233"/>
                    <a:pt x="53" y="231"/>
                    <a:pt x="59" y="228"/>
                  </a:cubicBezTo>
                  <a:cubicBezTo>
                    <a:pt x="66" y="225"/>
                    <a:pt x="66" y="215"/>
                    <a:pt x="71" y="216"/>
                  </a:cubicBezTo>
                  <a:cubicBezTo>
                    <a:pt x="75" y="216"/>
                    <a:pt x="75" y="224"/>
                    <a:pt x="76" y="230"/>
                  </a:cubicBezTo>
                  <a:cubicBezTo>
                    <a:pt x="76" y="235"/>
                    <a:pt x="75" y="239"/>
                    <a:pt x="73" y="241"/>
                  </a:cubicBezTo>
                  <a:cubicBezTo>
                    <a:pt x="70" y="243"/>
                    <a:pt x="68" y="251"/>
                    <a:pt x="76" y="250"/>
                  </a:cubicBezTo>
                  <a:cubicBezTo>
                    <a:pt x="84" y="249"/>
                    <a:pt x="89" y="247"/>
                    <a:pt x="96" y="248"/>
                  </a:cubicBezTo>
                  <a:cubicBezTo>
                    <a:pt x="102" y="249"/>
                    <a:pt x="107" y="250"/>
                    <a:pt x="117" y="252"/>
                  </a:cubicBezTo>
                  <a:cubicBezTo>
                    <a:pt x="124" y="252"/>
                    <a:pt x="126" y="254"/>
                    <a:pt x="127" y="257"/>
                  </a:cubicBezTo>
                  <a:cubicBezTo>
                    <a:pt x="128" y="257"/>
                    <a:pt x="128" y="256"/>
                    <a:pt x="129" y="256"/>
                  </a:cubicBezTo>
                  <a:cubicBezTo>
                    <a:pt x="136" y="252"/>
                    <a:pt x="153" y="245"/>
                    <a:pt x="167" y="237"/>
                  </a:cubicBezTo>
                  <a:cubicBezTo>
                    <a:pt x="179" y="231"/>
                    <a:pt x="189" y="224"/>
                    <a:pt x="193" y="223"/>
                  </a:cubicBezTo>
                  <a:cubicBezTo>
                    <a:pt x="194" y="223"/>
                    <a:pt x="196" y="223"/>
                    <a:pt x="199" y="223"/>
                  </a:cubicBezTo>
                  <a:cubicBezTo>
                    <a:pt x="205" y="223"/>
                    <a:pt x="215" y="223"/>
                    <a:pt x="216" y="219"/>
                  </a:cubicBezTo>
                  <a:cubicBezTo>
                    <a:pt x="217" y="215"/>
                    <a:pt x="216" y="212"/>
                    <a:pt x="214" y="209"/>
                  </a:cubicBezTo>
                  <a:cubicBezTo>
                    <a:pt x="214" y="209"/>
                    <a:pt x="214" y="209"/>
                    <a:pt x="214" y="209"/>
                  </a:cubicBezTo>
                  <a:cubicBezTo>
                    <a:pt x="213" y="206"/>
                    <a:pt x="211" y="202"/>
                    <a:pt x="211" y="195"/>
                  </a:cubicBezTo>
                  <a:cubicBezTo>
                    <a:pt x="210" y="187"/>
                    <a:pt x="211" y="182"/>
                    <a:pt x="213" y="179"/>
                  </a:cubicBezTo>
                  <a:cubicBezTo>
                    <a:pt x="216" y="175"/>
                    <a:pt x="220" y="174"/>
                    <a:pt x="227" y="175"/>
                  </a:cubicBezTo>
                  <a:cubicBezTo>
                    <a:pt x="230" y="175"/>
                    <a:pt x="233" y="176"/>
                    <a:pt x="235" y="177"/>
                  </a:cubicBezTo>
                  <a:cubicBezTo>
                    <a:pt x="239" y="178"/>
                    <a:pt x="241" y="178"/>
                    <a:pt x="243" y="174"/>
                  </a:cubicBezTo>
                  <a:cubicBezTo>
                    <a:pt x="244" y="173"/>
                    <a:pt x="244" y="173"/>
                    <a:pt x="244" y="173"/>
                  </a:cubicBezTo>
                  <a:cubicBezTo>
                    <a:pt x="249" y="162"/>
                    <a:pt x="251" y="159"/>
                    <a:pt x="262" y="154"/>
                  </a:cubicBezTo>
                  <a:cubicBezTo>
                    <a:pt x="264" y="153"/>
                    <a:pt x="266" y="152"/>
                    <a:pt x="269" y="152"/>
                  </a:cubicBezTo>
                  <a:cubicBezTo>
                    <a:pt x="278" y="149"/>
                    <a:pt x="290" y="145"/>
                    <a:pt x="301" y="125"/>
                  </a:cubicBezTo>
                  <a:cubicBezTo>
                    <a:pt x="303" y="122"/>
                    <a:pt x="304" y="120"/>
                    <a:pt x="306" y="117"/>
                  </a:cubicBezTo>
                  <a:cubicBezTo>
                    <a:pt x="317" y="97"/>
                    <a:pt x="323" y="86"/>
                    <a:pt x="318" y="74"/>
                  </a:cubicBezTo>
                  <a:cubicBezTo>
                    <a:pt x="317" y="73"/>
                    <a:pt x="317" y="73"/>
                    <a:pt x="317" y="73"/>
                  </a:cubicBezTo>
                  <a:cubicBezTo>
                    <a:pt x="311" y="58"/>
                    <a:pt x="303" y="39"/>
                    <a:pt x="306" y="27"/>
                  </a:cubicBezTo>
                  <a:cubicBezTo>
                    <a:pt x="308" y="22"/>
                    <a:pt x="310" y="19"/>
                    <a:pt x="311" y="1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5" name="Freeform 277"/>
            <p:cNvSpPr>
              <a:spLocks/>
            </p:cNvSpPr>
            <p:nvPr/>
          </p:nvSpPr>
          <p:spPr bwMode="auto">
            <a:xfrm>
              <a:off x="6466397" y="4607216"/>
              <a:ext cx="3572" cy="3572"/>
            </a:xfrm>
            <a:custGeom>
              <a:avLst/>
              <a:gdLst>
                <a:gd name="T0" fmla="*/ 2 w 14"/>
                <a:gd name="T1" fmla="*/ 2 h 14"/>
                <a:gd name="T2" fmla="*/ 3 w 14"/>
                <a:gd name="T3" fmla="*/ 8 h 14"/>
                <a:gd name="T4" fmla="*/ 7 w 14"/>
                <a:gd name="T5" fmla="*/ 14 h 14"/>
                <a:gd name="T6" fmla="*/ 14 w 14"/>
                <a:gd name="T7" fmla="*/ 11 h 14"/>
                <a:gd name="T8" fmla="*/ 10 w 14"/>
                <a:gd name="T9" fmla="*/ 5 h 14"/>
                <a:gd name="T10" fmla="*/ 2 w 14"/>
                <a:gd name="T11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4">
                  <a:moveTo>
                    <a:pt x="2" y="2"/>
                  </a:moveTo>
                  <a:cubicBezTo>
                    <a:pt x="0" y="4"/>
                    <a:pt x="2" y="5"/>
                    <a:pt x="3" y="8"/>
                  </a:cubicBezTo>
                  <a:cubicBezTo>
                    <a:pt x="5" y="10"/>
                    <a:pt x="3" y="14"/>
                    <a:pt x="7" y="14"/>
                  </a:cubicBezTo>
                  <a:cubicBezTo>
                    <a:pt x="11" y="13"/>
                    <a:pt x="14" y="13"/>
                    <a:pt x="14" y="11"/>
                  </a:cubicBezTo>
                  <a:cubicBezTo>
                    <a:pt x="13" y="8"/>
                    <a:pt x="11" y="8"/>
                    <a:pt x="10" y="5"/>
                  </a:cubicBezTo>
                  <a:cubicBezTo>
                    <a:pt x="8" y="3"/>
                    <a:pt x="6" y="0"/>
                    <a:pt x="2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6" name="Freeform 278"/>
            <p:cNvSpPr>
              <a:spLocks/>
            </p:cNvSpPr>
            <p:nvPr/>
          </p:nvSpPr>
          <p:spPr bwMode="auto">
            <a:xfrm>
              <a:off x="6452109" y="4585785"/>
              <a:ext cx="4762" cy="3572"/>
            </a:xfrm>
            <a:custGeom>
              <a:avLst/>
              <a:gdLst>
                <a:gd name="T0" fmla="*/ 11 w 13"/>
                <a:gd name="T1" fmla="*/ 3 h 12"/>
                <a:gd name="T2" fmla="*/ 1 w 13"/>
                <a:gd name="T3" fmla="*/ 0 h 12"/>
                <a:gd name="T4" fmla="*/ 5 w 13"/>
                <a:gd name="T5" fmla="*/ 7 h 12"/>
                <a:gd name="T6" fmla="*/ 12 w 13"/>
                <a:gd name="T7" fmla="*/ 9 h 12"/>
                <a:gd name="T8" fmla="*/ 11 w 13"/>
                <a:gd name="T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11" y="3"/>
                  </a:moveTo>
                  <a:cubicBezTo>
                    <a:pt x="9" y="2"/>
                    <a:pt x="5" y="0"/>
                    <a:pt x="1" y="0"/>
                  </a:cubicBezTo>
                  <a:cubicBezTo>
                    <a:pt x="0" y="2"/>
                    <a:pt x="3" y="3"/>
                    <a:pt x="5" y="7"/>
                  </a:cubicBezTo>
                  <a:cubicBezTo>
                    <a:pt x="8" y="10"/>
                    <a:pt x="12" y="12"/>
                    <a:pt x="12" y="9"/>
                  </a:cubicBezTo>
                  <a:cubicBezTo>
                    <a:pt x="12" y="7"/>
                    <a:pt x="13" y="5"/>
                    <a:pt x="11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7" name="Freeform 280"/>
            <p:cNvSpPr>
              <a:spLocks/>
            </p:cNvSpPr>
            <p:nvPr/>
          </p:nvSpPr>
          <p:spPr bwMode="auto">
            <a:xfrm>
              <a:off x="6483066" y="4220263"/>
              <a:ext cx="4762" cy="4762"/>
            </a:xfrm>
            <a:custGeom>
              <a:avLst/>
              <a:gdLst>
                <a:gd name="T0" fmla="*/ 16 w 18"/>
                <a:gd name="T1" fmla="*/ 9 h 14"/>
                <a:gd name="T2" fmla="*/ 5 w 18"/>
                <a:gd name="T3" fmla="*/ 6 h 14"/>
                <a:gd name="T4" fmla="*/ 6 w 18"/>
                <a:gd name="T5" fmla="*/ 13 h 14"/>
                <a:gd name="T6" fmla="*/ 16 w 18"/>
                <a:gd name="T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4">
                  <a:moveTo>
                    <a:pt x="16" y="9"/>
                  </a:moveTo>
                  <a:cubicBezTo>
                    <a:pt x="18" y="5"/>
                    <a:pt x="13" y="0"/>
                    <a:pt x="5" y="6"/>
                  </a:cubicBezTo>
                  <a:cubicBezTo>
                    <a:pt x="0" y="9"/>
                    <a:pt x="1" y="13"/>
                    <a:pt x="6" y="13"/>
                  </a:cubicBezTo>
                  <a:cubicBezTo>
                    <a:pt x="11" y="13"/>
                    <a:pt x="13" y="14"/>
                    <a:pt x="16" y="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8" name="Freeform 281"/>
            <p:cNvSpPr>
              <a:spLocks/>
            </p:cNvSpPr>
            <p:nvPr/>
          </p:nvSpPr>
          <p:spPr bwMode="auto">
            <a:xfrm>
              <a:off x="6480684" y="4446482"/>
              <a:ext cx="3572" cy="8334"/>
            </a:xfrm>
            <a:custGeom>
              <a:avLst/>
              <a:gdLst>
                <a:gd name="T0" fmla="*/ 0 w 14"/>
                <a:gd name="T1" fmla="*/ 20 h 31"/>
                <a:gd name="T2" fmla="*/ 5 w 14"/>
                <a:gd name="T3" fmla="*/ 28 h 31"/>
                <a:gd name="T4" fmla="*/ 11 w 14"/>
                <a:gd name="T5" fmla="*/ 26 h 31"/>
                <a:gd name="T6" fmla="*/ 11 w 14"/>
                <a:gd name="T7" fmla="*/ 16 h 31"/>
                <a:gd name="T8" fmla="*/ 14 w 14"/>
                <a:gd name="T9" fmla="*/ 6 h 31"/>
                <a:gd name="T10" fmla="*/ 8 w 14"/>
                <a:gd name="T11" fmla="*/ 1 h 31"/>
                <a:gd name="T12" fmla="*/ 5 w 14"/>
                <a:gd name="T13" fmla="*/ 11 h 31"/>
                <a:gd name="T14" fmla="*/ 0 w 14"/>
                <a:gd name="T15" fmla="*/ 2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31">
                  <a:moveTo>
                    <a:pt x="0" y="20"/>
                  </a:moveTo>
                  <a:cubicBezTo>
                    <a:pt x="0" y="25"/>
                    <a:pt x="1" y="26"/>
                    <a:pt x="5" y="28"/>
                  </a:cubicBezTo>
                  <a:cubicBezTo>
                    <a:pt x="8" y="29"/>
                    <a:pt x="11" y="31"/>
                    <a:pt x="11" y="26"/>
                  </a:cubicBezTo>
                  <a:cubicBezTo>
                    <a:pt x="12" y="21"/>
                    <a:pt x="9" y="20"/>
                    <a:pt x="11" y="16"/>
                  </a:cubicBezTo>
                  <a:cubicBezTo>
                    <a:pt x="13" y="12"/>
                    <a:pt x="14" y="10"/>
                    <a:pt x="14" y="6"/>
                  </a:cubicBezTo>
                  <a:cubicBezTo>
                    <a:pt x="14" y="3"/>
                    <a:pt x="11" y="0"/>
                    <a:pt x="8" y="1"/>
                  </a:cubicBezTo>
                  <a:cubicBezTo>
                    <a:pt x="5" y="5"/>
                    <a:pt x="9" y="6"/>
                    <a:pt x="5" y="11"/>
                  </a:cubicBezTo>
                  <a:cubicBezTo>
                    <a:pt x="2" y="16"/>
                    <a:pt x="0" y="16"/>
                    <a:pt x="0" y="2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9" name="Freeform 282"/>
            <p:cNvSpPr>
              <a:spLocks/>
            </p:cNvSpPr>
            <p:nvPr/>
          </p:nvSpPr>
          <p:spPr bwMode="auto">
            <a:xfrm>
              <a:off x="4982878" y="4036907"/>
              <a:ext cx="73819" cy="77391"/>
            </a:xfrm>
            <a:custGeom>
              <a:avLst/>
              <a:gdLst>
                <a:gd name="T0" fmla="*/ 136 w 256"/>
                <a:gd name="T1" fmla="*/ 112 h 269"/>
                <a:gd name="T2" fmla="*/ 145 w 256"/>
                <a:gd name="T3" fmla="*/ 111 h 269"/>
                <a:gd name="T4" fmla="*/ 169 w 256"/>
                <a:gd name="T5" fmla="*/ 105 h 269"/>
                <a:gd name="T6" fmla="*/ 223 w 256"/>
                <a:gd name="T7" fmla="*/ 84 h 269"/>
                <a:gd name="T8" fmla="*/ 254 w 256"/>
                <a:gd name="T9" fmla="*/ 72 h 269"/>
                <a:gd name="T10" fmla="*/ 254 w 256"/>
                <a:gd name="T11" fmla="*/ 72 h 269"/>
                <a:gd name="T12" fmla="*/ 256 w 256"/>
                <a:gd name="T13" fmla="*/ 71 h 269"/>
                <a:gd name="T14" fmla="*/ 256 w 256"/>
                <a:gd name="T15" fmla="*/ 71 h 269"/>
                <a:gd name="T16" fmla="*/ 252 w 256"/>
                <a:gd name="T17" fmla="*/ 67 h 269"/>
                <a:gd name="T18" fmla="*/ 243 w 256"/>
                <a:gd name="T19" fmla="*/ 41 h 269"/>
                <a:gd name="T20" fmla="*/ 235 w 256"/>
                <a:gd name="T21" fmla="*/ 0 h 269"/>
                <a:gd name="T22" fmla="*/ 233 w 256"/>
                <a:gd name="T23" fmla="*/ 0 h 269"/>
                <a:gd name="T24" fmla="*/ 212 w 256"/>
                <a:gd name="T25" fmla="*/ 7 h 269"/>
                <a:gd name="T26" fmla="*/ 183 w 256"/>
                <a:gd name="T27" fmla="*/ 26 h 269"/>
                <a:gd name="T28" fmla="*/ 154 w 256"/>
                <a:gd name="T29" fmla="*/ 45 h 269"/>
                <a:gd name="T30" fmla="*/ 142 w 256"/>
                <a:gd name="T31" fmla="*/ 52 h 269"/>
                <a:gd name="T32" fmla="*/ 111 w 256"/>
                <a:gd name="T33" fmla="*/ 64 h 269"/>
                <a:gd name="T34" fmla="*/ 83 w 256"/>
                <a:gd name="T35" fmla="*/ 60 h 269"/>
                <a:gd name="T36" fmla="*/ 63 w 256"/>
                <a:gd name="T37" fmla="*/ 51 h 269"/>
                <a:gd name="T38" fmla="*/ 40 w 256"/>
                <a:gd name="T39" fmla="*/ 36 h 269"/>
                <a:gd name="T40" fmla="*/ 40 w 256"/>
                <a:gd name="T41" fmla="*/ 64 h 269"/>
                <a:gd name="T42" fmla="*/ 40 w 256"/>
                <a:gd name="T43" fmla="*/ 73 h 269"/>
                <a:gd name="T44" fmla="*/ 35 w 256"/>
                <a:gd name="T45" fmla="*/ 120 h 269"/>
                <a:gd name="T46" fmla="*/ 25 w 256"/>
                <a:gd name="T47" fmla="*/ 163 h 269"/>
                <a:gd name="T48" fmla="*/ 18 w 256"/>
                <a:gd name="T49" fmla="*/ 196 h 269"/>
                <a:gd name="T50" fmla="*/ 0 w 256"/>
                <a:gd name="T51" fmla="*/ 266 h 269"/>
                <a:gd name="T52" fmla="*/ 16 w 256"/>
                <a:gd name="T53" fmla="*/ 264 h 269"/>
                <a:gd name="T54" fmla="*/ 38 w 256"/>
                <a:gd name="T55" fmla="*/ 267 h 269"/>
                <a:gd name="T56" fmla="*/ 57 w 256"/>
                <a:gd name="T57" fmla="*/ 269 h 269"/>
                <a:gd name="T58" fmla="*/ 77 w 256"/>
                <a:gd name="T59" fmla="*/ 258 h 269"/>
                <a:gd name="T60" fmla="*/ 79 w 256"/>
                <a:gd name="T61" fmla="*/ 256 h 269"/>
                <a:gd name="T62" fmla="*/ 79 w 256"/>
                <a:gd name="T63" fmla="*/ 256 h 269"/>
                <a:gd name="T64" fmla="*/ 102 w 256"/>
                <a:gd name="T65" fmla="*/ 232 h 269"/>
                <a:gd name="T66" fmla="*/ 102 w 256"/>
                <a:gd name="T67" fmla="*/ 232 h 269"/>
                <a:gd name="T68" fmla="*/ 104 w 256"/>
                <a:gd name="T69" fmla="*/ 231 h 269"/>
                <a:gd name="T70" fmla="*/ 104 w 256"/>
                <a:gd name="T71" fmla="*/ 231 h 269"/>
                <a:gd name="T72" fmla="*/ 114 w 256"/>
                <a:gd name="T73" fmla="*/ 226 h 269"/>
                <a:gd name="T74" fmla="*/ 114 w 256"/>
                <a:gd name="T75" fmla="*/ 226 h 269"/>
                <a:gd name="T76" fmla="*/ 127 w 256"/>
                <a:gd name="T77" fmla="*/ 223 h 269"/>
                <a:gd name="T78" fmla="*/ 135 w 256"/>
                <a:gd name="T79" fmla="*/ 223 h 269"/>
                <a:gd name="T80" fmla="*/ 144 w 256"/>
                <a:gd name="T81" fmla="*/ 221 h 269"/>
                <a:gd name="T82" fmla="*/ 159 w 256"/>
                <a:gd name="T83" fmla="*/ 209 h 269"/>
                <a:gd name="T84" fmla="*/ 178 w 256"/>
                <a:gd name="T85" fmla="*/ 191 h 269"/>
                <a:gd name="T86" fmla="*/ 178 w 256"/>
                <a:gd name="T87" fmla="*/ 189 h 269"/>
                <a:gd name="T88" fmla="*/ 173 w 256"/>
                <a:gd name="T89" fmla="*/ 182 h 269"/>
                <a:gd name="T90" fmla="*/ 143 w 256"/>
                <a:gd name="T91" fmla="*/ 148 h 269"/>
                <a:gd name="T92" fmla="*/ 126 w 256"/>
                <a:gd name="T93" fmla="*/ 128 h 269"/>
                <a:gd name="T94" fmla="*/ 124 w 256"/>
                <a:gd name="T95" fmla="*/ 117 h 269"/>
                <a:gd name="T96" fmla="*/ 136 w 256"/>
                <a:gd name="T97" fmla="*/ 112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6" h="269">
                  <a:moveTo>
                    <a:pt x="136" y="112"/>
                  </a:moveTo>
                  <a:cubicBezTo>
                    <a:pt x="140" y="111"/>
                    <a:pt x="142" y="111"/>
                    <a:pt x="145" y="111"/>
                  </a:cubicBezTo>
                  <a:cubicBezTo>
                    <a:pt x="151" y="111"/>
                    <a:pt x="156" y="110"/>
                    <a:pt x="169" y="105"/>
                  </a:cubicBezTo>
                  <a:cubicBezTo>
                    <a:pt x="180" y="100"/>
                    <a:pt x="204" y="91"/>
                    <a:pt x="223" y="84"/>
                  </a:cubicBezTo>
                  <a:cubicBezTo>
                    <a:pt x="239" y="78"/>
                    <a:pt x="252" y="73"/>
                    <a:pt x="254" y="72"/>
                  </a:cubicBezTo>
                  <a:cubicBezTo>
                    <a:pt x="254" y="72"/>
                    <a:pt x="254" y="72"/>
                    <a:pt x="254" y="72"/>
                  </a:cubicBezTo>
                  <a:cubicBezTo>
                    <a:pt x="255" y="72"/>
                    <a:pt x="256" y="71"/>
                    <a:pt x="256" y="71"/>
                  </a:cubicBezTo>
                  <a:cubicBezTo>
                    <a:pt x="256" y="71"/>
                    <a:pt x="256" y="71"/>
                    <a:pt x="256" y="71"/>
                  </a:cubicBezTo>
                  <a:cubicBezTo>
                    <a:pt x="256" y="71"/>
                    <a:pt x="255" y="70"/>
                    <a:pt x="252" y="67"/>
                  </a:cubicBezTo>
                  <a:cubicBezTo>
                    <a:pt x="249" y="63"/>
                    <a:pt x="245" y="53"/>
                    <a:pt x="243" y="41"/>
                  </a:cubicBezTo>
                  <a:cubicBezTo>
                    <a:pt x="239" y="26"/>
                    <a:pt x="236" y="8"/>
                    <a:pt x="235" y="0"/>
                  </a:cubicBezTo>
                  <a:cubicBezTo>
                    <a:pt x="234" y="0"/>
                    <a:pt x="234" y="0"/>
                    <a:pt x="233" y="0"/>
                  </a:cubicBezTo>
                  <a:cubicBezTo>
                    <a:pt x="229" y="1"/>
                    <a:pt x="223" y="2"/>
                    <a:pt x="212" y="7"/>
                  </a:cubicBezTo>
                  <a:cubicBezTo>
                    <a:pt x="203" y="12"/>
                    <a:pt x="193" y="19"/>
                    <a:pt x="183" y="26"/>
                  </a:cubicBezTo>
                  <a:cubicBezTo>
                    <a:pt x="173" y="32"/>
                    <a:pt x="164" y="39"/>
                    <a:pt x="154" y="45"/>
                  </a:cubicBezTo>
                  <a:cubicBezTo>
                    <a:pt x="149" y="47"/>
                    <a:pt x="145" y="50"/>
                    <a:pt x="142" y="52"/>
                  </a:cubicBezTo>
                  <a:cubicBezTo>
                    <a:pt x="128" y="60"/>
                    <a:pt x="119" y="65"/>
                    <a:pt x="111" y="64"/>
                  </a:cubicBezTo>
                  <a:cubicBezTo>
                    <a:pt x="105" y="64"/>
                    <a:pt x="94" y="63"/>
                    <a:pt x="83" y="60"/>
                  </a:cubicBezTo>
                  <a:cubicBezTo>
                    <a:pt x="76" y="57"/>
                    <a:pt x="69" y="55"/>
                    <a:pt x="63" y="51"/>
                  </a:cubicBezTo>
                  <a:cubicBezTo>
                    <a:pt x="55" y="45"/>
                    <a:pt x="46" y="39"/>
                    <a:pt x="40" y="36"/>
                  </a:cubicBezTo>
                  <a:cubicBezTo>
                    <a:pt x="40" y="47"/>
                    <a:pt x="40" y="57"/>
                    <a:pt x="40" y="64"/>
                  </a:cubicBezTo>
                  <a:cubicBezTo>
                    <a:pt x="40" y="67"/>
                    <a:pt x="40" y="70"/>
                    <a:pt x="40" y="73"/>
                  </a:cubicBezTo>
                  <a:cubicBezTo>
                    <a:pt x="40" y="88"/>
                    <a:pt x="40" y="104"/>
                    <a:pt x="35" y="120"/>
                  </a:cubicBezTo>
                  <a:cubicBezTo>
                    <a:pt x="32" y="131"/>
                    <a:pt x="28" y="148"/>
                    <a:pt x="25" y="163"/>
                  </a:cubicBezTo>
                  <a:cubicBezTo>
                    <a:pt x="22" y="177"/>
                    <a:pt x="20" y="190"/>
                    <a:pt x="18" y="196"/>
                  </a:cubicBezTo>
                  <a:cubicBezTo>
                    <a:pt x="14" y="206"/>
                    <a:pt x="4" y="249"/>
                    <a:pt x="0" y="266"/>
                  </a:cubicBezTo>
                  <a:cubicBezTo>
                    <a:pt x="4" y="265"/>
                    <a:pt x="9" y="264"/>
                    <a:pt x="16" y="264"/>
                  </a:cubicBezTo>
                  <a:cubicBezTo>
                    <a:pt x="23" y="264"/>
                    <a:pt x="30" y="266"/>
                    <a:pt x="38" y="267"/>
                  </a:cubicBezTo>
                  <a:cubicBezTo>
                    <a:pt x="45" y="268"/>
                    <a:pt x="51" y="269"/>
                    <a:pt x="57" y="269"/>
                  </a:cubicBezTo>
                  <a:cubicBezTo>
                    <a:pt x="67" y="269"/>
                    <a:pt x="68" y="268"/>
                    <a:pt x="77" y="258"/>
                  </a:cubicBezTo>
                  <a:cubicBezTo>
                    <a:pt x="79" y="256"/>
                    <a:pt x="79" y="256"/>
                    <a:pt x="79" y="256"/>
                  </a:cubicBezTo>
                  <a:cubicBezTo>
                    <a:pt x="79" y="256"/>
                    <a:pt x="79" y="256"/>
                    <a:pt x="79" y="256"/>
                  </a:cubicBezTo>
                  <a:cubicBezTo>
                    <a:pt x="90" y="243"/>
                    <a:pt x="98" y="236"/>
                    <a:pt x="102" y="232"/>
                  </a:cubicBezTo>
                  <a:cubicBezTo>
                    <a:pt x="102" y="232"/>
                    <a:pt x="102" y="232"/>
                    <a:pt x="102" y="232"/>
                  </a:cubicBezTo>
                  <a:cubicBezTo>
                    <a:pt x="104" y="231"/>
                    <a:pt x="104" y="231"/>
                    <a:pt x="104" y="231"/>
                  </a:cubicBezTo>
                  <a:cubicBezTo>
                    <a:pt x="104" y="231"/>
                    <a:pt x="104" y="231"/>
                    <a:pt x="104" y="231"/>
                  </a:cubicBezTo>
                  <a:cubicBezTo>
                    <a:pt x="106" y="229"/>
                    <a:pt x="109" y="227"/>
                    <a:pt x="114" y="226"/>
                  </a:cubicBezTo>
                  <a:cubicBezTo>
                    <a:pt x="114" y="226"/>
                    <a:pt x="114" y="226"/>
                    <a:pt x="114" y="226"/>
                  </a:cubicBezTo>
                  <a:cubicBezTo>
                    <a:pt x="118" y="224"/>
                    <a:pt x="122" y="224"/>
                    <a:pt x="127" y="223"/>
                  </a:cubicBezTo>
                  <a:cubicBezTo>
                    <a:pt x="130" y="223"/>
                    <a:pt x="133" y="223"/>
                    <a:pt x="135" y="223"/>
                  </a:cubicBezTo>
                  <a:cubicBezTo>
                    <a:pt x="138" y="223"/>
                    <a:pt x="140" y="223"/>
                    <a:pt x="144" y="221"/>
                  </a:cubicBezTo>
                  <a:cubicBezTo>
                    <a:pt x="147" y="219"/>
                    <a:pt x="153" y="214"/>
                    <a:pt x="159" y="209"/>
                  </a:cubicBezTo>
                  <a:cubicBezTo>
                    <a:pt x="168" y="201"/>
                    <a:pt x="177" y="193"/>
                    <a:pt x="178" y="191"/>
                  </a:cubicBezTo>
                  <a:cubicBezTo>
                    <a:pt x="178" y="191"/>
                    <a:pt x="179" y="190"/>
                    <a:pt x="178" y="189"/>
                  </a:cubicBezTo>
                  <a:cubicBezTo>
                    <a:pt x="178" y="188"/>
                    <a:pt x="176" y="185"/>
                    <a:pt x="173" y="182"/>
                  </a:cubicBezTo>
                  <a:cubicBezTo>
                    <a:pt x="168" y="177"/>
                    <a:pt x="154" y="161"/>
                    <a:pt x="143" y="148"/>
                  </a:cubicBezTo>
                  <a:cubicBezTo>
                    <a:pt x="135" y="139"/>
                    <a:pt x="128" y="131"/>
                    <a:pt x="126" y="128"/>
                  </a:cubicBezTo>
                  <a:cubicBezTo>
                    <a:pt x="124" y="124"/>
                    <a:pt x="123" y="121"/>
                    <a:pt x="124" y="117"/>
                  </a:cubicBezTo>
                  <a:cubicBezTo>
                    <a:pt x="126" y="115"/>
                    <a:pt x="130" y="113"/>
                    <a:pt x="136" y="11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0" name="Freeform 286"/>
            <p:cNvSpPr>
              <a:spLocks/>
            </p:cNvSpPr>
            <p:nvPr/>
          </p:nvSpPr>
          <p:spPr bwMode="auto">
            <a:xfrm>
              <a:off x="6250894" y="4466722"/>
              <a:ext cx="4762" cy="5953"/>
            </a:xfrm>
            <a:custGeom>
              <a:avLst/>
              <a:gdLst>
                <a:gd name="T0" fmla="*/ 13 w 17"/>
                <a:gd name="T1" fmla="*/ 15 h 20"/>
                <a:gd name="T2" fmla="*/ 13 w 17"/>
                <a:gd name="T3" fmla="*/ 5 h 20"/>
                <a:gd name="T4" fmla="*/ 2 w 17"/>
                <a:gd name="T5" fmla="*/ 4 h 20"/>
                <a:gd name="T6" fmla="*/ 4 w 17"/>
                <a:gd name="T7" fmla="*/ 14 h 20"/>
                <a:gd name="T8" fmla="*/ 13 w 17"/>
                <a:gd name="T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13" y="15"/>
                  </a:moveTo>
                  <a:cubicBezTo>
                    <a:pt x="13" y="10"/>
                    <a:pt x="17" y="8"/>
                    <a:pt x="13" y="5"/>
                  </a:cubicBezTo>
                  <a:cubicBezTo>
                    <a:pt x="9" y="2"/>
                    <a:pt x="5" y="0"/>
                    <a:pt x="2" y="4"/>
                  </a:cubicBezTo>
                  <a:cubicBezTo>
                    <a:pt x="0" y="8"/>
                    <a:pt x="0" y="10"/>
                    <a:pt x="4" y="14"/>
                  </a:cubicBezTo>
                  <a:cubicBezTo>
                    <a:pt x="9" y="17"/>
                    <a:pt x="12" y="20"/>
                    <a:pt x="13" y="1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1" name="Freeform 288"/>
            <p:cNvSpPr>
              <a:spLocks/>
            </p:cNvSpPr>
            <p:nvPr/>
          </p:nvSpPr>
          <p:spPr bwMode="auto">
            <a:xfrm>
              <a:off x="6437822" y="4506013"/>
              <a:ext cx="3572" cy="3572"/>
            </a:xfrm>
            <a:custGeom>
              <a:avLst/>
              <a:gdLst>
                <a:gd name="T0" fmla="*/ 4 w 10"/>
                <a:gd name="T1" fmla="*/ 14 h 15"/>
                <a:gd name="T2" fmla="*/ 8 w 10"/>
                <a:gd name="T3" fmla="*/ 8 h 15"/>
                <a:gd name="T4" fmla="*/ 4 w 10"/>
                <a:gd name="T5" fmla="*/ 2 h 15"/>
                <a:gd name="T6" fmla="*/ 1 w 10"/>
                <a:gd name="T7" fmla="*/ 7 h 15"/>
                <a:gd name="T8" fmla="*/ 4 w 10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4" y="14"/>
                  </a:moveTo>
                  <a:cubicBezTo>
                    <a:pt x="7" y="13"/>
                    <a:pt x="6" y="12"/>
                    <a:pt x="8" y="8"/>
                  </a:cubicBezTo>
                  <a:cubicBezTo>
                    <a:pt x="10" y="4"/>
                    <a:pt x="9" y="0"/>
                    <a:pt x="4" y="2"/>
                  </a:cubicBezTo>
                  <a:cubicBezTo>
                    <a:pt x="2" y="4"/>
                    <a:pt x="0" y="2"/>
                    <a:pt x="1" y="7"/>
                  </a:cubicBezTo>
                  <a:cubicBezTo>
                    <a:pt x="1" y="13"/>
                    <a:pt x="1" y="15"/>
                    <a:pt x="4" y="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2" name="Freeform 289"/>
            <p:cNvSpPr>
              <a:spLocks/>
            </p:cNvSpPr>
            <p:nvPr/>
          </p:nvSpPr>
          <p:spPr bwMode="auto">
            <a:xfrm>
              <a:off x="6440203" y="4517919"/>
              <a:ext cx="3572" cy="3572"/>
            </a:xfrm>
            <a:custGeom>
              <a:avLst/>
              <a:gdLst>
                <a:gd name="T0" fmla="*/ 2 w 12"/>
                <a:gd name="T1" fmla="*/ 3 h 11"/>
                <a:gd name="T2" fmla="*/ 4 w 12"/>
                <a:gd name="T3" fmla="*/ 11 h 11"/>
                <a:gd name="T4" fmla="*/ 10 w 12"/>
                <a:gd name="T5" fmla="*/ 7 h 11"/>
                <a:gd name="T6" fmla="*/ 2 w 12"/>
                <a:gd name="T7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1">
                  <a:moveTo>
                    <a:pt x="2" y="3"/>
                  </a:moveTo>
                  <a:cubicBezTo>
                    <a:pt x="0" y="7"/>
                    <a:pt x="1" y="11"/>
                    <a:pt x="4" y="11"/>
                  </a:cubicBezTo>
                  <a:cubicBezTo>
                    <a:pt x="7" y="11"/>
                    <a:pt x="8" y="11"/>
                    <a:pt x="10" y="7"/>
                  </a:cubicBezTo>
                  <a:cubicBezTo>
                    <a:pt x="12" y="2"/>
                    <a:pt x="5" y="0"/>
                    <a:pt x="2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3" name="Freeform 292"/>
            <p:cNvSpPr>
              <a:spLocks/>
            </p:cNvSpPr>
            <p:nvPr/>
          </p:nvSpPr>
          <p:spPr bwMode="auto">
            <a:xfrm>
              <a:off x="6662850" y="4785810"/>
              <a:ext cx="3572" cy="5953"/>
            </a:xfrm>
            <a:custGeom>
              <a:avLst/>
              <a:gdLst>
                <a:gd name="T0" fmla="*/ 3 w 15"/>
                <a:gd name="T1" fmla="*/ 5 h 18"/>
                <a:gd name="T2" fmla="*/ 6 w 15"/>
                <a:gd name="T3" fmla="*/ 12 h 18"/>
                <a:gd name="T4" fmla="*/ 15 w 15"/>
                <a:gd name="T5" fmla="*/ 12 h 18"/>
                <a:gd name="T6" fmla="*/ 12 w 15"/>
                <a:gd name="T7" fmla="*/ 4 h 18"/>
                <a:gd name="T8" fmla="*/ 3 w 15"/>
                <a:gd name="T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3" y="5"/>
                  </a:moveTo>
                  <a:cubicBezTo>
                    <a:pt x="3" y="9"/>
                    <a:pt x="0" y="8"/>
                    <a:pt x="6" y="12"/>
                  </a:cubicBezTo>
                  <a:cubicBezTo>
                    <a:pt x="11" y="16"/>
                    <a:pt x="14" y="18"/>
                    <a:pt x="15" y="12"/>
                  </a:cubicBezTo>
                  <a:cubicBezTo>
                    <a:pt x="15" y="7"/>
                    <a:pt x="14" y="5"/>
                    <a:pt x="12" y="4"/>
                  </a:cubicBezTo>
                  <a:cubicBezTo>
                    <a:pt x="11" y="3"/>
                    <a:pt x="4" y="0"/>
                    <a:pt x="3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4" name="Freeform 293"/>
            <p:cNvSpPr>
              <a:spLocks/>
            </p:cNvSpPr>
            <p:nvPr/>
          </p:nvSpPr>
          <p:spPr bwMode="auto">
            <a:xfrm>
              <a:off x="7079569" y="4541732"/>
              <a:ext cx="3572" cy="3572"/>
            </a:xfrm>
            <a:custGeom>
              <a:avLst/>
              <a:gdLst>
                <a:gd name="T0" fmla="*/ 4 w 15"/>
                <a:gd name="T1" fmla="*/ 6 h 14"/>
                <a:gd name="T2" fmla="*/ 4 w 15"/>
                <a:gd name="T3" fmla="*/ 14 h 14"/>
                <a:gd name="T4" fmla="*/ 15 w 15"/>
                <a:gd name="T5" fmla="*/ 9 h 14"/>
                <a:gd name="T6" fmla="*/ 4 w 15"/>
                <a:gd name="T7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4" y="6"/>
                  </a:moveTo>
                  <a:cubicBezTo>
                    <a:pt x="4" y="6"/>
                    <a:pt x="0" y="13"/>
                    <a:pt x="4" y="14"/>
                  </a:cubicBezTo>
                  <a:cubicBezTo>
                    <a:pt x="8" y="14"/>
                    <a:pt x="14" y="13"/>
                    <a:pt x="15" y="9"/>
                  </a:cubicBezTo>
                  <a:cubicBezTo>
                    <a:pt x="15" y="6"/>
                    <a:pt x="9" y="0"/>
                    <a:pt x="4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5" name="Freeform 294"/>
            <p:cNvSpPr>
              <a:spLocks/>
            </p:cNvSpPr>
            <p:nvPr/>
          </p:nvSpPr>
          <p:spPr bwMode="auto">
            <a:xfrm>
              <a:off x="7065281" y="4492916"/>
              <a:ext cx="3572" cy="3572"/>
            </a:xfrm>
            <a:custGeom>
              <a:avLst/>
              <a:gdLst>
                <a:gd name="T0" fmla="*/ 3 w 14"/>
                <a:gd name="T1" fmla="*/ 4 h 13"/>
                <a:gd name="T2" fmla="*/ 5 w 14"/>
                <a:gd name="T3" fmla="*/ 13 h 13"/>
                <a:gd name="T4" fmla="*/ 14 w 14"/>
                <a:gd name="T5" fmla="*/ 7 h 13"/>
                <a:gd name="T6" fmla="*/ 3 w 14"/>
                <a:gd name="T7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3">
                  <a:moveTo>
                    <a:pt x="3" y="4"/>
                  </a:moveTo>
                  <a:cubicBezTo>
                    <a:pt x="0" y="9"/>
                    <a:pt x="0" y="13"/>
                    <a:pt x="5" y="13"/>
                  </a:cubicBezTo>
                  <a:cubicBezTo>
                    <a:pt x="9" y="13"/>
                    <a:pt x="14" y="10"/>
                    <a:pt x="14" y="7"/>
                  </a:cubicBezTo>
                  <a:cubicBezTo>
                    <a:pt x="14" y="4"/>
                    <a:pt x="6" y="0"/>
                    <a:pt x="3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6" name="Freeform 295"/>
            <p:cNvSpPr>
              <a:spLocks/>
            </p:cNvSpPr>
            <p:nvPr/>
          </p:nvSpPr>
          <p:spPr bwMode="auto">
            <a:xfrm>
              <a:off x="7071234" y="4523872"/>
              <a:ext cx="3572" cy="4762"/>
            </a:xfrm>
            <a:custGeom>
              <a:avLst/>
              <a:gdLst>
                <a:gd name="T0" fmla="*/ 3 w 9"/>
                <a:gd name="T1" fmla="*/ 14 h 16"/>
                <a:gd name="T2" fmla="*/ 9 w 9"/>
                <a:gd name="T3" fmla="*/ 12 h 16"/>
                <a:gd name="T4" fmla="*/ 1 w 9"/>
                <a:gd name="T5" fmla="*/ 7 h 16"/>
                <a:gd name="T6" fmla="*/ 3 w 9"/>
                <a:gd name="T7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3" y="14"/>
                  </a:moveTo>
                  <a:cubicBezTo>
                    <a:pt x="5" y="14"/>
                    <a:pt x="9" y="16"/>
                    <a:pt x="9" y="12"/>
                  </a:cubicBezTo>
                  <a:cubicBezTo>
                    <a:pt x="9" y="8"/>
                    <a:pt x="4" y="0"/>
                    <a:pt x="1" y="7"/>
                  </a:cubicBezTo>
                  <a:cubicBezTo>
                    <a:pt x="0" y="9"/>
                    <a:pt x="1" y="14"/>
                    <a:pt x="3" y="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7" name="Freeform 296"/>
            <p:cNvSpPr>
              <a:spLocks/>
            </p:cNvSpPr>
            <p:nvPr/>
          </p:nvSpPr>
          <p:spPr bwMode="auto">
            <a:xfrm>
              <a:off x="6643800" y="4773904"/>
              <a:ext cx="2381" cy="2381"/>
            </a:xfrm>
            <a:custGeom>
              <a:avLst/>
              <a:gdLst>
                <a:gd name="T0" fmla="*/ 2 w 9"/>
                <a:gd name="T1" fmla="*/ 6 h 12"/>
                <a:gd name="T2" fmla="*/ 4 w 9"/>
                <a:gd name="T3" fmla="*/ 12 h 12"/>
                <a:gd name="T4" fmla="*/ 9 w 9"/>
                <a:gd name="T5" fmla="*/ 8 h 12"/>
                <a:gd name="T6" fmla="*/ 2 w 9"/>
                <a:gd name="T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2" y="6"/>
                  </a:moveTo>
                  <a:cubicBezTo>
                    <a:pt x="1" y="8"/>
                    <a:pt x="0" y="11"/>
                    <a:pt x="4" y="12"/>
                  </a:cubicBezTo>
                  <a:cubicBezTo>
                    <a:pt x="9" y="12"/>
                    <a:pt x="9" y="10"/>
                    <a:pt x="9" y="8"/>
                  </a:cubicBezTo>
                  <a:cubicBezTo>
                    <a:pt x="9" y="5"/>
                    <a:pt x="4" y="0"/>
                    <a:pt x="2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8" name="Freeform 297"/>
            <p:cNvSpPr>
              <a:spLocks/>
            </p:cNvSpPr>
            <p:nvPr/>
          </p:nvSpPr>
          <p:spPr bwMode="auto">
            <a:xfrm>
              <a:off x="7010513" y="4527444"/>
              <a:ext cx="3572" cy="3572"/>
            </a:xfrm>
            <a:custGeom>
              <a:avLst/>
              <a:gdLst>
                <a:gd name="T0" fmla="*/ 11 w 11"/>
                <a:gd name="T1" fmla="*/ 11 h 15"/>
                <a:gd name="T2" fmla="*/ 0 w 11"/>
                <a:gd name="T3" fmla="*/ 8 h 15"/>
                <a:gd name="T4" fmla="*/ 3 w 11"/>
                <a:gd name="T5" fmla="*/ 14 h 15"/>
                <a:gd name="T6" fmla="*/ 11 w 11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5">
                  <a:moveTo>
                    <a:pt x="11" y="11"/>
                  </a:moveTo>
                  <a:cubicBezTo>
                    <a:pt x="11" y="7"/>
                    <a:pt x="2" y="0"/>
                    <a:pt x="0" y="8"/>
                  </a:cubicBezTo>
                  <a:cubicBezTo>
                    <a:pt x="0" y="11"/>
                    <a:pt x="0" y="14"/>
                    <a:pt x="3" y="14"/>
                  </a:cubicBezTo>
                  <a:cubicBezTo>
                    <a:pt x="7" y="15"/>
                    <a:pt x="11" y="14"/>
                    <a:pt x="11" y="1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9" name="Freeform 302"/>
            <p:cNvSpPr>
              <a:spLocks/>
            </p:cNvSpPr>
            <p:nvPr/>
          </p:nvSpPr>
          <p:spPr bwMode="auto">
            <a:xfrm>
              <a:off x="6822394" y="4795335"/>
              <a:ext cx="4762" cy="2381"/>
            </a:xfrm>
            <a:custGeom>
              <a:avLst/>
              <a:gdLst>
                <a:gd name="T0" fmla="*/ 5 w 19"/>
                <a:gd name="T1" fmla="*/ 2 h 10"/>
                <a:gd name="T2" fmla="*/ 3 w 19"/>
                <a:gd name="T3" fmla="*/ 7 h 10"/>
                <a:gd name="T4" fmla="*/ 10 w 19"/>
                <a:gd name="T5" fmla="*/ 9 h 10"/>
                <a:gd name="T6" fmla="*/ 16 w 19"/>
                <a:gd name="T7" fmla="*/ 3 h 10"/>
                <a:gd name="T8" fmla="*/ 5 w 19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0">
                  <a:moveTo>
                    <a:pt x="5" y="2"/>
                  </a:moveTo>
                  <a:cubicBezTo>
                    <a:pt x="3" y="4"/>
                    <a:pt x="0" y="4"/>
                    <a:pt x="3" y="7"/>
                  </a:cubicBezTo>
                  <a:cubicBezTo>
                    <a:pt x="5" y="9"/>
                    <a:pt x="5" y="10"/>
                    <a:pt x="10" y="9"/>
                  </a:cubicBezTo>
                  <a:cubicBezTo>
                    <a:pt x="14" y="8"/>
                    <a:pt x="19" y="6"/>
                    <a:pt x="16" y="3"/>
                  </a:cubicBezTo>
                  <a:cubicBezTo>
                    <a:pt x="13" y="1"/>
                    <a:pt x="11" y="0"/>
                    <a:pt x="5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0" name="Freeform 303"/>
            <p:cNvSpPr>
              <a:spLocks/>
            </p:cNvSpPr>
            <p:nvPr/>
          </p:nvSpPr>
          <p:spPr bwMode="auto">
            <a:xfrm>
              <a:off x="6716428" y="4746519"/>
              <a:ext cx="2381" cy="7144"/>
            </a:xfrm>
            <a:custGeom>
              <a:avLst/>
              <a:gdLst>
                <a:gd name="T0" fmla="*/ 0 w 9"/>
                <a:gd name="T1" fmla="*/ 8 h 26"/>
                <a:gd name="T2" fmla="*/ 3 w 9"/>
                <a:gd name="T3" fmla="*/ 17 h 26"/>
                <a:gd name="T4" fmla="*/ 6 w 9"/>
                <a:gd name="T5" fmla="*/ 24 h 26"/>
                <a:gd name="T6" fmla="*/ 8 w 9"/>
                <a:gd name="T7" fmla="*/ 11 h 26"/>
                <a:gd name="T8" fmla="*/ 0 w 9"/>
                <a:gd name="T9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6">
                  <a:moveTo>
                    <a:pt x="0" y="8"/>
                  </a:moveTo>
                  <a:cubicBezTo>
                    <a:pt x="0" y="11"/>
                    <a:pt x="2" y="12"/>
                    <a:pt x="3" y="17"/>
                  </a:cubicBezTo>
                  <a:cubicBezTo>
                    <a:pt x="3" y="22"/>
                    <a:pt x="4" y="26"/>
                    <a:pt x="6" y="24"/>
                  </a:cubicBezTo>
                  <a:cubicBezTo>
                    <a:pt x="9" y="22"/>
                    <a:pt x="8" y="15"/>
                    <a:pt x="8" y="11"/>
                  </a:cubicBezTo>
                  <a:cubicBezTo>
                    <a:pt x="7" y="8"/>
                    <a:pt x="1" y="0"/>
                    <a:pt x="0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1" name="Freeform 305"/>
            <p:cNvSpPr>
              <a:spLocks/>
            </p:cNvSpPr>
            <p:nvPr/>
          </p:nvSpPr>
          <p:spPr bwMode="auto">
            <a:xfrm>
              <a:off x="6723572" y="4744138"/>
              <a:ext cx="2381" cy="5953"/>
            </a:xfrm>
            <a:custGeom>
              <a:avLst/>
              <a:gdLst>
                <a:gd name="T0" fmla="*/ 4 w 7"/>
                <a:gd name="T1" fmla="*/ 3 h 18"/>
                <a:gd name="T2" fmla="*/ 0 w 7"/>
                <a:gd name="T3" fmla="*/ 9 h 18"/>
                <a:gd name="T4" fmla="*/ 3 w 7"/>
                <a:gd name="T5" fmla="*/ 13 h 18"/>
                <a:gd name="T6" fmla="*/ 7 w 7"/>
                <a:gd name="T7" fmla="*/ 5 h 18"/>
                <a:gd name="T8" fmla="*/ 4 w 7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8">
                  <a:moveTo>
                    <a:pt x="4" y="3"/>
                  </a:moveTo>
                  <a:cubicBezTo>
                    <a:pt x="0" y="5"/>
                    <a:pt x="1" y="5"/>
                    <a:pt x="0" y="9"/>
                  </a:cubicBezTo>
                  <a:cubicBezTo>
                    <a:pt x="0" y="13"/>
                    <a:pt x="1" y="18"/>
                    <a:pt x="3" y="13"/>
                  </a:cubicBezTo>
                  <a:cubicBezTo>
                    <a:pt x="6" y="9"/>
                    <a:pt x="7" y="8"/>
                    <a:pt x="7" y="5"/>
                  </a:cubicBezTo>
                  <a:cubicBezTo>
                    <a:pt x="7" y="2"/>
                    <a:pt x="7" y="0"/>
                    <a:pt x="4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2" name="Freeform 308"/>
            <p:cNvSpPr>
              <a:spLocks/>
            </p:cNvSpPr>
            <p:nvPr/>
          </p:nvSpPr>
          <p:spPr bwMode="auto">
            <a:xfrm>
              <a:off x="4622119" y="3552322"/>
              <a:ext cx="7144" cy="7144"/>
            </a:xfrm>
            <a:custGeom>
              <a:avLst/>
              <a:gdLst>
                <a:gd name="T0" fmla="*/ 17 w 25"/>
                <a:gd name="T1" fmla="*/ 21 h 23"/>
                <a:gd name="T2" fmla="*/ 24 w 25"/>
                <a:gd name="T3" fmla="*/ 14 h 23"/>
                <a:gd name="T4" fmla="*/ 14 w 25"/>
                <a:gd name="T5" fmla="*/ 8 h 23"/>
                <a:gd name="T6" fmla="*/ 5 w 25"/>
                <a:gd name="T7" fmla="*/ 4 h 23"/>
                <a:gd name="T8" fmla="*/ 6 w 25"/>
                <a:gd name="T9" fmla="*/ 16 h 23"/>
                <a:gd name="T10" fmla="*/ 17 w 25"/>
                <a:gd name="T11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23">
                  <a:moveTo>
                    <a:pt x="17" y="21"/>
                  </a:moveTo>
                  <a:cubicBezTo>
                    <a:pt x="21" y="19"/>
                    <a:pt x="25" y="17"/>
                    <a:pt x="24" y="14"/>
                  </a:cubicBezTo>
                  <a:cubicBezTo>
                    <a:pt x="22" y="10"/>
                    <a:pt x="16" y="12"/>
                    <a:pt x="14" y="8"/>
                  </a:cubicBezTo>
                  <a:cubicBezTo>
                    <a:pt x="12" y="3"/>
                    <a:pt x="5" y="0"/>
                    <a:pt x="5" y="4"/>
                  </a:cubicBezTo>
                  <a:cubicBezTo>
                    <a:pt x="4" y="10"/>
                    <a:pt x="0" y="13"/>
                    <a:pt x="6" y="16"/>
                  </a:cubicBezTo>
                  <a:cubicBezTo>
                    <a:pt x="12" y="20"/>
                    <a:pt x="13" y="23"/>
                    <a:pt x="17" y="2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3" name="Freeform 312"/>
            <p:cNvSpPr>
              <a:spLocks noEditPoints="1"/>
            </p:cNvSpPr>
            <p:nvPr/>
          </p:nvSpPr>
          <p:spPr bwMode="auto">
            <a:xfrm>
              <a:off x="7303406" y="3415401"/>
              <a:ext cx="439341" cy="233362"/>
            </a:xfrm>
            <a:custGeom>
              <a:avLst/>
              <a:gdLst>
                <a:gd name="T0" fmla="*/ 10 w 1533"/>
                <a:gd name="T1" fmla="*/ 476 h 813"/>
                <a:gd name="T2" fmla="*/ 26 w 1533"/>
                <a:gd name="T3" fmla="*/ 506 h 813"/>
                <a:gd name="T4" fmla="*/ 60 w 1533"/>
                <a:gd name="T5" fmla="*/ 526 h 813"/>
                <a:gd name="T6" fmla="*/ 35 w 1533"/>
                <a:gd name="T7" fmla="*/ 483 h 813"/>
                <a:gd name="T8" fmla="*/ 1362 w 1533"/>
                <a:gd name="T9" fmla="*/ 25 h 813"/>
                <a:gd name="T10" fmla="*/ 1330 w 1533"/>
                <a:gd name="T11" fmla="*/ 2 h 813"/>
                <a:gd name="T12" fmla="*/ 1339 w 1533"/>
                <a:gd name="T13" fmla="*/ 16 h 813"/>
                <a:gd name="T14" fmla="*/ 1483 w 1533"/>
                <a:gd name="T15" fmla="*/ 314 h 813"/>
                <a:gd name="T16" fmla="*/ 1483 w 1533"/>
                <a:gd name="T17" fmla="*/ 307 h 813"/>
                <a:gd name="T18" fmla="*/ 1523 w 1533"/>
                <a:gd name="T19" fmla="*/ 368 h 813"/>
                <a:gd name="T20" fmla="*/ 742 w 1533"/>
                <a:gd name="T21" fmla="*/ 751 h 813"/>
                <a:gd name="T22" fmla="*/ 718 w 1533"/>
                <a:gd name="T23" fmla="*/ 764 h 813"/>
                <a:gd name="T24" fmla="*/ 737 w 1533"/>
                <a:gd name="T25" fmla="*/ 760 h 813"/>
                <a:gd name="T26" fmla="*/ 475 w 1533"/>
                <a:gd name="T27" fmla="*/ 684 h 813"/>
                <a:gd name="T28" fmla="*/ 438 w 1533"/>
                <a:gd name="T29" fmla="*/ 670 h 813"/>
                <a:gd name="T30" fmla="*/ 446 w 1533"/>
                <a:gd name="T31" fmla="*/ 690 h 813"/>
                <a:gd name="T32" fmla="*/ 475 w 1533"/>
                <a:gd name="T33" fmla="*/ 684 h 813"/>
                <a:gd name="T34" fmla="*/ 498 w 1533"/>
                <a:gd name="T35" fmla="*/ 716 h 813"/>
                <a:gd name="T36" fmla="*/ 482 w 1533"/>
                <a:gd name="T37" fmla="*/ 722 h 813"/>
                <a:gd name="T38" fmla="*/ 838 w 1533"/>
                <a:gd name="T39" fmla="*/ 799 h 813"/>
                <a:gd name="T40" fmla="*/ 810 w 1533"/>
                <a:gd name="T41" fmla="*/ 785 h 813"/>
                <a:gd name="T42" fmla="*/ 831 w 1533"/>
                <a:gd name="T43" fmla="*/ 804 h 813"/>
                <a:gd name="T44" fmla="*/ 1286 w 1533"/>
                <a:gd name="T45" fmla="*/ 746 h 813"/>
                <a:gd name="T46" fmla="*/ 1288 w 1533"/>
                <a:gd name="T47" fmla="*/ 757 h 813"/>
                <a:gd name="T48" fmla="*/ 1359 w 1533"/>
                <a:gd name="T49" fmla="*/ 731 h 813"/>
                <a:gd name="T50" fmla="*/ 1353 w 1533"/>
                <a:gd name="T51" fmla="*/ 737 h 813"/>
                <a:gd name="T52" fmla="*/ 1510 w 1533"/>
                <a:gd name="T53" fmla="*/ 681 h 813"/>
                <a:gd name="T54" fmla="*/ 1518 w 1533"/>
                <a:gd name="T55" fmla="*/ 689 h 813"/>
                <a:gd name="T56" fmla="*/ 865 w 1533"/>
                <a:gd name="T57" fmla="*/ 765 h 813"/>
                <a:gd name="T58" fmla="*/ 865 w 1533"/>
                <a:gd name="T59" fmla="*/ 765 h 813"/>
                <a:gd name="T60" fmla="*/ 1458 w 1533"/>
                <a:gd name="T61" fmla="*/ 712 h 813"/>
                <a:gd name="T62" fmla="*/ 1460 w 1533"/>
                <a:gd name="T63" fmla="*/ 704 h 813"/>
                <a:gd name="T64" fmla="*/ 1426 w 1533"/>
                <a:gd name="T65" fmla="*/ 719 h 813"/>
                <a:gd name="T66" fmla="*/ 1017 w 1533"/>
                <a:gd name="T67" fmla="*/ 767 h 813"/>
                <a:gd name="T68" fmla="*/ 1011 w 1533"/>
                <a:gd name="T69" fmla="*/ 779 h 813"/>
                <a:gd name="T70" fmla="*/ 1026 w 1533"/>
                <a:gd name="T71" fmla="*/ 768 h 813"/>
                <a:gd name="T72" fmla="*/ 1046 w 1533"/>
                <a:gd name="T73" fmla="*/ 776 h 813"/>
                <a:gd name="T74" fmla="*/ 1059 w 1533"/>
                <a:gd name="T75" fmla="*/ 779 h 813"/>
                <a:gd name="T76" fmla="*/ 1247 w 1533"/>
                <a:gd name="T77" fmla="*/ 738 h 813"/>
                <a:gd name="T78" fmla="*/ 1245 w 1533"/>
                <a:gd name="T79" fmla="*/ 722 h 813"/>
                <a:gd name="T80" fmla="*/ 1243 w 1533"/>
                <a:gd name="T81" fmla="*/ 746 h 813"/>
                <a:gd name="T82" fmla="*/ 1217 w 1533"/>
                <a:gd name="T83" fmla="*/ 748 h 813"/>
                <a:gd name="T84" fmla="*/ 1233 w 1533"/>
                <a:gd name="T85" fmla="*/ 748 h 813"/>
                <a:gd name="T86" fmla="*/ 1090 w 1533"/>
                <a:gd name="T87" fmla="*/ 787 h 813"/>
                <a:gd name="T88" fmla="*/ 1113 w 1533"/>
                <a:gd name="T89" fmla="*/ 772 h 813"/>
                <a:gd name="T90" fmla="*/ 1089 w 1533"/>
                <a:gd name="T91" fmla="*/ 772 h 813"/>
                <a:gd name="T92" fmla="*/ 1126 w 1533"/>
                <a:gd name="T93" fmla="*/ 747 h 813"/>
                <a:gd name="T94" fmla="*/ 1126 w 1533"/>
                <a:gd name="T95" fmla="*/ 747 h 813"/>
                <a:gd name="T96" fmla="*/ 1088 w 1533"/>
                <a:gd name="T97" fmla="*/ 756 h 813"/>
                <a:gd name="T98" fmla="*/ 1125 w 1533"/>
                <a:gd name="T99" fmla="*/ 768 h 813"/>
                <a:gd name="T100" fmla="*/ 1134 w 1533"/>
                <a:gd name="T101" fmla="*/ 771 h 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33" h="813">
                  <a:moveTo>
                    <a:pt x="33" y="473"/>
                  </a:moveTo>
                  <a:cubicBezTo>
                    <a:pt x="30" y="472"/>
                    <a:pt x="32" y="470"/>
                    <a:pt x="25" y="473"/>
                  </a:cubicBezTo>
                  <a:cubicBezTo>
                    <a:pt x="18" y="476"/>
                    <a:pt x="17" y="476"/>
                    <a:pt x="10" y="476"/>
                  </a:cubicBezTo>
                  <a:cubicBezTo>
                    <a:pt x="3" y="476"/>
                    <a:pt x="0" y="479"/>
                    <a:pt x="5" y="481"/>
                  </a:cubicBezTo>
                  <a:cubicBezTo>
                    <a:pt x="10" y="483"/>
                    <a:pt x="16" y="484"/>
                    <a:pt x="17" y="491"/>
                  </a:cubicBezTo>
                  <a:cubicBezTo>
                    <a:pt x="23" y="498"/>
                    <a:pt x="25" y="502"/>
                    <a:pt x="26" y="506"/>
                  </a:cubicBezTo>
                  <a:cubicBezTo>
                    <a:pt x="27" y="510"/>
                    <a:pt x="31" y="510"/>
                    <a:pt x="37" y="512"/>
                  </a:cubicBezTo>
                  <a:cubicBezTo>
                    <a:pt x="42" y="515"/>
                    <a:pt x="41" y="516"/>
                    <a:pt x="46" y="521"/>
                  </a:cubicBezTo>
                  <a:cubicBezTo>
                    <a:pt x="51" y="526"/>
                    <a:pt x="56" y="530"/>
                    <a:pt x="60" y="526"/>
                  </a:cubicBezTo>
                  <a:cubicBezTo>
                    <a:pt x="64" y="523"/>
                    <a:pt x="60" y="514"/>
                    <a:pt x="56" y="510"/>
                  </a:cubicBezTo>
                  <a:cubicBezTo>
                    <a:pt x="51" y="507"/>
                    <a:pt x="48" y="505"/>
                    <a:pt x="44" y="499"/>
                  </a:cubicBezTo>
                  <a:cubicBezTo>
                    <a:pt x="39" y="494"/>
                    <a:pt x="35" y="489"/>
                    <a:pt x="35" y="483"/>
                  </a:cubicBezTo>
                  <a:cubicBezTo>
                    <a:pt x="35" y="477"/>
                    <a:pt x="37" y="474"/>
                    <a:pt x="33" y="473"/>
                  </a:cubicBezTo>
                  <a:close/>
                  <a:moveTo>
                    <a:pt x="1352" y="27"/>
                  </a:moveTo>
                  <a:cubicBezTo>
                    <a:pt x="1357" y="34"/>
                    <a:pt x="1362" y="29"/>
                    <a:pt x="1362" y="25"/>
                  </a:cubicBezTo>
                  <a:cubicBezTo>
                    <a:pt x="1362" y="21"/>
                    <a:pt x="1358" y="17"/>
                    <a:pt x="1353" y="17"/>
                  </a:cubicBezTo>
                  <a:cubicBezTo>
                    <a:pt x="1349" y="17"/>
                    <a:pt x="1346" y="16"/>
                    <a:pt x="1339" y="10"/>
                  </a:cubicBezTo>
                  <a:cubicBezTo>
                    <a:pt x="1336" y="5"/>
                    <a:pt x="1330" y="5"/>
                    <a:pt x="1330" y="2"/>
                  </a:cubicBezTo>
                  <a:cubicBezTo>
                    <a:pt x="1330" y="0"/>
                    <a:pt x="1325" y="0"/>
                    <a:pt x="1321" y="1"/>
                  </a:cubicBezTo>
                  <a:cubicBezTo>
                    <a:pt x="1316" y="1"/>
                    <a:pt x="1319" y="6"/>
                    <a:pt x="1322" y="8"/>
                  </a:cubicBezTo>
                  <a:cubicBezTo>
                    <a:pt x="1324" y="10"/>
                    <a:pt x="1330" y="15"/>
                    <a:pt x="1339" y="16"/>
                  </a:cubicBezTo>
                  <a:cubicBezTo>
                    <a:pt x="1348" y="18"/>
                    <a:pt x="1348" y="19"/>
                    <a:pt x="1352" y="27"/>
                  </a:cubicBezTo>
                  <a:close/>
                  <a:moveTo>
                    <a:pt x="1483" y="307"/>
                  </a:moveTo>
                  <a:cubicBezTo>
                    <a:pt x="1478" y="308"/>
                    <a:pt x="1480" y="313"/>
                    <a:pt x="1483" y="314"/>
                  </a:cubicBezTo>
                  <a:cubicBezTo>
                    <a:pt x="1486" y="316"/>
                    <a:pt x="1487" y="319"/>
                    <a:pt x="1491" y="316"/>
                  </a:cubicBezTo>
                  <a:cubicBezTo>
                    <a:pt x="1494" y="313"/>
                    <a:pt x="1496" y="312"/>
                    <a:pt x="1497" y="309"/>
                  </a:cubicBezTo>
                  <a:cubicBezTo>
                    <a:pt x="1497" y="305"/>
                    <a:pt x="1490" y="307"/>
                    <a:pt x="1483" y="307"/>
                  </a:cubicBezTo>
                  <a:close/>
                  <a:moveTo>
                    <a:pt x="1527" y="359"/>
                  </a:moveTo>
                  <a:cubicBezTo>
                    <a:pt x="1523" y="357"/>
                    <a:pt x="1516" y="356"/>
                    <a:pt x="1517" y="362"/>
                  </a:cubicBezTo>
                  <a:cubicBezTo>
                    <a:pt x="1520" y="364"/>
                    <a:pt x="1518" y="368"/>
                    <a:pt x="1523" y="368"/>
                  </a:cubicBezTo>
                  <a:cubicBezTo>
                    <a:pt x="1528" y="368"/>
                    <a:pt x="1527" y="369"/>
                    <a:pt x="1530" y="365"/>
                  </a:cubicBezTo>
                  <a:cubicBezTo>
                    <a:pt x="1533" y="360"/>
                    <a:pt x="1531" y="360"/>
                    <a:pt x="1527" y="359"/>
                  </a:cubicBezTo>
                  <a:close/>
                  <a:moveTo>
                    <a:pt x="742" y="751"/>
                  </a:moveTo>
                  <a:cubicBezTo>
                    <a:pt x="743" y="748"/>
                    <a:pt x="737" y="745"/>
                    <a:pt x="730" y="753"/>
                  </a:cubicBezTo>
                  <a:cubicBezTo>
                    <a:pt x="727" y="757"/>
                    <a:pt x="728" y="757"/>
                    <a:pt x="724" y="759"/>
                  </a:cubicBezTo>
                  <a:cubicBezTo>
                    <a:pt x="721" y="760"/>
                    <a:pt x="717" y="761"/>
                    <a:pt x="718" y="764"/>
                  </a:cubicBezTo>
                  <a:cubicBezTo>
                    <a:pt x="718" y="767"/>
                    <a:pt x="724" y="770"/>
                    <a:pt x="725" y="766"/>
                  </a:cubicBezTo>
                  <a:cubicBezTo>
                    <a:pt x="727" y="763"/>
                    <a:pt x="729" y="762"/>
                    <a:pt x="732" y="762"/>
                  </a:cubicBezTo>
                  <a:cubicBezTo>
                    <a:pt x="734" y="762"/>
                    <a:pt x="737" y="763"/>
                    <a:pt x="737" y="760"/>
                  </a:cubicBezTo>
                  <a:cubicBezTo>
                    <a:pt x="738" y="757"/>
                    <a:pt x="736" y="757"/>
                    <a:pt x="738" y="755"/>
                  </a:cubicBezTo>
                  <a:cubicBezTo>
                    <a:pt x="740" y="754"/>
                    <a:pt x="742" y="754"/>
                    <a:pt x="742" y="751"/>
                  </a:cubicBezTo>
                  <a:close/>
                  <a:moveTo>
                    <a:pt x="475" y="684"/>
                  </a:moveTo>
                  <a:cubicBezTo>
                    <a:pt x="473" y="681"/>
                    <a:pt x="468" y="679"/>
                    <a:pt x="467" y="675"/>
                  </a:cubicBezTo>
                  <a:cubicBezTo>
                    <a:pt x="466" y="672"/>
                    <a:pt x="458" y="670"/>
                    <a:pt x="453" y="670"/>
                  </a:cubicBezTo>
                  <a:cubicBezTo>
                    <a:pt x="448" y="670"/>
                    <a:pt x="448" y="671"/>
                    <a:pt x="438" y="670"/>
                  </a:cubicBezTo>
                  <a:cubicBezTo>
                    <a:pt x="430" y="670"/>
                    <a:pt x="422" y="675"/>
                    <a:pt x="424" y="679"/>
                  </a:cubicBezTo>
                  <a:cubicBezTo>
                    <a:pt x="426" y="684"/>
                    <a:pt x="431" y="683"/>
                    <a:pt x="434" y="687"/>
                  </a:cubicBezTo>
                  <a:cubicBezTo>
                    <a:pt x="437" y="691"/>
                    <a:pt x="442" y="691"/>
                    <a:pt x="446" y="690"/>
                  </a:cubicBezTo>
                  <a:cubicBezTo>
                    <a:pt x="451" y="689"/>
                    <a:pt x="448" y="685"/>
                    <a:pt x="452" y="684"/>
                  </a:cubicBezTo>
                  <a:cubicBezTo>
                    <a:pt x="457" y="683"/>
                    <a:pt x="464" y="685"/>
                    <a:pt x="467" y="687"/>
                  </a:cubicBezTo>
                  <a:cubicBezTo>
                    <a:pt x="470" y="688"/>
                    <a:pt x="476" y="687"/>
                    <a:pt x="475" y="684"/>
                  </a:cubicBezTo>
                  <a:close/>
                  <a:moveTo>
                    <a:pt x="489" y="725"/>
                  </a:moveTo>
                  <a:cubicBezTo>
                    <a:pt x="492" y="726"/>
                    <a:pt x="494" y="724"/>
                    <a:pt x="495" y="721"/>
                  </a:cubicBezTo>
                  <a:cubicBezTo>
                    <a:pt x="495" y="719"/>
                    <a:pt x="498" y="720"/>
                    <a:pt x="498" y="716"/>
                  </a:cubicBezTo>
                  <a:cubicBezTo>
                    <a:pt x="499" y="713"/>
                    <a:pt x="494" y="714"/>
                    <a:pt x="487" y="715"/>
                  </a:cubicBezTo>
                  <a:cubicBezTo>
                    <a:pt x="485" y="715"/>
                    <a:pt x="486" y="715"/>
                    <a:pt x="479" y="717"/>
                  </a:cubicBezTo>
                  <a:cubicBezTo>
                    <a:pt x="473" y="717"/>
                    <a:pt x="479" y="722"/>
                    <a:pt x="482" y="722"/>
                  </a:cubicBezTo>
                  <a:cubicBezTo>
                    <a:pt x="486" y="722"/>
                    <a:pt x="486" y="724"/>
                    <a:pt x="489" y="725"/>
                  </a:cubicBezTo>
                  <a:close/>
                  <a:moveTo>
                    <a:pt x="846" y="809"/>
                  </a:moveTo>
                  <a:cubicBezTo>
                    <a:pt x="847" y="805"/>
                    <a:pt x="841" y="802"/>
                    <a:pt x="838" y="799"/>
                  </a:cubicBezTo>
                  <a:cubicBezTo>
                    <a:pt x="835" y="796"/>
                    <a:pt x="832" y="794"/>
                    <a:pt x="831" y="791"/>
                  </a:cubicBezTo>
                  <a:cubicBezTo>
                    <a:pt x="830" y="788"/>
                    <a:pt x="826" y="788"/>
                    <a:pt x="822" y="787"/>
                  </a:cubicBezTo>
                  <a:cubicBezTo>
                    <a:pt x="819" y="786"/>
                    <a:pt x="815" y="784"/>
                    <a:pt x="810" y="785"/>
                  </a:cubicBezTo>
                  <a:cubicBezTo>
                    <a:pt x="807" y="786"/>
                    <a:pt x="804" y="785"/>
                    <a:pt x="810" y="788"/>
                  </a:cubicBezTo>
                  <a:cubicBezTo>
                    <a:pt x="817" y="792"/>
                    <a:pt x="822" y="790"/>
                    <a:pt x="824" y="795"/>
                  </a:cubicBezTo>
                  <a:cubicBezTo>
                    <a:pt x="826" y="799"/>
                    <a:pt x="828" y="799"/>
                    <a:pt x="831" y="804"/>
                  </a:cubicBezTo>
                  <a:cubicBezTo>
                    <a:pt x="835" y="809"/>
                    <a:pt x="845" y="813"/>
                    <a:pt x="846" y="809"/>
                  </a:cubicBezTo>
                  <a:close/>
                  <a:moveTo>
                    <a:pt x="1298" y="749"/>
                  </a:moveTo>
                  <a:cubicBezTo>
                    <a:pt x="1296" y="748"/>
                    <a:pt x="1291" y="746"/>
                    <a:pt x="1286" y="746"/>
                  </a:cubicBezTo>
                  <a:cubicBezTo>
                    <a:pt x="1280" y="746"/>
                    <a:pt x="1278" y="744"/>
                    <a:pt x="1278" y="748"/>
                  </a:cubicBezTo>
                  <a:cubicBezTo>
                    <a:pt x="1278" y="752"/>
                    <a:pt x="1279" y="753"/>
                    <a:pt x="1281" y="754"/>
                  </a:cubicBezTo>
                  <a:cubicBezTo>
                    <a:pt x="1283" y="756"/>
                    <a:pt x="1284" y="758"/>
                    <a:pt x="1288" y="757"/>
                  </a:cubicBezTo>
                  <a:cubicBezTo>
                    <a:pt x="1291" y="756"/>
                    <a:pt x="1292" y="754"/>
                    <a:pt x="1295" y="753"/>
                  </a:cubicBezTo>
                  <a:cubicBezTo>
                    <a:pt x="1298" y="752"/>
                    <a:pt x="1301" y="751"/>
                    <a:pt x="1298" y="749"/>
                  </a:cubicBezTo>
                  <a:close/>
                  <a:moveTo>
                    <a:pt x="1359" y="731"/>
                  </a:moveTo>
                  <a:cubicBezTo>
                    <a:pt x="1359" y="729"/>
                    <a:pt x="1354" y="724"/>
                    <a:pt x="1350" y="726"/>
                  </a:cubicBezTo>
                  <a:cubicBezTo>
                    <a:pt x="1345" y="730"/>
                    <a:pt x="1342" y="732"/>
                    <a:pt x="1345" y="736"/>
                  </a:cubicBezTo>
                  <a:cubicBezTo>
                    <a:pt x="1347" y="739"/>
                    <a:pt x="1351" y="740"/>
                    <a:pt x="1353" y="737"/>
                  </a:cubicBezTo>
                  <a:cubicBezTo>
                    <a:pt x="1355" y="734"/>
                    <a:pt x="1358" y="734"/>
                    <a:pt x="1359" y="731"/>
                  </a:cubicBezTo>
                  <a:close/>
                  <a:moveTo>
                    <a:pt x="1518" y="677"/>
                  </a:moveTo>
                  <a:cubicBezTo>
                    <a:pt x="1516" y="676"/>
                    <a:pt x="1513" y="678"/>
                    <a:pt x="1510" y="681"/>
                  </a:cubicBezTo>
                  <a:cubicBezTo>
                    <a:pt x="1506" y="684"/>
                    <a:pt x="1503" y="682"/>
                    <a:pt x="1504" y="684"/>
                  </a:cubicBezTo>
                  <a:cubicBezTo>
                    <a:pt x="1504" y="687"/>
                    <a:pt x="1505" y="688"/>
                    <a:pt x="1509" y="688"/>
                  </a:cubicBezTo>
                  <a:cubicBezTo>
                    <a:pt x="1513" y="689"/>
                    <a:pt x="1517" y="691"/>
                    <a:pt x="1518" y="689"/>
                  </a:cubicBezTo>
                  <a:cubicBezTo>
                    <a:pt x="1519" y="686"/>
                    <a:pt x="1518" y="686"/>
                    <a:pt x="1518" y="683"/>
                  </a:cubicBezTo>
                  <a:cubicBezTo>
                    <a:pt x="1518" y="681"/>
                    <a:pt x="1521" y="678"/>
                    <a:pt x="1518" y="677"/>
                  </a:cubicBezTo>
                  <a:close/>
                  <a:moveTo>
                    <a:pt x="865" y="765"/>
                  </a:moveTo>
                  <a:cubicBezTo>
                    <a:pt x="867" y="763"/>
                    <a:pt x="868" y="750"/>
                    <a:pt x="860" y="754"/>
                  </a:cubicBezTo>
                  <a:cubicBezTo>
                    <a:pt x="857" y="757"/>
                    <a:pt x="855" y="759"/>
                    <a:pt x="859" y="761"/>
                  </a:cubicBezTo>
                  <a:cubicBezTo>
                    <a:pt x="862" y="763"/>
                    <a:pt x="863" y="767"/>
                    <a:pt x="865" y="765"/>
                  </a:cubicBezTo>
                  <a:close/>
                  <a:moveTo>
                    <a:pt x="1460" y="704"/>
                  </a:moveTo>
                  <a:cubicBezTo>
                    <a:pt x="1457" y="708"/>
                    <a:pt x="1454" y="707"/>
                    <a:pt x="1455" y="710"/>
                  </a:cubicBezTo>
                  <a:cubicBezTo>
                    <a:pt x="1455" y="712"/>
                    <a:pt x="1455" y="714"/>
                    <a:pt x="1458" y="712"/>
                  </a:cubicBezTo>
                  <a:cubicBezTo>
                    <a:pt x="1462" y="711"/>
                    <a:pt x="1464" y="708"/>
                    <a:pt x="1467" y="706"/>
                  </a:cubicBezTo>
                  <a:cubicBezTo>
                    <a:pt x="1469" y="704"/>
                    <a:pt x="1470" y="701"/>
                    <a:pt x="1469" y="699"/>
                  </a:cubicBezTo>
                  <a:cubicBezTo>
                    <a:pt x="1468" y="698"/>
                    <a:pt x="1462" y="699"/>
                    <a:pt x="1460" y="704"/>
                  </a:cubicBezTo>
                  <a:close/>
                  <a:moveTo>
                    <a:pt x="1424" y="715"/>
                  </a:moveTo>
                  <a:cubicBezTo>
                    <a:pt x="1422" y="717"/>
                    <a:pt x="1418" y="719"/>
                    <a:pt x="1419" y="719"/>
                  </a:cubicBezTo>
                  <a:cubicBezTo>
                    <a:pt x="1421" y="720"/>
                    <a:pt x="1422" y="721"/>
                    <a:pt x="1426" y="719"/>
                  </a:cubicBezTo>
                  <a:cubicBezTo>
                    <a:pt x="1430" y="717"/>
                    <a:pt x="1429" y="713"/>
                    <a:pt x="1424" y="715"/>
                  </a:cubicBezTo>
                  <a:close/>
                  <a:moveTo>
                    <a:pt x="1026" y="768"/>
                  </a:moveTo>
                  <a:cubicBezTo>
                    <a:pt x="1023" y="766"/>
                    <a:pt x="1022" y="768"/>
                    <a:pt x="1017" y="767"/>
                  </a:cubicBezTo>
                  <a:cubicBezTo>
                    <a:pt x="1011" y="766"/>
                    <a:pt x="1007" y="765"/>
                    <a:pt x="1003" y="765"/>
                  </a:cubicBezTo>
                  <a:cubicBezTo>
                    <a:pt x="1000" y="766"/>
                    <a:pt x="1003" y="770"/>
                    <a:pt x="1005" y="772"/>
                  </a:cubicBezTo>
                  <a:cubicBezTo>
                    <a:pt x="1008" y="774"/>
                    <a:pt x="1010" y="774"/>
                    <a:pt x="1011" y="779"/>
                  </a:cubicBezTo>
                  <a:cubicBezTo>
                    <a:pt x="1013" y="784"/>
                    <a:pt x="1018" y="783"/>
                    <a:pt x="1018" y="780"/>
                  </a:cubicBezTo>
                  <a:cubicBezTo>
                    <a:pt x="1018" y="777"/>
                    <a:pt x="1017" y="775"/>
                    <a:pt x="1021" y="773"/>
                  </a:cubicBezTo>
                  <a:cubicBezTo>
                    <a:pt x="1026" y="771"/>
                    <a:pt x="1029" y="769"/>
                    <a:pt x="1026" y="768"/>
                  </a:cubicBezTo>
                  <a:close/>
                  <a:moveTo>
                    <a:pt x="1062" y="768"/>
                  </a:moveTo>
                  <a:cubicBezTo>
                    <a:pt x="1062" y="765"/>
                    <a:pt x="1053" y="768"/>
                    <a:pt x="1052" y="771"/>
                  </a:cubicBezTo>
                  <a:cubicBezTo>
                    <a:pt x="1050" y="775"/>
                    <a:pt x="1052" y="775"/>
                    <a:pt x="1046" y="776"/>
                  </a:cubicBezTo>
                  <a:cubicBezTo>
                    <a:pt x="1041" y="778"/>
                    <a:pt x="1037" y="781"/>
                    <a:pt x="1040" y="781"/>
                  </a:cubicBezTo>
                  <a:cubicBezTo>
                    <a:pt x="1043" y="782"/>
                    <a:pt x="1046" y="781"/>
                    <a:pt x="1049" y="780"/>
                  </a:cubicBezTo>
                  <a:cubicBezTo>
                    <a:pt x="1052" y="779"/>
                    <a:pt x="1057" y="780"/>
                    <a:pt x="1059" y="779"/>
                  </a:cubicBezTo>
                  <a:cubicBezTo>
                    <a:pt x="1060" y="779"/>
                    <a:pt x="1061" y="778"/>
                    <a:pt x="1061" y="774"/>
                  </a:cubicBezTo>
                  <a:cubicBezTo>
                    <a:pt x="1061" y="771"/>
                    <a:pt x="1063" y="771"/>
                    <a:pt x="1062" y="768"/>
                  </a:cubicBezTo>
                  <a:close/>
                  <a:moveTo>
                    <a:pt x="1247" y="738"/>
                  </a:moveTo>
                  <a:cubicBezTo>
                    <a:pt x="1249" y="738"/>
                    <a:pt x="1251" y="740"/>
                    <a:pt x="1252" y="736"/>
                  </a:cubicBezTo>
                  <a:cubicBezTo>
                    <a:pt x="1252" y="731"/>
                    <a:pt x="1253" y="731"/>
                    <a:pt x="1254" y="728"/>
                  </a:cubicBezTo>
                  <a:cubicBezTo>
                    <a:pt x="1254" y="725"/>
                    <a:pt x="1247" y="719"/>
                    <a:pt x="1245" y="722"/>
                  </a:cubicBezTo>
                  <a:cubicBezTo>
                    <a:pt x="1244" y="726"/>
                    <a:pt x="1240" y="727"/>
                    <a:pt x="1241" y="730"/>
                  </a:cubicBezTo>
                  <a:cubicBezTo>
                    <a:pt x="1242" y="733"/>
                    <a:pt x="1244" y="737"/>
                    <a:pt x="1247" y="738"/>
                  </a:cubicBezTo>
                  <a:close/>
                  <a:moveTo>
                    <a:pt x="1243" y="746"/>
                  </a:moveTo>
                  <a:cubicBezTo>
                    <a:pt x="1244" y="744"/>
                    <a:pt x="1243" y="743"/>
                    <a:pt x="1242" y="741"/>
                  </a:cubicBezTo>
                  <a:cubicBezTo>
                    <a:pt x="1240" y="738"/>
                    <a:pt x="1236" y="739"/>
                    <a:pt x="1233" y="741"/>
                  </a:cubicBezTo>
                  <a:cubicBezTo>
                    <a:pt x="1225" y="744"/>
                    <a:pt x="1219" y="747"/>
                    <a:pt x="1217" y="748"/>
                  </a:cubicBezTo>
                  <a:cubicBezTo>
                    <a:pt x="1214" y="748"/>
                    <a:pt x="1208" y="749"/>
                    <a:pt x="1207" y="751"/>
                  </a:cubicBezTo>
                  <a:cubicBezTo>
                    <a:pt x="1206" y="753"/>
                    <a:pt x="1214" y="752"/>
                    <a:pt x="1220" y="750"/>
                  </a:cubicBezTo>
                  <a:cubicBezTo>
                    <a:pt x="1226" y="748"/>
                    <a:pt x="1226" y="749"/>
                    <a:pt x="1233" y="748"/>
                  </a:cubicBezTo>
                  <a:cubicBezTo>
                    <a:pt x="1240" y="748"/>
                    <a:pt x="1242" y="748"/>
                    <a:pt x="1243" y="746"/>
                  </a:cubicBezTo>
                  <a:close/>
                  <a:moveTo>
                    <a:pt x="1081" y="782"/>
                  </a:moveTo>
                  <a:cubicBezTo>
                    <a:pt x="1083" y="785"/>
                    <a:pt x="1087" y="788"/>
                    <a:pt x="1090" y="787"/>
                  </a:cubicBezTo>
                  <a:cubicBezTo>
                    <a:pt x="1093" y="786"/>
                    <a:pt x="1094" y="783"/>
                    <a:pt x="1097" y="780"/>
                  </a:cubicBezTo>
                  <a:cubicBezTo>
                    <a:pt x="1100" y="777"/>
                    <a:pt x="1100" y="777"/>
                    <a:pt x="1105" y="776"/>
                  </a:cubicBezTo>
                  <a:cubicBezTo>
                    <a:pt x="1109" y="775"/>
                    <a:pt x="1112" y="775"/>
                    <a:pt x="1113" y="772"/>
                  </a:cubicBezTo>
                  <a:cubicBezTo>
                    <a:pt x="1114" y="768"/>
                    <a:pt x="1111" y="769"/>
                    <a:pt x="1108" y="769"/>
                  </a:cubicBezTo>
                  <a:cubicBezTo>
                    <a:pt x="1104" y="769"/>
                    <a:pt x="1099" y="768"/>
                    <a:pt x="1094" y="769"/>
                  </a:cubicBezTo>
                  <a:cubicBezTo>
                    <a:pt x="1092" y="771"/>
                    <a:pt x="1091" y="770"/>
                    <a:pt x="1089" y="772"/>
                  </a:cubicBezTo>
                  <a:cubicBezTo>
                    <a:pt x="1088" y="774"/>
                    <a:pt x="1088" y="775"/>
                    <a:pt x="1085" y="777"/>
                  </a:cubicBezTo>
                  <a:cubicBezTo>
                    <a:pt x="1082" y="778"/>
                    <a:pt x="1079" y="779"/>
                    <a:pt x="1081" y="782"/>
                  </a:cubicBezTo>
                  <a:close/>
                  <a:moveTo>
                    <a:pt x="1126" y="747"/>
                  </a:moveTo>
                  <a:cubicBezTo>
                    <a:pt x="1125" y="750"/>
                    <a:pt x="1127" y="751"/>
                    <a:pt x="1129" y="754"/>
                  </a:cubicBezTo>
                  <a:cubicBezTo>
                    <a:pt x="1131" y="757"/>
                    <a:pt x="1132" y="761"/>
                    <a:pt x="1135" y="758"/>
                  </a:cubicBezTo>
                  <a:cubicBezTo>
                    <a:pt x="1138" y="756"/>
                    <a:pt x="1130" y="746"/>
                    <a:pt x="1126" y="747"/>
                  </a:cubicBezTo>
                  <a:close/>
                  <a:moveTo>
                    <a:pt x="1095" y="762"/>
                  </a:moveTo>
                  <a:cubicBezTo>
                    <a:pt x="1097" y="760"/>
                    <a:pt x="1097" y="758"/>
                    <a:pt x="1097" y="756"/>
                  </a:cubicBezTo>
                  <a:cubicBezTo>
                    <a:pt x="1096" y="753"/>
                    <a:pt x="1092" y="754"/>
                    <a:pt x="1088" y="756"/>
                  </a:cubicBezTo>
                  <a:cubicBezTo>
                    <a:pt x="1085" y="759"/>
                    <a:pt x="1083" y="760"/>
                    <a:pt x="1087" y="761"/>
                  </a:cubicBezTo>
                  <a:cubicBezTo>
                    <a:pt x="1090" y="761"/>
                    <a:pt x="1094" y="763"/>
                    <a:pt x="1095" y="762"/>
                  </a:cubicBezTo>
                  <a:close/>
                  <a:moveTo>
                    <a:pt x="1125" y="768"/>
                  </a:moveTo>
                  <a:cubicBezTo>
                    <a:pt x="1122" y="769"/>
                    <a:pt x="1123" y="771"/>
                    <a:pt x="1125" y="773"/>
                  </a:cubicBezTo>
                  <a:cubicBezTo>
                    <a:pt x="1126" y="775"/>
                    <a:pt x="1128" y="778"/>
                    <a:pt x="1131" y="775"/>
                  </a:cubicBezTo>
                  <a:cubicBezTo>
                    <a:pt x="1133" y="772"/>
                    <a:pt x="1134" y="772"/>
                    <a:pt x="1134" y="771"/>
                  </a:cubicBezTo>
                  <a:cubicBezTo>
                    <a:pt x="1133" y="769"/>
                    <a:pt x="1129" y="768"/>
                    <a:pt x="1125" y="76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4" name="Freeform 313"/>
            <p:cNvSpPr>
              <a:spLocks/>
            </p:cNvSpPr>
            <p:nvPr/>
          </p:nvSpPr>
          <p:spPr bwMode="auto">
            <a:xfrm>
              <a:off x="7322456" y="4656032"/>
              <a:ext cx="4762" cy="4762"/>
            </a:xfrm>
            <a:custGeom>
              <a:avLst/>
              <a:gdLst>
                <a:gd name="T0" fmla="*/ 4 w 18"/>
                <a:gd name="T1" fmla="*/ 10 h 17"/>
                <a:gd name="T2" fmla="*/ 16 w 18"/>
                <a:gd name="T3" fmla="*/ 10 h 17"/>
                <a:gd name="T4" fmla="*/ 9 w 18"/>
                <a:gd name="T5" fmla="*/ 2 h 17"/>
                <a:gd name="T6" fmla="*/ 4 w 18"/>
                <a:gd name="T7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7">
                  <a:moveTo>
                    <a:pt x="4" y="10"/>
                  </a:moveTo>
                  <a:cubicBezTo>
                    <a:pt x="8" y="12"/>
                    <a:pt x="14" y="17"/>
                    <a:pt x="16" y="10"/>
                  </a:cubicBezTo>
                  <a:cubicBezTo>
                    <a:pt x="18" y="4"/>
                    <a:pt x="15" y="0"/>
                    <a:pt x="9" y="2"/>
                  </a:cubicBezTo>
                  <a:cubicBezTo>
                    <a:pt x="3" y="4"/>
                    <a:pt x="0" y="8"/>
                    <a:pt x="4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5" name="Freeform 315"/>
            <p:cNvSpPr>
              <a:spLocks/>
            </p:cNvSpPr>
            <p:nvPr/>
          </p:nvSpPr>
          <p:spPr bwMode="auto">
            <a:xfrm>
              <a:off x="7315313" y="5522807"/>
              <a:ext cx="3572" cy="4762"/>
            </a:xfrm>
            <a:custGeom>
              <a:avLst/>
              <a:gdLst>
                <a:gd name="T0" fmla="*/ 3 w 13"/>
                <a:gd name="T1" fmla="*/ 7 h 16"/>
                <a:gd name="T2" fmla="*/ 5 w 13"/>
                <a:gd name="T3" fmla="*/ 15 h 16"/>
                <a:gd name="T4" fmla="*/ 13 w 13"/>
                <a:gd name="T5" fmla="*/ 12 h 16"/>
                <a:gd name="T6" fmla="*/ 3 w 13"/>
                <a:gd name="T7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6">
                  <a:moveTo>
                    <a:pt x="3" y="7"/>
                  </a:moveTo>
                  <a:cubicBezTo>
                    <a:pt x="3" y="12"/>
                    <a:pt x="0" y="14"/>
                    <a:pt x="5" y="15"/>
                  </a:cubicBezTo>
                  <a:cubicBezTo>
                    <a:pt x="11" y="16"/>
                    <a:pt x="13" y="16"/>
                    <a:pt x="13" y="12"/>
                  </a:cubicBezTo>
                  <a:cubicBezTo>
                    <a:pt x="13" y="8"/>
                    <a:pt x="5" y="0"/>
                    <a:pt x="3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6" name="Freeform 316"/>
            <p:cNvSpPr>
              <a:spLocks/>
            </p:cNvSpPr>
            <p:nvPr/>
          </p:nvSpPr>
          <p:spPr bwMode="auto">
            <a:xfrm>
              <a:off x="7168866" y="4523872"/>
              <a:ext cx="4762" cy="5953"/>
            </a:xfrm>
            <a:custGeom>
              <a:avLst/>
              <a:gdLst>
                <a:gd name="T0" fmla="*/ 16 w 18"/>
                <a:gd name="T1" fmla="*/ 14 h 20"/>
                <a:gd name="T2" fmla="*/ 6 w 18"/>
                <a:gd name="T3" fmla="*/ 4 h 20"/>
                <a:gd name="T4" fmla="*/ 6 w 18"/>
                <a:gd name="T5" fmla="*/ 18 h 20"/>
                <a:gd name="T6" fmla="*/ 16 w 18"/>
                <a:gd name="T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0">
                  <a:moveTo>
                    <a:pt x="16" y="14"/>
                  </a:moveTo>
                  <a:cubicBezTo>
                    <a:pt x="18" y="8"/>
                    <a:pt x="8" y="0"/>
                    <a:pt x="6" y="4"/>
                  </a:cubicBezTo>
                  <a:cubicBezTo>
                    <a:pt x="5" y="14"/>
                    <a:pt x="0" y="16"/>
                    <a:pt x="6" y="18"/>
                  </a:cubicBezTo>
                  <a:cubicBezTo>
                    <a:pt x="12" y="20"/>
                    <a:pt x="15" y="19"/>
                    <a:pt x="16" y="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7" name="Freeform 317"/>
            <p:cNvSpPr>
              <a:spLocks/>
            </p:cNvSpPr>
            <p:nvPr/>
          </p:nvSpPr>
          <p:spPr bwMode="auto">
            <a:xfrm>
              <a:off x="7305788" y="5629963"/>
              <a:ext cx="7144" cy="9525"/>
            </a:xfrm>
            <a:custGeom>
              <a:avLst/>
              <a:gdLst>
                <a:gd name="T0" fmla="*/ 26 w 27"/>
                <a:gd name="T1" fmla="*/ 10 h 35"/>
                <a:gd name="T2" fmla="*/ 14 w 27"/>
                <a:gd name="T3" fmla="*/ 7 h 35"/>
                <a:gd name="T4" fmla="*/ 6 w 27"/>
                <a:gd name="T5" fmla="*/ 17 h 35"/>
                <a:gd name="T6" fmla="*/ 6 w 27"/>
                <a:gd name="T7" fmla="*/ 27 h 35"/>
                <a:gd name="T8" fmla="*/ 22 w 27"/>
                <a:gd name="T9" fmla="*/ 30 h 35"/>
                <a:gd name="T10" fmla="*/ 22 w 27"/>
                <a:gd name="T11" fmla="*/ 20 h 35"/>
                <a:gd name="T12" fmla="*/ 26 w 27"/>
                <a:gd name="T13" fmla="*/ 1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5">
                  <a:moveTo>
                    <a:pt x="26" y="10"/>
                  </a:moveTo>
                  <a:cubicBezTo>
                    <a:pt x="26" y="5"/>
                    <a:pt x="19" y="0"/>
                    <a:pt x="14" y="7"/>
                  </a:cubicBezTo>
                  <a:cubicBezTo>
                    <a:pt x="11" y="14"/>
                    <a:pt x="6" y="11"/>
                    <a:pt x="6" y="17"/>
                  </a:cubicBezTo>
                  <a:cubicBezTo>
                    <a:pt x="5" y="23"/>
                    <a:pt x="0" y="24"/>
                    <a:pt x="6" y="27"/>
                  </a:cubicBezTo>
                  <a:cubicBezTo>
                    <a:pt x="13" y="30"/>
                    <a:pt x="21" y="35"/>
                    <a:pt x="22" y="30"/>
                  </a:cubicBezTo>
                  <a:cubicBezTo>
                    <a:pt x="24" y="25"/>
                    <a:pt x="21" y="26"/>
                    <a:pt x="22" y="20"/>
                  </a:cubicBezTo>
                  <a:cubicBezTo>
                    <a:pt x="23" y="15"/>
                    <a:pt x="27" y="16"/>
                    <a:pt x="26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8" name="Freeform 319"/>
            <p:cNvSpPr>
              <a:spLocks/>
            </p:cNvSpPr>
            <p:nvPr/>
          </p:nvSpPr>
          <p:spPr bwMode="auto">
            <a:xfrm>
              <a:off x="7174819" y="5223960"/>
              <a:ext cx="8334" cy="5953"/>
            </a:xfrm>
            <a:custGeom>
              <a:avLst/>
              <a:gdLst>
                <a:gd name="T0" fmla="*/ 14 w 29"/>
                <a:gd name="T1" fmla="*/ 4 h 23"/>
                <a:gd name="T2" fmla="*/ 6 w 29"/>
                <a:gd name="T3" fmla="*/ 16 h 23"/>
                <a:gd name="T4" fmla="*/ 26 w 29"/>
                <a:gd name="T5" fmla="*/ 18 h 23"/>
                <a:gd name="T6" fmla="*/ 14 w 29"/>
                <a:gd name="T7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23">
                  <a:moveTo>
                    <a:pt x="14" y="4"/>
                  </a:moveTo>
                  <a:cubicBezTo>
                    <a:pt x="7" y="11"/>
                    <a:pt x="0" y="14"/>
                    <a:pt x="6" y="16"/>
                  </a:cubicBezTo>
                  <a:cubicBezTo>
                    <a:pt x="13" y="19"/>
                    <a:pt x="23" y="23"/>
                    <a:pt x="26" y="18"/>
                  </a:cubicBezTo>
                  <a:cubicBezTo>
                    <a:pt x="29" y="13"/>
                    <a:pt x="25" y="0"/>
                    <a:pt x="14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9" name="Freeform 320"/>
            <p:cNvSpPr>
              <a:spLocks/>
            </p:cNvSpPr>
            <p:nvPr/>
          </p:nvSpPr>
          <p:spPr bwMode="auto">
            <a:xfrm>
              <a:off x="7253400" y="4552447"/>
              <a:ext cx="4762" cy="3572"/>
            </a:xfrm>
            <a:custGeom>
              <a:avLst/>
              <a:gdLst>
                <a:gd name="T0" fmla="*/ 8 w 18"/>
                <a:gd name="T1" fmla="*/ 1 h 14"/>
                <a:gd name="T2" fmla="*/ 6 w 18"/>
                <a:gd name="T3" fmla="*/ 11 h 14"/>
                <a:gd name="T4" fmla="*/ 17 w 18"/>
                <a:gd name="T5" fmla="*/ 8 h 14"/>
                <a:gd name="T6" fmla="*/ 8 w 18"/>
                <a:gd name="T7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4">
                  <a:moveTo>
                    <a:pt x="8" y="1"/>
                  </a:moveTo>
                  <a:cubicBezTo>
                    <a:pt x="5" y="7"/>
                    <a:pt x="0" y="8"/>
                    <a:pt x="6" y="11"/>
                  </a:cubicBezTo>
                  <a:cubicBezTo>
                    <a:pt x="11" y="14"/>
                    <a:pt x="15" y="12"/>
                    <a:pt x="17" y="8"/>
                  </a:cubicBezTo>
                  <a:cubicBezTo>
                    <a:pt x="18" y="4"/>
                    <a:pt x="11" y="0"/>
                    <a:pt x="8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0" name="Freeform 321"/>
            <p:cNvSpPr>
              <a:spLocks noEditPoints="1"/>
            </p:cNvSpPr>
            <p:nvPr/>
          </p:nvSpPr>
          <p:spPr bwMode="auto">
            <a:xfrm>
              <a:off x="5653200" y="4527444"/>
              <a:ext cx="15478" cy="135731"/>
            </a:xfrm>
            <a:custGeom>
              <a:avLst/>
              <a:gdLst>
                <a:gd name="T0" fmla="*/ 37 w 54"/>
                <a:gd name="T1" fmla="*/ 395 h 474"/>
                <a:gd name="T2" fmla="*/ 31 w 54"/>
                <a:gd name="T3" fmla="*/ 390 h 474"/>
                <a:gd name="T4" fmla="*/ 28 w 54"/>
                <a:gd name="T5" fmla="*/ 395 h 474"/>
                <a:gd name="T6" fmla="*/ 33 w 54"/>
                <a:gd name="T7" fmla="*/ 398 h 474"/>
                <a:gd name="T8" fmla="*/ 37 w 54"/>
                <a:gd name="T9" fmla="*/ 395 h 474"/>
                <a:gd name="T10" fmla="*/ 11 w 54"/>
                <a:gd name="T11" fmla="*/ 190 h 474"/>
                <a:gd name="T12" fmla="*/ 1 w 54"/>
                <a:gd name="T13" fmla="*/ 185 h 474"/>
                <a:gd name="T14" fmla="*/ 4 w 54"/>
                <a:gd name="T15" fmla="*/ 193 h 474"/>
                <a:gd name="T16" fmla="*/ 11 w 54"/>
                <a:gd name="T17" fmla="*/ 190 h 474"/>
                <a:gd name="T18" fmla="*/ 26 w 54"/>
                <a:gd name="T19" fmla="*/ 10 h 474"/>
                <a:gd name="T20" fmla="*/ 16 w 54"/>
                <a:gd name="T21" fmla="*/ 7 h 474"/>
                <a:gd name="T22" fmla="*/ 19 w 54"/>
                <a:gd name="T23" fmla="*/ 13 h 474"/>
                <a:gd name="T24" fmla="*/ 26 w 54"/>
                <a:gd name="T25" fmla="*/ 10 h 474"/>
                <a:gd name="T26" fmla="*/ 12 w 54"/>
                <a:gd name="T27" fmla="*/ 67 h 474"/>
                <a:gd name="T28" fmla="*/ 17 w 54"/>
                <a:gd name="T29" fmla="*/ 71 h 474"/>
                <a:gd name="T30" fmla="*/ 25 w 54"/>
                <a:gd name="T31" fmla="*/ 55 h 474"/>
                <a:gd name="T32" fmla="*/ 29 w 54"/>
                <a:gd name="T33" fmla="*/ 47 h 474"/>
                <a:gd name="T34" fmla="*/ 21 w 54"/>
                <a:gd name="T35" fmla="*/ 56 h 474"/>
                <a:gd name="T36" fmla="*/ 12 w 54"/>
                <a:gd name="T37" fmla="*/ 67 h 474"/>
                <a:gd name="T38" fmla="*/ 25 w 54"/>
                <a:gd name="T39" fmla="*/ 276 h 474"/>
                <a:gd name="T40" fmla="*/ 28 w 54"/>
                <a:gd name="T41" fmla="*/ 282 h 474"/>
                <a:gd name="T42" fmla="*/ 31 w 54"/>
                <a:gd name="T43" fmla="*/ 274 h 474"/>
                <a:gd name="T44" fmla="*/ 25 w 54"/>
                <a:gd name="T45" fmla="*/ 276 h 474"/>
                <a:gd name="T46" fmla="*/ 41 w 54"/>
                <a:gd name="T47" fmla="*/ 316 h 474"/>
                <a:gd name="T48" fmla="*/ 47 w 54"/>
                <a:gd name="T49" fmla="*/ 312 h 474"/>
                <a:gd name="T50" fmla="*/ 40 w 54"/>
                <a:gd name="T51" fmla="*/ 309 h 474"/>
                <a:gd name="T52" fmla="*/ 41 w 54"/>
                <a:gd name="T53" fmla="*/ 316 h 474"/>
                <a:gd name="T54" fmla="*/ 44 w 54"/>
                <a:gd name="T55" fmla="*/ 239 h 474"/>
                <a:gd name="T56" fmla="*/ 44 w 54"/>
                <a:gd name="T57" fmla="*/ 246 h 474"/>
                <a:gd name="T58" fmla="*/ 48 w 54"/>
                <a:gd name="T59" fmla="*/ 241 h 474"/>
                <a:gd name="T60" fmla="*/ 44 w 54"/>
                <a:gd name="T61" fmla="*/ 239 h 474"/>
                <a:gd name="T62" fmla="*/ 53 w 54"/>
                <a:gd name="T63" fmla="*/ 169 h 474"/>
                <a:gd name="T64" fmla="*/ 49 w 54"/>
                <a:gd name="T65" fmla="*/ 163 h 474"/>
                <a:gd name="T66" fmla="*/ 44 w 54"/>
                <a:gd name="T67" fmla="*/ 161 h 474"/>
                <a:gd name="T68" fmla="*/ 42 w 54"/>
                <a:gd name="T69" fmla="*/ 168 h 474"/>
                <a:gd name="T70" fmla="*/ 40 w 54"/>
                <a:gd name="T71" fmla="*/ 172 h 474"/>
                <a:gd name="T72" fmla="*/ 49 w 54"/>
                <a:gd name="T73" fmla="*/ 172 h 474"/>
                <a:gd name="T74" fmla="*/ 53 w 54"/>
                <a:gd name="T75" fmla="*/ 169 h 474"/>
                <a:gd name="T76" fmla="*/ 17 w 54"/>
                <a:gd name="T77" fmla="*/ 99 h 474"/>
                <a:gd name="T78" fmla="*/ 11 w 54"/>
                <a:gd name="T79" fmla="*/ 104 h 474"/>
                <a:gd name="T80" fmla="*/ 18 w 54"/>
                <a:gd name="T81" fmla="*/ 107 h 474"/>
                <a:gd name="T82" fmla="*/ 17 w 54"/>
                <a:gd name="T83" fmla="*/ 99 h 474"/>
                <a:gd name="T84" fmla="*/ 9 w 54"/>
                <a:gd name="T85" fmla="*/ 243 h 474"/>
                <a:gd name="T86" fmla="*/ 10 w 54"/>
                <a:gd name="T87" fmla="*/ 249 h 474"/>
                <a:gd name="T88" fmla="*/ 13 w 54"/>
                <a:gd name="T89" fmla="*/ 241 h 474"/>
                <a:gd name="T90" fmla="*/ 9 w 54"/>
                <a:gd name="T91" fmla="*/ 243 h 474"/>
                <a:gd name="T92" fmla="*/ 23 w 54"/>
                <a:gd name="T93" fmla="*/ 461 h 474"/>
                <a:gd name="T94" fmla="*/ 26 w 54"/>
                <a:gd name="T95" fmla="*/ 467 h 474"/>
                <a:gd name="T96" fmla="*/ 29 w 54"/>
                <a:gd name="T97" fmla="*/ 472 h 474"/>
                <a:gd name="T98" fmla="*/ 31 w 54"/>
                <a:gd name="T99" fmla="*/ 465 h 474"/>
                <a:gd name="T100" fmla="*/ 23 w 54"/>
                <a:gd name="T101" fmla="*/ 461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" h="474">
                  <a:moveTo>
                    <a:pt x="37" y="395"/>
                  </a:moveTo>
                  <a:cubicBezTo>
                    <a:pt x="37" y="393"/>
                    <a:pt x="36" y="389"/>
                    <a:pt x="31" y="390"/>
                  </a:cubicBezTo>
                  <a:cubicBezTo>
                    <a:pt x="29" y="391"/>
                    <a:pt x="26" y="393"/>
                    <a:pt x="28" y="395"/>
                  </a:cubicBezTo>
                  <a:cubicBezTo>
                    <a:pt x="29" y="397"/>
                    <a:pt x="31" y="399"/>
                    <a:pt x="33" y="398"/>
                  </a:cubicBezTo>
                  <a:cubicBezTo>
                    <a:pt x="34" y="398"/>
                    <a:pt x="36" y="398"/>
                    <a:pt x="37" y="395"/>
                  </a:cubicBezTo>
                  <a:close/>
                  <a:moveTo>
                    <a:pt x="11" y="190"/>
                  </a:moveTo>
                  <a:cubicBezTo>
                    <a:pt x="11" y="188"/>
                    <a:pt x="1" y="178"/>
                    <a:pt x="1" y="185"/>
                  </a:cubicBezTo>
                  <a:cubicBezTo>
                    <a:pt x="0" y="188"/>
                    <a:pt x="2" y="192"/>
                    <a:pt x="4" y="193"/>
                  </a:cubicBezTo>
                  <a:cubicBezTo>
                    <a:pt x="7" y="193"/>
                    <a:pt x="12" y="192"/>
                    <a:pt x="11" y="190"/>
                  </a:cubicBezTo>
                  <a:close/>
                  <a:moveTo>
                    <a:pt x="26" y="10"/>
                  </a:moveTo>
                  <a:cubicBezTo>
                    <a:pt x="27" y="7"/>
                    <a:pt x="18" y="0"/>
                    <a:pt x="16" y="7"/>
                  </a:cubicBezTo>
                  <a:cubicBezTo>
                    <a:pt x="16" y="11"/>
                    <a:pt x="16" y="9"/>
                    <a:pt x="19" y="13"/>
                  </a:cubicBezTo>
                  <a:cubicBezTo>
                    <a:pt x="22" y="18"/>
                    <a:pt x="26" y="14"/>
                    <a:pt x="26" y="10"/>
                  </a:cubicBezTo>
                  <a:close/>
                  <a:moveTo>
                    <a:pt x="12" y="67"/>
                  </a:moveTo>
                  <a:cubicBezTo>
                    <a:pt x="10" y="71"/>
                    <a:pt x="16" y="76"/>
                    <a:pt x="17" y="71"/>
                  </a:cubicBezTo>
                  <a:cubicBezTo>
                    <a:pt x="18" y="66"/>
                    <a:pt x="23" y="61"/>
                    <a:pt x="25" y="55"/>
                  </a:cubicBezTo>
                  <a:cubicBezTo>
                    <a:pt x="26" y="49"/>
                    <a:pt x="29" y="52"/>
                    <a:pt x="29" y="47"/>
                  </a:cubicBezTo>
                  <a:cubicBezTo>
                    <a:pt x="28" y="43"/>
                    <a:pt x="23" y="49"/>
                    <a:pt x="21" y="56"/>
                  </a:cubicBezTo>
                  <a:cubicBezTo>
                    <a:pt x="18" y="62"/>
                    <a:pt x="13" y="63"/>
                    <a:pt x="12" y="67"/>
                  </a:cubicBezTo>
                  <a:close/>
                  <a:moveTo>
                    <a:pt x="25" y="276"/>
                  </a:moveTo>
                  <a:cubicBezTo>
                    <a:pt x="25" y="280"/>
                    <a:pt x="25" y="283"/>
                    <a:pt x="28" y="282"/>
                  </a:cubicBezTo>
                  <a:cubicBezTo>
                    <a:pt x="30" y="280"/>
                    <a:pt x="31" y="278"/>
                    <a:pt x="31" y="274"/>
                  </a:cubicBezTo>
                  <a:cubicBezTo>
                    <a:pt x="30" y="271"/>
                    <a:pt x="24" y="269"/>
                    <a:pt x="25" y="276"/>
                  </a:cubicBezTo>
                  <a:close/>
                  <a:moveTo>
                    <a:pt x="41" y="316"/>
                  </a:moveTo>
                  <a:cubicBezTo>
                    <a:pt x="44" y="317"/>
                    <a:pt x="47" y="316"/>
                    <a:pt x="47" y="312"/>
                  </a:cubicBezTo>
                  <a:cubicBezTo>
                    <a:pt x="47" y="307"/>
                    <a:pt x="41" y="304"/>
                    <a:pt x="40" y="309"/>
                  </a:cubicBezTo>
                  <a:cubicBezTo>
                    <a:pt x="39" y="313"/>
                    <a:pt x="38" y="315"/>
                    <a:pt x="41" y="316"/>
                  </a:cubicBezTo>
                  <a:close/>
                  <a:moveTo>
                    <a:pt x="44" y="239"/>
                  </a:moveTo>
                  <a:cubicBezTo>
                    <a:pt x="40" y="240"/>
                    <a:pt x="41" y="246"/>
                    <a:pt x="44" y="246"/>
                  </a:cubicBezTo>
                  <a:cubicBezTo>
                    <a:pt x="46" y="246"/>
                    <a:pt x="48" y="243"/>
                    <a:pt x="48" y="241"/>
                  </a:cubicBezTo>
                  <a:cubicBezTo>
                    <a:pt x="48" y="238"/>
                    <a:pt x="47" y="238"/>
                    <a:pt x="44" y="239"/>
                  </a:cubicBezTo>
                  <a:close/>
                  <a:moveTo>
                    <a:pt x="53" y="169"/>
                  </a:moveTo>
                  <a:cubicBezTo>
                    <a:pt x="52" y="168"/>
                    <a:pt x="49" y="165"/>
                    <a:pt x="49" y="163"/>
                  </a:cubicBezTo>
                  <a:cubicBezTo>
                    <a:pt x="49" y="161"/>
                    <a:pt x="45" y="161"/>
                    <a:pt x="44" y="161"/>
                  </a:cubicBezTo>
                  <a:cubicBezTo>
                    <a:pt x="42" y="161"/>
                    <a:pt x="42" y="165"/>
                    <a:pt x="42" y="168"/>
                  </a:cubicBezTo>
                  <a:cubicBezTo>
                    <a:pt x="41" y="171"/>
                    <a:pt x="40" y="170"/>
                    <a:pt x="40" y="172"/>
                  </a:cubicBezTo>
                  <a:cubicBezTo>
                    <a:pt x="41" y="175"/>
                    <a:pt x="47" y="173"/>
                    <a:pt x="49" y="172"/>
                  </a:cubicBezTo>
                  <a:cubicBezTo>
                    <a:pt x="52" y="172"/>
                    <a:pt x="54" y="171"/>
                    <a:pt x="53" y="169"/>
                  </a:cubicBezTo>
                  <a:close/>
                  <a:moveTo>
                    <a:pt x="17" y="99"/>
                  </a:moveTo>
                  <a:cubicBezTo>
                    <a:pt x="15" y="99"/>
                    <a:pt x="13" y="98"/>
                    <a:pt x="11" y="104"/>
                  </a:cubicBezTo>
                  <a:cubicBezTo>
                    <a:pt x="11" y="107"/>
                    <a:pt x="14" y="110"/>
                    <a:pt x="18" y="107"/>
                  </a:cubicBezTo>
                  <a:cubicBezTo>
                    <a:pt x="20" y="103"/>
                    <a:pt x="20" y="99"/>
                    <a:pt x="17" y="99"/>
                  </a:cubicBezTo>
                  <a:close/>
                  <a:moveTo>
                    <a:pt x="9" y="243"/>
                  </a:moveTo>
                  <a:cubicBezTo>
                    <a:pt x="8" y="246"/>
                    <a:pt x="8" y="250"/>
                    <a:pt x="10" y="249"/>
                  </a:cubicBezTo>
                  <a:cubicBezTo>
                    <a:pt x="12" y="249"/>
                    <a:pt x="13" y="245"/>
                    <a:pt x="13" y="241"/>
                  </a:cubicBezTo>
                  <a:cubicBezTo>
                    <a:pt x="12" y="238"/>
                    <a:pt x="8" y="239"/>
                    <a:pt x="9" y="243"/>
                  </a:cubicBezTo>
                  <a:close/>
                  <a:moveTo>
                    <a:pt x="23" y="461"/>
                  </a:moveTo>
                  <a:cubicBezTo>
                    <a:pt x="23" y="464"/>
                    <a:pt x="24" y="462"/>
                    <a:pt x="26" y="467"/>
                  </a:cubicBezTo>
                  <a:cubicBezTo>
                    <a:pt x="27" y="472"/>
                    <a:pt x="27" y="474"/>
                    <a:pt x="29" y="472"/>
                  </a:cubicBezTo>
                  <a:cubicBezTo>
                    <a:pt x="32" y="470"/>
                    <a:pt x="31" y="469"/>
                    <a:pt x="31" y="465"/>
                  </a:cubicBezTo>
                  <a:cubicBezTo>
                    <a:pt x="31" y="460"/>
                    <a:pt x="20" y="452"/>
                    <a:pt x="23" y="46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1" name="Freeform 322"/>
            <p:cNvSpPr>
              <a:spLocks/>
            </p:cNvSpPr>
            <p:nvPr/>
          </p:nvSpPr>
          <p:spPr bwMode="auto">
            <a:xfrm>
              <a:off x="5661535" y="5685922"/>
              <a:ext cx="11906" cy="7144"/>
            </a:xfrm>
            <a:custGeom>
              <a:avLst/>
              <a:gdLst>
                <a:gd name="T0" fmla="*/ 39 w 43"/>
                <a:gd name="T1" fmla="*/ 16 h 25"/>
                <a:gd name="T2" fmla="*/ 27 w 43"/>
                <a:gd name="T3" fmla="*/ 14 h 25"/>
                <a:gd name="T4" fmla="*/ 7 w 43"/>
                <a:gd name="T5" fmla="*/ 11 h 25"/>
                <a:gd name="T6" fmla="*/ 16 w 43"/>
                <a:gd name="T7" fmla="*/ 18 h 25"/>
                <a:gd name="T8" fmla="*/ 32 w 43"/>
                <a:gd name="T9" fmla="*/ 23 h 25"/>
                <a:gd name="T10" fmla="*/ 39 w 43"/>
                <a:gd name="T11" fmla="*/ 1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25">
                  <a:moveTo>
                    <a:pt x="39" y="16"/>
                  </a:moveTo>
                  <a:cubicBezTo>
                    <a:pt x="34" y="14"/>
                    <a:pt x="32" y="19"/>
                    <a:pt x="27" y="14"/>
                  </a:cubicBezTo>
                  <a:cubicBezTo>
                    <a:pt x="21" y="9"/>
                    <a:pt x="0" y="0"/>
                    <a:pt x="7" y="11"/>
                  </a:cubicBezTo>
                  <a:cubicBezTo>
                    <a:pt x="7" y="16"/>
                    <a:pt x="13" y="11"/>
                    <a:pt x="16" y="18"/>
                  </a:cubicBezTo>
                  <a:cubicBezTo>
                    <a:pt x="18" y="25"/>
                    <a:pt x="26" y="24"/>
                    <a:pt x="32" y="23"/>
                  </a:cubicBezTo>
                  <a:cubicBezTo>
                    <a:pt x="38" y="22"/>
                    <a:pt x="43" y="18"/>
                    <a:pt x="39" y="1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2" name="Freeform 323"/>
            <p:cNvSpPr>
              <a:spLocks/>
            </p:cNvSpPr>
            <p:nvPr/>
          </p:nvSpPr>
          <p:spPr bwMode="auto">
            <a:xfrm>
              <a:off x="5655581" y="4444100"/>
              <a:ext cx="1191" cy="3572"/>
            </a:xfrm>
            <a:custGeom>
              <a:avLst/>
              <a:gdLst>
                <a:gd name="T0" fmla="*/ 0 w 6"/>
                <a:gd name="T1" fmla="*/ 3 h 11"/>
                <a:gd name="T2" fmla="*/ 5 w 6"/>
                <a:gd name="T3" fmla="*/ 8 h 11"/>
                <a:gd name="T4" fmla="*/ 5 w 6"/>
                <a:gd name="T5" fmla="*/ 1 h 11"/>
                <a:gd name="T6" fmla="*/ 0 w 6"/>
                <a:gd name="T7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1">
                  <a:moveTo>
                    <a:pt x="0" y="3"/>
                  </a:moveTo>
                  <a:cubicBezTo>
                    <a:pt x="1" y="8"/>
                    <a:pt x="5" y="11"/>
                    <a:pt x="5" y="8"/>
                  </a:cubicBezTo>
                  <a:cubicBezTo>
                    <a:pt x="6" y="4"/>
                    <a:pt x="6" y="1"/>
                    <a:pt x="5" y="1"/>
                  </a:cubicBezTo>
                  <a:cubicBezTo>
                    <a:pt x="4" y="0"/>
                    <a:pt x="0" y="1"/>
                    <a:pt x="0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3" name="Freeform 327"/>
            <p:cNvSpPr>
              <a:spLocks/>
            </p:cNvSpPr>
            <p:nvPr/>
          </p:nvSpPr>
          <p:spPr bwMode="auto">
            <a:xfrm>
              <a:off x="5648438" y="4433385"/>
              <a:ext cx="7144" cy="7144"/>
            </a:xfrm>
            <a:custGeom>
              <a:avLst/>
              <a:gdLst>
                <a:gd name="T0" fmla="*/ 16 w 22"/>
                <a:gd name="T1" fmla="*/ 3 h 26"/>
                <a:gd name="T2" fmla="*/ 4 w 22"/>
                <a:gd name="T3" fmla="*/ 13 h 26"/>
                <a:gd name="T4" fmla="*/ 3 w 22"/>
                <a:gd name="T5" fmla="*/ 22 h 26"/>
                <a:gd name="T6" fmla="*/ 14 w 22"/>
                <a:gd name="T7" fmla="*/ 20 h 26"/>
                <a:gd name="T8" fmla="*/ 18 w 22"/>
                <a:gd name="T9" fmla="*/ 9 h 26"/>
                <a:gd name="T10" fmla="*/ 16 w 22"/>
                <a:gd name="T11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26">
                  <a:moveTo>
                    <a:pt x="16" y="3"/>
                  </a:moveTo>
                  <a:cubicBezTo>
                    <a:pt x="10" y="10"/>
                    <a:pt x="6" y="12"/>
                    <a:pt x="4" y="13"/>
                  </a:cubicBezTo>
                  <a:cubicBezTo>
                    <a:pt x="1" y="15"/>
                    <a:pt x="0" y="22"/>
                    <a:pt x="3" y="22"/>
                  </a:cubicBezTo>
                  <a:cubicBezTo>
                    <a:pt x="6" y="22"/>
                    <a:pt x="12" y="26"/>
                    <a:pt x="14" y="20"/>
                  </a:cubicBezTo>
                  <a:cubicBezTo>
                    <a:pt x="16" y="15"/>
                    <a:pt x="15" y="15"/>
                    <a:pt x="18" y="9"/>
                  </a:cubicBezTo>
                  <a:cubicBezTo>
                    <a:pt x="22" y="4"/>
                    <a:pt x="21" y="0"/>
                    <a:pt x="16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4" name="Freeform 329"/>
            <p:cNvSpPr>
              <a:spLocks/>
            </p:cNvSpPr>
            <p:nvPr/>
          </p:nvSpPr>
          <p:spPr bwMode="auto">
            <a:xfrm>
              <a:off x="5599622" y="5607341"/>
              <a:ext cx="10716" cy="3572"/>
            </a:xfrm>
            <a:custGeom>
              <a:avLst/>
              <a:gdLst>
                <a:gd name="T0" fmla="*/ 23 w 38"/>
                <a:gd name="T1" fmla="*/ 4 h 14"/>
                <a:gd name="T2" fmla="*/ 8 w 38"/>
                <a:gd name="T3" fmla="*/ 4 h 14"/>
                <a:gd name="T4" fmla="*/ 6 w 38"/>
                <a:gd name="T5" fmla="*/ 12 h 14"/>
                <a:gd name="T6" fmla="*/ 20 w 38"/>
                <a:gd name="T7" fmla="*/ 13 h 14"/>
                <a:gd name="T8" fmla="*/ 35 w 38"/>
                <a:gd name="T9" fmla="*/ 6 h 14"/>
                <a:gd name="T10" fmla="*/ 23 w 38"/>
                <a:gd name="T11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14">
                  <a:moveTo>
                    <a:pt x="23" y="4"/>
                  </a:moveTo>
                  <a:cubicBezTo>
                    <a:pt x="14" y="4"/>
                    <a:pt x="13" y="0"/>
                    <a:pt x="8" y="4"/>
                  </a:cubicBezTo>
                  <a:cubicBezTo>
                    <a:pt x="5" y="6"/>
                    <a:pt x="0" y="10"/>
                    <a:pt x="6" y="12"/>
                  </a:cubicBezTo>
                  <a:cubicBezTo>
                    <a:pt x="13" y="14"/>
                    <a:pt x="14" y="13"/>
                    <a:pt x="20" y="13"/>
                  </a:cubicBezTo>
                  <a:cubicBezTo>
                    <a:pt x="27" y="13"/>
                    <a:pt x="32" y="10"/>
                    <a:pt x="35" y="6"/>
                  </a:cubicBezTo>
                  <a:cubicBezTo>
                    <a:pt x="38" y="2"/>
                    <a:pt x="32" y="4"/>
                    <a:pt x="23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5" name="Freeform 330"/>
            <p:cNvSpPr>
              <a:spLocks/>
            </p:cNvSpPr>
            <p:nvPr/>
          </p:nvSpPr>
          <p:spPr bwMode="auto">
            <a:xfrm>
              <a:off x="5181713" y="3985710"/>
              <a:ext cx="0" cy="0"/>
            </a:xfrm>
            <a:custGeom>
              <a:avLst/>
              <a:gdLst>
                <a:gd name="T0" fmla="*/ 1 h 1"/>
                <a:gd name="T1" fmla="*/ 1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6" name="Freeform 331"/>
            <p:cNvSpPr>
              <a:spLocks/>
            </p:cNvSpPr>
            <p:nvPr/>
          </p:nvSpPr>
          <p:spPr bwMode="auto">
            <a:xfrm>
              <a:off x="5144803" y="3905938"/>
              <a:ext cx="339328" cy="286941"/>
            </a:xfrm>
            <a:custGeom>
              <a:avLst/>
              <a:gdLst>
                <a:gd name="T0" fmla="*/ 1112 w 1182"/>
                <a:gd name="T1" fmla="*/ 915 h 1002"/>
                <a:gd name="T2" fmla="*/ 1168 w 1182"/>
                <a:gd name="T3" fmla="*/ 901 h 1002"/>
                <a:gd name="T4" fmla="*/ 1182 w 1182"/>
                <a:gd name="T5" fmla="*/ 866 h 1002"/>
                <a:gd name="T6" fmla="*/ 1152 w 1182"/>
                <a:gd name="T7" fmla="*/ 799 h 1002"/>
                <a:gd name="T8" fmla="*/ 1038 w 1182"/>
                <a:gd name="T9" fmla="*/ 683 h 1002"/>
                <a:gd name="T10" fmla="*/ 1089 w 1182"/>
                <a:gd name="T11" fmla="*/ 597 h 1002"/>
                <a:gd name="T12" fmla="*/ 1050 w 1182"/>
                <a:gd name="T13" fmla="*/ 581 h 1002"/>
                <a:gd name="T14" fmla="*/ 1031 w 1182"/>
                <a:gd name="T15" fmla="*/ 542 h 1002"/>
                <a:gd name="T16" fmla="*/ 1031 w 1182"/>
                <a:gd name="T17" fmla="*/ 444 h 1002"/>
                <a:gd name="T18" fmla="*/ 1010 w 1182"/>
                <a:gd name="T19" fmla="*/ 424 h 1002"/>
                <a:gd name="T20" fmla="*/ 1019 w 1182"/>
                <a:gd name="T21" fmla="*/ 390 h 1002"/>
                <a:gd name="T22" fmla="*/ 1028 w 1182"/>
                <a:gd name="T23" fmla="*/ 361 h 1002"/>
                <a:gd name="T24" fmla="*/ 1050 w 1182"/>
                <a:gd name="T25" fmla="*/ 323 h 1002"/>
                <a:gd name="T26" fmla="*/ 1051 w 1182"/>
                <a:gd name="T27" fmla="*/ 240 h 1002"/>
                <a:gd name="T28" fmla="*/ 998 w 1182"/>
                <a:gd name="T29" fmla="*/ 211 h 1002"/>
                <a:gd name="T30" fmla="*/ 951 w 1182"/>
                <a:gd name="T31" fmla="*/ 175 h 1002"/>
                <a:gd name="T32" fmla="*/ 871 w 1182"/>
                <a:gd name="T33" fmla="*/ 149 h 1002"/>
                <a:gd name="T34" fmla="*/ 818 w 1182"/>
                <a:gd name="T35" fmla="*/ 123 h 1002"/>
                <a:gd name="T36" fmla="*/ 783 w 1182"/>
                <a:gd name="T37" fmla="*/ 106 h 1002"/>
                <a:gd name="T38" fmla="*/ 732 w 1182"/>
                <a:gd name="T39" fmla="*/ 119 h 1002"/>
                <a:gd name="T40" fmla="*/ 659 w 1182"/>
                <a:gd name="T41" fmla="*/ 154 h 1002"/>
                <a:gd name="T42" fmla="*/ 595 w 1182"/>
                <a:gd name="T43" fmla="*/ 201 h 1002"/>
                <a:gd name="T44" fmla="*/ 400 w 1182"/>
                <a:gd name="T45" fmla="*/ 187 h 1002"/>
                <a:gd name="T46" fmla="*/ 298 w 1182"/>
                <a:gd name="T47" fmla="*/ 94 h 1002"/>
                <a:gd name="T48" fmla="*/ 247 w 1182"/>
                <a:gd name="T49" fmla="*/ 58 h 1002"/>
                <a:gd name="T50" fmla="*/ 251 w 1182"/>
                <a:gd name="T51" fmla="*/ 32 h 1002"/>
                <a:gd name="T52" fmla="*/ 241 w 1182"/>
                <a:gd name="T53" fmla="*/ 2 h 1002"/>
                <a:gd name="T54" fmla="*/ 150 w 1182"/>
                <a:gd name="T55" fmla="*/ 65 h 1002"/>
                <a:gd name="T56" fmla="*/ 56 w 1182"/>
                <a:gd name="T57" fmla="*/ 21 h 1002"/>
                <a:gd name="T58" fmla="*/ 19 w 1182"/>
                <a:gd name="T59" fmla="*/ 22 h 1002"/>
                <a:gd name="T60" fmla="*/ 2 w 1182"/>
                <a:gd name="T61" fmla="*/ 32 h 1002"/>
                <a:gd name="T62" fmla="*/ 20 w 1182"/>
                <a:gd name="T63" fmla="*/ 79 h 1002"/>
                <a:gd name="T64" fmla="*/ 24 w 1182"/>
                <a:gd name="T65" fmla="*/ 110 h 1002"/>
                <a:gd name="T66" fmla="*/ 33 w 1182"/>
                <a:gd name="T67" fmla="*/ 152 h 1002"/>
                <a:gd name="T68" fmla="*/ 50 w 1182"/>
                <a:gd name="T69" fmla="*/ 181 h 1002"/>
                <a:gd name="T70" fmla="*/ 69 w 1182"/>
                <a:gd name="T71" fmla="*/ 227 h 1002"/>
                <a:gd name="T72" fmla="*/ 91 w 1182"/>
                <a:gd name="T73" fmla="*/ 259 h 1002"/>
                <a:gd name="T74" fmla="*/ 133 w 1182"/>
                <a:gd name="T75" fmla="*/ 274 h 1002"/>
                <a:gd name="T76" fmla="*/ 124 w 1182"/>
                <a:gd name="T77" fmla="*/ 294 h 1002"/>
                <a:gd name="T78" fmla="*/ 118 w 1182"/>
                <a:gd name="T79" fmla="*/ 334 h 1002"/>
                <a:gd name="T80" fmla="*/ 91 w 1182"/>
                <a:gd name="T81" fmla="*/ 369 h 1002"/>
                <a:gd name="T82" fmla="*/ 93 w 1182"/>
                <a:gd name="T83" fmla="*/ 389 h 1002"/>
                <a:gd name="T84" fmla="*/ 105 w 1182"/>
                <a:gd name="T85" fmla="*/ 423 h 1002"/>
                <a:gd name="T86" fmla="*/ 126 w 1182"/>
                <a:gd name="T87" fmla="*/ 459 h 1002"/>
                <a:gd name="T88" fmla="*/ 162 w 1182"/>
                <a:gd name="T89" fmla="*/ 484 h 1002"/>
                <a:gd name="T90" fmla="*/ 221 w 1182"/>
                <a:gd name="T91" fmla="*/ 524 h 1002"/>
                <a:gd name="T92" fmla="*/ 225 w 1182"/>
                <a:gd name="T93" fmla="*/ 583 h 1002"/>
                <a:gd name="T94" fmla="*/ 226 w 1182"/>
                <a:gd name="T95" fmla="*/ 603 h 1002"/>
                <a:gd name="T96" fmla="*/ 251 w 1182"/>
                <a:gd name="T97" fmla="*/ 643 h 1002"/>
                <a:gd name="T98" fmla="*/ 284 w 1182"/>
                <a:gd name="T99" fmla="*/ 676 h 1002"/>
                <a:gd name="T100" fmla="*/ 317 w 1182"/>
                <a:gd name="T101" fmla="*/ 653 h 1002"/>
                <a:gd name="T102" fmla="*/ 374 w 1182"/>
                <a:gd name="T103" fmla="*/ 668 h 1002"/>
                <a:gd name="T104" fmla="*/ 409 w 1182"/>
                <a:gd name="T105" fmla="*/ 735 h 1002"/>
                <a:gd name="T106" fmla="*/ 448 w 1182"/>
                <a:gd name="T107" fmla="*/ 804 h 1002"/>
                <a:gd name="T108" fmla="*/ 540 w 1182"/>
                <a:gd name="T109" fmla="*/ 860 h 1002"/>
                <a:gd name="T110" fmla="*/ 651 w 1182"/>
                <a:gd name="T111" fmla="*/ 908 h 1002"/>
                <a:gd name="T112" fmla="*/ 757 w 1182"/>
                <a:gd name="T113" fmla="*/ 868 h 1002"/>
                <a:gd name="T114" fmla="*/ 821 w 1182"/>
                <a:gd name="T115" fmla="*/ 960 h 1002"/>
                <a:gd name="T116" fmla="*/ 942 w 1182"/>
                <a:gd name="T117" fmla="*/ 981 h 1002"/>
                <a:gd name="T118" fmla="*/ 1048 w 1182"/>
                <a:gd name="T119" fmla="*/ 998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82" h="1002">
                  <a:moveTo>
                    <a:pt x="1091" y="955"/>
                  </a:moveTo>
                  <a:cubicBezTo>
                    <a:pt x="1092" y="948"/>
                    <a:pt x="1092" y="943"/>
                    <a:pt x="1094" y="938"/>
                  </a:cubicBezTo>
                  <a:cubicBezTo>
                    <a:pt x="1095" y="934"/>
                    <a:pt x="1096" y="931"/>
                    <a:pt x="1098" y="927"/>
                  </a:cubicBezTo>
                  <a:cubicBezTo>
                    <a:pt x="1101" y="924"/>
                    <a:pt x="1106" y="919"/>
                    <a:pt x="1112" y="915"/>
                  </a:cubicBezTo>
                  <a:cubicBezTo>
                    <a:pt x="1119" y="911"/>
                    <a:pt x="1127" y="908"/>
                    <a:pt x="1132" y="906"/>
                  </a:cubicBezTo>
                  <a:cubicBezTo>
                    <a:pt x="1136" y="905"/>
                    <a:pt x="1142" y="904"/>
                    <a:pt x="1149" y="904"/>
                  </a:cubicBezTo>
                  <a:cubicBezTo>
                    <a:pt x="1155" y="903"/>
                    <a:pt x="1162" y="903"/>
                    <a:pt x="1167" y="901"/>
                  </a:cubicBezTo>
                  <a:cubicBezTo>
                    <a:pt x="1168" y="901"/>
                    <a:pt x="1168" y="901"/>
                    <a:pt x="1168" y="901"/>
                  </a:cubicBezTo>
                  <a:cubicBezTo>
                    <a:pt x="1168" y="901"/>
                    <a:pt x="1168" y="901"/>
                    <a:pt x="1168" y="901"/>
                  </a:cubicBezTo>
                  <a:cubicBezTo>
                    <a:pt x="1174" y="898"/>
                    <a:pt x="1176" y="898"/>
                    <a:pt x="1176" y="895"/>
                  </a:cubicBezTo>
                  <a:cubicBezTo>
                    <a:pt x="1176" y="894"/>
                    <a:pt x="1177" y="891"/>
                    <a:pt x="1178" y="888"/>
                  </a:cubicBezTo>
                  <a:cubicBezTo>
                    <a:pt x="1180" y="880"/>
                    <a:pt x="1182" y="867"/>
                    <a:pt x="1182" y="866"/>
                  </a:cubicBezTo>
                  <a:cubicBezTo>
                    <a:pt x="1182" y="866"/>
                    <a:pt x="1178" y="866"/>
                    <a:pt x="1173" y="866"/>
                  </a:cubicBezTo>
                  <a:cubicBezTo>
                    <a:pt x="1165" y="865"/>
                    <a:pt x="1156" y="865"/>
                    <a:pt x="1153" y="860"/>
                  </a:cubicBezTo>
                  <a:cubicBezTo>
                    <a:pt x="1151" y="857"/>
                    <a:pt x="1152" y="843"/>
                    <a:pt x="1152" y="829"/>
                  </a:cubicBezTo>
                  <a:cubicBezTo>
                    <a:pt x="1153" y="816"/>
                    <a:pt x="1153" y="803"/>
                    <a:pt x="1152" y="799"/>
                  </a:cubicBezTo>
                  <a:cubicBezTo>
                    <a:pt x="1151" y="796"/>
                    <a:pt x="1138" y="791"/>
                    <a:pt x="1125" y="787"/>
                  </a:cubicBezTo>
                  <a:cubicBezTo>
                    <a:pt x="1114" y="783"/>
                    <a:pt x="1103" y="779"/>
                    <a:pt x="1099" y="775"/>
                  </a:cubicBezTo>
                  <a:cubicBezTo>
                    <a:pt x="1095" y="771"/>
                    <a:pt x="1072" y="740"/>
                    <a:pt x="1055" y="716"/>
                  </a:cubicBezTo>
                  <a:cubicBezTo>
                    <a:pt x="1045" y="701"/>
                    <a:pt x="1037" y="687"/>
                    <a:pt x="1038" y="683"/>
                  </a:cubicBezTo>
                  <a:cubicBezTo>
                    <a:pt x="1039" y="678"/>
                    <a:pt x="1050" y="667"/>
                    <a:pt x="1061" y="655"/>
                  </a:cubicBezTo>
                  <a:cubicBezTo>
                    <a:pt x="1074" y="642"/>
                    <a:pt x="1087" y="627"/>
                    <a:pt x="1088" y="623"/>
                  </a:cubicBezTo>
                  <a:cubicBezTo>
                    <a:pt x="1090" y="617"/>
                    <a:pt x="1091" y="612"/>
                    <a:pt x="1091" y="607"/>
                  </a:cubicBezTo>
                  <a:cubicBezTo>
                    <a:pt x="1091" y="603"/>
                    <a:pt x="1091" y="600"/>
                    <a:pt x="1089" y="597"/>
                  </a:cubicBezTo>
                  <a:cubicBezTo>
                    <a:pt x="1089" y="597"/>
                    <a:pt x="1089" y="597"/>
                    <a:pt x="1089" y="597"/>
                  </a:cubicBezTo>
                  <a:cubicBezTo>
                    <a:pt x="1088" y="594"/>
                    <a:pt x="1085" y="592"/>
                    <a:pt x="1080" y="589"/>
                  </a:cubicBezTo>
                  <a:cubicBezTo>
                    <a:pt x="1075" y="587"/>
                    <a:pt x="1068" y="584"/>
                    <a:pt x="1058" y="582"/>
                  </a:cubicBezTo>
                  <a:cubicBezTo>
                    <a:pt x="1054" y="582"/>
                    <a:pt x="1052" y="581"/>
                    <a:pt x="1050" y="581"/>
                  </a:cubicBezTo>
                  <a:cubicBezTo>
                    <a:pt x="1044" y="580"/>
                    <a:pt x="1041" y="580"/>
                    <a:pt x="1040" y="579"/>
                  </a:cubicBezTo>
                  <a:cubicBezTo>
                    <a:pt x="1036" y="578"/>
                    <a:pt x="1036" y="577"/>
                    <a:pt x="1034" y="575"/>
                  </a:cubicBezTo>
                  <a:cubicBezTo>
                    <a:pt x="1034" y="575"/>
                    <a:pt x="1034" y="574"/>
                    <a:pt x="1034" y="574"/>
                  </a:cubicBezTo>
                  <a:cubicBezTo>
                    <a:pt x="1031" y="571"/>
                    <a:pt x="1031" y="557"/>
                    <a:pt x="1031" y="542"/>
                  </a:cubicBezTo>
                  <a:cubicBezTo>
                    <a:pt x="1031" y="527"/>
                    <a:pt x="1031" y="510"/>
                    <a:pt x="1029" y="505"/>
                  </a:cubicBezTo>
                  <a:cubicBezTo>
                    <a:pt x="1027" y="500"/>
                    <a:pt x="1025" y="491"/>
                    <a:pt x="1023" y="483"/>
                  </a:cubicBezTo>
                  <a:cubicBezTo>
                    <a:pt x="1021" y="476"/>
                    <a:pt x="1020" y="469"/>
                    <a:pt x="1020" y="464"/>
                  </a:cubicBezTo>
                  <a:cubicBezTo>
                    <a:pt x="1019" y="455"/>
                    <a:pt x="1026" y="448"/>
                    <a:pt x="1031" y="444"/>
                  </a:cubicBezTo>
                  <a:cubicBezTo>
                    <a:pt x="1033" y="442"/>
                    <a:pt x="1035" y="440"/>
                    <a:pt x="1035" y="440"/>
                  </a:cubicBezTo>
                  <a:cubicBezTo>
                    <a:pt x="1035" y="439"/>
                    <a:pt x="1035" y="439"/>
                    <a:pt x="1035" y="439"/>
                  </a:cubicBezTo>
                  <a:cubicBezTo>
                    <a:pt x="1034" y="437"/>
                    <a:pt x="1031" y="436"/>
                    <a:pt x="1024" y="436"/>
                  </a:cubicBezTo>
                  <a:cubicBezTo>
                    <a:pt x="1012" y="434"/>
                    <a:pt x="1010" y="430"/>
                    <a:pt x="1010" y="424"/>
                  </a:cubicBezTo>
                  <a:cubicBezTo>
                    <a:pt x="1011" y="423"/>
                    <a:pt x="1011" y="421"/>
                    <a:pt x="1011" y="419"/>
                  </a:cubicBezTo>
                  <a:cubicBezTo>
                    <a:pt x="1012" y="416"/>
                    <a:pt x="1013" y="413"/>
                    <a:pt x="1013" y="410"/>
                  </a:cubicBezTo>
                  <a:cubicBezTo>
                    <a:pt x="1013" y="399"/>
                    <a:pt x="1015" y="397"/>
                    <a:pt x="1017" y="393"/>
                  </a:cubicBezTo>
                  <a:cubicBezTo>
                    <a:pt x="1018" y="392"/>
                    <a:pt x="1018" y="391"/>
                    <a:pt x="1019" y="390"/>
                  </a:cubicBezTo>
                  <a:cubicBezTo>
                    <a:pt x="1021" y="386"/>
                    <a:pt x="1025" y="384"/>
                    <a:pt x="1029" y="382"/>
                  </a:cubicBezTo>
                  <a:cubicBezTo>
                    <a:pt x="1031" y="381"/>
                    <a:pt x="1032" y="381"/>
                    <a:pt x="1032" y="381"/>
                  </a:cubicBezTo>
                  <a:cubicBezTo>
                    <a:pt x="1032" y="379"/>
                    <a:pt x="1032" y="377"/>
                    <a:pt x="1031" y="375"/>
                  </a:cubicBezTo>
                  <a:cubicBezTo>
                    <a:pt x="1029" y="371"/>
                    <a:pt x="1027" y="366"/>
                    <a:pt x="1028" y="361"/>
                  </a:cubicBezTo>
                  <a:cubicBezTo>
                    <a:pt x="1029" y="356"/>
                    <a:pt x="1034" y="353"/>
                    <a:pt x="1039" y="350"/>
                  </a:cubicBezTo>
                  <a:cubicBezTo>
                    <a:pt x="1042" y="348"/>
                    <a:pt x="1045" y="346"/>
                    <a:pt x="1045" y="346"/>
                  </a:cubicBezTo>
                  <a:cubicBezTo>
                    <a:pt x="1046" y="345"/>
                    <a:pt x="1046" y="343"/>
                    <a:pt x="1046" y="342"/>
                  </a:cubicBezTo>
                  <a:cubicBezTo>
                    <a:pt x="1046" y="338"/>
                    <a:pt x="1047" y="332"/>
                    <a:pt x="1050" y="323"/>
                  </a:cubicBezTo>
                  <a:cubicBezTo>
                    <a:pt x="1052" y="316"/>
                    <a:pt x="1054" y="310"/>
                    <a:pt x="1055" y="304"/>
                  </a:cubicBezTo>
                  <a:cubicBezTo>
                    <a:pt x="1056" y="298"/>
                    <a:pt x="1056" y="292"/>
                    <a:pt x="1055" y="288"/>
                  </a:cubicBezTo>
                  <a:cubicBezTo>
                    <a:pt x="1055" y="285"/>
                    <a:pt x="1055" y="280"/>
                    <a:pt x="1054" y="274"/>
                  </a:cubicBezTo>
                  <a:cubicBezTo>
                    <a:pt x="1054" y="264"/>
                    <a:pt x="1053" y="251"/>
                    <a:pt x="1051" y="240"/>
                  </a:cubicBezTo>
                  <a:cubicBezTo>
                    <a:pt x="1051" y="234"/>
                    <a:pt x="1050" y="230"/>
                    <a:pt x="1050" y="226"/>
                  </a:cubicBezTo>
                  <a:cubicBezTo>
                    <a:pt x="1050" y="221"/>
                    <a:pt x="1050" y="219"/>
                    <a:pt x="1048" y="218"/>
                  </a:cubicBezTo>
                  <a:cubicBezTo>
                    <a:pt x="1047" y="218"/>
                    <a:pt x="1043" y="218"/>
                    <a:pt x="1037" y="218"/>
                  </a:cubicBezTo>
                  <a:cubicBezTo>
                    <a:pt x="1025" y="218"/>
                    <a:pt x="1009" y="219"/>
                    <a:pt x="998" y="211"/>
                  </a:cubicBezTo>
                  <a:cubicBezTo>
                    <a:pt x="989" y="205"/>
                    <a:pt x="987" y="201"/>
                    <a:pt x="985" y="197"/>
                  </a:cubicBezTo>
                  <a:cubicBezTo>
                    <a:pt x="983" y="194"/>
                    <a:pt x="983" y="193"/>
                    <a:pt x="979" y="191"/>
                  </a:cubicBezTo>
                  <a:cubicBezTo>
                    <a:pt x="977" y="191"/>
                    <a:pt x="975" y="190"/>
                    <a:pt x="973" y="190"/>
                  </a:cubicBezTo>
                  <a:cubicBezTo>
                    <a:pt x="964" y="187"/>
                    <a:pt x="959" y="186"/>
                    <a:pt x="951" y="175"/>
                  </a:cubicBezTo>
                  <a:cubicBezTo>
                    <a:pt x="947" y="169"/>
                    <a:pt x="942" y="164"/>
                    <a:pt x="937" y="159"/>
                  </a:cubicBezTo>
                  <a:cubicBezTo>
                    <a:pt x="932" y="155"/>
                    <a:pt x="926" y="152"/>
                    <a:pt x="920" y="151"/>
                  </a:cubicBezTo>
                  <a:cubicBezTo>
                    <a:pt x="914" y="150"/>
                    <a:pt x="908" y="150"/>
                    <a:pt x="901" y="150"/>
                  </a:cubicBezTo>
                  <a:cubicBezTo>
                    <a:pt x="891" y="151"/>
                    <a:pt x="881" y="151"/>
                    <a:pt x="871" y="149"/>
                  </a:cubicBezTo>
                  <a:cubicBezTo>
                    <a:pt x="860" y="147"/>
                    <a:pt x="857" y="142"/>
                    <a:pt x="854" y="138"/>
                  </a:cubicBezTo>
                  <a:cubicBezTo>
                    <a:pt x="852" y="135"/>
                    <a:pt x="850" y="133"/>
                    <a:pt x="845" y="131"/>
                  </a:cubicBezTo>
                  <a:cubicBezTo>
                    <a:pt x="840" y="128"/>
                    <a:pt x="835" y="128"/>
                    <a:pt x="832" y="128"/>
                  </a:cubicBezTo>
                  <a:cubicBezTo>
                    <a:pt x="826" y="128"/>
                    <a:pt x="822" y="127"/>
                    <a:pt x="818" y="123"/>
                  </a:cubicBezTo>
                  <a:cubicBezTo>
                    <a:pt x="817" y="121"/>
                    <a:pt x="817" y="120"/>
                    <a:pt x="816" y="119"/>
                  </a:cubicBezTo>
                  <a:cubicBezTo>
                    <a:pt x="816" y="119"/>
                    <a:pt x="816" y="119"/>
                    <a:pt x="816" y="119"/>
                  </a:cubicBezTo>
                  <a:cubicBezTo>
                    <a:pt x="812" y="114"/>
                    <a:pt x="808" y="108"/>
                    <a:pt x="804" y="107"/>
                  </a:cubicBezTo>
                  <a:cubicBezTo>
                    <a:pt x="801" y="106"/>
                    <a:pt x="792" y="106"/>
                    <a:pt x="783" y="106"/>
                  </a:cubicBezTo>
                  <a:cubicBezTo>
                    <a:pt x="775" y="106"/>
                    <a:pt x="767" y="106"/>
                    <a:pt x="766" y="107"/>
                  </a:cubicBezTo>
                  <a:cubicBezTo>
                    <a:pt x="764" y="107"/>
                    <a:pt x="761" y="110"/>
                    <a:pt x="758" y="112"/>
                  </a:cubicBezTo>
                  <a:cubicBezTo>
                    <a:pt x="755" y="115"/>
                    <a:pt x="753" y="117"/>
                    <a:pt x="750" y="119"/>
                  </a:cubicBezTo>
                  <a:cubicBezTo>
                    <a:pt x="746" y="121"/>
                    <a:pt x="740" y="120"/>
                    <a:pt x="732" y="119"/>
                  </a:cubicBezTo>
                  <a:cubicBezTo>
                    <a:pt x="728" y="119"/>
                    <a:pt x="723" y="118"/>
                    <a:pt x="718" y="118"/>
                  </a:cubicBezTo>
                  <a:cubicBezTo>
                    <a:pt x="712" y="118"/>
                    <a:pt x="706" y="119"/>
                    <a:pt x="701" y="121"/>
                  </a:cubicBezTo>
                  <a:cubicBezTo>
                    <a:pt x="696" y="123"/>
                    <a:pt x="691" y="126"/>
                    <a:pt x="685" y="129"/>
                  </a:cubicBezTo>
                  <a:cubicBezTo>
                    <a:pt x="679" y="132"/>
                    <a:pt x="668" y="144"/>
                    <a:pt x="659" y="154"/>
                  </a:cubicBezTo>
                  <a:cubicBezTo>
                    <a:pt x="651" y="162"/>
                    <a:pt x="645" y="169"/>
                    <a:pt x="642" y="171"/>
                  </a:cubicBezTo>
                  <a:cubicBezTo>
                    <a:pt x="637" y="173"/>
                    <a:pt x="624" y="173"/>
                    <a:pt x="612" y="174"/>
                  </a:cubicBezTo>
                  <a:cubicBezTo>
                    <a:pt x="614" y="181"/>
                    <a:pt x="615" y="188"/>
                    <a:pt x="616" y="194"/>
                  </a:cubicBezTo>
                  <a:cubicBezTo>
                    <a:pt x="617" y="204"/>
                    <a:pt x="607" y="202"/>
                    <a:pt x="595" y="201"/>
                  </a:cubicBezTo>
                  <a:cubicBezTo>
                    <a:pt x="583" y="199"/>
                    <a:pt x="575" y="201"/>
                    <a:pt x="558" y="202"/>
                  </a:cubicBezTo>
                  <a:cubicBezTo>
                    <a:pt x="542" y="203"/>
                    <a:pt x="537" y="208"/>
                    <a:pt x="518" y="216"/>
                  </a:cubicBezTo>
                  <a:cubicBezTo>
                    <a:pt x="498" y="225"/>
                    <a:pt x="489" y="219"/>
                    <a:pt x="473" y="218"/>
                  </a:cubicBezTo>
                  <a:cubicBezTo>
                    <a:pt x="456" y="218"/>
                    <a:pt x="411" y="198"/>
                    <a:pt x="400" y="187"/>
                  </a:cubicBezTo>
                  <a:cubicBezTo>
                    <a:pt x="390" y="177"/>
                    <a:pt x="381" y="168"/>
                    <a:pt x="370" y="163"/>
                  </a:cubicBezTo>
                  <a:cubicBezTo>
                    <a:pt x="359" y="157"/>
                    <a:pt x="338" y="161"/>
                    <a:pt x="322" y="155"/>
                  </a:cubicBezTo>
                  <a:cubicBezTo>
                    <a:pt x="306" y="149"/>
                    <a:pt x="310" y="145"/>
                    <a:pt x="307" y="127"/>
                  </a:cubicBezTo>
                  <a:cubicBezTo>
                    <a:pt x="304" y="109"/>
                    <a:pt x="298" y="104"/>
                    <a:pt x="298" y="94"/>
                  </a:cubicBezTo>
                  <a:cubicBezTo>
                    <a:pt x="298" y="93"/>
                    <a:pt x="298" y="93"/>
                    <a:pt x="298" y="93"/>
                  </a:cubicBezTo>
                  <a:cubicBezTo>
                    <a:pt x="289" y="92"/>
                    <a:pt x="277" y="91"/>
                    <a:pt x="272" y="87"/>
                  </a:cubicBezTo>
                  <a:cubicBezTo>
                    <a:pt x="267" y="85"/>
                    <a:pt x="262" y="79"/>
                    <a:pt x="257" y="74"/>
                  </a:cubicBezTo>
                  <a:cubicBezTo>
                    <a:pt x="253" y="68"/>
                    <a:pt x="249" y="62"/>
                    <a:pt x="247" y="58"/>
                  </a:cubicBezTo>
                  <a:cubicBezTo>
                    <a:pt x="245" y="51"/>
                    <a:pt x="250" y="48"/>
                    <a:pt x="254" y="45"/>
                  </a:cubicBezTo>
                  <a:cubicBezTo>
                    <a:pt x="256" y="44"/>
                    <a:pt x="257" y="42"/>
                    <a:pt x="257" y="42"/>
                  </a:cubicBezTo>
                  <a:cubicBezTo>
                    <a:pt x="257" y="41"/>
                    <a:pt x="256" y="40"/>
                    <a:pt x="255" y="39"/>
                  </a:cubicBezTo>
                  <a:cubicBezTo>
                    <a:pt x="254" y="37"/>
                    <a:pt x="252" y="36"/>
                    <a:pt x="251" y="32"/>
                  </a:cubicBezTo>
                  <a:cubicBezTo>
                    <a:pt x="250" y="27"/>
                    <a:pt x="252" y="25"/>
                    <a:pt x="255" y="22"/>
                  </a:cubicBezTo>
                  <a:cubicBezTo>
                    <a:pt x="256" y="20"/>
                    <a:pt x="257" y="19"/>
                    <a:pt x="257" y="18"/>
                  </a:cubicBezTo>
                  <a:cubicBezTo>
                    <a:pt x="256" y="16"/>
                    <a:pt x="253" y="13"/>
                    <a:pt x="251" y="10"/>
                  </a:cubicBezTo>
                  <a:cubicBezTo>
                    <a:pt x="247" y="7"/>
                    <a:pt x="244" y="4"/>
                    <a:pt x="241" y="2"/>
                  </a:cubicBezTo>
                  <a:cubicBezTo>
                    <a:pt x="239" y="1"/>
                    <a:pt x="236" y="1"/>
                    <a:pt x="232" y="3"/>
                  </a:cubicBezTo>
                  <a:cubicBezTo>
                    <a:pt x="227" y="4"/>
                    <a:pt x="221" y="7"/>
                    <a:pt x="215" y="12"/>
                  </a:cubicBezTo>
                  <a:cubicBezTo>
                    <a:pt x="211" y="15"/>
                    <a:pt x="205" y="20"/>
                    <a:pt x="199" y="26"/>
                  </a:cubicBezTo>
                  <a:cubicBezTo>
                    <a:pt x="183" y="41"/>
                    <a:pt x="163" y="59"/>
                    <a:pt x="150" y="65"/>
                  </a:cubicBezTo>
                  <a:cubicBezTo>
                    <a:pt x="133" y="73"/>
                    <a:pt x="108" y="63"/>
                    <a:pt x="94" y="58"/>
                  </a:cubicBezTo>
                  <a:cubicBezTo>
                    <a:pt x="92" y="57"/>
                    <a:pt x="90" y="57"/>
                    <a:pt x="89" y="57"/>
                  </a:cubicBezTo>
                  <a:cubicBezTo>
                    <a:pt x="78" y="53"/>
                    <a:pt x="68" y="39"/>
                    <a:pt x="60" y="27"/>
                  </a:cubicBezTo>
                  <a:cubicBezTo>
                    <a:pt x="58" y="25"/>
                    <a:pt x="57" y="23"/>
                    <a:pt x="56" y="21"/>
                  </a:cubicBezTo>
                  <a:cubicBezTo>
                    <a:pt x="51" y="15"/>
                    <a:pt x="45" y="9"/>
                    <a:pt x="39" y="5"/>
                  </a:cubicBezTo>
                  <a:cubicBezTo>
                    <a:pt x="34" y="2"/>
                    <a:pt x="31" y="0"/>
                    <a:pt x="29" y="0"/>
                  </a:cubicBezTo>
                  <a:cubicBezTo>
                    <a:pt x="29" y="1"/>
                    <a:pt x="28" y="2"/>
                    <a:pt x="28" y="5"/>
                  </a:cubicBezTo>
                  <a:cubicBezTo>
                    <a:pt x="27" y="10"/>
                    <a:pt x="26" y="16"/>
                    <a:pt x="19" y="22"/>
                  </a:cubicBezTo>
                  <a:cubicBezTo>
                    <a:pt x="12" y="28"/>
                    <a:pt x="7" y="27"/>
                    <a:pt x="4" y="26"/>
                  </a:cubicBezTo>
                  <a:cubicBezTo>
                    <a:pt x="3" y="25"/>
                    <a:pt x="2" y="25"/>
                    <a:pt x="2" y="26"/>
                  </a:cubicBezTo>
                  <a:cubicBezTo>
                    <a:pt x="0" y="27"/>
                    <a:pt x="1" y="29"/>
                    <a:pt x="2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3" y="35"/>
                    <a:pt x="4" y="37"/>
                    <a:pt x="5" y="41"/>
                  </a:cubicBezTo>
                  <a:cubicBezTo>
                    <a:pt x="6" y="45"/>
                    <a:pt x="7" y="46"/>
                    <a:pt x="9" y="48"/>
                  </a:cubicBezTo>
                  <a:cubicBezTo>
                    <a:pt x="11" y="50"/>
                    <a:pt x="14" y="52"/>
                    <a:pt x="16" y="56"/>
                  </a:cubicBezTo>
                  <a:cubicBezTo>
                    <a:pt x="21" y="63"/>
                    <a:pt x="20" y="72"/>
                    <a:pt x="20" y="79"/>
                  </a:cubicBezTo>
                  <a:cubicBezTo>
                    <a:pt x="19" y="82"/>
                    <a:pt x="19" y="85"/>
                    <a:pt x="19" y="87"/>
                  </a:cubicBezTo>
                  <a:cubicBezTo>
                    <a:pt x="19" y="89"/>
                    <a:pt x="22" y="90"/>
                    <a:pt x="24" y="91"/>
                  </a:cubicBezTo>
                  <a:cubicBezTo>
                    <a:pt x="26" y="91"/>
                    <a:pt x="28" y="92"/>
                    <a:pt x="30" y="95"/>
                  </a:cubicBezTo>
                  <a:cubicBezTo>
                    <a:pt x="32" y="99"/>
                    <a:pt x="28" y="104"/>
                    <a:pt x="24" y="110"/>
                  </a:cubicBezTo>
                  <a:cubicBezTo>
                    <a:pt x="20" y="115"/>
                    <a:pt x="15" y="121"/>
                    <a:pt x="15" y="123"/>
                  </a:cubicBezTo>
                  <a:cubicBezTo>
                    <a:pt x="16" y="126"/>
                    <a:pt x="18" y="127"/>
                    <a:pt x="21" y="129"/>
                  </a:cubicBezTo>
                  <a:cubicBezTo>
                    <a:pt x="24" y="131"/>
                    <a:pt x="28" y="133"/>
                    <a:pt x="30" y="137"/>
                  </a:cubicBezTo>
                  <a:cubicBezTo>
                    <a:pt x="33" y="143"/>
                    <a:pt x="33" y="147"/>
                    <a:pt x="33" y="152"/>
                  </a:cubicBezTo>
                  <a:cubicBezTo>
                    <a:pt x="33" y="154"/>
                    <a:pt x="33" y="156"/>
                    <a:pt x="33" y="158"/>
                  </a:cubicBezTo>
                  <a:cubicBezTo>
                    <a:pt x="33" y="160"/>
                    <a:pt x="34" y="161"/>
                    <a:pt x="36" y="161"/>
                  </a:cubicBezTo>
                  <a:cubicBezTo>
                    <a:pt x="38" y="162"/>
                    <a:pt x="42" y="164"/>
                    <a:pt x="45" y="168"/>
                  </a:cubicBezTo>
                  <a:cubicBezTo>
                    <a:pt x="48" y="172"/>
                    <a:pt x="49" y="176"/>
                    <a:pt x="50" y="181"/>
                  </a:cubicBezTo>
                  <a:cubicBezTo>
                    <a:pt x="51" y="186"/>
                    <a:pt x="52" y="191"/>
                    <a:pt x="52" y="198"/>
                  </a:cubicBezTo>
                  <a:cubicBezTo>
                    <a:pt x="53" y="206"/>
                    <a:pt x="54" y="208"/>
                    <a:pt x="58" y="212"/>
                  </a:cubicBezTo>
                  <a:cubicBezTo>
                    <a:pt x="59" y="214"/>
                    <a:pt x="61" y="216"/>
                    <a:pt x="63" y="219"/>
                  </a:cubicBezTo>
                  <a:cubicBezTo>
                    <a:pt x="66" y="222"/>
                    <a:pt x="68" y="225"/>
                    <a:pt x="69" y="227"/>
                  </a:cubicBezTo>
                  <a:cubicBezTo>
                    <a:pt x="74" y="232"/>
                    <a:pt x="76" y="235"/>
                    <a:pt x="79" y="245"/>
                  </a:cubicBezTo>
                  <a:cubicBezTo>
                    <a:pt x="79" y="245"/>
                    <a:pt x="79" y="245"/>
                    <a:pt x="79" y="245"/>
                  </a:cubicBezTo>
                  <a:cubicBezTo>
                    <a:pt x="80" y="251"/>
                    <a:pt x="81" y="254"/>
                    <a:pt x="82" y="256"/>
                  </a:cubicBezTo>
                  <a:cubicBezTo>
                    <a:pt x="83" y="258"/>
                    <a:pt x="86" y="259"/>
                    <a:pt x="91" y="259"/>
                  </a:cubicBezTo>
                  <a:cubicBezTo>
                    <a:pt x="100" y="261"/>
                    <a:pt x="101" y="261"/>
                    <a:pt x="103" y="265"/>
                  </a:cubicBezTo>
                  <a:cubicBezTo>
                    <a:pt x="104" y="266"/>
                    <a:pt x="105" y="267"/>
                    <a:pt x="108" y="270"/>
                  </a:cubicBezTo>
                  <a:cubicBezTo>
                    <a:pt x="111" y="273"/>
                    <a:pt x="115" y="272"/>
                    <a:pt x="119" y="271"/>
                  </a:cubicBezTo>
                  <a:cubicBezTo>
                    <a:pt x="124" y="270"/>
                    <a:pt x="129" y="269"/>
                    <a:pt x="133" y="274"/>
                  </a:cubicBezTo>
                  <a:cubicBezTo>
                    <a:pt x="137" y="279"/>
                    <a:pt x="136" y="282"/>
                    <a:pt x="133" y="285"/>
                  </a:cubicBezTo>
                  <a:cubicBezTo>
                    <a:pt x="132" y="286"/>
                    <a:pt x="130" y="287"/>
                    <a:pt x="128" y="287"/>
                  </a:cubicBezTo>
                  <a:cubicBezTo>
                    <a:pt x="127" y="287"/>
                    <a:pt x="126" y="288"/>
                    <a:pt x="126" y="288"/>
                  </a:cubicBezTo>
                  <a:cubicBezTo>
                    <a:pt x="125" y="289"/>
                    <a:pt x="124" y="291"/>
                    <a:pt x="124" y="294"/>
                  </a:cubicBezTo>
                  <a:cubicBezTo>
                    <a:pt x="124" y="297"/>
                    <a:pt x="124" y="300"/>
                    <a:pt x="126" y="303"/>
                  </a:cubicBezTo>
                  <a:cubicBezTo>
                    <a:pt x="128" y="307"/>
                    <a:pt x="129" y="311"/>
                    <a:pt x="129" y="314"/>
                  </a:cubicBezTo>
                  <a:cubicBezTo>
                    <a:pt x="130" y="318"/>
                    <a:pt x="129" y="322"/>
                    <a:pt x="126" y="326"/>
                  </a:cubicBezTo>
                  <a:cubicBezTo>
                    <a:pt x="124" y="329"/>
                    <a:pt x="121" y="331"/>
                    <a:pt x="118" y="334"/>
                  </a:cubicBezTo>
                  <a:cubicBezTo>
                    <a:pt x="114" y="336"/>
                    <a:pt x="110" y="339"/>
                    <a:pt x="109" y="342"/>
                  </a:cubicBezTo>
                  <a:cubicBezTo>
                    <a:pt x="108" y="344"/>
                    <a:pt x="108" y="348"/>
                    <a:pt x="108" y="351"/>
                  </a:cubicBezTo>
                  <a:cubicBezTo>
                    <a:pt x="107" y="357"/>
                    <a:pt x="107" y="364"/>
                    <a:pt x="100" y="367"/>
                  </a:cubicBezTo>
                  <a:cubicBezTo>
                    <a:pt x="97" y="368"/>
                    <a:pt x="94" y="368"/>
                    <a:pt x="91" y="369"/>
                  </a:cubicBezTo>
                  <a:cubicBezTo>
                    <a:pt x="89" y="369"/>
                    <a:pt x="88" y="369"/>
                    <a:pt x="88" y="370"/>
                  </a:cubicBezTo>
                  <a:cubicBezTo>
                    <a:pt x="87" y="372"/>
                    <a:pt x="88" y="373"/>
                    <a:pt x="90" y="375"/>
                  </a:cubicBezTo>
                  <a:cubicBezTo>
                    <a:pt x="90" y="375"/>
                    <a:pt x="90" y="375"/>
                    <a:pt x="90" y="375"/>
                  </a:cubicBezTo>
                  <a:cubicBezTo>
                    <a:pt x="92" y="379"/>
                    <a:pt x="95" y="383"/>
                    <a:pt x="93" y="389"/>
                  </a:cubicBezTo>
                  <a:cubicBezTo>
                    <a:pt x="93" y="394"/>
                    <a:pt x="91" y="397"/>
                    <a:pt x="89" y="399"/>
                  </a:cubicBezTo>
                  <a:cubicBezTo>
                    <a:pt x="88" y="402"/>
                    <a:pt x="87" y="404"/>
                    <a:pt x="87" y="406"/>
                  </a:cubicBezTo>
                  <a:cubicBezTo>
                    <a:pt x="88" y="408"/>
                    <a:pt x="90" y="410"/>
                    <a:pt x="92" y="413"/>
                  </a:cubicBezTo>
                  <a:cubicBezTo>
                    <a:pt x="96" y="416"/>
                    <a:pt x="100" y="420"/>
                    <a:pt x="105" y="423"/>
                  </a:cubicBezTo>
                  <a:cubicBezTo>
                    <a:pt x="105" y="423"/>
                    <a:pt x="105" y="423"/>
                    <a:pt x="105" y="423"/>
                  </a:cubicBezTo>
                  <a:cubicBezTo>
                    <a:pt x="106" y="423"/>
                    <a:pt x="106" y="423"/>
                    <a:pt x="106" y="423"/>
                  </a:cubicBezTo>
                  <a:cubicBezTo>
                    <a:pt x="114" y="429"/>
                    <a:pt x="114" y="429"/>
                    <a:pt x="120" y="438"/>
                  </a:cubicBezTo>
                  <a:cubicBezTo>
                    <a:pt x="122" y="442"/>
                    <a:pt x="124" y="451"/>
                    <a:pt x="126" y="459"/>
                  </a:cubicBezTo>
                  <a:cubicBezTo>
                    <a:pt x="127" y="465"/>
                    <a:pt x="128" y="471"/>
                    <a:pt x="129" y="471"/>
                  </a:cubicBezTo>
                  <a:cubicBezTo>
                    <a:pt x="129" y="472"/>
                    <a:pt x="132" y="472"/>
                    <a:pt x="135" y="472"/>
                  </a:cubicBezTo>
                  <a:cubicBezTo>
                    <a:pt x="138" y="472"/>
                    <a:pt x="142" y="472"/>
                    <a:pt x="146" y="473"/>
                  </a:cubicBezTo>
                  <a:cubicBezTo>
                    <a:pt x="149" y="474"/>
                    <a:pt x="155" y="478"/>
                    <a:pt x="162" y="484"/>
                  </a:cubicBezTo>
                  <a:cubicBezTo>
                    <a:pt x="173" y="492"/>
                    <a:pt x="185" y="502"/>
                    <a:pt x="188" y="504"/>
                  </a:cubicBezTo>
                  <a:cubicBezTo>
                    <a:pt x="189" y="506"/>
                    <a:pt x="190" y="506"/>
                    <a:pt x="192" y="505"/>
                  </a:cubicBezTo>
                  <a:cubicBezTo>
                    <a:pt x="195" y="505"/>
                    <a:pt x="198" y="505"/>
                    <a:pt x="203" y="507"/>
                  </a:cubicBezTo>
                  <a:cubicBezTo>
                    <a:pt x="208" y="508"/>
                    <a:pt x="215" y="516"/>
                    <a:pt x="221" y="524"/>
                  </a:cubicBezTo>
                  <a:cubicBezTo>
                    <a:pt x="228" y="533"/>
                    <a:pt x="234" y="545"/>
                    <a:pt x="235" y="551"/>
                  </a:cubicBezTo>
                  <a:cubicBezTo>
                    <a:pt x="236" y="557"/>
                    <a:pt x="235" y="563"/>
                    <a:pt x="233" y="568"/>
                  </a:cubicBezTo>
                  <a:cubicBezTo>
                    <a:pt x="231" y="573"/>
                    <a:pt x="228" y="578"/>
                    <a:pt x="225" y="583"/>
                  </a:cubicBezTo>
                  <a:cubicBezTo>
                    <a:pt x="225" y="583"/>
                    <a:pt x="225" y="583"/>
                    <a:pt x="225" y="583"/>
                  </a:cubicBezTo>
                  <a:cubicBezTo>
                    <a:pt x="224" y="584"/>
                    <a:pt x="224" y="585"/>
                    <a:pt x="223" y="587"/>
                  </a:cubicBezTo>
                  <a:cubicBezTo>
                    <a:pt x="222" y="590"/>
                    <a:pt x="221" y="594"/>
                    <a:pt x="222" y="597"/>
                  </a:cubicBezTo>
                  <a:cubicBezTo>
                    <a:pt x="222" y="600"/>
                    <a:pt x="223" y="602"/>
                    <a:pt x="225" y="603"/>
                  </a:cubicBezTo>
                  <a:cubicBezTo>
                    <a:pt x="225" y="603"/>
                    <a:pt x="225" y="603"/>
                    <a:pt x="226" y="603"/>
                  </a:cubicBezTo>
                  <a:cubicBezTo>
                    <a:pt x="229" y="605"/>
                    <a:pt x="232" y="605"/>
                    <a:pt x="235" y="605"/>
                  </a:cubicBezTo>
                  <a:cubicBezTo>
                    <a:pt x="239" y="605"/>
                    <a:pt x="243" y="605"/>
                    <a:pt x="246" y="608"/>
                  </a:cubicBezTo>
                  <a:cubicBezTo>
                    <a:pt x="249" y="610"/>
                    <a:pt x="249" y="616"/>
                    <a:pt x="249" y="623"/>
                  </a:cubicBezTo>
                  <a:cubicBezTo>
                    <a:pt x="249" y="630"/>
                    <a:pt x="248" y="638"/>
                    <a:pt x="251" y="643"/>
                  </a:cubicBezTo>
                  <a:cubicBezTo>
                    <a:pt x="254" y="648"/>
                    <a:pt x="256" y="649"/>
                    <a:pt x="259" y="650"/>
                  </a:cubicBezTo>
                  <a:cubicBezTo>
                    <a:pt x="263" y="652"/>
                    <a:pt x="266" y="654"/>
                    <a:pt x="271" y="660"/>
                  </a:cubicBezTo>
                  <a:cubicBezTo>
                    <a:pt x="276" y="665"/>
                    <a:pt x="279" y="670"/>
                    <a:pt x="282" y="674"/>
                  </a:cubicBezTo>
                  <a:cubicBezTo>
                    <a:pt x="283" y="675"/>
                    <a:pt x="283" y="675"/>
                    <a:pt x="284" y="676"/>
                  </a:cubicBezTo>
                  <a:cubicBezTo>
                    <a:pt x="292" y="675"/>
                    <a:pt x="298" y="671"/>
                    <a:pt x="298" y="668"/>
                  </a:cubicBezTo>
                  <a:cubicBezTo>
                    <a:pt x="297" y="664"/>
                    <a:pt x="295" y="656"/>
                    <a:pt x="298" y="650"/>
                  </a:cubicBezTo>
                  <a:cubicBezTo>
                    <a:pt x="302" y="643"/>
                    <a:pt x="307" y="643"/>
                    <a:pt x="314" y="643"/>
                  </a:cubicBezTo>
                  <a:cubicBezTo>
                    <a:pt x="320" y="644"/>
                    <a:pt x="317" y="647"/>
                    <a:pt x="317" y="653"/>
                  </a:cubicBezTo>
                  <a:cubicBezTo>
                    <a:pt x="317" y="659"/>
                    <a:pt x="319" y="658"/>
                    <a:pt x="320" y="664"/>
                  </a:cubicBezTo>
                  <a:cubicBezTo>
                    <a:pt x="320" y="670"/>
                    <a:pt x="331" y="670"/>
                    <a:pt x="336" y="674"/>
                  </a:cubicBezTo>
                  <a:cubicBezTo>
                    <a:pt x="341" y="677"/>
                    <a:pt x="344" y="675"/>
                    <a:pt x="350" y="670"/>
                  </a:cubicBezTo>
                  <a:cubicBezTo>
                    <a:pt x="357" y="665"/>
                    <a:pt x="367" y="667"/>
                    <a:pt x="374" y="668"/>
                  </a:cubicBezTo>
                  <a:cubicBezTo>
                    <a:pt x="381" y="669"/>
                    <a:pt x="379" y="676"/>
                    <a:pt x="382" y="685"/>
                  </a:cubicBezTo>
                  <a:cubicBezTo>
                    <a:pt x="385" y="695"/>
                    <a:pt x="385" y="691"/>
                    <a:pt x="393" y="702"/>
                  </a:cubicBezTo>
                  <a:cubicBezTo>
                    <a:pt x="401" y="712"/>
                    <a:pt x="400" y="706"/>
                    <a:pt x="405" y="714"/>
                  </a:cubicBezTo>
                  <a:cubicBezTo>
                    <a:pt x="409" y="723"/>
                    <a:pt x="407" y="731"/>
                    <a:pt x="409" y="735"/>
                  </a:cubicBezTo>
                  <a:cubicBezTo>
                    <a:pt x="411" y="738"/>
                    <a:pt x="414" y="738"/>
                    <a:pt x="421" y="743"/>
                  </a:cubicBezTo>
                  <a:cubicBezTo>
                    <a:pt x="427" y="747"/>
                    <a:pt x="423" y="748"/>
                    <a:pt x="424" y="756"/>
                  </a:cubicBezTo>
                  <a:cubicBezTo>
                    <a:pt x="425" y="764"/>
                    <a:pt x="428" y="765"/>
                    <a:pt x="434" y="772"/>
                  </a:cubicBezTo>
                  <a:cubicBezTo>
                    <a:pt x="439" y="778"/>
                    <a:pt x="446" y="794"/>
                    <a:pt x="448" y="804"/>
                  </a:cubicBezTo>
                  <a:cubicBezTo>
                    <a:pt x="449" y="814"/>
                    <a:pt x="456" y="815"/>
                    <a:pt x="463" y="820"/>
                  </a:cubicBezTo>
                  <a:cubicBezTo>
                    <a:pt x="471" y="824"/>
                    <a:pt x="481" y="824"/>
                    <a:pt x="493" y="827"/>
                  </a:cubicBezTo>
                  <a:cubicBezTo>
                    <a:pt x="506" y="829"/>
                    <a:pt x="512" y="834"/>
                    <a:pt x="519" y="841"/>
                  </a:cubicBezTo>
                  <a:cubicBezTo>
                    <a:pt x="527" y="847"/>
                    <a:pt x="533" y="853"/>
                    <a:pt x="540" y="860"/>
                  </a:cubicBezTo>
                  <a:cubicBezTo>
                    <a:pt x="548" y="868"/>
                    <a:pt x="555" y="869"/>
                    <a:pt x="564" y="872"/>
                  </a:cubicBezTo>
                  <a:cubicBezTo>
                    <a:pt x="574" y="874"/>
                    <a:pt x="578" y="882"/>
                    <a:pt x="588" y="891"/>
                  </a:cubicBezTo>
                  <a:cubicBezTo>
                    <a:pt x="598" y="900"/>
                    <a:pt x="603" y="899"/>
                    <a:pt x="616" y="902"/>
                  </a:cubicBezTo>
                  <a:cubicBezTo>
                    <a:pt x="628" y="905"/>
                    <a:pt x="637" y="908"/>
                    <a:pt x="651" y="908"/>
                  </a:cubicBezTo>
                  <a:cubicBezTo>
                    <a:pt x="665" y="908"/>
                    <a:pt x="671" y="903"/>
                    <a:pt x="684" y="899"/>
                  </a:cubicBezTo>
                  <a:cubicBezTo>
                    <a:pt x="696" y="895"/>
                    <a:pt x="697" y="896"/>
                    <a:pt x="705" y="887"/>
                  </a:cubicBezTo>
                  <a:cubicBezTo>
                    <a:pt x="714" y="879"/>
                    <a:pt x="722" y="879"/>
                    <a:pt x="731" y="874"/>
                  </a:cubicBezTo>
                  <a:cubicBezTo>
                    <a:pt x="739" y="869"/>
                    <a:pt x="746" y="869"/>
                    <a:pt x="757" y="868"/>
                  </a:cubicBezTo>
                  <a:cubicBezTo>
                    <a:pt x="769" y="868"/>
                    <a:pt x="778" y="871"/>
                    <a:pt x="786" y="875"/>
                  </a:cubicBezTo>
                  <a:cubicBezTo>
                    <a:pt x="794" y="878"/>
                    <a:pt x="795" y="882"/>
                    <a:pt x="798" y="893"/>
                  </a:cubicBezTo>
                  <a:cubicBezTo>
                    <a:pt x="802" y="904"/>
                    <a:pt x="806" y="913"/>
                    <a:pt x="805" y="923"/>
                  </a:cubicBezTo>
                  <a:cubicBezTo>
                    <a:pt x="804" y="933"/>
                    <a:pt x="814" y="951"/>
                    <a:pt x="821" y="960"/>
                  </a:cubicBezTo>
                  <a:cubicBezTo>
                    <a:pt x="828" y="969"/>
                    <a:pt x="835" y="962"/>
                    <a:pt x="843" y="964"/>
                  </a:cubicBezTo>
                  <a:cubicBezTo>
                    <a:pt x="851" y="966"/>
                    <a:pt x="860" y="968"/>
                    <a:pt x="873" y="968"/>
                  </a:cubicBezTo>
                  <a:cubicBezTo>
                    <a:pt x="887" y="968"/>
                    <a:pt x="902" y="970"/>
                    <a:pt x="910" y="971"/>
                  </a:cubicBezTo>
                  <a:cubicBezTo>
                    <a:pt x="918" y="972"/>
                    <a:pt x="932" y="985"/>
                    <a:pt x="942" y="981"/>
                  </a:cubicBezTo>
                  <a:cubicBezTo>
                    <a:pt x="952" y="977"/>
                    <a:pt x="963" y="979"/>
                    <a:pt x="973" y="979"/>
                  </a:cubicBezTo>
                  <a:cubicBezTo>
                    <a:pt x="982" y="979"/>
                    <a:pt x="983" y="982"/>
                    <a:pt x="996" y="981"/>
                  </a:cubicBezTo>
                  <a:cubicBezTo>
                    <a:pt x="1008" y="981"/>
                    <a:pt x="1014" y="981"/>
                    <a:pt x="1018" y="987"/>
                  </a:cubicBezTo>
                  <a:cubicBezTo>
                    <a:pt x="1022" y="992"/>
                    <a:pt x="1038" y="994"/>
                    <a:pt x="1048" y="998"/>
                  </a:cubicBezTo>
                  <a:cubicBezTo>
                    <a:pt x="1057" y="1002"/>
                    <a:pt x="1069" y="998"/>
                    <a:pt x="1081" y="999"/>
                  </a:cubicBezTo>
                  <a:cubicBezTo>
                    <a:pt x="1084" y="986"/>
                    <a:pt x="1089" y="966"/>
                    <a:pt x="1091" y="95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7" name="Freeform 332"/>
            <p:cNvSpPr>
              <a:spLocks/>
            </p:cNvSpPr>
            <p:nvPr/>
          </p:nvSpPr>
          <p:spPr bwMode="auto">
            <a:xfrm>
              <a:off x="5581763" y="5587100"/>
              <a:ext cx="33337" cy="23812"/>
            </a:xfrm>
            <a:custGeom>
              <a:avLst/>
              <a:gdLst>
                <a:gd name="T0" fmla="*/ 109 w 115"/>
                <a:gd name="T1" fmla="*/ 37 h 84"/>
                <a:gd name="T2" fmla="*/ 88 w 115"/>
                <a:gd name="T3" fmla="*/ 37 h 84"/>
                <a:gd name="T4" fmla="*/ 73 w 115"/>
                <a:gd name="T5" fmla="*/ 46 h 84"/>
                <a:gd name="T6" fmla="*/ 54 w 115"/>
                <a:gd name="T7" fmla="*/ 51 h 84"/>
                <a:gd name="T8" fmla="*/ 44 w 115"/>
                <a:gd name="T9" fmla="*/ 49 h 84"/>
                <a:gd name="T10" fmla="*/ 49 w 115"/>
                <a:gd name="T11" fmla="*/ 40 h 84"/>
                <a:gd name="T12" fmla="*/ 59 w 115"/>
                <a:gd name="T13" fmla="*/ 36 h 84"/>
                <a:gd name="T14" fmla="*/ 54 w 115"/>
                <a:gd name="T15" fmla="*/ 30 h 84"/>
                <a:gd name="T16" fmla="*/ 46 w 115"/>
                <a:gd name="T17" fmla="*/ 35 h 84"/>
                <a:gd name="T18" fmla="*/ 37 w 115"/>
                <a:gd name="T19" fmla="*/ 39 h 84"/>
                <a:gd name="T20" fmla="*/ 32 w 115"/>
                <a:gd name="T21" fmla="*/ 35 h 84"/>
                <a:gd name="T22" fmla="*/ 42 w 115"/>
                <a:gd name="T23" fmla="*/ 25 h 84"/>
                <a:gd name="T24" fmla="*/ 37 w 115"/>
                <a:gd name="T25" fmla="*/ 24 h 84"/>
                <a:gd name="T26" fmla="*/ 31 w 115"/>
                <a:gd name="T27" fmla="*/ 29 h 84"/>
                <a:gd name="T28" fmla="*/ 24 w 115"/>
                <a:gd name="T29" fmla="*/ 29 h 84"/>
                <a:gd name="T30" fmla="*/ 22 w 115"/>
                <a:gd name="T31" fmla="*/ 19 h 84"/>
                <a:gd name="T32" fmla="*/ 24 w 115"/>
                <a:gd name="T33" fmla="*/ 11 h 84"/>
                <a:gd name="T34" fmla="*/ 10 w 115"/>
                <a:gd name="T35" fmla="*/ 11 h 84"/>
                <a:gd name="T36" fmla="*/ 7 w 115"/>
                <a:gd name="T37" fmla="*/ 25 h 84"/>
                <a:gd name="T38" fmla="*/ 4 w 115"/>
                <a:gd name="T39" fmla="*/ 32 h 84"/>
                <a:gd name="T40" fmla="*/ 5 w 115"/>
                <a:gd name="T41" fmla="*/ 45 h 84"/>
                <a:gd name="T42" fmla="*/ 11 w 115"/>
                <a:gd name="T43" fmla="*/ 62 h 84"/>
                <a:gd name="T44" fmla="*/ 4 w 115"/>
                <a:gd name="T45" fmla="*/ 75 h 84"/>
                <a:gd name="T46" fmla="*/ 13 w 115"/>
                <a:gd name="T47" fmla="*/ 81 h 84"/>
                <a:gd name="T48" fmla="*/ 26 w 115"/>
                <a:gd name="T49" fmla="*/ 71 h 84"/>
                <a:gd name="T50" fmla="*/ 42 w 115"/>
                <a:gd name="T51" fmla="*/ 75 h 84"/>
                <a:gd name="T52" fmla="*/ 54 w 115"/>
                <a:gd name="T53" fmla="*/ 75 h 84"/>
                <a:gd name="T54" fmla="*/ 55 w 115"/>
                <a:gd name="T55" fmla="*/ 61 h 84"/>
                <a:gd name="T56" fmla="*/ 71 w 115"/>
                <a:gd name="T57" fmla="*/ 55 h 84"/>
                <a:gd name="T58" fmla="*/ 85 w 115"/>
                <a:gd name="T59" fmla="*/ 54 h 84"/>
                <a:gd name="T60" fmla="*/ 101 w 115"/>
                <a:gd name="T61" fmla="*/ 60 h 84"/>
                <a:gd name="T62" fmla="*/ 111 w 115"/>
                <a:gd name="T63" fmla="*/ 50 h 84"/>
                <a:gd name="T64" fmla="*/ 109 w 115"/>
                <a:gd name="T65" fmla="*/ 3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5" h="84">
                  <a:moveTo>
                    <a:pt x="109" y="37"/>
                  </a:moveTo>
                  <a:cubicBezTo>
                    <a:pt x="103" y="34"/>
                    <a:pt x="94" y="32"/>
                    <a:pt x="88" y="37"/>
                  </a:cubicBezTo>
                  <a:cubicBezTo>
                    <a:pt x="82" y="42"/>
                    <a:pt x="77" y="43"/>
                    <a:pt x="73" y="46"/>
                  </a:cubicBezTo>
                  <a:cubicBezTo>
                    <a:pt x="68" y="49"/>
                    <a:pt x="57" y="51"/>
                    <a:pt x="54" y="51"/>
                  </a:cubicBezTo>
                  <a:cubicBezTo>
                    <a:pt x="51" y="51"/>
                    <a:pt x="46" y="54"/>
                    <a:pt x="44" y="49"/>
                  </a:cubicBezTo>
                  <a:cubicBezTo>
                    <a:pt x="43" y="44"/>
                    <a:pt x="45" y="40"/>
                    <a:pt x="49" y="40"/>
                  </a:cubicBezTo>
                  <a:cubicBezTo>
                    <a:pt x="54" y="40"/>
                    <a:pt x="60" y="40"/>
                    <a:pt x="59" y="36"/>
                  </a:cubicBezTo>
                  <a:cubicBezTo>
                    <a:pt x="58" y="32"/>
                    <a:pt x="58" y="27"/>
                    <a:pt x="54" y="30"/>
                  </a:cubicBezTo>
                  <a:cubicBezTo>
                    <a:pt x="51" y="32"/>
                    <a:pt x="47" y="33"/>
                    <a:pt x="46" y="35"/>
                  </a:cubicBezTo>
                  <a:cubicBezTo>
                    <a:pt x="45" y="38"/>
                    <a:pt x="41" y="39"/>
                    <a:pt x="37" y="39"/>
                  </a:cubicBezTo>
                  <a:cubicBezTo>
                    <a:pt x="34" y="39"/>
                    <a:pt x="30" y="38"/>
                    <a:pt x="32" y="35"/>
                  </a:cubicBezTo>
                  <a:cubicBezTo>
                    <a:pt x="33" y="32"/>
                    <a:pt x="42" y="25"/>
                    <a:pt x="42" y="25"/>
                  </a:cubicBezTo>
                  <a:cubicBezTo>
                    <a:pt x="42" y="25"/>
                    <a:pt x="39" y="23"/>
                    <a:pt x="37" y="24"/>
                  </a:cubicBezTo>
                  <a:cubicBezTo>
                    <a:pt x="35" y="25"/>
                    <a:pt x="34" y="26"/>
                    <a:pt x="31" y="29"/>
                  </a:cubicBezTo>
                  <a:cubicBezTo>
                    <a:pt x="28" y="32"/>
                    <a:pt x="25" y="34"/>
                    <a:pt x="24" y="29"/>
                  </a:cubicBezTo>
                  <a:cubicBezTo>
                    <a:pt x="23" y="25"/>
                    <a:pt x="21" y="22"/>
                    <a:pt x="22" y="19"/>
                  </a:cubicBezTo>
                  <a:cubicBezTo>
                    <a:pt x="24" y="16"/>
                    <a:pt x="28" y="14"/>
                    <a:pt x="24" y="11"/>
                  </a:cubicBezTo>
                  <a:cubicBezTo>
                    <a:pt x="20" y="9"/>
                    <a:pt x="16" y="0"/>
                    <a:pt x="10" y="11"/>
                  </a:cubicBezTo>
                  <a:cubicBezTo>
                    <a:pt x="4" y="18"/>
                    <a:pt x="6" y="19"/>
                    <a:pt x="7" y="25"/>
                  </a:cubicBezTo>
                  <a:cubicBezTo>
                    <a:pt x="7" y="31"/>
                    <a:pt x="5" y="26"/>
                    <a:pt x="4" y="32"/>
                  </a:cubicBezTo>
                  <a:cubicBezTo>
                    <a:pt x="4" y="37"/>
                    <a:pt x="0" y="38"/>
                    <a:pt x="5" y="45"/>
                  </a:cubicBezTo>
                  <a:cubicBezTo>
                    <a:pt x="10" y="52"/>
                    <a:pt x="13" y="55"/>
                    <a:pt x="11" y="62"/>
                  </a:cubicBezTo>
                  <a:cubicBezTo>
                    <a:pt x="10" y="68"/>
                    <a:pt x="3" y="69"/>
                    <a:pt x="4" y="75"/>
                  </a:cubicBezTo>
                  <a:cubicBezTo>
                    <a:pt x="6" y="81"/>
                    <a:pt x="10" y="84"/>
                    <a:pt x="13" y="81"/>
                  </a:cubicBezTo>
                  <a:cubicBezTo>
                    <a:pt x="17" y="77"/>
                    <a:pt x="21" y="72"/>
                    <a:pt x="26" y="71"/>
                  </a:cubicBezTo>
                  <a:cubicBezTo>
                    <a:pt x="31" y="70"/>
                    <a:pt x="37" y="72"/>
                    <a:pt x="42" y="75"/>
                  </a:cubicBezTo>
                  <a:cubicBezTo>
                    <a:pt x="47" y="79"/>
                    <a:pt x="52" y="80"/>
                    <a:pt x="54" y="75"/>
                  </a:cubicBezTo>
                  <a:cubicBezTo>
                    <a:pt x="55" y="69"/>
                    <a:pt x="48" y="67"/>
                    <a:pt x="55" y="61"/>
                  </a:cubicBezTo>
                  <a:cubicBezTo>
                    <a:pt x="63" y="56"/>
                    <a:pt x="66" y="57"/>
                    <a:pt x="71" y="55"/>
                  </a:cubicBezTo>
                  <a:cubicBezTo>
                    <a:pt x="75" y="54"/>
                    <a:pt x="79" y="50"/>
                    <a:pt x="85" y="54"/>
                  </a:cubicBezTo>
                  <a:cubicBezTo>
                    <a:pt x="92" y="58"/>
                    <a:pt x="95" y="63"/>
                    <a:pt x="101" y="60"/>
                  </a:cubicBezTo>
                  <a:cubicBezTo>
                    <a:pt x="106" y="57"/>
                    <a:pt x="109" y="55"/>
                    <a:pt x="111" y="50"/>
                  </a:cubicBezTo>
                  <a:cubicBezTo>
                    <a:pt x="114" y="46"/>
                    <a:pt x="115" y="40"/>
                    <a:pt x="109" y="3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8" name="Freeform 333"/>
            <p:cNvSpPr>
              <a:spLocks/>
            </p:cNvSpPr>
            <p:nvPr/>
          </p:nvSpPr>
          <p:spPr bwMode="auto">
            <a:xfrm>
              <a:off x="5484131" y="5001313"/>
              <a:ext cx="5953" cy="4762"/>
            </a:xfrm>
            <a:custGeom>
              <a:avLst/>
              <a:gdLst>
                <a:gd name="T0" fmla="*/ 11 w 23"/>
                <a:gd name="T1" fmla="*/ 4 h 20"/>
                <a:gd name="T2" fmla="*/ 5 w 23"/>
                <a:gd name="T3" fmla="*/ 16 h 20"/>
                <a:gd name="T4" fmla="*/ 15 w 23"/>
                <a:gd name="T5" fmla="*/ 11 h 20"/>
                <a:gd name="T6" fmla="*/ 23 w 23"/>
                <a:gd name="T7" fmla="*/ 4 h 20"/>
                <a:gd name="T8" fmla="*/ 11 w 23"/>
                <a:gd name="T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0">
                  <a:moveTo>
                    <a:pt x="11" y="4"/>
                  </a:moveTo>
                  <a:cubicBezTo>
                    <a:pt x="4" y="5"/>
                    <a:pt x="0" y="12"/>
                    <a:pt x="5" y="16"/>
                  </a:cubicBezTo>
                  <a:cubicBezTo>
                    <a:pt x="10" y="20"/>
                    <a:pt x="9" y="14"/>
                    <a:pt x="15" y="11"/>
                  </a:cubicBezTo>
                  <a:cubicBezTo>
                    <a:pt x="21" y="7"/>
                    <a:pt x="23" y="4"/>
                    <a:pt x="23" y="4"/>
                  </a:cubicBezTo>
                  <a:cubicBezTo>
                    <a:pt x="23" y="4"/>
                    <a:pt x="18" y="0"/>
                    <a:pt x="11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9" name="Freeform 335"/>
            <p:cNvSpPr>
              <a:spLocks/>
            </p:cNvSpPr>
            <p:nvPr/>
          </p:nvSpPr>
          <p:spPr bwMode="auto">
            <a:xfrm>
              <a:off x="5646056" y="4775094"/>
              <a:ext cx="3572" cy="5953"/>
            </a:xfrm>
            <a:custGeom>
              <a:avLst/>
              <a:gdLst>
                <a:gd name="T0" fmla="*/ 5 w 13"/>
                <a:gd name="T1" fmla="*/ 8 h 23"/>
                <a:gd name="T2" fmla="*/ 6 w 13"/>
                <a:gd name="T3" fmla="*/ 14 h 23"/>
                <a:gd name="T4" fmla="*/ 3 w 13"/>
                <a:gd name="T5" fmla="*/ 23 h 23"/>
                <a:gd name="T6" fmla="*/ 9 w 13"/>
                <a:gd name="T7" fmla="*/ 19 h 23"/>
                <a:gd name="T8" fmla="*/ 12 w 13"/>
                <a:gd name="T9" fmla="*/ 7 h 23"/>
                <a:gd name="T10" fmla="*/ 5 w 13"/>
                <a:gd name="T11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3">
                  <a:moveTo>
                    <a:pt x="5" y="8"/>
                  </a:moveTo>
                  <a:cubicBezTo>
                    <a:pt x="5" y="10"/>
                    <a:pt x="7" y="9"/>
                    <a:pt x="6" y="14"/>
                  </a:cubicBezTo>
                  <a:cubicBezTo>
                    <a:pt x="4" y="19"/>
                    <a:pt x="0" y="23"/>
                    <a:pt x="3" y="23"/>
                  </a:cubicBezTo>
                  <a:cubicBezTo>
                    <a:pt x="6" y="23"/>
                    <a:pt x="8" y="23"/>
                    <a:pt x="9" y="19"/>
                  </a:cubicBezTo>
                  <a:cubicBezTo>
                    <a:pt x="11" y="14"/>
                    <a:pt x="13" y="10"/>
                    <a:pt x="12" y="7"/>
                  </a:cubicBezTo>
                  <a:cubicBezTo>
                    <a:pt x="11" y="4"/>
                    <a:pt x="5" y="0"/>
                    <a:pt x="5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0" name="Freeform 336"/>
            <p:cNvSpPr>
              <a:spLocks/>
            </p:cNvSpPr>
            <p:nvPr/>
          </p:nvSpPr>
          <p:spPr bwMode="auto">
            <a:xfrm>
              <a:off x="6019913" y="4297654"/>
              <a:ext cx="9525" cy="10716"/>
            </a:xfrm>
            <a:custGeom>
              <a:avLst/>
              <a:gdLst>
                <a:gd name="T0" fmla="*/ 17 w 32"/>
                <a:gd name="T1" fmla="*/ 14 h 40"/>
                <a:gd name="T2" fmla="*/ 7 w 32"/>
                <a:gd name="T3" fmla="*/ 8 h 40"/>
                <a:gd name="T4" fmla="*/ 3 w 32"/>
                <a:gd name="T5" fmla="*/ 15 h 40"/>
                <a:gd name="T6" fmla="*/ 11 w 32"/>
                <a:gd name="T7" fmla="*/ 26 h 40"/>
                <a:gd name="T8" fmla="*/ 28 w 32"/>
                <a:gd name="T9" fmla="*/ 38 h 40"/>
                <a:gd name="T10" fmla="*/ 31 w 32"/>
                <a:gd name="T11" fmla="*/ 24 h 40"/>
                <a:gd name="T12" fmla="*/ 17 w 32"/>
                <a:gd name="T13" fmla="*/ 1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0">
                  <a:moveTo>
                    <a:pt x="17" y="14"/>
                  </a:moveTo>
                  <a:cubicBezTo>
                    <a:pt x="9" y="12"/>
                    <a:pt x="11" y="14"/>
                    <a:pt x="7" y="8"/>
                  </a:cubicBezTo>
                  <a:cubicBezTo>
                    <a:pt x="0" y="0"/>
                    <a:pt x="1" y="12"/>
                    <a:pt x="3" y="15"/>
                  </a:cubicBezTo>
                  <a:cubicBezTo>
                    <a:pt x="5" y="17"/>
                    <a:pt x="8" y="20"/>
                    <a:pt x="11" y="26"/>
                  </a:cubicBezTo>
                  <a:cubicBezTo>
                    <a:pt x="13" y="32"/>
                    <a:pt x="23" y="40"/>
                    <a:pt x="28" y="38"/>
                  </a:cubicBezTo>
                  <a:cubicBezTo>
                    <a:pt x="32" y="36"/>
                    <a:pt x="29" y="32"/>
                    <a:pt x="31" y="24"/>
                  </a:cubicBezTo>
                  <a:cubicBezTo>
                    <a:pt x="32" y="17"/>
                    <a:pt x="25" y="17"/>
                    <a:pt x="17" y="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1" name="Freeform 337"/>
            <p:cNvSpPr>
              <a:spLocks/>
            </p:cNvSpPr>
            <p:nvPr/>
          </p:nvSpPr>
          <p:spPr bwMode="auto">
            <a:xfrm>
              <a:off x="6078253" y="4860819"/>
              <a:ext cx="8334" cy="7144"/>
            </a:xfrm>
            <a:custGeom>
              <a:avLst/>
              <a:gdLst>
                <a:gd name="T0" fmla="*/ 22 w 27"/>
                <a:gd name="T1" fmla="*/ 7 h 24"/>
                <a:gd name="T2" fmla="*/ 3 w 27"/>
                <a:gd name="T3" fmla="*/ 9 h 24"/>
                <a:gd name="T4" fmla="*/ 4 w 27"/>
                <a:gd name="T5" fmla="*/ 21 h 24"/>
                <a:gd name="T6" fmla="*/ 16 w 27"/>
                <a:gd name="T7" fmla="*/ 20 h 24"/>
                <a:gd name="T8" fmla="*/ 22 w 27"/>
                <a:gd name="T9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4">
                  <a:moveTo>
                    <a:pt x="22" y="7"/>
                  </a:moveTo>
                  <a:cubicBezTo>
                    <a:pt x="18" y="4"/>
                    <a:pt x="7" y="0"/>
                    <a:pt x="3" y="9"/>
                  </a:cubicBezTo>
                  <a:cubicBezTo>
                    <a:pt x="1" y="15"/>
                    <a:pt x="0" y="19"/>
                    <a:pt x="4" y="21"/>
                  </a:cubicBezTo>
                  <a:cubicBezTo>
                    <a:pt x="8" y="22"/>
                    <a:pt x="10" y="24"/>
                    <a:pt x="16" y="20"/>
                  </a:cubicBezTo>
                  <a:cubicBezTo>
                    <a:pt x="22" y="15"/>
                    <a:pt x="27" y="10"/>
                    <a:pt x="22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2" name="Freeform 339"/>
            <p:cNvSpPr>
              <a:spLocks/>
            </p:cNvSpPr>
            <p:nvPr/>
          </p:nvSpPr>
          <p:spPr bwMode="auto">
            <a:xfrm>
              <a:off x="6021103" y="4309560"/>
              <a:ext cx="3572" cy="4762"/>
            </a:xfrm>
            <a:custGeom>
              <a:avLst/>
              <a:gdLst>
                <a:gd name="T0" fmla="*/ 10 w 15"/>
                <a:gd name="T1" fmla="*/ 15 h 15"/>
                <a:gd name="T2" fmla="*/ 13 w 15"/>
                <a:gd name="T3" fmla="*/ 4 h 15"/>
                <a:gd name="T4" fmla="*/ 2 w 15"/>
                <a:gd name="T5" fmla="*/ 5 h 15"/>
                <a:gd name="T6" fmla="*/ 10 w 15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10" y="15"/>
                  </a:moveTo>
                  <a:cubicBezTo>
                    <a:pt x="13" y="15"/>
                    <a:pt x="15" y="6"/>
                    <a:pt x="13" y="4"/>
                  </a:cubicBezTo>
                  <a:cubicBezTo>
                    <a:pt x="10" y="1"/>
                    <a:pt x="0" y="0"/>
                    <a:pt x="2" y="5"/>
                  </a:cubicBezTo>
                  <a:cubicBezTo>
                    <a:pt x="5" y="9"/>
                    <a:pt x="6" y="15"/>
                    <a:pt x="10" y="1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3" name="Freeform 340"/>
            <p:cNvSpPr>
              <a:spLocks noEditPoints="1"/>
            </p:cNvSpPr>
            <p:nvPr/>
          </p:nvSpPr>
          <p:spPr bwMode="auto">
            <a:xfrm>
              <a:off x="5998481" y="4130966"/>
              <a:ext cx="158353" cy="341709"/>
            </a:xfrm>
            <a:custGeom>
              <a:avLst/>
              <a:gdLst>
                <a:gd name="T0" fmla="*/ 218 w 553"/>
                <a:gd name="T1" fmla="*/ 799 h 1193"/>
                <a:gd name="T2" fmla="*/ 290 w 553"/>
                <a:gd name="T3" fmla="*/ 721 h 1193"/>
                <a:gd name="T4" fmla="*/ 334 w 553"/>
                <a:gd name="T5" fmla="*/ 795 h 1193"/>
                <a:gd name="T6" fmla="*/ 366 w 553"/>
                <a:gd name="T7" fmla="*/ 936 h 1193"/>
                <a:gd name="T8" fmla="*/ 405 w 553"/>
                <a:gd name="T9" fmla="*/ 1014 h 1193"/>
                <a:gd name="T10" fmla="*/ 404 w 553"/>
                <a:gd name="T11" fmla="*/ 1078 h 1193"/>
                <a:gd name="T12" fmla="*/ 394 w 553"/>
                <a:gd name="T13" fmla="*/ 1162 h 1193"/>
                <a:gd name="T14" fmla="*/ 432 w 553"/>
                <a:gd name="T15" fmla="*/ 1114 h 1193"/>
                <a:gd name="T16" fmla="*/ 442 w 553"/>
                <a:gd name="T17" fmla="*/ 1024 h 1193"/>
                <a:gd name="T18" fmla="*/ 426 w 553"/>
                <a:gd name="T19" fmla="*/ 949 h 1193"/>
                <a:gd name="T20" fmla="*/ 385 w 553"/>
                <a:gd name="T21" fmla="*/ 852 h 1193"/>
                <a:gd name="T22" fmla="*/ 394 w 553"/>
                <a:gd name="T23" fmla="*/ 824 h 1193"/>
                <a:gd name="T24" fmla="*/ 413 w 553"/>
                <a:gd name="T25" fmla="*/ 791 h 1193"/>
                <a:gd name="T26" fmla="*/ 378 w 553"/>
                <a:gd name="T27" fmla="*/ 743 h 1193"/>
                <a:gd name="T28" fmla="*/ 341 w 553"/>
                <a:gd name="T29" fmla="*/ 682 h 1193"/>
                <a:gd name="T30" fmla="*/ 333 w 553"/>
                <a:gd name="T31" fmla="*/ 642 h 1193"/>
                <a:gd name="T32" fmla="*/ 349 w 553"/>
                <a:gd name="T33" fmla="*/ 600 h 1193"/>
                <a:gd name="T34" fmla="*/ 393 w 553"/>
                <a:gd name="T35" fmla="*/ 571 h 1193"/>
                <a:gd name="T36" fmla="*/ 449 w 553"/>
                <a:gd name="T37" fmla="*/ 539 h 1193"/>
                <a:gd name="T38" fmla="*/ 482 w 553"/>
                <a:gd name="T39" fmla="*/ 524 h 1193"/>
                <a:gd name="T40" fmla="*/ 519 w 553"/>
                <a:gd name="T41" fmla="*/ 488 h 1193"/>
                <a:gd name="T42" fmla="*/ 541 w 553"/>
                <a:gd name="T43" fmla="*/ 446 h 1193"/>
                <a:gd name="T44" fmla="*/ 488 w 553"/>
                <a:gd name="T45" fmla="*/ 456 h 1193"/>
                <a:gd name="T46" fmla="*/ 440 w 553"/>
                <a:gd name="T47" fmla="*/ 418 h 1193"/>
                <a:gd name="T48" fmla="*/ 449 w 553"/>
                <a:gd name="T49" fmla="*/ 364 h 1193"/>
                <a:gd name="T50" fmla="*/ 410 w 553"/>
                <a:gd name="T51" fmla="*/ 327 h 1193"/>
                <a:gd name="T52" fmla="*/ 397 w 553"/>
                <a:gd name="T53" fmla="*/ 291 h 1193"/>
                <a:gd name="T54" fmla="*/ 338 w 553"/>
                <a:gd name="T55" fmla="*/ 303 h 1193"/>
                <a:gd name="T56" fmla="*/ 330 w 553"/>
                <a:gd name="T57" fmla="*/ 262 h 1193"/>
                <a:gd name="T58" fmla="*/ 349 w 553"/>
                <a:gd name="T59" fmla="*/ 210 h 1193"/>
                <a:gd name="T60" fmla="*/ 368 w 553"/>
                <a:gd name="T61" fmla="*/ 188 h 1193"/>
                <a:gd name="T62" fmla="*/ 397 w 553"/>
                <a:gd name="T63" fmla="*/ 162 h 1193"/>
                <a:gd name="T64" fmla="*/ 402 w 553"/>
                <a:gd name="T65" fmla="*/ 96 h 1193"/>
                <a:gd name="T66" fmla="*/ 371 w 553"/>
                <a:gd name="T67" fmla="*/ 49 h 1193"/>
                <a:gd name="T68" fmla="*/ 337 w 553"/>
                <a:gd name="T69" fmla="*/ 0 h 1193"/>
                <a:gd name="T70" fmla="*/ 313 w 553"/>
                <a:gd name="T71" fmla="*/ 41 h 1193"/>
                <a:gd name="T72" fmla="*/ 307 w 553"/>
                <a:gd name="T73" fmla="*/ 75 h 1193"/>
                <a:gd name="T74" fmla="*/ 259 w 553"/>
                <a:gd name="T75" fmla="*/ 82 h 1193"/>
                <a:gd name="T76" fmla="*/ 191 w 553"/>
                <a:gd name="T77" fmla="*/ 125 h 1193"/>
                <a:gd name="T78" fmla="*/ 177 w 553"/>
                <a:gd name="T79" fmla="*/ 181 h 1193"/>
                <a:gd name="T80" fmla="*/ 157 w 553"/>
                <a:gd name="T81" fmla="*/ 238 h 1193"/>
                <a:gd name="T82" fmla="*/ 126 w 553"/>
                <a:gd name="T83" fmla="*/ 305 h 1193"/>
                <a:gd name="T84" fmla="*/ 81 w 553"/>
                <a:gd name="T85" fmla="*/ 296 h 1193"/>
                <a:gd name="T86" fmla="*/ 79 w 553"/>
                <a:gd name="T87" fmla="*/ 337 h 1193"/>
                <a:gd name="T88" fmla="*/ 64 w 553"/>
                <a:gd name="T89" fmla="*/ 396 h 1193"/>
                <a:gd name="T90" fmla="*/ 39 w 553"/>
                <a:gd name="T91" fmla="*/ 420 h 1193"/>
                <a:gd name="T92" fmla="*/ 31 w 553"/>
                <a:gd name="T93" fmla="*/ 464 h 1193"/>
                <a:gd name="T94" fmla="*/ 0 w 553"/>
                <a:gd name="T95" fmla="*/ 484 h 1193"/>
                <a:gd name="T96" fmla="*/ 55 w 553"/>
                <a:gd name="T97" fmla="*/ 532 h 1193"/>
                <a:gd name="T98" fmla="*/ 94 w 553"/>
                <a:gd name="T99" fmla="*/ 566 h 1193"/>
                <a:gd name="T100" fmla="*/ 144 w 553"/>
                <a:gd name="T101" fmla="*/ 716 h 1193"/>
                <a:gd name="T102" fmla="*/ 156 w 553"/>
                <a:gd name="T103" fmla="*/ 795 h 1193"/>
                <a:gd name="T104" fmla="*/ 386 w 553"/>
                <a:gd name="T105" fmla="*/ 1079 h 1193"/>
                <a:gd name="T106" fmla="*/ 380 w 553"/>
                <a:gd name="T107" fmla="*/ 995 h 1193"/>
                <a:gd name="T108" fmla="*/ 378 w 553"/>
                <a:gd name="T109" fmla="*/ 1133 h 1193"/>
                <a:gd name="T110" fmla="*/ 378 w 553"/>
                <a:gd name="T111" fmla="*/ 1042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53" h="1193">
                  <a:moveTo>
                    <a:pt x="180" y="811"/>
                  </a:moveTo>
                  <a:cubicBezTo>
                    <a:pt x="180" y="817"/>
                    <a:pt x="182" y="820"/>
                    <a:pt x="187" y="816"/>
                  </a:cubicBezTo>
                  <a:cubicBezTo>
                    <a:pt x="193" y="813"/>
                    <a:pt x="189" y="805"/>
                    <a:pt x="193" y="806"/>
                  </a:cubicBezTo>
                  <a:cubicBezTo>
                    <a:pt x="198" y="806"/>
                    <a:pt x="193" y="811"/>
                    <a:pt x="194" y="819"/>
                  </a:cubicBezTo>
                  <a:cubicBezTo>
                    <a:pt x="194" y="828"/>
                    <a:pt x="196" y="827"/>
                    <a:pt x="204" y="824"/>
                  </a:cubicBezTo>
                  <a:cubicBezTo>
                    <a:pt x="213" y="821"/>
                    <a:pt x="213" y="814"/>
                    <a:pt x="218" y="799"/>
                  </a:cubicBezTo>
                  <a:cubicBezTo>
                    <a:pt x="222" y="785"/>
                    <a:pt x="221" y="796"/>
                    <a:pt x="231" y="793"/>
                  </a:cubicBezTo>
                  <a:cubicBezTo>
                    <a:pt x="240" y="790"/>
                    <a:pt x="234" y="788"/>
                    <a:pt x="245" y="787"/>
                  </a:cubicBezTo>
                  <a:cubicBezTo>
                    <a:pt x="256" y="786"/>
                    <a:pt x="253" y="783"/>
                    <a:pt x="264" y="775"/>
                  </a:cubicBezTo>
                  <a:cubicBezTo>
                    <a:pt x="275" y="768"/>
                    <a:pt x="275" y="772"/>
                    <a:pt x="286" y="767"/>
                  </a:cubicBezTo>
                  <a:cubicBezTo>
                    <a:pt x="296" y="762"/>
                    <a:pt x="288" y="757"/>
                    <a:pt x="288" y="746"/>
                  </a:cubicBezTo>
                  <a:cubicBezTo>
                    <a:pt x="288" y="734"/>
                    <a:pt x="289" y="731"/>
                    <a:pt x="290" y="721"/>
                  </a:cubicBezTo>
                  <a:cubicBezTo>
                    <a:pt x="290" y="711"/>
                    <a:pt x="292" y="721"/>
                    <a:pt x="303" y="728"/>
                  </a:cubicBezTo>
                  <a:cubicBezTo>
                    <a:pt x="314" y="734"/>
                    <a:pt x="312" y="734"/>
                    <a:pt x="314" y="743"/>
                  </a:cubicBezTo>
                  <a:cubicBezTo>
                    <a:pt x="316" y="752"/>
                    <a:pt x="315" y="750"/>
                    <a:pt x="315" y="760"/>
                  </a:cubicBezTo>
                  <a:cubicBezTo>
                    <a:pt x="315" y="771"/>
                    <a:pt x="321" y="775"/>
                    <a:pt x="326" y="775"/>
                  </a:cubicBezTo>
                  <a:cubicBezTo>
                    <a:pt x="331" y="776"/>
                    <a:pt x="343" y="775"/>
                    <a:pt x="341" y="779"/>
                  </a:cubicBezTo>
                  <a:cubicBezTo>
                    <a:pt x="340" y="783"/>
                    <a:pt x="335" y="787"/>
                    <a:pt x="334" y="795"/>
                  </a:cubicBezTo>
                  <a:cubicBezTo>
                    <a:pt x="334" y="802"/>
                    <a:pt x="334" y="807"/>
                    <a:pt x="338" y="817"/>
                  </a:cubicBezTo>
                  <a:cubicBezTo>
                    <a:pt x="342" y="828"/>
                    <a:pt x="345" y="831"/>
                    <a:pt x="345" y="844"/>
                  </a:cubicBezTo>
                  <a:cubicBezTo>
                    <a:pt x="345" y="857"/>
                    <a:pt x="344" y="865"/>
                    <a:pt x="346" y="877"/>
                  </a:cubicBezTo>
                  <a:cubicBezTo>
                    <a:pt x="349" y="889"/>
                    <a:pt x="358" y="891"/>
                    <a:pt x="361" y="897"/>
                  </a:cubicBezTo>
                  <a:cubicBezTo>
                    <a:pt x="364" y="904"/>
                    <a:pt x="361" y="909"/>
                    <a:pt x="363" y="917"/>
                  </a:cubicBezTo>
                  <a:cubicBezTo>
                    <a:pt x="364" y="925"/>
                    <a:pt x="365" y="927"/>
                    <a:pt x="366" y="936"/>
                  </a:cubicBezTo>
                  <a:cubicBezTo>
                    <a:pt x="366" y="945"/>
                    <a:pt x="368" y="947"/>
                    <a:pt x="371" y="947"/>
                  </a:cubicBezTo>
                  <a:cubicBezTo>
                    <a:pt x="374" y="947"/>
                    <a:pt x="374" y="943"/>
                    <a:pt x="377" y="944"/>
                  </a:cubicBezTo>
                  <a:cubicBezTo>
                    <a:pt x="380" y="944"/>
                    <a:pt x="378" y="944"/>
                    <a:pt x="381" y="951"/>
                  </a:cubicBezTo>
                  <a:cubicBezTo>
                    <a:pt x="385" y="957"/>
                    <a:pt x="385" y="967"/>
                    <a:pt x="391" y="978"/>
                  </a:cubicBezTo>
                  <a:cubicBezTo>
                    <a:pt x="396" y="989"/>
                    <a:pt x="399" y="995"/>
                    <a:pt x="401" y="1000"/>
                  </a:cubicBezTo>
                  <a:cubicBezTo>
                    <a:pt x="403" y="1005"/>
                    <a:pt x="405" y="1009"/>
                    <a:pt x="405" y="1014"/>
                  </a:cubicBezTo>
                  <a:cubicBezTo>
                    <a:pt x="405" y="1020"/>
                    <a:pt x="398" y="1031"/>
                    <a:pt x="396" y="1034"/>
                  </a:cubicBezTo>
                  <a:cubicBezTo>
                    <a:pt x="394" y="1037"/>
                    <a:pt x="396" y="1042"/>
                    <a:pt x="400" y="1044"/>
                  </a:cubicBezTo>
                  <a:cubicBezTo>
                    <a:pt x="403" y="1047"/>
                    <a:pt x="405" y="1046"/>
                    <a:pt x="407" y="1050"/>
                  </a:cubicBezTo>
                  <a:cubicBezTo>
                    <a:pt x="409" y="1053"/>
                    <a:pt x="407" y="1053"/>
                    <a:pt x="404" y="1059"/>
                  </a:cubicBezTo>
                  <a:cubicBezTo>
                    <a:pt x="401" y="1066"/>
                    <a:pt x="401" y="1067"/>
                    <a:pt x="399" y="1072"/>
                  </a:cubicBezTo>
                  <a:cubicBezTo>
                    <a:pt x="398" y="1077"/>
                    <a:pt x="400" y="1079"/>
                    <a:pt x="404" y="1078"/>
                  </a:cubicBezTo>
                  <a:cubicBezTo>
                    <a:pt x="408" y="1078"/>
                    <a:pt x="411" y="1075"/>
                    <a:pt x="412" y="1078"/>
                  </a:cubicBezTo>
                  <a:cubicBezTo>
                    <a:pt x="413" y="1081"/>
                    <a:pt x="412" y="1086"/>
                    <a:pt x="410" y="1092"/>
                  </a:cubicBezTo>
                  <a:cubicBezTo>
                    <a:pt x="408" y="1099"/>
                    <a:pt x="408" y="1103"/>
                    <a:pt x="407" y="1116"/>
                  </a:cubicBezTo>
                  <a:cubicBezTo>
                    <a:pt x="407" y="1129"/>
                    <a:pt x="407" y="1124"/>
                    <a:pt x="402" y="1130"/>
                  </a:cubicBezTo>
                  <a:cubicBezTo>
                    <a:pt x="397" y="1136"/>
                    <a:pt x="395" y="1134"/>
                    <a:pt x="395" y="1142"/>
                  </a:cubicBezTo>
                  <a:cubicBezTo>
                    <a:pt x="394" y="1150"/>
                    <a:pt x="394" y="1155"/>
                    <a:pt x="394" y="1162"/>
                  </a:cubicBezTo>
                  <a:cubicBezTo>
                    <a:pt x="394" y="1165"/>
                    <a:pt x="395" y="1171"/>
                    <a:pt x="396" y="1176"/>
                  </a:cubicBezTo>
                  <a:cubicBezTo>
                    <a:pt x="400" y="1171"/>
                    <a:pt x="403" y="1167"/>
                    <a:pt x="404" y="1163"/>
                  </a:cubicBezTo>
                  <a:cubicBezTo>
                    <a:pt x="405" y="1161"/>
                    <a:pt x="405" y="1158"/>
                    <a:pt x="405" y="1156"/>
                  </a:cubicBezTo>
                  <a:cubicBezTo>
                    <a:pt x="406" y="1151"/>
                    <a:pt x="406" y="1146"/>
                    <a:pt x="411" y="1139"/>
                  </a:cubicBezTo>
                  <a:cubicBezTo>
                    <a:pt x="415" y="1133"/>
                    <a:pt x="419" y="1129"/>
                    <a:pt x="423" y="1125"/>
                  </a:cubicBezTo>
                  <a:cubicBezTo>
                    <a:pt x="426" y="1121"/>
                    <a:pt x="429" y="1118"/>
                    <a:pt x="432" y="1114"/>
                  </a:cubicBezTo>
                  <a:cubicBezTo>
                    <a:pt x="433" y="1112"/>
                    <a:pt x="434" y="1111"/>
                    <a:pt x="436" y="1109"/>
                  </a:cubicBezTo>
                  <a:cubicBezTo>
                    <a:pt x="443" y="1100"/>
                    <a:pt x="454" y="1086"/>
                    <a:pt x="456" y="1078"/>
                  </a:cubicBezTo>
                  <a:cubicBezTo>
                    <a:pt x="456" y="1074"/>
                    <a:pt x="456" y="1069"/>
                    <a:pt x="456" y="1063"/>
                  </a:cubicBezTo>
                  <a:cubicBezTo>
                    <a:pt x="455" y="1058"/>
                    <a:pt x="453" y="1053"/>
                    <a:pt x="451" y="1047"/>
                  </a:cubicBezTo>
                  <a:cubicBezTo>
                    <a:pt x="450" y="1043"/>
                    <a:pt x="449" y="1040"/>
                    <a:pt x="449" y="1038"/>
                  </a:cubicBezTo>
                  <a:cubicBezTo>
                    <a:pt x="448" y="1034"/>
                    <a:pt x="447" y="1031"/>
                    <a:pt x="442" y="1024"/>
                  </a:cubicBezTo>
                  <a:cubicBezTo>
                    <a:pt x="440" y="1021"/>
                    <a:pt x="438" y="1019"/>
                    <a:pt x="436" y="1016"/>
                  </a:cubicBezTo>
                  <a:cubicBezTo>
                    <a:pt x="431" y="1011"/>
                    <a:pt x="428" y="1007"/>
                    <a:pt x="428" y="996"/>
                  </a:cubicBezTo>
                  <a:cubicBezTo>
                    <a:pt x="428" y="989"/>
                    <a:pt x="429" y="985"/>
                    <a:pt x="430" y="982"/>
                  </a:cubicBezTo>
                  <a:cubicBezTo>
                    <a:pt x="431" y="979"/>
                    <a:pt x="432" y="976"/>
                    <a:pt x="431" y="970"/>
                  </a:cubicBezTo>
                  <a:cubicBezTo>
                    <a:pt x="431" y="966"/>
                    <a:pt x="431" y="963"/>
                    <a:pt x="431" y="961"/>
                  </a:cubicBezTo>
                  <a:cubicBezTo>
                    <a:pt x="431" y="957"/>
                    <a:pt x="431" y="955"/>
                    <a:pt x="426" y="949"/>
                  </a:cubicBezTo>
                  <a:cubicBezTo>
                    <a:pt x="424" y="947"/>
                    <a:pt x="420" y="942"/>
                    <a:pt x="416" y="937"/>
                  </a:cubicBezTo>
                  <a:cubicBezTo>
                    <a:pt x="402" y="922"/>
                    <a:pt x="383" y="900"/>
                    <a:pt x="380" y="894"/>
                  </a:cubicBezTo>
                  <a:cubicBezTo>
                    <a:pt x="380" y="894"/>
                    <a:pt x="380" y="894"/>
                    <a:pt x="380" y="894"/>
                  </a:cubicBezTo>
                  <a:cubicBezTo>
                    <a:pt x="379" y="892"/>
                    <a:pt x="379" y="892"/>
                    <a:pt x="379" y="892"/>
                  </a:cubicBezTo>
                  <a:cubicBezTo>
                    <a:pt x="375" y="885"/>
                    <a:pt x="370" y="874"/>
                    <a:pt x="371" y="866"/>
                  </a:cubicBezTo>
                  <a:cubicBezTo>
                    <a:pt x="372" y="856"/>
                    <a:pt x="376" y="855"/>
                    <a:pt x="385" y="852"/>
                  </a:cubicBezTo>
                  <a:cubicBezTo>
                    <a:pt x="385" y="852"/>
                    <a:pt x="385" y="852"/>
                    <a:pt x="385" y="852"/>
                  </a:cubicBezTo>
                  <a:cubicBezTo>
                    <a:pt x="387" y="851"/>
                    <a:pt x="387" y="851"/>
                    <a:pt x="387" y="851"/>
                  </a:cubicBezTo>
                  <a:cubicBezTo>
                    <a:pt x="387" y="851"/>
                    <a:pt x="387" y="851"/>
                    <a:pt x="387" y="851"/>
                  </a:cubicBezTo>
                  <a:cubicBezTo>
                    <a:pt x="392" y="850"/>
                    <a:pt x="392" y="848"/>
                    <a:pt x="393" y="844"/>
                  </a:cubicBezTo>
                  <a:cubicBezTo>
                    <a:pt x="393" y="843"/>
                    <a:pt x="393" y="841"/>
                    <a:pt x="394" y="839"/>
                  </a:cubicBezTo>
                  <a:cubicBezTo>
                    <a:pt x="395" y="835"/>
                    <a:pt x="394" y="829"/>
                    <a:pt x="394" y="824"/>
                  </a:cubicBezTo>
                  <a:cubicBezTo>
                    <a:pt x="394" y="819"/>
                    <a:pt x="393" y="815"/>
                    <a:pt x="394" y="812"/>
                  </a:cubicBezTo>
                  <a:cubicBezTo>
                    <a:pt x="396" y="805"/>
                    <a:pt x="400" y="803"/>
                    <a:pt x="405" y="801"/>
                  </a:cubicBezTo>
                  <a:cubicBezTo>
                    <a:pt x="405" y="800"/>
                    <a:pt x="405" y="800"/>
                    <a:pt x="406" y="800"/>
                  </a:cubicBezTo>
                  <a:cubicBezTo>
                    <a:pt x="408" y="799"/>
                    <a:pt x="410" y="798"/>
                    <a:pt x="411" y="797"/>
                  </a:cubicBezTo>
                  <a:cubicBezTo>
                    <a:pt x="412" y="796"/>
                    <a:pt x="412" y="795"/>
                    <a:pt x="413" y="794"/>
                  </a:cubicBezTo>
                  <a:cubicBezTo>
                    <a:pt x="413" y="792"/>
                    <a:pt x="413" y="792"/>
                    <a:pt x="413" y="791"/>
                  </a:cubicBezTo>
                  <a:cubicBezTo>
                    <a:pt x="413" y="789"/>
                    <a:pt x="413" y="787"/>
                    <a:pt x="412" y="787"/>
                  </a:cubicBezTo>
                  <a:cubicBezTo>
                    <a:pt x="411" y="786"/>
                    <a:pt x="410" y="786"/>
                    <a:pt x="409" y="786"/>
                  </a:cubicBezTo>
                  <a:cubicBezTo>
                    <a:pt x="406" y="786"/>
                    <a:pt x="402" y="786"/>
                    <a:pt x="400" y="781"/>
                  </a:cubicBezTo>
                  <a:cubicBezTo>
                    <a:pt x="398" y="778"/>
                    <a:pt x="397" y="773"/>
                    <a:pt x="396" y="768"/>
                  </a:cubicBezTo>
                  <a:cubicBezTo>
                    <a:pt x="396" y="763"/>
                    <a:pt x="395" y="758"/>
                    <a:pt x="394" y="757"/>
                  </a:cubicBezTo>
                  <a:cubicBezTo>
                    <a:pt x="391" y="754"/>
                    <a:pt x="382" y="746"/>
                    <a:pt x="378" y="743"/>
                  </a:cubicBezTo>
                  <a:cubicBezTo>
                    <a:pt x="376" y="742"/>
                    <a:pt x="376" y="742"/>
                    <a:pt x="376" y="742"/>
                  </a:cubicBezTo>
                  <a:cubicBezTo>
                    <a:pt x="376" y="742"/>
                    <a:pt x="376" y="742"/>
                    <a:pt x="376" y="742"/>
                  </a:cubicBezTo>
                  <a:cubicBezTo>
                    <a:pt x="374" y="740"/>
                    <a:pt x="366" y="729"/>
                    <a:pt x="359" y="719"/>
                  </a:cubicBezTo>
                  <a:cubicBezTo>
                    <a:pt x="353" y="710"/>
                    <a:pt x="347" y="702"/>
                    <a:pt x="346" y="702"/>
                  </a:cubicBezTo>
                  <a:cubicBezTo>
                    <a:pt x="344" y="700"/>
                    <a:pt x="343" y="697"/>
                    <a:pt x="342" y="693"/>
                  </a:cubicBezTo>
                  <a:cubicBezTo>
                    <a:pt x="342" y="690"/>
                    <a:pt x="341" y="686"/>
                    <a:pt x="341" y="682"/>
                  </a:cubicBezTo>
                  <a:cubicBezTo>
                    <a:pt x="341" y="681"/>
                    <a:pt x="341" y="681"/>
                    <a:pt x="341" y="681"/>
                  </a:cubicBezTo>
                  <a:cubicBezTo>
                    <a:pt x="341" y="681"/>
                    <a:pt x="341" y="681"/>
                    <a:pt x="341" y="681"/>
                  </a:cubicBezTo>
                  <a:cubicBezTo>
                    <a:pt x="340" y="677"/>
                    <a:pt x="340" y="675"/>
                    <a:pt x="331" y="667"/>
                  </a:cubicBezTo>
                  <a:cubicBezTo>
                    <a:pt x="325" y="662"/>
                    <a:pt x="322" y="659"/>
                    <a:pt x="321" y="656"/>
                  </a:cubicBezTo>
                  <a:cubicBezTo>
                    <a:pt x="319" y="651"/>
                    <a:pt x="320" y="648"/>
                    <a:pt x="323" y="645"/>
                  </a:cubicBezTo>
                  <a:cubicBezTo>
                    <a:pt x="326" y="643"/>
                    <a:pt x="329" y="642"/>
                    <a:pt x="333" y="642"/>
                  </a:cubicBezTo>
                  <a:cubicBezTo>
                    <a:pt x="335" y="642"/>
                    <a:pt x="338" y="642"/>
                    <a:pt x="342" y="641"/>
                  </a:cubicBezTo>
                  <a:cubicBezTo>
                    <a:pt x="344" y="640"/>
                    <a:pt x="344" y="637"/>
                    <a:pt x="343" y="633"/>
                  </a:cubicBezTo>
                  <a:cubicBezTo>
                    <a:pt x="343" y="630"/>
                    <a:pt x="343" y="627"/>
                    <a:pt x="343" y="623"/>
                  </a:cubicBezTo>
                  <a:cubicBezTo>
                    <a:pt x="344" y="618"/>
                    <a:pt x="344" y="614"/>
                    <a:pt x="345" y="610"/>
                  </a:cubicBezTo>
                  <a:cubicBezTo>
                    <a:pt x="346" y="607"/>
                    <a:pt x="347" y="604"/>
                    <a:pt x="349" y="600"/>
                  </a:cubicBezTo>
                  <a:cubicBezTo>
                    <a:pt x="349" y="600"/>
                    <a:pt x="349" y="600"/>
                    <a:pt x="349" y="600"/>
                  </a:cubicBezTo>
                  <a:cubicBezTo>
                    <a:pt x="350" y="597"/>
                    <a:pt x="350" y="594"/>
                    <a:pt x="350" y="591"/>
                  </a:cubicBezTo>
                  <a:cubicBezTo>
                    <a:pt x="350" y="586"/>
                    <a:pt x="350" y="582"/>
                    <a:pt x="353" y="577"/>
                  </a:cubicBezTo>
                  <a:cubicBezTo>
                    <a:pt x="356" y="573"/>
                    <a:pt x="358" y="570"/>
                    <a:pt x="360" y="567"/>
                  </a:cubicBezTo>
                  <a:cubicBezTo>
                    <a:pt x="362" y="565"/>
                    <a:pt x="365" y="563"/>
                    <a:pt x="368" y="562"/>
                  </a:cubicBezTo>
                  <a:cubicBezTo>
                    <a:pt x="372" y="562"/>
                    <a:pt x="374" y="563"/>
                    <a:pt x="377" y="565"/>
                  </a:cubicBezTo>
                  <a:cubicBezTo>
                    <a:pt x="380" y="568"/>
                    <a:pt x="384" y="571"/>
                    <a:pt x="393" y="571"/>
                  </a:cubicBezTo>
                  <a:cubicBezTo>
                    <a:pt x="401" y="572"/>
                    <a:pt x="406" y="571"/>
                    <a:pt x="410" y="570"/>
                  </a:cubicBezTo>
                  <a:cubicBezTo>
                    <a:pt x="413" y="569"/>
                    <a:pt x="416" y="567"/>
                    <a:pt x="418" y="564"/>
                  </a:cubicBezTo>
                  <a:cubicBezTo>
                    <a:pt x="420" y="562"/>
                    <a:pt x="421" y="559"/>
                    <a:pt x="422" y="555"/>
                  </a:cubicBezTo>
                  <a:cubicBezTo>
                    <a:pt x="424" y="549"/>
                    <a:pt x="426" y="544"/>
                    <a:pt x="431" y="542"/>
                  </a:cubicBezTo>
                  <a:cubicBezTo>
                    <a:pt x="435" y="540"/>
                    <a:pt x="438" y="540"/>
                    <a:pt x="441" y="541"/>
                  </a:cubicBezTo>
                  <a:cubicBezTo>
                    <a:pt x="444" y="541"/>
                    <a:pt x="447" y="541"/>
                    <a:pt x="449" y="539"/>
                  </a:cubicBezTo>
                  <a:cubicBezTo>
                    <a:pt x="451" y="538"/>
                    <a:pt x="451" y="536"/>
                    <a:pt x="451" y="535"/>
                  </a:cubicBezTo>
                  <a:cubicBezTo>
                    <a:pt x="452" y="532"/>
                    <a:pt x="453" y="530"/>
                    <a:pt x="460" y="528"/>
                  </a:cubicBezTo>
                  <a:cubicBezTo>
                    <a:pt x="460" y="528"/>
                    <a:pt x="460" y="528"/>
                    <a:pt x="460" y="528"/>
                  </a:cubicBezTo>
                  <a:cubicBezTo>
                    <a:pt x="462" y="527"/>
                    <a:pt x="462" y="527"/>
                    <a:pt x="462" y="527"/>
                  </a:cubicBezTo>
                  <a:cubicBezTo>
                    <a:pt x="470" y="524"/>
                    <a:pt x="475" y="523"/>
                    <a:pt x="477" y="523"/>
                  </a:cubicBezTo>
                  <a:cubicBezTo>
                    <a:pt x="479" y="523"/>
                    <a:pt x="481" y="524"/>
                    <a:pt x="482" y="524"/>
                  </a:cubicBezTo>
                  <a:cubicBezTo>
                    <a:pt x="483" y="525"/>
                    <a:pt x="485" y="526"/>
                    <a:pt x="487" y="525"/>
                  </a:cubicBezTo>
                  <a:cubicBezTo>
                    <a:pt x="489" y="524"/>
                    <a:pt x="490" y="521"/>
                    <a:pt x="491" y="519"/>
                  </a:cubicBezTo>
                  <a:cubicBezTo>
                    <a:pt x="493" y="516"/>
                    <a:pt x="494" y="513"/>
                    <a:pt x="496" y="510"/>
                  </a:cubicBezTo>
                  <a:cubicBezTo>
                    <a:pt x="496" y="510"/>
                    <a:pt x="496" y="510"/>
                    <a:pt x="496" y="510"/>
                  </a:cubicBezTo>
                  <a:cubicBezTo>
                    <a:pt x="501" y="504"/>
                    <a:pt x="503" y="501"/>
                    <a:pt x="513" y="497"/>
                  </a:cubicBezTo>
                  <a:cubicBezTo>
                    <a:pt x="518" y="496"/>
                    <a:pt x="518" y="492"/>
                    <a:pt x="519" y="488"/>
                  </a:cubicBezTo>
                  <a:cubicBezTo>
                    <a:pt x="519" y="486"/>
                    <a:pt x="519" y="484"/>
                    <a:pt x="520" y="482"/>
                  </a:cubicBezTo>
                  <a:cubicBezTo>
                    <a:pt x="520" y="481"/>
                    <a:pt x="520" y="479"/>
                    <a:pt x="520" y="478"/>
                  </a:cubicBezTo>
                  <a:cubicBezTo>
                    <a:pt x="520" y="473"/>
                    <a:pt x="521" y="469"/>
                    <a:pt x="531" y="462"/>
                  </a:cubicBezTo>
                  <a:cubicBezTo>
                    <a:pt x="539" y="457"/>
                    <a:pt x="548" y="453"/>
                    <a:pt x="553" y="451"/>
                  </a:cubicBezTo>
                  <a:cubicBezTo>
                    <a:pt x="552" y="448"/>
                    <a:pt x="550" y="447"/>
                    <a:pt x="548" y="446"/>
                  </a:cubicBezTo>
                  <a:cubicBezTo>
                    <a:pt x="547" y="445"/>
                    <a:pt x="544" y="445"/>
                    <a:pt x="541" y="446"/>
                  </a:cubicBezTo>
                  <a:cubicBezTo>
                    <a:pt x="538" y="446"/>
                    <a:pt x="535" y="447"/>
                    <a:pt x="531" y="449"/>
                  </a:cubicBezTo>
                  <a:cubicBezTo>
                    <a:pt x="527" y="450"/>
                    <a:pt x="523" y="452"/>
                    <a:pt x="518" y="455"/>
                  </a:cubicBezTo>
                  <a:cubicBezTo>
                    <a:pt x="514" y="456"/>
                    <a:pt x="512" y="458"/>
                    <a:pt x="510" y="460"/>
                  </a:cubicBezTo>
                  <a:cubicBezTo>
                    <a:pt x="506" y="462"/>
                    <a:pt x="503" y="464"/>
                    <a:pt x="499" y="464"/>
                  </a:cubicBezTo>
                  <a:cubicBezTo>
                    <a:pt x="495" y="463"/>
                    <a:pt x="491" y="460"/>
                    <a:pt x="488" y="456"/>
                  </a:cubicBezTo>
                  <a:cubicBezTo>
                    <a:pt x="488" y="456"/>
                    <a:pt x="488" y="456"/>
                    <a:pt x="488" y="456"/>
                  </a:cubicBezTo>
                  <a:cubicBezTo>
                    <a:pt x="485" y="451"/>
                    <a:pt x="482" y="445"/>
                    <a:pt x="481" y="440"/>
                  </a:cubicBezTo>
                  <a:cubicBezTo>
                    <a:pt x="479" y="438"/>
                    <a:pt x="480" y="434"/>
                    <a:pt x="480" y="431"/>
                  </a:cubicBezTo>
                  <a:cubicBezTo>
                    <a:pt x="480" y="427"/>
                    <a:pt x="480" y="423"/>
                    <a:pt x="476" y="422"/>
                  </a:cubicBezTo>
                  <a:cubicBezTo>
                    <a:pt x="469" y="420"/>
                    <a:pt x="466" y="420"/>
                    <a:pt x="462" y="420"/>
                  </a:cubicBezTo>
                  <a:cubicBezTo>
                    <a:pt x="460" y="420"/>
                    <a:pt x="457" y="420"/>
                    <a:pt x="453" y="420"/>
                  </a:cubicBezTo>
                  <a:cubicBezTo>
                    <a:pt x="447" y="419"/>
                    <a:pt x="443" y="419"/>
                    <a:pt x="440" y="418"/>
                  </a:cubicBezTo>
                  <a:cubicBezTo>
                    <a:pt x="436" y="416"/>
                    <a:pt x="433" y="414"/>
                    <a:pt x="433" y="410"/>
                  </a:cubicBezTo>
                  <a:cubicBezTo>
                    <a:pt x="433" y="410"/>
                    <a:pt x="433" y="410"/>
                    <a:pt x="433" y="410"/>
                  </a:cubicBezTo>
                  <a:cubicBezTo>
                    <a:pt x="432" y="405"/>
                    <a:pt x="434" y="397"/>
                    <a:pt x="436" y="389"/>
                  </a:cubicBezTo>
                  <a:cubicBezTo>
                    <a:pt x="436" y="388"/>
                    <a:pt x="437" y="387"/>
                    <a:pt x="437" y="385"/>
                  </a:cubicBezTo>
                  <a:cubicBezTo>
                    <a:pt x="439" y="379"/>
                    <a:pt x="443" y="374"/>
                    <a:pt x="445" y="369"/>
                  </a:cubicBezTo>
                  <a:cubicBezTo>
                    <a:pt x="447" y="367"/>
                    <a:pt x="448" y="365"/>
                    <a:pt x="449" y="364"/>
                  </a:cubicBezTo>
                  <a:cubicBezTo>
                    <a:pt x="449" y="363"/>
                    <a:pt x="449" y="362"/>
                    <a:pt x="449" y="361"/>
                  </a:cubicBezTo>
                  <a:cubicBezTo>
                    <a:pt x="448" y="360"/>
                    <a:pt x="447" y="359"/>
                    <a:pt x="446" y="357"/>
                  </a:cubicBezTo>
                  <a:cubicBezTo>
                    <a:pt x="444" y="356"/>
                    <a:pt x="441" y="355"/>
                    <a:pt x="438" y="354"/>
                  </a:cubicBezTo>
                  <a:cubicBezTo>
                    <a:pt x="434" y="353"/>
                    <a:pt x="430" y="352"/>
                    <a:pt x="426" y="350"/>
                  </a:cubicBezTo>
                  <a:cubicBezTo>
                    <a:pt x="417" y="346"/>
                    <a:pt x="415" y="341"/>
                    <a:pt x="413" y="334"/>
                  </a:cubicBezTo>
                  <a:cubicBezTo>
                    <a:pt x="412" y="332"/>
                    <a:pt x="411" y="329"/>
                    <a:pt x="410" y="327"/>
                  </a:cubicBezTo>
                  <a:cubicBezTo>
                    <a:pt x="408" y="323"/>
                    <a:pt x="406" y="319"/>
                    <a:pt x="405" y="315"/>
                  </a:cubicBezTo>
                  <a:cubicBezTo>
                    <a:pt x="404" y="311"/>
                    <a:pt x="404" y="307"/>
                    <a:pt x="404" y="304"/>
                  </a:cubicBezTo>
                  <a:cubicBezTo>
                    <a:pt x="404" y="300"/>
                    <a:pt x="406" y="296"/>
                    <a:pt x="408" y="293"/>
                  </a:cubicBezTo>
                  <a:cubicBezTo>
                    <a:pt x="409" y="290"/>
                    <a:pt x="411" y="287"/>
                    <a:pt x="411" y="287"/>
                  </a:cubicBezTo>
                  <a:cubicBezTo>
                    <a:pt x="409" y="285"/>
                    <a:pt x="407" y="287"/>
                    <a:pt x="404" y="288"/>
                  </a:cubicBezTo>
                  <a:cubicBezTo>
                    <a:pt x="402" y="289"/>
                    <a:pt x="400" y="290"/>
                    <a:pt x="397" y="291"/>
                  </a:cubicBezTo>
                  <a:cubicBezTo>
                    <a:pt x="391" y="294"/>
                    <a:pt x="387" y="293"/>
                    <a:pt x="383" y="291"/>
                  </a:cubicBezTo>
                  <a:cubicBezTo>
                    <a:pt x="381" y="291"/>
                    <a:pt x="378" y="290"/>
                    <a:pt x="375" y="290"/>
                  </a:cubicBezTo>
                  <a:cubicBezTo>
                    <a:pt x="371" y="291"/>
                    <a:pt x="369" y="292"/>
                    <a:pt x="367" y="293"/>
                  </a:cubicBezTo>
                  <a:cubicBezTo>
                    <a:pt x="366" y="295"/>
                    <a:pt x="364" y="296"/>
                    <a:pt x="362" y="297"/>
                  </a:cubicBezTo>
                  <a:cubicBezTo>
                    <a:pt x="361" y="297"/>
                    <a:pt x="360" y="298"/>
                    <a:pt x="359" y="299"/>
                  </a:cubicBezTo>
                  <a:cubicBezTo>
                    <a:pt x="353" y="302"/>
                    <a:pt x="345" y="307"/>
                    <a:pt x="338" y="303"/>
                  </a:cubicBezTo>
                  <a:cubicBezTo>
                    <a:pt x="334" y="301"/>
                    <a:pt x="332" y="299"/>
                    <a:pt x="331" y="296"/>
                  </a:cubicBezTo>
                  <a:cubicBezTo>
                    <a:pt x="330" y="292"/>
                    <a:pt x="331" y="289"/>
                    <a:pt x="332" y="286"/>
                  </a:cubicBezTo>
                  <a:cubicBezTo>
                    <a:pt x="333" y="283"/>
                    <a:pt x="335" y="282"/>
                    <a:pt x="337" y="280"/>
                  </a:cubicBezTo>
                  <a:cubicBezTo>
                    <a:pt x="338" y="279"/>
                    <a:pt x="340" y="277"/>
                    <a:pt x="339" y="275"/>
                  </a:cubicBezTo>
                  <a:cubicBezTo>
                    <a:pt x="338" y="272"/>
                    <a:pt x="337" y="271"/>
                    <a:pt x="336" y="270"/>
                  </a:cubicBezTo>
                  <a:cubicBezTo>
                    <a:pt x="333" y="268"/>
                    <a:pt x="331" y="266"/>
                    <a:pt x="330" y="262"/>
                  </a:cubicBezTo>
                  <a:cubicBezTo>
                    <a:pt x="328" y="255"/>
                    <a:pt x="330" y="251"/>
                    <a:pt x="332" y="246"/>
                  </a:cubicBezTo>
                  <a:cubicBezTo>
                    <a:pt x="333" y="245"/>
                    <a:pt x="333" y="244"/>
                    <a:pt x="334" y="243"/>
                  </a:cubicBezTo>
                  <a:cubicBezTo>
                    <a:pt x="335" y="239"/>
                    <a:pt x="338" y="238"/>
                    <a:pt x="341" y="236"/>
                  </a:cubicBezTo>
                  <a:cubicBezTo>
                    <a:pt x="343" y="235"/>
                    <a:pt x="344" y="234"/>
                    <a:pt x="345" y="232"/>
                  </a:cubicBezTo>
                  <a:cubicBezTo>
                    <a:pt x="345" y="230"/>
                    <a:pt x="346" y="226"/>
                    <a:pt x="346" y="223"/>
                  </a:cubicBezTo>
                  <a:cubicBezTo>
                    <a:pt x="346" y="218"/>
                    <a:pt x="347" y="213"/>
                    <a:pt x="349" y="210"/>
                  </a:cubicBezTo>
                  <a:cubicBezTo>
                    <a:pt x="349" y="210"/>
                    <a:pt x="349" y="210"/>
                    <a:pt x="349" y="210"/>
                  </a:cubicBezTo>
                  <a:cubicBezTo>
                    <a:pt x="350" y="209"/>
                    <a:pt x="353" y="207"/>
                    <a:pt x="356" y="205"/>
                  </a:cubicBezTo>
                  <a:cubicBezTo>
                    <a:pt x="356" y="205"/>
                    <a:pt x="356" y="205"/>
                    <a:pt x="356" y="205"/>
                  </a:cubicBezTo>
                  <a:cubicBezTo>
                    <a:pt x="358" y="204"/>
                    <a:pt x="361" y="202"/>
                    <a:pt x="363" y="200"/>
                  </a:cubicBezTo>
                  <a:cubicBezTo>
                    <a:pt x="364" y="200"/>
                    <a:pt x="364" y="198"/>
                    <a:pt x="364" y="197"/>
                  </a:cubicBezTo>
                  <a:cubicBezTo>
                    <a:pt x="365" y="194"/>
                    <a:pt x="365" y="191"/>
                    <a:pt x="368" y="188"/>
                  </a:cubicBezTo>
                  <a:cubicBezTo>
                    <a:pt x="372" y="186"/>
                    <a:pt x="375" y="186"/>
                    <a:pt x="378" y="186"/>
                  </a:cubicBezTo>
                  <a:cubicBezTo>
                    <a:pt x="378" y="186"/>
                    <a:pt x="378" y="186"/>
                    <a:pt x="378" y="186"/>
                  </a:cubicBezTo>
                  <a:cubicBezTo>
                    <a:pt x="379" y="186"/>
                    <a:pt x="380" y="186"/>
                    <a:pt x="381" y="186"/>
                  </a:cubicBezTo>
                  <a:cubicBezTo>
                    <a:pt x="384" y="184"/>
                    <a:pt x="389" y="180"/>
                    <a:pt x="393" y="176"/>
                  </a:cubicBezTo>
                  <a:cubicBezTo>
                    <a:pt x="396" y="174"/>
                    <a:pt x="398" y="171"/>
                    <a:pt x="398" y="170"/>
                  </a:cubicBezTo>
                  <a:cubicBezTo>
                    <a:pt x="399" y="168"/>
                    <a:pt x="399" y="166"/>
                    <a:pt x="397" y="162"/>
                  </a:cubicBezTo>
                  <a:cubicBezTo>
                    <a:pt x="396" y="160"/>
                    <a:pt x="395" y="158"/>
                    <a:pt x="394" y="155"/>
                  </a:cubicBezTo>
                  <a:cubicBezTo>
                    <a:pt x="391" y="146"/>
                    <a:pt x="392" y="144"/>
                    <a:pt x="396" y="140"/>
                  </a:cubicBezTo>
                  <a:cubicBezTo>
                    <a:pt x="396" y="139"/>
                    <a:pt x="398" y="137"/>
                    <a:pt x="399" y="135"/>
                  </a:cubicBezTo>
                  <a:cubicBezTo>
                    <a:pt x="399" y="133"/>
                    <a:pt x="400" y="132"/>
                    <a:pt x="400" y="132"/>
                  </a:cubicBezTo>
                  <a:cubicBezTo>
                    <a:pt x="403" y="126"/>
                    <a:pt x="405" y="123"/>
                    <a:pt x="404" y="110"/>
                  </a:cubicBezTo>
                  <a:cubicBezTo>
                    <a:pt x="403" y="103"/>
                    <a:pt x="402" y="100"/>
                    <a:pt x="402" y="96"/>
                  </a:cubicBezTo>
                  <a:cubicBezTo>
                    <a:pt x="401" y="91"/>
                    <a:pt x="400" y="88"/>
                    <a:pt x="401" y="78"/>
                  </a:cubicBezTo>
                  <a:cubicBezTo>
                    <a:pt x="401" y="75"/>
                    <a:pt x="401" y="75"/>
                    <a:pt x="401" y="75"/>
                  </a:cubicBezTo>
                  <a:cubicBezTo>
                    <a:pt x="401" y="75"/>
                    <a:pt x="401" y="75"/>
                    <a:pt x="401" y="75"/>
                  </a:cubicBezTo>
                  <a:cubicBezTo>
                    <a:pt x="401" y="64"/>
                    <a:pt x="402" y="60"/>
                    <a:pt x="397" y="56"/>
                  </a:cubicBezTo>
                  <a:cubicBezTo>
                    <a:pt x="395" y="55"/>
                    <a:pt x="391" y="55"/>
                    <a:pt x="387" y="54"/>
                  </a:cubicBezTo>
                  <a:cubicBezTo>
                    <a:pt x="382" y="54"/>
                    <a:pt x="376" y="54"/>
                    <a:pt x="371" y="49"/>
                  </a:cubicBezTo>
                  <a:cubicBezTo>
                    <a:pt x="371" y="49"/>
                    <a:pt x="371" y="49"/>
                    <a:pt x="371" y="49"/>
                  </a:cubicBezTo>
                  <a:cubicBezTo>
                    <a:pt x="366" y="44"/>
                    <a:pt x="366" y="38"/>
                    <a:pt x="366" y="32"/>
                  </a:cubicBezTo>
                  <a:cubicBezTo>
                    <a:pt x="367" y="28"/>
                    <a:pt x="367" y="24"/>
                    <a:pt x="365" y="22"/>
                  </a:cubicBezTo>
                  <a:cubicBezTo>
                    <a:pt x="363" y="18"/>
                    <a:pt x="360" y="17"/>
                    <a:pt x="357" y="14"/>
                  </a:cubicBezTo>
                  <a:cubicBezTo>
                    <a:pt x="354" y="13"/>
                    <a:pt x="350" y="10"/>
                    <a:pt x="346" y="7"/>
                  </a:cubicBezTo>
                  <a:cubicBezTo>
                    <a:pt x="342" y="3"/>
                    <a:pt x="339" y="1"/>
                    <a:pt x="337" y="0"/>
                  </a:cubicBezTo>
                  <a:cubicBezTo>
                    <a:pt x="336" y="0"/>
                    <a:pt x="335" y="0"/>
                    <a:pt x="335" y="0"/>
                  </a:cubicBezTo>
                  <a:cubicBezTo>
                    <a:pt x="333" y="2"/>
                    <a:pt x="330" y="5"/>
                    <a:pt x="328" y="9"/>
                  </a:cubicBezTo>
                  <a:cubicBezTo>
                    <a:pt x="326" y="11"/>
                    <a:pt x="324" y="14"/>
                    <a:pt x="323" y="17"/>
                  </a:cubicBezTo>
                  <a:cubicBezTo>
                    <a:pt x="323" y="18"/>
                    <a:pt x="323" y="20"/>
                    <a:pt x="323" y="21"/>
                  </a:cubicBezTo>
                  <a:cubicBezTo>
                    <a:pt x="323" y="24"/>
                    <a:pt x="324" y="26"/>
                    <a:pt x="321" y="32"/>
                  </a:cubicBezTo>
                  <a:cubicBezTo>
                    <a:pt x="318" y="37"/>
                    <a:pt x="316" y="38"/>
                    <a:pt x="313" y="41"/>
                  </a:cubicBezTo>
                  <a:cubicBezTo>
                    <a:pt x="311" y="42"/>
                    <a:pt x="309" y="43"/>
                    <a:pt x="307" y="45"/>
                  </a:cubicBezTo>
                  <a:cubicBezTo>
                    <a:pt x="304" y="48"/>
                    <a:pt x="302" y="50"/>
                    <a:pt x="301" y="52"/>
                  </a:cubicBezTo>
                  <a:cubicBezTo>
                    <a:pt x="300" y="55"/>
                    <a:pt x="299" y="56"/>
                    <a:pt x="300" y="58"/>
                  </a:cubicBezTo>
                  <a:cubicBezTo>
                    <a:pt x="300" y="60"/>
                    <a:pt x="302" y="65"/>
                    <a:pt x="305" y="70"/>
                  </a:cubicBezTo>
                  <a:cubicBezTo>
                    <a:pt x="306" y="71"/>
                    <a:pt x="307" y="73"/>
                    <a:pt x="307" y="75"/>
                  </a:cubicBezTo>
                  <a:cubicBezTo>
                    <a:pt x="307" y="75"/>
                    <a:pt x="307" y="75"/>
                    <a:pt x="307" y="75"/>
                  </a:cubicBezTo>
                  <a:cubicBezTo>
                    <a:pt x="310" y="81"/>
                    <a:pt x="312" y="86"/>
                    <a:pt x="309" y="92"/>
                  </a:cubicBezTo>
                  <a:cubicBezTo>
                    <a:pt x="307" y="97"/>
                    <a:pt x="303" y="97"/>
                    <a:pt x="298" y="95"/>
                  </a:cubicBezTo>
                  <a:cubicBezTo>
                    <a:pt x="295" y="93"/>
                    <a:pt x="292" y="90"/>
                    <a:pt x="287" y="87"/>
                  </a:cubicBezTo>
                  <a:cubicBezTo>
                    <a:pt x="284" y="83"/>
                    <a:pt x="280" y="81"/>
                    <a:pt x="277" y="80"/>
                  </a:cubicBezTo>
                  <a:cubicBezTo>
                    <a:pt x="275" y="79"/>
                    <a:pt x="272" y="79"/>
                    <a:pt x="269" y="80"/>
                  </a:cubicBezTo>
                  <a:cubicBezTo>
                    <a:pt x="266" y="80"/>
                    <a:pt x="263" y="81"/>
                    <a:pt x="259" y="82"/>
                  </a:cubicBezTo>
                  <a:cubicBezTo>
                    <a:pt x="256" y="83"/>
                    <a:pt x="252" y="85"/>
                    <a:pt x="248" y="87"/>
                  </a:cubicBezTo>
                  <a:cubicBezTo>
                    <a:pt x="243" y="89"/>
                    <a:pt x="239" y="93"/>
                    <a:pt x="234" y="97"/>
                  </a:cubicBezTo>
                  <a:cubicBezTo>
                    <a:pt x="230" y="100"/>
                    <a:pt x="225" y="104"/>
                    <a:pt x="220" y="107"/>
                  </a:cubicBezTo>
                  <a:cubicBezTo>
                    <a:pt x="215" y="110"/>
                    <a:pt x="211" y="112"/>
                    <a:pt x="208" y="114"/>
                  </a:cubicBezTo>
                  <a:cubicBezTo>
                    <a:pt x="204" y="116"/>
                    <a:pt x="201" y="118"/>
                    <a:pt x="198" y="119"/>
                  </a:cubicBezTo>
                  <a:cubicBezTo>
                    <a:pt x="196" y="120"/>
                    <a:pt x="193" y="122"/>
                    <a:pt x="191" y="125"/>
                  </a:cubicBezTo>
                  <a:cubicBezTo>
                    <a:pt x="189" y="127"/>
                    <a:pt x="187" y="130"/>
                    <a:pt x="187" y="132"/>
                  </a:cubicBezTo>
                  <a:cubicBezTo>
                    <a:pt x="187" y="135"/>
                    <a:pt x="187" y="139"/>
                    <a:pt x="187" y="144"/>
                  </a:cubicBezTo>
                  <a:cubicBezTo>
                    <a:pt x="188" y="147"/>
                    <a:pt x="188" y="151"/>
                    <a:pt x="188" y="155"/>
                  </a:cubicBezTo>
                  <a:cubicBezTo>
                    <a:pt x="188" y="163"/>
                    <a:pt x="186" y="167"/>
                    <a:pt x="184" y="169"/>
                  </a:cubicBezTo>
                  <a:cubicBezTo>
                    <a:pt x="184" y="170"/>
                    <a:pt x="184" y="170"/>
                    <a:pt x="184" y="171"/>
                  </a:cubicBezTo>
                  <a:cubicBezTo>
                    <a:pt x="183" y="173"/>
                    <a:pt x="180" y="177"/>
                    <a:pt x="177" y="181"/>
                  </a:cubicBezTo>
                  <a:cubicBezTo>
                    <a:pt x="174" y="185"/>
                    <a:pt x="171" y="189"/>
                    <a:pt x="168" y="191"/>
                  </a:cubicBezTo>
                  <a:cubicBezTo>
                    <a:pt x="166" y="193"/>
                    <a:pt x="164" y="195"/>
                    <a:pt x="163" y="197"/>
                  </a:cubicBezTo>
                  <a:cubicBezTo>
                    <a:pt x="161" y="199"/>
                    <a:pt x="160" y="202"/>
                    <a:pt x="159" y="204"/>
                  </a:cubicBezTo>
                  <a:cubicBezTo>
                    <a:pt x="158" y="206"/>
                    <a:pt x="159" y="208"/>
                    <a:pt x="159" y="211"/>
                  </a:cubicBezTo>
                  <a:cubicBezTo>
                    <a:pt x="160" y="214"/>
                    <a:pt x="161" y="217"/>
                    <a:pt x="161" y="221"/>
                  </a:cubicBezTo>
                  <a:cubicBezTo>
                    <a:pt x="161" y="226"/>
                    <a:pt x="160" y="232"/>
                    <a:pt x="157" y="238"/>
                  </a:cubicBezTo>
                  <a:cubicBezTo>
                    <a:pt x="155" y="244"/>
                    <a:pt x="152" y="249"/>
                    <a:pt x="149" y="254"/>
                  </a:cubicBezTo>
                  <a:cubicBezTo>
                    <a:pt x="149" y="254"/>
                    <a:pt x="149" y="254"/>
                    <a:pt x="149" y="254"/>
                  </a:cubicBezTo>
                  <a:cubicBezTo>
                    <a:pt x="148" y="255"/>
                    <a:pt x="148" y="255"/>
                    <a:pt x="148" y="255"/>
                  </a:cubicBezTo>
                  <a:cubicBezTo>
                    <a:pt x="144" y="264"/>
                    <a:pt x="136" y="277"/>
                    <a:pt x="135" y="282"/>
                  </a:cubicBezTo>
                  <a:cubicBezTo>
                    <a:pt x="134" y="286"/>
                    <a:pt x="132" y="292"/>
                    <a:pt x="130" y="297"/>
                  </a:cubicBezTo>
                  <a:cubicBezTo>
                    <a:pt x="129" y="300"/>
                    <a:pt x="127" y="303"/>
                    <a:pt x="126" y="305"/>
                  </a:cubicBezTo>
                  <a:cubicBezTo>
                    <a:pt x="123" y="308"/>
                    <a:pt x="120" y="309"/>
                    <a:pt x="116" y="308"/>
                  </a:cubicBezTo>
                  <a:cubicBezTo>
                    <a:pt x="113" y="307"/>
                    <a:pt x="110" y="306"/>
                    <a:pt x="106" y="303"/>
                  </a:cubicBezTo>
                  <a:cubicBezTo>
                    <a:pt x="102" y="301"/>
                    <a:pt x="98" y="300"/>
                    <a:pt x="94" y="300"/>
                  </a:cubicBezTo>
                  <a:cubicBezTo>
                    <a:pt x="91" y="299"/>
                    <a:pt x="88" y="299"/>
                    <a:pt x="86" y="297"/>
                  </a:cubicBezTo>
                  <a:cubicBezTo>
                    <a:pt x="85" y="297"/>
                    <a:pt x="85" y="297"/>
                    <a:pt x="85" y="297"/>
                  </a:cubicBezTo>
                  <a:cubicBezTo>
                    <a:pt x="84" y="296"/>
                    <a:pt x="83" y="296"/>
                    <a:pt x="81" y="296"/>
                  </a:cubicBezTo>
                  <a:cubicBezTo>
                    <a:pt x="80" y="296"/>
                    <a:pt x="79" y="296"/>
                    <a:pt x="79" y="297"/>
                  </a:cubicBezTo>
                  <a:cubicBezTo>
                    <a:pt x="79" y="297"/>
                    <a:pt x="79" y="297"/>
                    <a:pt x="79" y="297"/>
                  </a:cubicBezTo>
                  <a:cubicBezTo>
                    <a:pt x="79" y="297"/>
                    <a:pt x="79" y="297"/>
                    <a:pt x="79" y="297"/>
                  </a:cubicBezTo>
                  <a:cubicBezTo>
                    <a:pt x="78" y="299"/>
                    <a:pt x="78" y="302"/>
                    <a:pt x="79" y="306"/>
                  </a:cubicBezTo>
                  <a:cubicBezTo>
                    <a:pt x="79" y="309"/>
                    <a:pt x="79" y="312"/>
                    <a:pt x="79" y="316"/>
                  </a:cubicBezTo>
                  <a:cubicBezTo>
                    <a:pt x="79" y="321"/>
                    <a:pt x="79" y="330"/>
                    <a:pt x="79" y="337"/>
                  </a:cubicBezTo>
                  <a:cubicBezTo>
                    <a:pt x="79" y="342"/>
                    <a:pt x="79" y="347"/>
                    <a:pt x="79" y="350"/>
                  </a:cubicBezTo>
                  <a:cubicBezTo>
                    <a:pt x="79" y="354"/>
                    <a:pt x="78" y="357"/>
                    <a:pt x="76" y="359"/>
                  </a:cubicBezTo>
                  <a:cubicBezTo>
                    <a:pt x="74" y="362"/>
                    <a:pt x="71" y="363"/>
                    <a:pt x="67" y="364"/>
                  </a:cubicBezTo>
                  <a:cubicBezTo>
                    <a:pt x="66" y="364"/>
                    <a:pt x="64" y="364"/>
                    <a:pt x="63" y="366"/>
                  </a:cubicBezTo>
                  <a:cubicBezTo>
                    <a:pt x="62" y="367"/>
                    <a:pt x="61" y="370"/>
                    <a:pt x="61" y="373"/>
                  </a:cubicBezTo>
                  <a:cubicBezTo>
                    <a:pt x="60" y="381"/>
                    <a:pt x="62" y="388"/>
                    <a:pt x="64" y="396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6" y="403"/>
                    <a:pt x="66" y="407"/>
                    <a:pt x="65" y="411"/>
                  </a:cubicBezTo>
                  <a:cubicBezTo>
                    <a:pt x="64" y="415"/>
                    <a:pt x="62" y="418"/>
                    <a:pt x="60" y="420"/>
                  </a:cubicBezTo>
                  <a:cubicBezTo>
                    <a:pt x="58" y="424"/>
                    <a:pt x="54" y="425"/>
                    <a:pt x="50" y="424"/>
                  </a:cubicBezTo>
                  <a:cubicBezTo>
                    <a:pt x="47" y="424"/>
                    <a:pt x="43" y="422"/>
                    <a:pt x="39" y="420"/>
                  </a:cubicBezTo>
                  <a:cubicBezTo>
                    <a:pt x="39" y="420"/>
                    <a:pt x="39" y="420"/>
                    <a:pt x="39" y="420"/>
                  </a:cubicBezTo>
                  <a:cubicBezTo>
                    <a:pt x="34" y="418"/>
                    <a:pt x="32" y="418"/>
                    <a:pt x="31" y="419"/>
                  </a:cubicBezTo>
                  <a:cubicBezTo>
                    <a:pt x="31" y="419"/>
                    <a:pt x="31" y="419"/>
                    <a:pt x="31" y="419"/>
                  </a:cubicBezTo>
                  <a:cubicBezTo>
                    <a:pt x="30" y="423"/>
                    <a:pt x="29" y="427"/>
                    <a:pt x="31" y="432"/>
                  </a:cubicBezTo>
                  <a:cubicBezTo>
                    <a:pt x="32" y="438"/>
                    <a:pt x="33" y="445"/>
                    <a:pt x="33" y="451"/>
                  </a:cubicBezTo>
                  <a:cubicBezTo>
                    <a:pt x="33" y="457"/>
                    <a:pt x="33" y="462"/>
                    <a:pt x="31" y="464"/>
                  </a:cubicBezTo>
                  <a:cubicBezTo>
                    <a:pt x="31" y="464"/>
                    <a:pt x="31" y="464"/>
                    <a:pt x="31" y="464"/>
                  </a:cubicBezTo>
                  <a:cubicBezTo>
                    <a:pt x="31" y="465"/>
                    <a:pt x="31" y="465"/>
                    <a:pt x="31" y="465"/>
                  </a:cubicBezTo>
                  <a:cubicBezTo>
                    <a:pt x="28" y="469"/>
                    <a:pt x="27" y="470"/>
                    <a:pt x="19" y="470"/>
                  </a:cubicBezTo>
                  <a:cubicBezTo>
                    <a:pt x="17" y="469"/>
                    <a:pt x="16" y="469"/>
                    <a:pt x="15" y="469"/>
                  </a:cubicBezTo>
                  <a:cubicBezTo>
                    <a:pt x="13" y="468"/>
                    <a:pt x="13" y="468"/>
                    <a:pt x="10" y="469"/>
                  </a:cubicBezTo>
                  <a:cubicBezTo>
                    <a:pt x="8" y="469"/>
                    <a:pt x="3" y="479"/>
                    <a:pt x="0" y="484"/>
                  </a:cubicBezTo>
                  <a:cubicBezTo>
                    <a:pt x="2" y="486"/>
                    <a:pt x="3" y="489"/>
                    <a:pt x="5" y="492"/>
                  </a:cubicBezTo>
                  <a:cubicBezTo>
                    <a:pt x="8" y="499"/>
                    <a:pt x="8" y="496"/>
                    <a:pt x="12" y="501"/>
                  </a:cubicBezTo>
                  <a:cubicBezTo>
                    <a:pt x="15" y="505"/>
                    <a:pt x="13" y="506"/>
                    <a:pt x="20" y="514"/>
                  </a:cubicBezTo>
                  <a:cubicBezTo>
                    <a:pt x="26" y="521"/>
                    <a:pt x="33" y="514"/>
                    <a:pt x="36" y="524"/>
                  </a:cubicBezTo>
                  <a:cubicBezTo>
                    <a:pt x="39" y="534"/>
                    <a:pt x="44" y="527"/>
                    <a:pt x="49" y="526"/>
                  </a:cubicBezTo>
                  <a:cubicBezTo>
                    <a:pt x="54" y="525"/>
                    <a:pt x="54" y="527"/>
                    <a:pt x="55" y="532"/>
                  </a:cubicBezTo>
                  <a:cubicBezTo>
                    <a:pt x="57" y="537"/>
                    <a:pt x="54" y="542"/>
                    <a:pt x="51" y="548"/>
                  </a:cubicBezTo>
                  <a:cubicBezTo>
                    <a:pt x="49" y="555"/>
                    <a:pt x="51" y="553"/>
                    <a:pt x="55" y="556"/>
                  </a:cubicBezTo>
                  <a:cubicBezTo>
                    <a:pt x="59" y="559"/>
                    <a:pt x="61" y="556"/>
                    <a:pt x="66" y="551"/>
                  </a:cubicBezTo>
                  <a:cubicBezTo>
                    <a:pt x="71" y="545"/>
                    <a:pt x="71" y="551"/>
                    <a:pt x="78" y="551"/>
                  </a:cubicBezTo>
                  <a:cubicBezTo>
                    <a:pt x="85" y="551"/>
                    <a:pt x="88" y="554"/>
                    <a:pt x="92" y="556"/>
                  </a:cubicBezTo>
                  <a:cubicBezTo>
                    <a:pt x="97" y="559"/>
                    <a:pt x="95" y="560"/>
                    <a:pt x="94" y="566"/>
                  </a:cubicBezTo>
                  <a:cubicBezTo>
                    <a:pt x="94" y="571"/>
                    <a:pt x="95" y="575"/>
                    <a:pt x="101" y="579"/>
                  </a:cubicBezTo>
                  <a:cubicBezTo>
                    <a:pt x="106" y="584"/>
                    <a:pt x="111" y="594"/>
                    <a:pt x="113" y="598"/>
                  </a:cubicBezTo>
                  <a:cubicBezTo>
                    <a:pt x="116" y="602"/>
                    <a:pt x="113" y="619"/>
                    <a:pt x="113" y="623"/>
                  </a:cubicBezTo>
                  <a:cubicBezTo>
                    <a:pt x="113" y="626"/>
                    <a:pt x="118" y="628"/>
                    <a:pt x="123" y="636"/>
                  </a:cubicBezTo>
                  <a:cubicBezTo>
                    <a:pt x="129" y="644"/>
                    <a:pt x="133" y="659"/>
                    <a:pt x="139" y="670"/>
                  </a:cubicBezTo>
                  <a:cubicBezTo>
                    <a:pt x="144" y="681"/>
                    <a:pt x="144" y="699"/>
                    <a:pt x="144" y="716"/>
                  </a:cubicBezTo>
                  <a:cubicBezTo>
                    <a:pt x="143" y="732"/>
                    <a:pt x="137" y="767"/>
                    <a:pt x="135" y="776"/>
                  </a:cubicBezTo>
                  <a:cubicBezTo>
                    <a:pt x="134" y="785"/>
                    <a:pt x="129" y="801"/>
                    <a:pt x="130" y="807"/>
                  </a:cubicBezTo>
                  <a:cubicBezTo>
                    <a:pt x="130" y="813"/>
                    <a:pt x="134" y="806"/>
                    <a:pt x="141" y="804"/>
                  </a:cubicBezTo>
                  <a:cubicBezTo>
                    <a:pt x="147" y="801"/>
                    <a:pt x="144" y="799"/>
                    <a:pt x="146" y="792"/>
                  </a:cubicBezTo>
                  <a:cubicBezTo>
                    <a:pt x="149" y="786"/>
                    <a:pt x="153" y="784"/>
                    <a:pt x="156" y="786"/>
                  </a:cubicBezTo>
                  <a:cubicBezTo>
                    <a:pt x="158" y="788"/>
                    <a:pt x="156" y="791"/>
                    <a:pt x="156" y="795"/>
                  </a:cubicBezTo>
                  <a:cubicBezTo>
                    <a:pt x="156" y="800"/>
                    <a:pt x="156" y="804"/>
                    <a:pt x="156" y="809"/>
                  </a:cubicBezTo>
                  <a:cubicBezTo>
                    <a:pt x="156" y="813"/>
                    <a:pt x="158" y="813"/>
                    <a:pt x="163" y="813"/>
                  </a:cubicBezTo>
                  <a:cubicBezTo>
                    <a:pt x="168" y="813"/>
                    <a:pt x="166" y="812"/>
                    <a:pt x="170" y="808"/>
                  </a:cubicBezTo>
                  <a:cubicBezTo>
                    <a:pt x="174" y="804"/>
                    <a:pt x="175" y="803"/>
                    <a:pt x="179" y="803"/>
                  </a:cubicBezTo>
                  <a:cubicBezTo>
                    <a:pt x="183" y="803"/>
                    <a:pt x="180" y="804"/>
                    <a:pt x="180" y="811"/>
                  </a:cubicBezTo>
                  <a:close/>
                  <a:moveTo>
                    <a:pt x="386" y="1079"/>
                  </a:moveTo>
                  <a:cubicBezTo>
                    <a:pt x="385" y="1082"/>
                    <a:pt x="384" y="1091"/>
                    <a:pt x="387" y="1091"/>
                  </a:cubicBezTo>
                  <a:cubicBezTo>
                    <a:pt x="390" y="1091"/>
                    <a:pt x="393" y="1092"/>
                    <a:pt x="393" y="1089"/>
                  </a:cubicBezTo>
                  <a:cubicBezTo>
                    <a:pt x="393" y="1085"/>
                    <a:pt x="389" y="1075"/>
                    <a:pt x="386" y="1079"/>
                  </a:cubicBezTo>
                  <a:close/>
                  <a:moveTo>
                    <a:pt x="372" y="983"/>
                  </a:moveTo>
                  <a:cubicBezTo>
                    <a:pt x="369" y="995"/>
                    <a:pt x="365" y="1001"/>
                    <a:pt x="371" y="1001"/>
                  </a:cubicBezTo>
                  <a:cubicBezTo>
                    <a:pt x="377" y="1001"/>
                    <a:pt x="380" y="1004"/>
                    <a:pt x="380" y="995"/>
                  </a:cubicBezTo>
                  <a:cubicBezTo>
                    <a:pt x="380" y="986"/>
                    <a:pt x="374" y="977"/>
                    <a:pt x="372" y="983"/>
                  </a:cubicBezTo>
                  <a:close/>
                  <a:moveTo>
                    <a:pt x="370" y="1192"/>
                  </a:moveTo>
                  <a:cubicBezTo>
                    <a:pt x="373" y="1193"/>
                    <a:pt x="381" y="1189"/>
                    <a:pt x="381" y="1182"/>
                  </a:cubicBezTo>
                  <a:cubicBezTo>
                    <a:pt x="381" y="1176"/>
                    <a:pt x="373" y="1169"/>
                    <a:pt x="372" y="1179"/>
                  </a:cubicBezTo>
                  <a:cubicBezTo>
                    <a:pt x="374" y="1189"/>
                    <a:pt x="367" y="1190"/>
                    <a:pt x="370" y="1192"/>
                  </a:cubicBezTo>
                  <a:close/>
                  <a:moveTo>
                    <a:pt x="378" y="1133"/>
                  </a:moveTo>
                  <a:cubicBezTo>
                    <a:pt x="378" y="1128"/>
                    <a:pt x="371" y="1121"/>
                    <a:pt x="370" y="1127"/>
                  </a:cubicBezTo>
                  <a:cubicBezTo>
                    <a:pt x="367" y="1130"/>
                    <a:pt x="370" y="1134"/>
                    <a:pt x="373" y="1138"/>
                  </a:cubicBezTo>
                  <a:cubicBezTo>
                    <a:pt x="375" y="1141"/>
                    <a:pt x="378" y="1138"/>
                    <a:pt x="378" y="1133"/>
                  </a:cubicBezTo>
                  <a:close/>
                  <a:moveTo>
                    <a:pt x="380" y="1019"/>
                  </a:moveTo>
                  <a:cubicBezTo>
                    <a:pt x="377" y="1027"/>
                    <a:pt x="377" y="1030"/>
                    <a:pt x="375" y="1035"/>
                  </a:cubicBezTo>
                  <a:cubicBezTo>
                    <a:pt x="374" y="1041"/>
                    <a:pt x="375" y="1045"/>
                    <a:pt x="378" y="1042"/>
                  </a:cubicBezTo>
                  <a:cubicBezTo>
                    <a:pt x="381" y="1038"/>
                    <a:pt x="386" y="1030"/>
                    <a:pt x="386" y="1027"/>
                  </a:cubicBezTo>
                  <a:cubicBezTo>
                    <a:pt x="387" y="1024"/>
                    <a:pt x="381" y="1016"/>
                    <a:pt x="380" y="101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4" name="Freeform 341"/>
            <p:cNvSpPr>
              <a:spLocks/>
            </p:cNvSpPr>
            <p:nvPr/>
          </p:nvSpPr>
          <p:spPr bwMode="auto">
            <a:xfrm>
              <a:off x="7622494" y="5487088"/>
              <a:ext cx="3572" cy="5953"/>
            </a:xfrm>
            <a:custGeom>
              <a:avLst/>
              <a:gdLst>
                <a:gd name="T0" fmla="*/ 5 w 11"/>
                <a:gd name="T1" fmla="*/ 3 h 18"/>
                <a:gd name="T2" fmla="*/ 4 w 11"/>
                <a:gd name="T3" fmla="*/ 7 h 18"/>
                <a:gd name="T4" fmla="*/ 1 w 11"/>
                <a:gd name="T5" fmla="*/ 14 h 18"/>
                <a:gd name="T6" fmla="*/ 5 w 11"/>
                <a:gd name="T7" fmla="*/ 15 h 18"/>
                <a:gd name="T8" fmla="*/ 7 w 11"/>
                <a:gd name="T9" fmla="*/ 10 h 18"/>
                <a:gd name="T10" fmla="*/ 10 w 11"/>
                <a:gd name="T11" fmla="*/ 4 h 18"/>
                <a:gd name="T12" fmla="*/ 5 w 11"/>
                <a:gd name="T13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8">
                  <a:moveTo>
                    <a:pt x="5" y="3"/>
                  </a:moveTo>
                  <a:cubicBezTo>
                    <a:pt x="4" y="5"/>
                    <a:pt x="6" y="5"/>
                    <a:pt x="4" y="7"/>
                  </a:cubicBezTo>
                  <a:cubicBezTo>
                    <a:pt x="3" y="10"/>
                    <a:pt x="0" y="11"/>
                    <a:pt x="1" y="14"/>
                  </a:cubicBezTo>
                  <a:cubicBezTo>
                    <a:pt x="2" y="16"/>
                    <a:pt x="5" y="18"/>
                    <a:pt x="5" y="15"/>
                  </a:cubicBezTo>
                  <a:cubicBezTo>
                    <a:pt x="6" y="13"/>
                    <a:pt x="5" y="13"/>
                    <a:pt x="7" y="10"/>
                  </a:cubicBezTo>
                  <a:cubicBezTo>
                    <a:pt x="9" y="8"/>
                    <a:pt x="11" y="7"/>
                    <a:pt x="10" y="4"/>
                  </a:cubicBezTo>
                  <a:cubicBezTo>
                    <a:pt x="10" y="2"/>
                    <a:pt x="5" y="0"/>
                    <a:pt x="5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5" name="Freeform 342"/>
            <p:cNvSpPr>
              <a:spLocks/>
            </p:cNvSpPr>
            <p:nvPr/>
          </p:nvSpPr>
          <p:spPr bwMode="auto">
            <a:xfrm>
              <a:off x="7615350" y="4632219"/>
              <a:ext cx="4762" cy="3572"/>
            </a:xfrm>
            <a:custGeom>
              <a:avLst/>
              <a:gdLst>
                <a:gd name="T0" fmla="*/ 12 w 14"/>
                <a:gd name="T1" fmla="*/ 9 h 14"/>
                <a:gd name="T2" fmla="*/ 3 w 14"/>
                <a:gd name="T3" fmla="*/ 3 h 14"/>
                <a:gd name="T4" fmla="*/ 2 w 14"/>
                <a:gd name="T5" fmla="*/ 10 h 14"/>
                <a:gd name="T6" fmla="*/ 12 w 14"/>
                <a:gd name="T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4">
                  <a:moveTo>
                    <a:pt x="12" y="9"/>
                  </a:moveTo>
                  <a:cubicBezTo>
                    <a:pt x="14" y="3"/>
                    <a:pt x="11" y="0"/>
                    <a:pt x="3" y="3"/>
                  </a:cubicBezTo>
                  <a:cubicBezTo>
                    <a:pt x="0" y="6"/>
                    <a:pt x="0" y="9"/>
                    <a:pt x="2" y="10"/>
                  </a:cubicBezTo>
                  <a:cubicBezTo>
                    <a:pt x="3" y="11"/>
                    <a:pt x="9" y="14"/>
                    <a:pt x="12" y="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6" name="Freeform 343"/>
            <p:cNvSpPr>
              <a:spLocks/>
            </p:cNvSpPr>
            <p:nvPr/>
          </p:nvSpPr>
          <p:spPr bwMode="auto">
            <a:xfrm>
              <a:off x="7616541" y="4642935"/>
              <a:ext cx="5953" cy="4762"/>
            </a:xfrm>
            <a:custGeom>
              <a:avLst/>
              <a:gdLst>
                <a:gd name="T0" fmla="*/ 2 w 19"/>
                <a:gd name="T1" fmla="*/ 9 h 14"/>
                <a:gd name="T2" fmla="*/ 9 w 19"/>
                <a:gd name="T3" fmla="*/ 11 h 14"/>
                <a:gd name="T4" fmla="*/ 18 w 19"/>
                <a:gd name="T5" fmla="*/ 3 h 14"/>
                <a:gd name="T6" fmla="*/ 5 w 19"/>
                <a:gd name="T7" fmla="*/ 4 h 14"/>
                <a:gd name="T8" fmla="*/ 2 w 19"/>
                <a:gd name="T9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4">
                  <a:moveTo>
                    <a:pt x="2" y="9"/>
                  </a:moveTo>
                  <a:cubicBezTo>
                    <a:pt x="4" y="11"/>
                    <a:pt x="4" y="14"/>
                    <a:pt x="9" y="11"/>
                  </a:cubicBezTo>
                  <a:cubicBezTo>
                    <a:pt x="14" y="8"/>
                    <a:pt x="19" y="7"/>
                    <a:pt x="18" y="3"/>
                  </a:cubicBezTo>
                  <a:cubicBezTo>
                    <a:pt x="18" y="0"/>
                    <a:pt x="10" y="2"/>
                    <a:pt x="5" y="4"/>
                  </a:cubicBezTo>
                  <a:cubicBezTo>
                    <a:pt x="0" y="5"/>
                    <a:pt x="0" y="8"/>
                    <a:pt x="2" y="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7" name="Freeform 344"/>
            <p:cNvSpPr>
              <a:spLocks noEditPoints="1"/>
            </p:cNvSpPr>
            <p:nvPr/>
          </p:nvSpPr>
          <p:spPr bwMode="auto">
            <a:xfrm>
              <a:off x="7639163" y="4982263"/>
              <a:ext cx="27384" cy="53578"/>
            </a:xfrm>
            <a:custGeom>
              <a:avLst/>
              <a:gdLst>
                <a:gd name="T0" fmla="*/ 9 w 93"/>
                <a:gd name="T1" fmla="*/ 163 h 189"/>
                <a:gd name="T2" fmla="*/ 1 w 93"/>
                <a:gd name="T3" fmla="*/ 162 h 189"/>
                <a:gd name="T4" fmla="*/ 2 w 93"/>
                <a:gd name="T5" fmla="*/ 172 h 189"/>
                <a:gd name="T6" fmla="*/ 11 w 93"/>
                <a:gd name="T7" fmla="*/ 177 h 189"/>
                <a:gd name="T8" fmla="*/ 16 w 93"/>
                <a:gd name="T9" fmla="*/ 168 h 189"/>
                <a:gd name="T10" fmla="*/ 9 w 93"/>
                <a:gd name="T11" fmla="*/ 163 h 189"/>
                <a:gd name="T12" fmla="*/ 82 w 93"/>
                <a:gd name="T13" fmla="*/ 2 h 189"/>
                <a:gd name="T14" fmla="*/ 79 w 93"/>
                <a:gd name="T15" fmla="*/ 8 h 189"/>
                <a:gd name="T16" fmla="*/ 87 w 93"/>
                <a:gd name="T17" fmla="*/ 10 h 189"/>
                <a:gd name="T18" fmla="*/ 91 w 93"/>
                <a:gd name="T19" fmla="*/ 3 h 189"/>
                <a:gd name="T20" fmla="*/ 82 w 93"/>
                <a:gd name="T21" fmla="*/ 2 h 189"/>
                <a:gd name="T22" fmla="*/ 27 w 93"/>
                <a:gd name="T23" fmla="*/ 176 h 189"/>
                <a:gd name="T24" fmla="*/ 26 w 93"/>
                <a:gd name="T25" fmla="*/ 186 h 189"/>
                <a:gd name="T26" fmla="*/ 30 w 93"/>
                <a:gd name="T27" fmla="*/ 181 h 189"/>
                <a:gd name="T28" fmla="*/ 27 w 93"/>
                <a:gd name="T29" fmla="*/ 176 h 189"/>
                <a:gd name="T30" fmla="*/ 29 w 93"/>
                <a:gd name="T31" fmla="*/ 74 h 189"/>
                <a:gd name="T32" fmla="*/ 16 w 93"/>
                <a:gd name="T33" fmla="*/ 72 h 189"/>
                <a:gd name="T34" fmla="*/ 19 w 93"/>
                <a:gd name="T35" fmla="*/ 82 h 189"/>
                <a:gd name="T36" fmla="*/ 29 w 93"/>
                <a:gd name="T37" fmla="*/ 74 h 189"/>
                <a:gd name="T38" fmla="*/ 6 w 93"/>
                <a:gd name="T39" fmla="*/ 131 h 189"/>
                <a:gd name="T40" fmla="*/ 15 w 93"/>
                <a:gd name="T41" fmla="*/ 125 h 189"/>
                <a:gd name="T42" fmla="*/ 7 w 93"/>
                <a:gd name="T43" fmla="*/ 121 h 189"/>
                <a:gd name="T44" fmla="*/ 6 w 93"/>
                <a:gd name="T45" fmla="*/ 131 h 189"/>
                <a:gd name="T46" fmla="*/ 50 w 93"/>
                <a:gd name="T47" fmla="*/ 95 h 189"/>
                <a:gd name="T48" fmla="*/ 49 w 93"/>
                <a:gd name="T49" fmla="*/ 103 h 189"/>
                <a:gd name="T50" fmla="*/ 61 w 93"/>
                <a:gd name="T51" fmla="*/ 100 h 189"/>
                <a:gd name="T52" fmla="*/ 50 w 93"/>
                <a:gd name="T53" fmla="*/ 95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3" h="189">
                  <a:moveTo>
                    <a:pt x="9" y="163"/>
                  </a:moveTo>
                  <a:cubicBezTo>
                    <a:pt x="6" y="161"/>
                    <a:pt x="5" y="160"/>
                    <a:pt x="1" y="162"/>
                  </a:cubicBezTo>
                  <a:cubicBezTo>
                    <a:pt x="0" y="165"/>
                    <a:pt x="2" y="170"/>
                    <a:pt x="2" y="172"/>
                  </a:cubicBezTo>
                  <a:cubicBezTo>
                    <a:pt x="3" y="174"/>
                    <a:pt x="8" y="177"/>
                    <a:pt x="11" y="177"/>
                  </a:cubicBezTo>
                  <a:cubicBezTo>
                    <a:pt x="15" y="177"/>
                    <a:pt x="17" y="171"/>
                    <a:pt x="16" y="168"/>
                  </a:cubicBezTo>
                  <a:cubicBezTo>
                    <a:pt x="15" y="165"/>
                    <a:pt x="12" y="165"/>
                    <a:pt x="9" y="163"/>
                  </a:cubicBezTo>
                  <a:close/>
                  <a:moveTo>
                    <a:pt x="82" y="2"/>
                  </a:moveTo>
                  <a:cubicBezTo>
                    <a:pt x="78" y="2"/>
                    <a:pt x="77" y="5"/>
                    <a:pt x="79" y="8"/>
                  </a:cubicBezTo>
                  <a:cubicBezTo>
                    <a:pt x="80" y="11"/>
                    <a:pt x="83" y="13"/>
                    <a:pt x="87" y="10"/>
                  </a:cubicBezTo>
                  <a:cubicBezTo>
                    <a:pt x="91" y="7"/>
                    <a:pt x="93" y="6"/>
                    <a:pt x="91" y="3"/>
                  </a:cubicBezTo>
                  <a:cubicBezTo>
                    <a:pt x="89" y="0"/>
                    <a:pt x="86" y="1"/>
                    <a:pt x="82" y="2"/>
                  </a:cubicBezTo>
                  <a:close/>
                  <a:moveTo>
                    <a:pt x="27" y="176"/>
                  </a:moveTo>
                  <a:cubicBezTo>
                    <a:pt x="26" y="179"/>
                    <a:pt x="23" y="184"/>
                    <a:pt x="26" y="186"/>
                  </a:cubicBezTo>
                  <a:cubicBezTo>
                    <a:pt x="28" y="189"/>
                    <a:pt x="29" y="186"/>
                    <a:pt x="30" y="181"/>
                  </a:cubicBezTo>
                  <a:cubicBezTo>
                    <a:pt x="31" y="176"/>
                    <a:pt x="31" y="167"/>
                    <a:pt x="27" y="176"/>
                  </a:cubicBezTo>
                  <a:close/>
                  <a:moveTo>
                    <a:pt x="29" y="74"/>
                  </a:moveTo>
                  <a:cubicBezTo>
                    <a:pt x="29" y="69"/>
                    <a:pt x="25" y="63"/>
                    <a:pt x="16" y="72"/>
                  </a:cubicBezTo>
                  <a:cubicBezTo>
                    <a:pt x="12" y="76"/>
                    <a:pt x="16" y="83"/>
                    <a:pt x="19" y="82"/>
                  </a:cubicBezTo>
                  <a:cubicBezTo>
                    <a:pt x="22" y="81"/>
                    <a:pt x="29" y="80"/>
                    <a:pt x="29" y="74"/>
                  </a:cubicBezTo>
                  <a:close/>
                  <a:moveTo>
                    <a:pt x="6" y="131"/>
                  </a:moveTo>
                  <a:cubicBezTo>
                    <a:pt x="10" y="131"/>
                    <a:pt x="13" y="129"/>
                    <a:pt x="15" y="125"/>
                  </a:cubicBezTo>
                  <a:cubicBezTo>
                    <a:pt x="16" y="121"/>
                    <a:pt x="11" y="114"/>
                    <a:pt x="7" y="121"/>
                  </a:cubicBezTo>
                  <a:cubicBezTo>
                    <a:pt x="5" y="126"/>
                    <a:pt x="3" y="131"/>
                    <a:pt x="6" y="131"/>
                  </a:cubicBezTo>
                  <a:close/>
                  <a:moveTo>
                    <a:pt x="50" y="95"/>
                  </a:moveTo>
                  <a:cubicBezTo>
                    <a:pt x="47" y="98"/>
                    <a:pt x="45" y="101"/>
                    <a:pt x="49" y="103"/>
                  </a:cubicBezTo>
                  <a:cubicBezTo>
                    <a:pt x="53" y="104"/>
                    <a:pt x="59" y="104"/>
                    <a:pt x="61" y="100"/>
                  </a:cubicBezTo>
                  <a:cubicBezTo>
                    <a:pt x="62" y="97"/>
                    <a:pt x="55" y="92"/>
                    <a:pt x="50" y="9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8" name="Freeform 346"/>
            <p:cNvSpPr>
              <a:spLocks/>
            </p:cNvSpPr>
            <p:nvPr/>
          </p:nvSpPr>
          <p:spPr bwMode="auto">
            <a:xfrm>
              <a:off x="7579631" y="5204910"/>
              <a:ext cx="3572" cy="3572"/>
            </a:xfrm>
            <a:custGeom>
              <a:avLst/>
              <a:gdLst>
                <a:gd name="T0" fmla="*/ 5 w 13"/>
                <a:gd name="T1" fmla="*/ 3 h 12"/>
                <a:gd name="T2" fmla="*/ 3 w 13"/>
                <a:gd name="T3" fmla="*/ 10 h 12"/>
                <a:gd name="T4" fmla="*/ 12 w 13"/>
                <a:gd name="T5" fmla="*/ 7 h 12"/>
                <a:gd name="T6" fmla="*/ 5 w 13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2">
                  <a:moveTo>
                    <a:pt x="5" y="3"/>
                  </a:moveTo>
                  <a:cubicBezTo>
                    <a:pt x="2" y="4"/>
                    <a:pt x="0" y="10"/>
                    <a:pt x="3" y="10"/>
                  </a:cubicBezTo>
                  <a:cubicBezTo>
                    <a:pt x="5" y="11"/>
                    <a:pt x="12" y="12"/>
                    <a:pt x="12" y="7"/>
                  </a:cubicBezTo>
                  <a:cubicBezTo>
                    <a:pt x="13" y="2"/>
                    <a:pt x="9" y="0"/>
                    <a:pt x="5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9" name="Freeform 347"/>
            <p:cNvSpPr>
              <a:spLocks/>
            </p:cNvSpPr>
            <p:nvPr/>
          </p:nvSpPr>
          <p:spPr bwMode="auto">
            <a:xfrm>
              <a:off x="7551056" y="4813194"/>
              <a:ext cx="2381" cy="4762"/>
            </a:xfrm>
            <a:custGeom>
              <a:avLst/>
              <a:gdLst>
                <a:gd name="T0" fmla="*/ 4 w 8"/>
                <a:gd name="T1" fmla="*/ 12 h 14"/>
                <a:gd name="T2" fmla="*/ 4 w 8"/>
                <a:gd name="T3" fmla="*/ 4 h 14"/>
                <a:gd name="T4" fmla="*/ 4 w 8"/>
                <a:gd name="T5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4">
                  <a:moveTo>
                    <a:pt x="4" y="12"/>
                  </a:moveTo>
                  <a:cubicBezTo>
                    <a:pt x="7" y="11"/>
                    <a:pt x="8" y="0"/>
                    <a:pt x="4" y="4"/>
                  </a:cubicBezTo>
                  <a:cubicBezTo>
                    <a:pt x="3" y="8"/>
                    <a:pt x="0" y="14"/>
                    <a:pt x="4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0" name="Freeform 348"/>
            <p:cNvSpPr>
              <a:spLocks/>
            </p:cNvSpPr>
            <p:nvPr/>
          </p:nvSpPr>
          <p:spPr bwMode="auto">
            <a:xfrm>
              <a:off x="7583203" y="5198957"/>
              <a:ext cx="4762" cy="3572"/>
            </a:xfrm>
            <a:custGeom>
              <a:avLst/>
              <a:gdLst>
                <a:gd name="T0" fmla="*/ 5 w 16"/>
                <a:gd name="T1" fmla="*/ 3 h 11"/>
                <a:gd name="T2" fmla="*/ 2 w 16"/>
                <a:gd name="T3" fmla="*/ 8 h 11"/>
                <a:gd name="T4" fmla="*/ 13 w 16"/>
                <a:gd name="T5" fmla="*/ 7 h 11"/>
                <a:gd name="T6" fmla="*/ 5 w 16"/>
                <a:gd name="T7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1">
                  <a:moveTo>
                    <a:pt x="5" y="3"/>
                  </a:moveTo>
                  <a:cubicBezTo>
                    <a:pt x="0" y="4"/>
                    <a:pt x="0" y="7"/>
                    <a:pt x="2" y="8"/>
                  </a:cubicBezTo>
                  <a:cubicBezTo>
                    <a:pt x="4" y="9"/>
                    <a:pt x="10" y="11"/>
                    <a:pt x="13" y="7"/>
                  </a:cubicBezTo>
                  <a:cubicBezTo>
                    <a:pt x="16" y="4"/>
                    <a:pt x="11" y="0"/>
                    <a:pt x="5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1" name="Freeform 349"/>
            <p:cNvSpPr>
              <a:spLocks/>
            </p:cNvSpPr>
            <p:nvPr/>
          </p:nvSpPr>
          <p:spPr bwMode="auto">
            <a:xfrm>
              <a:off x="7611778" y="5477563"/>
              <a:ext cx="10716" cy="3572"/>
            </a:xfrm>
            <a:custGeom>
              <a:avLst/>
              <a:gdLst>
                <a:gd name="T0" fmla="*/ 29 w 38"/>
                <a:gd name="T1" fmla="*/ 1 h 12"/>
                <a:gd name="T2" fmla="*/ 17 w 38"/>
                <a:gd name="T3" fmla="*/ 2 h 12"/>
                <a:gd name="T4" fmla="*/ 6 w 38"/>
                <a:gd name="T5" fmla="*/ 2 h 12"/>
                <a:gd name="T6" fmla="*/ 2 w 38"/>
                <a:gd name="T7" fmla="*/ 8 h 12"/>
                <a:gd name="T8" fmla="*/ 12 w 38"/>
                <a:gd name="T9" fmla="*/ 11 h 12"/>
                <a:gd name="T10" fmla="*/ 21 w 38"/>
                <a:gd name="T11" fmla="*/ 9 h 12"/>
                <a:gd name="T12" fmla="*/ 24 w 38"/>
                <a:gd name="T13" fmla="*/ 5 h 12"/>
                <a:gd name="T14" fmla="*/ 31 w 38"/>
                <a:gd name="T15" fmla="*/ 3 h 12"/>
                <a:gd name="T16" fmla="*/ 38 w 38"/>
                <a:gd name="T17" fmla="*/ 3 h 12"/>
                <a:gd name="T18" fmla="*/ 29 w 38"/>
                <a:gd name="T19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12">
                  <a:moveTo>
                    <a:pt x="29" y="1"/>
                  </a:moveTo>
                  <a:cubicBezTo>
                    <a:pt x="23" y="1"/>
                    <a:pt x="20" y="1"/>
                    <a:pt x="17" y="2"/>
                  </a:cubicBezTo>
                  <a:cubicBezTo>
                    <a:pt x="11" y="2"/>
                    <a:pt x="9" y="0"/>
                    <a:pt x="6" y="2"/>
                  </a:cubicBezTo>
                  <a:cubicBezTo>
                    <a:pt x="3" y="4"/>
                    <a:pt x="0" y="5"/>
                    <a:pt x="2" y="8"/>
                  </a:cubicBezTo>
                  <a:cubicBezTo>
                    <a:pt x="5" y="11"/>
                    <a:pt x="10" y="12"/>
                    <a:pt x="12" y="11"/>
                  </a:cubicBezTo>
                  <a:cubicBezTo>
                    <a:pt x="15" y="10"/>
                    <a:pt x="20" y="11"/>
                    <a:pt x="21" y="9"/>
                  </a:cubicBezTo>
                  <a:cubicBezTo>
                    <a:pt x="23" y="8"/>
                    <a:pt x="22" y="6"/>
                    <a:pt x="24" y="5"/>
                  </a:cubicBezTo>
                  <a:cubicBezTo>
                    <a:pt x="26" y="4"/>
                    <a:pt x="27" y="4"/>
                    <a:pt x="31" y="3"/>
                  </a:cubicBezTo>
                  <a:cubicBezTo>
                    <a:pt x="36" y="3"/>
                    <a:pt x="38" y="4"/>
                    <a:pt x="38" y="3"/>
                  </a:cubicBezTo>
                  <a:cubicBezTo>
                    <a:pt x="38" y="1"/>
                    <a:pt x="34" y="1"/>
                    <a:pt x="29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2" name="Freeform 350"/>
            <p:cNvSpPr>
              <a:spLocks/>
            </p:cNvSpPr>
            <p:nvPr/>
          </p:nvSpPr>
          <p:spPr bwMode="auto">
            <a:xfrm>
              <a:off x="7616541" y="5481135"/>
              <a:ext cx="4762" cy="5953"/>
            </a:xfrm>
            <a:custGeom>
              <a:avLst/>
              <a:gdLst>
                <a:gd name="T0" fmla="*/ 6 w 17"/>
                <a:gd name="T1" fmla="*/ 5 h 23"/>
                <a:gd name="T2" fmla="*/ 2 w 17"/>
                <a:gd name="T3" fmla="*/ 15 h 23"/>
                <a:gd name="T4" fmla="*/ 5 w 17"/>
                <a:gd name="T5" fmla="*/ 23 h 23"/>
                <a:gd name="T6" fmla="*/ 13 w 17"/>
                <a:gd name="T7" fmla="*/ 18 h 23"/>
                <a:gd name="T8" fmla="*/ 17 w 17"/>
                <a:gd name="T9" fmla="*/ 13 h 23"/>
                <a:gd name="T10" fmla="*/ 14 w 17"/>
                <a:gd name="T11" fmla="*/ 4 h 23"/>
                <a:gd name="T12" fmla="*/ 6 w 17"/>
                <a:gd name="T13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3">
                  <a:moveTo>
                    <a:pt x="6" y="5"/>
                  </a:moveTo>
                  <a:cubicBezTo>
                    <a:pt x="4" y="8"/>
                    <a:pt x="1" y="10"/>
                    <a:pt x="2" y="15"/>
                  </a:cubicBezTo>
                  <a:cubicBezTo>
                    <a:pt x="4" y="20"/>
                    <a:pt x="0" y="23"/>
                    <a:pt x="5" y="23"/>
                  </a:cubicBezTo>
                  <a:cubicBezTo>
                    <a:pt x="9" y="22"/>
                    <a:pt x="11" y="20"/>
                    <a:pt x="13" y="18"/>
                  </a:cubicBezTo>
                  <a:cubicBezTo>
                    <a:pt x="15" y="15"/>
                    <a:pt x="17" y="17"/>
                    <a:pt x="17" y="13"/>
                  </a:cubicBezTo>
                  <a:cubicBezTo>
                    <a:pt x="17" y="9"/>
                    <a:pt x="16" y="6"/>
                    <a:pt x="14" y="4"/>
                  </a:cubicBezTo>
                  <a:cubicBezTo>
                    <a:pt x="12" y="2"/>
                    <a:pt x="10" y="0"/>
                    <a:pt x="6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3" name="Freeform 351"/>
            <p:cNvSpPr>
              <a:spLocks/>
            </p:cNvSpPr>
            <p:nvPr/>
          </p:nvSpPr>
          <p:spPr bwMode="auto">
            <a:xfrm>
              <a:off x="7587966" y="4902491"/>
              <a:ext cx="5953" cy="4762"/>
            </a:xfrm>
            <a:custGeom>
              <a:avLst/>
              <a:gdLst>
                <a:gd name="T0" fmla="*/ 3 w 19"/>
                <a:gd name="T1" fmla="*/ 3 h 17"/>
                <a:gd name="T2" fmla="*/ 3 w 19"/>
                <a:gd name="T3" fmla="*/ 7 h 17"/>
                <a:gd name="T4" fmla="*/ 13 w 19"/>
                <a:gd name="T5" fmla="*/ 13 h 17"/>
                <a:gd name="T6" fmla="*/ 16 w 19"/>
                <a:gd name="T7" fmla="*/ 4 h 17"/>
                <a:gd name="T8" fmla="*/ 3 w 19"/>
                <a:gd name="T9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7">
                  <a:moveTo>
                    <a:pt x="3" y="3"/>
                  </a:moveTo>
                  <a:cubicBezTo>
                    <a:pt x="1" y="5"/>
                    <a:pt x="0" y="4"/>
                    <a:pt x="3" y="7"/>
                  </a:cubicBezTo>
                  <a:cubicBezTo>
                    <a:pt x="5" y="11"/>
                    <a:pt x="8" y="17"/>
                    <a:pt x="13" y="13"/>
                  </a:cubicBezTo>
                  <a:cubicBezTo>
                    <a:pt x="19" y="9"/>
                    <a:pt x="17" y="7"/>
                    <a:pt x="16" y="4"/>
                  </a:cubicBezTo>
                  <a:cubicBezTo>
                    <a:pt x="14" y="1"/>
                    <a:pt x="9" y="0"/>
                    <a:pt x="3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4" name="Freeform 352"/>
            <p:cNvSpPr>
              <a:spLocks/>
            </p:cNvSpPr>
            <p:nvPr/>
          </p:nvSpPr>
          <p:spPr bwMode="auto">
            <a:xfrm>
              <a:off x="7602253" y="4132157"/>
              <a:ext cx="3572" cy="3572"/>
            </a:xfrm>
            <a:custGeom>
              <a:avLst/>
              <a:gdLst>
                <a:gd name="T0" fmla="*/ 4 w 15"/>
                <a:gd name="T1" fmla="*/ 6 h 14"/>
                <a:gd name="T2" fmla="*/ 4 w 15"/>
                <a:gd name="T3" fmla="*/ 14 h 14"/>
                <a:gd name="T4" fmla="*/ 14 w 15"/>
                <a:gd name="T5" fmla="*/ 9 h 14"/>
                <a:gd name="T6" fmla="*/ 4 w 15"/>
                <a:gd name="T7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4" y="6"/>
                  </a:moveTo>
                  <a:cubicBezTo>
                    <a:pt x="2" y="9"/>
                    <a:pt x="0" y="13"/>
                    <a:pt x="4" y="14"/>
                  </a:cubicBezTo>
                  <a:cubicBezTo>
                    <a:pt x="8" y="14"/>
                    <a:pt x="13" y="14"/>
                    <a:pt x="14" y="9"/>
                  </a:cubicBezTo>
                  <a:cubicBezTo>
                    <a:pt x="15" y="4"/>
                    <a:pt x="6" y="0"/>
                    <a:pt x="4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5" name="Freeform 353"/>
            <p:cNvSpPr>
              <a:spLocks/>
            </p:cNvSpPr>
            <p:nvPr/>
          </p:nvSpPr>
          <p:spPr bwMode="auto">
            <a:xfrm>
              <a:off x="7714172" y="4706038"/>
              <a:ext cx="4762" cy="8334"/>
            </a:xfrm>
            <a:custGeom>
              <a:avLst/>
              <a:gdLst>
                <a:gd name="T0" fmla="*/ 16 w 16"/>
                <a:gd name="T1" fmla="*/ 20 h 28"/>
                <a:gd name="T2" fmla="*/ 3 w 16"/>
                <a:gd name="T3" fmla="*/ 16 h 28"/>
                <a:gd name="T4" fmla="*/ 7 w 16"/>
                <a:gd name="T5" fmla="*/ 24 h 28"/>
                <a:gd name="T6" fmla="*/ 16 w 16"/>
                <a:gd name="T7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28">
                  <a:moveTo>
                    <a:pt x="16" y="20"/>
                  </a:moveTo>
                  <a:cubicBezTo>
                    <a:pt x="16" y="13"/>
                    <a:pt x="9" y="0"/>
                    <a:pt x="3" y="16"/>
                  </a:cubicBezTo>
                  <a:cubicBezTo>
                    <a:pt x="0" y="20"/>
                    <a:pt x="4" y="24"/>
                    <a:pt x="7" y="24"/>
                  </a:cubicBezTo>
                  <a:cubicBezTo>
                    <a:pt x="10" y="24"/>
                    <a:pt x="16" y="28"/>
                    <a:pt x="16" y="2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6" name="Freeform 354"/>
            <p:cNvSpPr>
              <a:spLocks noEditPoints="1"/>
            </p:cNvSpPr>
            <p:nvPr/>
          </p:nvSpPr>
          <p:spPr bwMode="auto">
            <a:xfrm>
              <a:off x="7685597" y="4888204"/>
              <a:ext cx="39291" cy="17859"/>
            </a:xfrm>
            <a:custGeom>
              <a:avLst/>
              <a:gdLst>
                <a:gd name="T0" fmla="*/ 64 w 137"/>
                <a:gd name="T1" fmla="*/ 27 h 64"/>
                <a:gd name="T2" fmla="*/ 48 w 137"/>
                <a:gd name="T3" fmla="*/ 31 h 64"/>
                <a:gd name="T4" fmla="*/ 66 w 137"/>
                <a:gd name="T5" fmla="*/ 39 h 64"/>
                <a:gd name="T6" fmla="*/ 76 w 137"/>
                <a:gd name="T7" fmla="*/ 37 h 64"/>
                <a:gd name="T8" fmla="*/ 73 w 137"/>
                <a:gd name="T9" fmla="*/ 29 h 64"/>
                <a:gd name="T10" fmla="*/ 64 w 137"/>
                <a:gd name="T11" fmla="*/ 27 h 64"/>
                <a:gd name="T12" fmla="*/ 29 w 137"/>
                <a:gd name="T13" fmla="*/ 6 h 64"/>
                <a:gd name="T14" fmla="*/ 19 w 137"/>
                <a:gd name="T15" fmla="*/ 5 h 64"/>
                <a:gd name="T16" fmla="*/ 1 w 137"/>
                <a:gd name="T17" fmla="*/ 5 h 64"/>
                <a:gd name="T18" fmla="*/ 7 w 137"/>
                <a:gd name="T19" fmla="*/ 17 h 64"/>
                <a:gd name="T20" fmla="*/ 22 w 137"/>
                <a:gd name="T21" fmla="*/ 23 h 64"/>
                <a:gd name="T22" fmla="*/ 32 w 137"/>
                <a:gd name="T23" fmla="*/ 19 h 64"/>
                <a:gd name="T24" fmla="*/ 29 w 137"/>
                <a:gd name="T25" fmla="*/ 6 h 64"/>
                <a:gd name="T26" fmla="*/ 120 w 137"/>
                <a:gd name="T27" fmla="*/ 54 h 64"/>
                <a:gd name="T28" fmla="*/ 116 w 137"/>
                <a:gd name="T29" fmla="*/ 61 h 64"/>
                <a:gd name="T30" fmla="*/ 126 w 137"/>
                <a:gd name="T31" fmla="*/ 62 h 64"/>
                <a:gd name="T32" fmla="*/ 132 w 137"/>
                <a:gd name="T33" fmla="*/ 56 h 64"/>
                <a:gd name="T34" fmla="*/ 120 w 137"/>
                <a:gd name="T35" fmla="*/ 5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7" h="64">
                  <a:moveTo>
                    <a:pt x="64" y="27"/>
                  </a:moveTo>
                  <a:cubicBezTo>
                    <a:pt x="55" y="26"/>
                    <a:pt x="47" y="24"/>
                    <a:pt x="48" y="31"/>
                  </a:cubicBezTo>
                  <a:cubicBezTo>
                    <a:pt x="49" y="38"/>
                    <a:pt x="55" y="38"/>
                    <a:pt x="66" y="39"/>
                  </a:cubicBezTo>
                  <a:cubicBezTo>
                    <a:pt x="76" y="40"/>
                    <a:pt x="74" y="39"/>
                    <a:pt x="76" y="37"/>
                  </a:cubicBezTo>
                  <a:cubicBezTo>
                    <a:pt x="78" y="34"/>
                    <a:pt x="75" y="32"/>
                    <a:pt x="73" y="29"/>
                  </a:cubicBezTo>
                  <a:cubicBezTo>
                    <a:pt x="71" y="26"/>
                    <a:pt x="69" y="27"/>
                    <a:pt x="64" y="27"/>
                  </a:cubicBezTo>
                  <a:close/>
                  <a:moveTo>
                    <a:pt x="29" y="6"/>
                  </a:moveTo>
                  <a:cubicBezTo>
                    <a:pt x="25" y="3"/>
                    <a:pt x="19" y="5"/>
                    <a:pt x="19" y="5"/>
                  </a:cubicBezTo>
                  <a:cubicBezTo>
                    <a:pt x="7" y="5"/>
                    <a:pt x="2" y="0"/>
                    <a:pt x="1" y="5"/>
                  </a:cubicBezTo>
                  <a:cubicBezTo>
                    <a:pt x="0" y="11"/>
                    <a:pt x="1" y="16"/>
                    <a:pt x="7" y="17"/>
                  </a:cubicBezTo>
                  <a:cubicBezTo>
                    <a:pt x="12" y="17"/>
                    <a:pt x="15" y="22"/>
                    <a:pt x="22" y="23"/>
                  </a:cubicBezTo>
                  <a:cubicBezTo>
                    <a:pt x="30" y="24"/>
                    <a:pt x="33" y="26"/>
                    <a:pt x="32" y="19"/>
                  </a:cubicBezTo>
                  <a:cubicBezTo>
                    <a:pt x="30" y="11"/>
                    <a:pt x="33" y="9"/>
                    <a:pt x="29" y="6"/>
                  </a:cubicBezTo>
                  <a:close/>
                  <a:moveTo>
                    <a:pt x="120" y="54"/>
                  </a:moveTo>
                  <a:cubicBezTo>
                    <a:pt x="116" y="55"/>
                    <a:pt x="113" y="60"/>
                    <a:pt x="116" y="61"/>
                  </a:cubicBezTo>
                  <a:cubicBezTo>
                    <a:pt x="119" y="63"/>
                    <a:pt x="124" y="64"/>
                    <a:pt x="126" y="62"/>
                  </a:cubicBezTo>
                  <a:cubicBezTo>
                    <a:pt x="127" y="59"/>
                    <a:pt x="126" y="59"/>
                    <a:pt x="132" y="56"/>
                  </a:cubicBezTo>
                  <a:cubicBezTo>
                    <a:pt x="137" y="54"/>
                    <a:pt x="129" y="49"/>
                    <a:pt x="120" y="5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7" name="Freeform 355"/>
            <p:cNvSpPr>
              <a:spLocks/>
            </p:cNvSpPr>
            <p:nvPr/>
          </p:nvSpPr>
          <p:spPr bwMode="auto">
            <a:xfrm>
              <a:off x="7712981" y="4842960"/>
              <a:ext cx="5953" cy="4762"/>
            </a:xfrm>
            <a:custGeom>
              <a:avLst/>
              <a:gdLst>
                <a:gd name="T0" fmla="*/ 8 w 20"/>
                <a:gd name="T1" fmla="*/ 4 h 19"/>
                <a:gd name="T2" fmla="*/ 5 w 20"/>
                <a:gd name="T3" fmla="*/ 16 h 19"/>
                <a:gd name="T4" fmla="*/ 18 w 20"/>
                <a:gd name="T5" fmla="*/ 16 h 19"/>
                <a:gd name="T6" fmla="*/ 8 w 20"/>
                <a:gd name="T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9">
                  <a:moveTo>
                    <a:pt x="8" y="4"/>
                  </a:moveTo>
                  <a:cubicBezTo>
                    <a:pt x="5" y="9"/>
                    <a:pt x="0" y="14"/>
                    <a:pt x="5" y="16"/>
                  </a:cubicBezTo>
                  <a:cubicBezTo>
                    <a:pt x="9" y="19"/>
                    <a:pt x="17" y="19"/>
                    <a:pt x="18" y="16"/>
                  </a:cubicBezTo>
                  <a:cubicBezTo>
                    <a:pt x="20" y="13"/>
                    <a:pt x="14" y="0"/>
                    <a:pt x="8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8" name="Freeform 356"/>
            <p:cNvSpPr>
              <a:spLocks/>
            </p:cNvSpPr>
            <p:nvPr/>
          </p:nvSpPr>
          <p:spPr bwMode="auto">
            <a:xfrm>
              <a:off x="7703456" y="4696513"/>
              <a:ext cx="3572" cy="4762"/>
            </a:xfrm>
            <a:custGeom>
              <a:avLst/>
              <a:gdLst>
                <a:gd name="T0" fmla="*/ 15 w 15"/>
                <a:gd name="T1" fmla="*/ 13 h 17"/>
                <a:gd name="T2" fmla="*/ 3 w 15"/>
                <a:gd name="T3" fmla="*/ 4 h 17"/>
                <a:gd name="T4" fmla="*/ 4 w 15"/>
                <a:gd name="T5" fmla="*/ 17 h 17"/>
                <a:gd name="T6" fmla="*/ 15 w 15"/>
                <a:gd name="T7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7">
                  <a:moveTo>
                    <a:pt x="15" y="13"/>
                  </a:moveTo>
                  <a:cubicBezTo>
                    <a:pt x="15" y="9"/>
                    <a:pt x="7" y="0"/>
                    <a:pt x="3" y="4"/>
                  </a:cubicBezTo>
                  <a:cubicBezTo>
                    <a:pt x="0" y="10"/>
                    <a:pt x="0" y="16"/>
                    <a:pt x="4" y="17"/>
                  </a:cubicBezTo>
                  <a:cubicBezTo>
                    <a:pt x="9" y="17"/>
                    <a:pt x="15" y="17"/>
                    <a:pt x="15" y="1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9" name="Freeform 357"/>
            <p:cNvSpPr>
              <a:spLocks/>
            </p:cNvSpPr>
            <p:nvPr/>
          </p:nvSpPr>
          <p:spPr bwMode="auto">
            <a:xfrm>
              <a:off x="5421028" y="4947735"/>
              <a:ext cx="5953" cy="5953"/>
            </a:xfrm>
            <a:custGeom>
              <a:avLst/>
              <a:gdLst>
                <a:gd name="T0" fmla="*/ 6 w 20"/>
                <a:gd name="T1" fmla="*/ 3 h 18"/>
                <a:gd name="T2" fmla="*/ 2 w 20"/>
                <a:gd name="T3" fmla="*/ 11 h 18"/>
                <a:gd name="T4" fmla="*/ 7 w 20"/>
                <a:gd name="T5" fmla="*/ 15 h 18"/>
                <a:gd name="T6" fmla="*/ 19 w 20"/>
                <a:gd name="T7" fmla="*/ 7 h 18"/>
                <a:gd name="T8" fmla="*/ 6 w 20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6" y="3"/>
                  </a:moveTo>
                  <a:cubicBezTo>
                    <a:pt x="1" y="5"/>
                    <a:pt x="0" y="7"/>
                    <a:pt x="2" y="11"/>
                  </a:cubicBezTo>
                  <a:cubicBezTo>
                    <a:pt x="4" y="14"/>
                    <a:pt x="3" y="18"/>
                    <a:pt x="7" y="15"/>
                  </a:cubicBezTo>
                  <a:cubicBezTo>
                    <a:pt x="11" y="11"/>
                    <a:pt x="17" y="13"/>
                    <a:pt x="19" y="7"/>
                  </a:cubicBezTo>
                  <a:cubicBezTo>
                    <a:pt x="20" y="0"/>
                    <a:pt x="13" y="0"/>
                    <a:pt x="6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0" name="Freeform 358"/>
            <p:cNvSpPr>
              <a:spLocks/>
            </p:cNvSpPr>
            <p:nvPr/>
          </p:nvSpPr>
          <p:spPr bwMode="auto">
            <a:xfrm>
              <a:off x="7734413" y="4989407"/>
              <a:ext cx="5953" cy="5953"/>
            </a:xfrm>
            <a:custGeom>
              <a:avLst/>
              <a:gdLst>
                <a:gd name="T0" fmla="*/ 11 w 22"/>
                <a:gd name="T1" fmla="*/ 0 h 21"/>
                <a:gd name="T2" fmla="*/ 2 w 22"/>
                <a:gd name="T3" fmla="*/ 7 h 21"/>
                <a:gd name="T4" fmla="*/ 11 w 22"/>
                <a:gd name="T5" fmla="*/ 16 h 21"/>
                <a:gd name="T6" fmla="*/ 11 w 22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1">
                  <a:moveTo>
                    <a:pt x="11" y="0"/>
                  </a:moveTo>
                  <a:cubicBezTo>
                    <a:pt x="8" y="2"/>
                    <a:pt x="0" y="0"/>
                    <a:pt x="2" y="7"/>
                  </a:cubicBezTo>
                  <a:cubicBezTo>
                    <a:pt x="4" y="13"/>
                    <a:pt x="6" y="21"/>
                    <a:pt x="11" y="16"/>
                  </a:cubicBezTo>
                  <a:cubicBezTo>
                    <a:pt x="16" y="12"/>
                    <a:pt x="22" y="1"/>
                    <a:pt x="11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1" name="Freeform 359"/>
            <p:cNvSpPr>
              <a:spLocks/>
            </p:cNvSpPr>
            <p:nvPr/>
          </p:nvSpPr>
          <p:spPr bwMode="auto">
            <a:xfrm>
              <a:off x="6795009" y="3576135"/>
              <a:ext cx="7144" cy="5953"/>
            </a:xfrm>
            <a:custGeom>
              <a:avLst/>
              <a:gdLst>
                <a:gd name="T0" fmla="*/ 9 w 26"/>
                <a:gd name="T1" fmla="*/ 18 h 20"/>
                <a:gd name="T2" fmla="*/ 19 w 26"/>
                <a:gd name="T3" fmla="*/ 16 h 20"/>
                <a:gd name="T4" fmla="*/ 25 w 26"/>
                <a:gd name="T5" fmla="*/ 8 h 20"/>
                <a:gd name="T6" fmla="*/ 14 w 26"/>
                <a:gd name="T7" fmla="*/ 4 h 20"/>
                <a:gd name="T8" fmla="*/ 6 w 26"/>
                <a:gd name="T9" fmla="*/ 9 h 20"/>
                <a:gd name="T10" fmla="*/ 2 w 26"/>
                <a:gd name="T11" fmla="*/ 14 h 20"/>
                <a:gd name="T12" fmla="*/ 9 w 26"/>
                <a:gd name="T13" fmla="*/ 1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0">
                  <a:moveTo>
                    <a:pt x="9" y="18"/>
                  </a:moveTo>
                  <a:cubicBezTo>
                    <a:pt x="13" y="18"/>
                    <a:pt x="14" y="20"/>
                    <a:pt x="19" y="16"/>
                  </a:cubicBezTo>
                  <a:cubicBezTo>
                    <a:pt x="23" y="13"/>
                    <a:pt x="26" y="11"/>
                    <a:pt x="25" y="8"/>
                  </a:cubicBezTo>
                  <a:cubicBezTo>
                    <a:pt x="24" y="5"/>
                    <a:pt x="19" y="0"/>
                    <a:pt x="14" y="4"/>
                  </a:cubicBezTo>
                  <a:cubicBezTo>
                    <a:pt x="10" y="7"/>
                    <a:pt x="10" y="8"/>
                    <a:pt x="6" y="9"/>
                  </a:cubicBezTo>
                  <a:cubicBezTo>
                    <a:pt x="3" y="11"/>
                    <a:pt x="0" y="11"/>
                    <a:pt x="2" y="14"/>
                  </a:cubicBezTo>
                  <a:cubicBezTo>
                    <a:pt x="4" y="18"/>
                    <a:pt x="5" y="19"/>
                    <a:pt x="9" y="1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2" name="Freeform 360"/>
            <p:cNvSpPr>
              <a:spLocks/>
            </p:cNvSpPr>
            <p:nvPr/>
          </p:nvSpPr>
          <p:spPr bwMode="auto">
            <a:xfrm>
              <a:off x="7686788" y="4797716"/>
              <a:ext cx="5953" cy="4762"/>
            </a:xfrm>
            <a:custGeom>
              <a:avLst/>
              <a:gdLst>
                <a:gd name="T0" fmla="*/ 2 w 18"/>
                <a:gd name="T1" fmla="*/ 7 h 20"/>
                <a:gd name="T2" fmla="*/ 7 w 18"/>
                <a:gd name="T3" fmla="*/ 19 h 20"/>
                <a:gd name="T4" fmla="*/ 17 w 18"/>
                <a:gd name="T5" fmla="*/ 12 h 20"/>
                <a:gd name="T6" fmla="*/ 2 w 18"/>
                <a:gd name="T7" fmla="*/ 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0">
                  <a:moveTo>
                    <a:pt x="2" y="7"/>
                  </a:moveTo>
                  <a:cubicBezTo>
                    <a:pt x="0" y="12"/>
                    <a:pt x="3" y="18"/>
                    <a:pt x="7" y="19"/>
                  </a:cubicBezTo>
                  <a:cubicBezTo>
                    <a:pt x="11" y="20"/>
                    <a:pt x="18" y="17"/>
                    <a:pt x="17" y="12"/>
                  </a:cubicBezTo>
                  <a:cubicBezTo>
                    <a:pt x="15" y="8"/>
                    <a:pt x="4" y="0"/>
                    <a:pt x="2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3" name="Freeform 361"/>
            <p:cNvSpPr>
              <a:spLocks/>
            </p:cNvSpPr>
            <p:nvPr/>
          </p:nvSpPr>
          <p:spPr bwMode="auto">
            <a:xfrm>
              <a:off x="7699884" y="4809622"/>
              <a:ext cx="3572" cy="5953"/>
            </a:xfrm>
            <a:custGeom>
              <a:avLst/>
              <a:gdLst>
                <a:gd name="T0" fmla="*/ 5 w 13"/>
                <a:gd name="T1" fmla="*/ 15 h 17"/>
                <a:gd name="T2" fmla="*/ 13 w 13"/>
                <a:gd name="T3" fmla="*/ 5 h 17"/>
                <a:gd name="T4" fmla="*/ 1 w 13"/>
                <a:gd name="T5" fmla="*/ 5 h 17"/>
                <a:gd name="T6" fmla="*/ 5 w 13"/>
                <a:gd name="T7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7">
                  <a:moveTo>
                    <a:pt x="5" y="15"/>
                  </a:moveTo>
                  <a:cubicBezTo>
                    <a:pt x="9" y="13"/>
                    <a:pt x="13" y="9"/>
                    <a:pt x="13" y="5"/>
                  </a:cubicBezTo>
                  <a:cubicBezTo>
                    <a:pt x="13" y="1"/>
                    <a:pt x="2" y="0"/>
                    <a:pt x="1" y="5"/>
                  </a:cubicBezTo>
                  <a:cubicBezTo>
                    <a:pt x="0" y="7"/>
                    <a:pt x="0" y="17"/>
                    <a:pt x="5" y="1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4" name="Freeform 362"/>
            <p:cNvSpPr>
              <a:spLocks/>
            </p:cNvSpPr>
            <p:nvPr/>
          </p:nvSpPr>
          <p:spPr bwMode="auto">
            <a:xfrm>
              <a:off x="6789056" y="3555894"/>
              <a:ext cx="8334" cy="7144"/>
            </a:xfrm>
            <a:custGeom>
              <a:avLst/>
              <a:gdLst>
                <a:gd name="T0" fmla="*/ 17 w 27"/>
                <a:gd name="T1" fmla="*/ 3 h 24"/>
                <a:gd name="T2" fmla="*/ 12 w 27"/>
                <a:gd name="T3" fmla="*/ 8 h 24"/>
                <a:gd name="T4" fmla="*/ 4 w 27"/>
                <a:gd name="T5" fmla="*/ 11 h 24"/>
                <a:gd name="T6" fmla="*/ 3 w 27"/>
                <a:gd name="T7" fmla="*/ 19 h 24"/>
                <a:gd name="T8" fmla="*/ 13 w 27"/>
                <a:gd name="T9" fmla="*/ 20 h 24"/>
                <a:gd name="T10" fmla="*/ 22 w 27"/>
                <a:gd name="T11" fmla="*/ 15 h 24"/>
                <a:gd name="T12" fmla="*/ 25 w 27"/>
                <a:gd name="T13" fmla="*/ 8 h 24"/>
                <a:gd name="T14" fmla="*/ 17 w 27"/>
                <a:gd name="T15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4">
                  <a:moveTo>
                    <a:pt x="17" y="3"/>
                  </a:moveTo>
                  <a:cubicBezTo>
                    <a:pt x="15" y="6"/>
                    <a:pt x="18" y="7"/>
                    <a:pt x="12" y="8"/>
                  </a:cubicBezTo>
                  <a:cubicBezTo>
                    <a:pt x="5" y="9"/>
                    <a:pt x="4" y="7"/>
                    <a:pt x="4" y="11"/>
                  </a:cubicBezTo>
                  <a:cubicBezTo>
                    <a:pt x="3" y="14"/>
                    <a:pt x="0" y="16"/>
                    <a:pt x="3" y="19"/>
                  </a:cubicBezTo>
                  <a:cubicBezTo>
                    <a:pt x="6" y="21"/>
                    <a:pt x="9" y="24"/>
                    <a:pt x="13" y="20"/>
                  </a:cubicBezTo>
                  <a:cubicBezTo>
                    <a:pt x="17" y="16"/>
                    <a:pt x="20" y="19"/>
                    <a:pt x="22" y="15"/>
                  </a:cubicBezTo>
                  <a:cubicBezTo>
                    <a:pt x="24" y="11"/>
                    <a:pt x="23" y="11"/>
                    <a:pt x="25" y="8"/>
                  </a:cubicBezTo>
                  <a:cubicBezTo>
                    <a:pt x="27" y="4"/>
                    <a:pt x="23" y="0"/>
                    <a:pt x="17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5" name="Freeform 363"/>
            <p:cNvSpPr>
              <a:spLocks/>
            </p:cNvSpPr>
            <p:nvPr/>
          </p:nvSpPr>
          <p:spPr bwMode="auto">
            <a:xfrm>
              <a:off x="6798581" y="3555894"/>
              <a:ext cx="15478" cy="13097"/>
            </a:xfrm>
            <a:custGeom>
              <a:avLst/>
              <a:gdLst>
                <a:gd name="T0" fmla="*/ 22 w 55"/>
                <a:gd name="T1" fmla="*/ 38 h 48"/>
                <a:gd name="T2" fmla="*/ 32 w 55"/>
                <a:gd name="T3" fmla="*/ 43 h 48"/>
                <a:gd name="T4" fmla="*/ 37 w 55"/>
                <a:gd name="T5" fmla="*/ 32 h 48"/>
                <a:gd name="T6" fmla="*/ 45 w 55"/>
                <a:gd name="T7" fmla="*/ 24 h 48"/>
                <a:gd name="T8" fmla="*/ 52 w 55"/>
                <a:gd name="T9" fmla="*/ 15 h 48"/>
                <a:gd name="T10" fmla="*/ 50 w 55"/>
                <a:gd name="T11" fmla="*/ 10 h 48"/>
                <a:gd name="T12" fmla="*/ 36 w 55"/>
                <a:gd name="T13" fmla="*/ 7 h 48"/>
                <a:gd name="T14" fmla="*/ 29 w 55"/>
                <a:gd name="T15" fmla="*/ 2 h 48"/>
                <a:gd name="T16" fmla="*/ 19 w 55"/>
                <a:gd name="T17" fmla="*/ 4 h 48"/>
                <a:gd name="T18" fmla="*/ 13 w 55"/>
                <a:gd name="T19" fmla="*/ 14 h 48"/>
                <a:gd name="T20" fmla="*/ 6 w 55"/>
                <a:gd name="T21" fmla="*/ 19 h 48"/>
                <a:gd name="T22" fmla="*/ 5 w 55"/>
                <a:gd name="T23" fmla="*/ 27 h 48"/>
                <a:gd name="T24" fmla="*/ 16 w 55"/>
                <a:gd name="T25" fmla="*/ 24 h 48"/>
                <a:gd name="T26" fmla="*/ 21 w 55"/>
                <a:gd name="T27" fmla="*/ 32 h 48"/>
                <a:gd name="T28" fmla="*/ 22 w 55"/>
                <a:gd name="T29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" h="48">
                  <a:moveTo>
                    <a:pt x="22" y="38"/>
                  </a:moveTo>
                  <a:cubicBezTo>
                    <a:pt x="27" y="42"/>
                    <a:pt x="29" y="48"/>
                    <a:pt x="32" y="43"/>
                  </a:cubicBezTo>
                  <a:cubicBezTo>
                    <a:pt x="35" y="39"/>
                    <a:pt x="33" y="35"/>
                    <a:pt x="37" y="32"/>
                  </a:cubicBezTo>
                  <a:cubicBezTo>
                    <a:pt x="40" y="29"/>
                    <a:pt x="44" y="30"/>
                    <a:pt x="45" y="24"/>
                  </a:cubicBezTo>
                  <a:cubicBezTo>
                    <a:pt x="47" y="19"/>
                    <a:pt x="50" y="18"/>
                    <a:pt x="52" y="15"/>
                  </a:cubicBezTo>
                  <a:cubicBezTo>
                    <a:pt x="55" y="12"/>
                    <a:pt x="55" y="10"/>
                    <a:pt x="50" y="10"/>
                  </a:cubicBezTo>
                  <a:cubicBezTo>
                    <a:pt x="46" y="10"/>
                    <a:pt x="38" y="10"/>
                    <a:pt x="36" y="7"/>
                  </a:cubicBezTo>
                  <a:cubicBezTo>
                    <a:pt x="33" y="4"/>
                    <a:pt x="30" y="2"/>
                    <a:pt x="29" y="2"/>
                  </a:cubicBezTo>
                  <a:cubicBezTo>
                    <a:pt x="28" y="2"/>
                    <a:pt x="24" y="0"/>
                    <a:pt x="19" y="4"/>
                  </a:cubicBezTo>
                  <a:cubicBezTo>
                    <a:pt x="15" y="9"/>
                    <a:pt x="17" y="10"/>
                    <a:pt x="13" y="14"/>
                  </a:cubicBezTo>
                  <a:cubicBezTo>
                    <a:pt x="10" y="17"/>
                    <a:pt x="8" y="16"/>
                    <a:pt x="6" y="19"/>
                  </a:cubicBezTo>
                  <a:cubicBezTo>
                    <a:pt x="3" y="23"/>
                    <a:pt x="0" y="26"/>
                    <a:pt x="5" y="27"/>
                  </a:cubicBezTo>
                  <a:cubicBezTo>
                    <a:pt x="10" y="27"/>
                    <a:pt x="12" y="24"/>
                    <a:pt x="16" y="24"/>
                  </a:cubicBezTo>
                  <a:cubicBezTo>
                    <a:pt x="20" y="24"/>
                    <a:pt x="22" y="28"/>
                    <a:pt x="21" y="32"/>
                  </a:cubicBezTo>
                  <a:cubicBezTo>
                    <a:pt x="20" y="36"/>
                    <a:pt x="17" y="34"/>
                    <a:pt x="22" y="3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6" name="Freeform 364"/>
            <p:cNvSpPr>
              <a:spLocks/>
            </p:cNvSpPr>
            <p:nvPr/>
          </p:nvSpPr>
          <p:spPr bwMode="auto">
            <a:xfrm>
              <a:off x="7658213" y="4709610"/>
              <a:ext cx="7144" cy="4762"/>
            </a:xfrm>
            <a:custGeom>
              <a:avLst/>
              <a:gdLst>
                <a:gd name="T0" fmla="*/ 23 w 24"/>
                <a:gd name="T1" fmla="*/ 7 h 16"/>
                <a:gd name="T2" fmla="*/ 8 w 24"/>
                <a:gd name="T3" fmla="*/ 7 h 16"/>
                <a:gd name="T4" fmla="*/ 9 w 24"/>
                <a:gd name="T5" fmla="*/ 15 h 16"/>
                <a:gd name="T6" fmla="*/ 23 w 24"/>
                <a:gd name="T7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6">
                  <a:moveTo>
                    <a:pt x="23" y="7"/>
                  </a:moveTo>
                  <a:cubicBezTo>
                    <a:pt x="23" y="2"/>
                    <a:pt x="12" y="0"/>
                    <a:pt x="8" y="7"/>
                  </a:cubicBezTo>
                  <a:cubicBezTo>
                    <a:pt x="5" y="11"/>
                    <a:pt x="0" y="16"/>
                    <a:pt x="9" y="15"/>
                  </a:cubicBezTo>
                  <a:cubicBezTo>
                    <a:pt x="18" y="14"/>
                    <a:pt x="24" y="11"/>
                    <a:pt x="23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7" name="Freeform 366"/>
            <p:cNvSpPr>
              <a:spLocks/>
            </p:cNvSpPr>
            <p:nvPr/>
          </p:nvSpPr>
          <p:spPr bwMode="auto">
            <a:xfrm>
              <a:off x="7370081" y="4541732"/>
              <a:ext cx="4762" cy="4762"/>
            </a:xfrm>
            <a:custGeom>
              <a:avLst/>
              <a:gdLst>
                <a:gd name="T0" fmla="*/ 12 w 17"/>
                <a:gd name="T1" fmla="*/ 3 h 17"/>
                <a:gd name="T2" fmla="*/ 7 w 17"/>
                <a:gd name="T3" fmla="*/ 11 h 17"/>
                <a:gd name="T4" fmla="*/ 6 w 17"/>
                <a:gd name="T5" fmla="*/ 17 h 17"/>
                <a:gd name="T6" fmla="*/ 16 w 17"/>
                <a:gd name="T7" fmla="*/ 12 h 17"/>
                <a:gd name="T8" fmla="*/ 12 w 17"/>
                <a:gd name="T9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2" y="3"/>
                  </a:moveTo>
                  <a:cubicBezTo>
                    <a:pt x="10" y="8"/>
                    <a:pt x="11" y="8"/>
                    <a:pt x="7" y="11"/>
                  </a:cubicBezTo>
                  <a:cubicBezTo>
                    <a:pt x="3" y="14"/>
                    <a:pt x="0" y="17"/>
                    <a:pt x="6" y="17"/>
                  </a:cubicBezTo>
                  <a:cubicBezTo>
                    <a:pt x="12" y="16"/>
                    <a:pt x="14" y="17"/>
                    <a:pt x="16" y="12"/>
                  </a:cubicBezTo>
                  <a:cubicBezTo>
                    <a:pt x="17" y="7"/>
                    <a:pt x="17" y="0"/>
                    <a:pt x="12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8" name="Freeform 367"/>
            <p:cNvSpPr>
              <a:spLocks/>
            </p:cNvSpPr>
            <p:nvPr/>
          </p:nvSpPr>
          <p:spPr bwMode="auto">
            <a:xfrm>
              <a:off x="7355794" y="4515538"/>
              <a:ext cx="4762" cy="4762"/>
            </a:xfrm>
            <a:custGeom>
              <a:avLst/>
              <a:gdLst>
                <a:gd name="T0" fmla="*/ 20 w 20"/>
                <a:gd name="T1" fmla="*/ 11 h 16"/>
                <a:gd name="T2" fmla="*/ 4 w 20"/>
                <a:gd name="T3" fmla="*/ 6 h 16"/>
                <a:gd name="T4" fmla="*/ 6 w 20"/>
                <a:gd name="T5" fmla="*/ 12 h 16"/>
                <a:gd name="T6" fmla="*/ 20 w 20"/>
                <a:gd name="T7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6">
                  <a:moveTo>
                    <a:pt x="20" y="11"/>
                  </a:moveTo>
                  <a:cubicBezTo>
                    <a:pt x="19" y="7"/>
                    <a:pt x="15" y="0"/>
                    <a:pt x="4" y="6"/>
                  </a:cubicBezTo>
                  <a:cubicBezTo>
                    <a:pt x="0" y="8"/>
                    <a:pt x="0" y="9"/>
                    <a:pt x="6" y="12"/>
                  </a:cubicBezTo>
                  <a:cubicBezTo>
                    <a:pt x="12" y="16"/>
                    <a:pt x="20" y="16"/>
                    <a:pt x="20" y="1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9" name="Freeform 369"/>
            <p:cNvSpPr>
              <a:spLocks/>
            </p:cNvSpPr>
            <p:nvPr/>
          </p:nvSpPr>
          <p:spPr bwMode="auto">
            <a:xfrm>
              <a:off x="7431994" y="4629838"/>
              <a:ext cx="3572" cy="4762"/>
            </a:xfrm>
            <a:custGeom>
              <a:avLst/>
              <a:gdLst>
                <a:gd name="T0" fmla="*/ 5 w 12"/>
                <a:gd name="T1" fmla="*/ 13 h 16"/>
                <a:gd name="T2" fmla="*/ 11 w 12"/>
                <a:gd name="T3" fmla="*/ 8 h 16"/>
                <a:gd name="T4" fmla="*/ 3 w 12"/>
                <a:gd name="T5" fmla="*/ 2 h 16"/>
                <a:gd name="T6" fmla="*/ 2 w 12"/>
                <a:gd name="T7" fmla="*/ 9 h 16"/>
                <a:gd name="T8" fmla="*/ 5 w 12"/>
                <a:gd name="T9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6">
                  <a:moveTo>
                    <a:pt x="5" y="13"/>
                  </a:moveTo>
                  <a:cubicBezTo>
                    <a:pt x="9" y="13"/>
                    <a:pt x="12" y="16"/>
                    <a:pt x="11" y="8"/>
                  </a:cubicBezTo>
                  <a:cubicBezTo>
                    <a:pt x="10" y="1"/>
                    <a:pt x="5" y="0"/>
                    <a:pt x="3" y="2"/>
                  </a:cubicBezTo>
                  <a:cubicBezTo>
                    <a:pt x="1" y="5"/>
                    <a:pt x="1" y="6"/>
                    <a:pt x="2" y="9"/>
                  </a:cubicBezTo>
                  <a:cubicBezTo>
                    <a:pt x="3" y="11"/>
                    <a:pt x="0" y="12"/>
                    <a:pt x="5" y="1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0" name="Freeform 370"/>
            <p:cNvSpPr>
              <a:spLocks/>
            </p:cNvSpPr>
            <p:nvPr/>
          </p:nvSpPr>
          <p:spPr bwMode="auto">
            <a:xfrm>
              <a:off x="7546294" y="4839388"/>
              <a:ext cx="3572" cy="2381"/>
            </a:xfrm>
            <a:custGeom>
              <a:avLst/>
              <a:gdLst>
                <a:gd name="T0" fmla="*/ 5 w 15"/>
                <a:gd name="T1" fmla="*/ 3 h 10"/>
                <a:gd name="T2" fmla="*/ 2 w 15"/>
                <a:gd name="T3" fmla="*/ 7 h 10"/>
                <a:gd name="T4" fmla="*/ 8 w 15"/>
                <a:gd name="T5" fmla="*/ 9 h 10"/>
                <a:gd name="T6" fmla="*/ 15 w 15"/>
                <a:gd name="T7" fmla="*/ 6 h 10"/>
                <a:gd name="T8" fmla="*/ 5 w 15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0">
                  <a:moveTo>
                    <a:pt x="5" y="3"/>
                  </a:moveTo>
                  <a:cubicBezTo>
                    <a:pt x="2" y="4"/>
                    <a:pt x="0" y="7"/>
                    <a:pt x="2" y="7"/>
                  </a:cubicBezTo>
                  <a:cubicBezTo>
                    <a:pt x="4" y="8"/>
                    <a:pt x="6" y="8"/>
                    <a:pt x="8" y="9"/>
                  </a:cubicBezTo>
                  <a:cubicBezTo>
                    <a:pt x="11" y="10"/>
                    <a:pt x="15" y="8"/>
                    <a:pt x="15" y="6"/>
                  </a:cubicBezTo>
                  <a:cubicBezTo>
                    <a:pt x="15" y="3"/>
                    <a:pt x="8" y="0"/>
                    <a:pt x="5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1" name="Freeform 371"/>
            <p:cNvSpPr>
              <a:spLocks/>
            </p:cNvSpPr>
            <p:nvPr/>
          </p:nvSpPr>
          <p:spPr bwMode="auto">
            <a:xfrm>
              <a:off x="7426041" y="4592929"/>
              <a:ext cx="5953" cy="2381"/>
            </a:xfrm>
            <a:custGeom>
              <a:avLst/>
              <a:gdLst>
                <a:gd name="T0" fmla="*/ 14 w 21"/>
                <a:gd name="T1" fmla="*/ 1 h 10"/>
                <a:gd name="T2" fmla="*/ 2 w 21"/>
                <a:gd name="T3" fmla="*/ 4 h 10"/>
                <a:gd name="T4" fmla="*/ 6 w 21"/>
                <a:gd name="T5" fmla="*/ 9 h 10"/>
                <a:gd name="T6" fmla="*/ 18 w 21"/>
                <a:gd name="T7" fmla="*/ 8 h 10"/>
                <a:gd name="T8" fmla="*/ 14 w 21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0">
                  <a:moveTo>
                    <a:pt x="14" y="1"/>
                  </a:moveTo>
                  <a:cubicBezTo>
                    <a:pt x="9" y="4"/>
                    <a:pt x="3" y="2"/>
                    <a:pt x="2" y="4"/>
                  </a:cubicBezTo>
                  <a:cubicBezTo>
                    <a:pt x="0" y="6"/>
                    <a:pt x="3" y="10"/>
                    <a:pt x="6" y="9"/>
                  </a:cubicBezTo>
                  <a:cubicBezTo>
                    <a:pt x="9" y="8"/>
                    <a:pt x="16" y="10"/>
                    <a:pt x="18" y="8"/>
                  </a:cubicBezTo>
                  <a:cubicBezTo>
                    <a:pt x="21" y="5"/>
                    <a:pt x="19" y="0"/>
                    <a:pt x="14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2" name="Freeform 372"/>
            <p:cNvSpPr>
              <a:spLocks/>
            </p:cNvSpPr>
            <p:nvPr/>
          </p:nvSpPr>
          <p:spPr bwMode="auto">
            <a:xfrm>
              <a:off x="7406991" y="4521491"/>
              <a:ext cx="4762" cy="4762"/>
            </a:xfrm>
            <a:custGeom>
              <a:avLst/>
              <a:gdLst>
                <a:gd name="T0" fmla="*/ 9 w 15"/>
                <a:gd name="T1" fmla="*/ 11 h 15"/>
                <a:gd name="T2" fmla="*/ 15 w 15"/>
                <a:gd name="T3" fmla="*/ 11 h 15"/>
                <a:gd name="T4" fmla="*/ 9 w 15"/>
                <a:gd name="T5" fmla="*/ 6 h 15"/>
                <a:gd name="T6" fmla="*/ 2 w 15"/>
                <a:gd name="T7" fmla="*/ 4 h 15"/>
                <a:gd name="T8" fmla="*/ 4 w 15"/>
                <a:gd name="T9" fmla="*/ 10 h 15"/>
                <a:gd name="T10" fmla="*/ 9 w 15"/>
                <a:gd name="T11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5">
                  <a:moveTo>
                    <a:pt x="9" y="11"/>
                  </a:moveTo>
                  <a:cubicBezTo>
                    <a:pt x="12" y="14"/>
                    <a:pt x="15" y="15"/>
                    <a:pt x="15" y="11"/>
                  </a:cubicBezTo>
                  <a:cubicBezTo>
                    <a:pt x="15" y="7"/>
                    <a:pt x="10" y="8"/>
                    <a:pt x="9" y="6"/>
                  </a:cubicBezTo>
                  <a:cubicBezTo>
                    <a:pt x="8" y="4"/>
                    <a:pt x="6" y="0"/>
                    <a:pt x="2" y="4"/>
                  </a:cubicBezTo>
                  <a:cubicBezTo>
                    <a:pt x="0" y="8"/>
                    <a:pt x="0" y="9"/>
                    <a:pt x="4" y="10"/>
                  </a:cubicBezTo>
                  <a:cubicBezTo>
                    <a:pt x="7" y="10"/>
                    <a:pt x="7" y="9"/>
                    <a:pt x="9" y="1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3" name="Freeform 373"/>
            <p:cNvSpPr>
              <a:spLocks/>
            </p:cNvSpPr>
            <p:nvPr/>
          </p:nvSpPr>
          <p:spPr bwMode="auto">
            <a:xfrm>
              <a:off x="7397466" y="4520300"/>
              <a:ext cx="5953" cy="4762"/>
            </a:xfrm>
            <a:custGeom>
              <a:avLst/>
              <a:gdLst>
                <a:gd name="T0" fmla="*/ 15 w 19"/>
                <a:gd name="T1" fmla="*/ 15 h 18"/>
                <a:gd name="T2" fmla="*/ 16 w 19"/>
                <a:gd name="T3" fmla="*/ 8 h 18"/>
                <a:gd name="T4" fmla="*/ 3 w 19"/>
                <a:gd name="T5" fmla="*/ 5 h 18"/>
                <a:gd name="T6" fmla="*/ 4 w 19"/>
                <a:gd name="T7" fmla="*/ 12 h 18"/>
                <a:gd name="T8" fmla="*/ 15 w 19"/>
                <a:gd name="T9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5" y="15"/>
                  </a:moveTo>
                  <a:cubicBezTo>
                    <a:pt x="18" y="11"/>
                    <a:pt x="19" y="8"/>
                    <a:pt x="16" y="8"/>
                  </a:cubicBezTo>
                  <a:cubicBezTo>
                    <a:pt x="14" y="7"/>
                    <a:pt x="7" y="0"/>
                    <a:pt x="3" y="5"/>
                  </a:cubicBezTo>
                  <a:cubicBezTo>
                    <a:pt x="1" y="9"/>
                    <a:pt x="0" y="11"/>
                    <a:pt x="4" y="12"/>
                  </a:cubicBezTo>
                  <a:cubicBezTo>
                    <a:pt x="9" y="13"/>
                    <a:pt x="13" y="18"/>
                    <a:pt x="15" y="1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4" name="Freeform 374"/>
            <p:cNvSpPr>
              <a:spLocks/>
            </p:cNvSpPr>
            <p:nvPr/>
          </p:nvSpPr>
          <p:spPr bwMode="auto">
            <a:xfrm>
              <a:off x="7360556" y="5675207"/>
              <a:ext cx="5953" cy="4762"/>
            </a:xfrm>
            <a:custGeom>
              <a:avLst/>
              <a:gdLst>
                <a:gd name="T0" fmla="*/ 10 w 21"/>
                <a:gd name="T1" fmla="*/ 3 h 19"/>
                <a:gd name="T2" fmla="*/ 4 w 21"/>
                <a:gd name="T3" fmla="*/ 10 h 19"/>
                <a:gd name="T4" fmla="*/ 16 w 21"/>
                <a:gd name="T5" fmla="*/ 12 h 19"/>
                <a:gd name="T6" fmla="*/ 10 w 21"/>
                <a:gd name="T7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9">
                  <a:moveTo>
                    <a:pt x="10" y="3"/>
                  </a:moveTo>
                  <a:cubicBezTo>
                    <a:pt x="3" y="6"/>
                    <a:pt x="0" y="8"/>
                    <a:pt x="4" y="10"/>
                  </a:cubicBezTo>
                  <a:cubicBezTo>
                    <a:pt x="9" y="12"/>
                    <a:pt x="12" y="19"/>
                    <a:pt x="16" y="12"/>
                  </a:cubicBezTo>
                  <a:cubicBezTo>
                    <a:pt x="21" y="4"/>
                    <a:pt x="21" y="0"/>
                    <a:pt x="10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5" name="Freeform 375"/>
            <p:cNvSpPr>
              <a:spLocks/>
            </p:cNvSpPr>
            <p:nvPr/>
          </p:nvSpPr>
          <p:spPr bwMode="auto">
            <a:xfrm>
              <a:off x="7336744" y="5543047"/>
              <a:ext cx="11906" cy="13097"/>
            </a:xfrm>
            <a:custGeom>
              <a:avLst/>
              <a:gdLst>
                <a:gd name="T0" fmla="*/ 35 w 41"/>
                <a:gd name="T1" fmla="*/ 23 h 45"/>
                <a:gd name="T2" fmla="*/ 25 w 41"/>
                <a:gd name="T3" fmla="*/ 15 h 45"/>
                <a:gd name="T4" fmla="*/ 30 w 41"/>
                <a:gd name="T5" fmla="*/ 9 h 45"/>
                <a:gd name="T6" fmla="*/ 13 w 41"/>
                <a:gd name="T7" fmla="*/ 7 h 45"/>
                <a:gd name="T8" fmla="*/ 10 w 41"/>
                <a:gd name="T9" fmla="*/ 22 h 45"/>
                <a:gd name="T10" fmla="*/ 1 w 41"/>
                <a:gd name="T11" fmla="*/ 36 h 45"/>
                <a:gd name="T12" fmla="*/ 5 w 41"/>
                <a:gd name="T13" fmla="*/ 42 h 45"/>
                <a:gd name="T14" fmla="*/ 18 w 41"/>
                <a:gd name="T15" fmla="*/ 35 h 45"/>
                <a:gd name="T16" fmla="*/ 35 w 41"/>
                <a:gd name="T17" fmla="*/ 32 h 45"/>
                <a:gd name="T18" fmla="*/ 35 w 41"/>
                <a:gd name="T19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5">
                  <a:moveTo>
                    <a:pt x="35" y="23"/>
                  </a:moveTo>
                  <a:cubicBezTo>
                    <a:pt x="28" y="21"/>
                    <a:pt x="23" y="19"/>
                    <a:pt x="25" y="15"/>
                  </a:cubicBezTo>
                  <a:cubicBezTo>
                    <a:pt x="27" y="11"/>
                    <a:pt x="32" y="13"/>
                    <a:pt x="30" y="9"/>
                  </a:cubicBezTo>
                  <a:cubicBezTo>
                    <a:pt x="28" y="4"/>
                    <a:pt x="14" y="0"/>
                    <a:pt x="13" y="7"/>
                  </a:cubicBezTo>
                  <a:cubicBezTo>
                    <a:pt x="11" y="15"/>
                    <a:pt x="13" y="14"/>
                    <a:pt x="10" y="22"/>
                  </a:cubicBezTo>
                  <a:cubicBezTo>
                    <a:pt x="7" y="29"/>
                    <a:pt x="2" y="27"/>
                    <a:pt x="1" y="36"/>
                  </a:cubicBezTo>
                  <a:cubicBezTo>
                    <a:pt x="1" y="45"/>
                    <a:pt x="0" y="45"/>
                    <a:pt x="5" y="42"/>
                  </a:cubicBezTo>
                  <a:cubicBezTo>
                    <a:pt x="11" y="39"/>
                    <a:pt x="11" y="38"/>
                    <a:pt x="18" y="35"/>
                  </a:cubicBezTo>
                  <a:cubicBezTo>
                    <a:pt x="26" y="33"/>
                    <a:pt x="33" y="35"/>
                    <a:pt x="35" y="32"/>
                  </a:cubicBezTo>
                  <a:cubicBezTo>
                    <a:pt x="37" y="29"/>
                    <a:pt x="41" y="25"/>
                    <a:pt x="35" y="2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6" name="Freeform 376"/>
            <p:cNvSpPr>
              <a:spLocks/>
            </p:cNvSpPr>
            <p:nvPr/>
          </p:nvSpPr>
          <p:spPr bwMode="auto">
            <a:xfrm>
              <a:off x="7336744" y="5171572"/>
              <a:ext cx="9525" cy="9525"/>
            </a:xfrm>
            <a:custGeom>
              <a:avLst/>
              <a:gdLst>
                <a:gd name="T0" fmla="*/ 15 w 35"/>
                <a:gd name="T1" fmla="*/ 7 h 35"/>
                <a:gd name="T2" fmla="*/ 10 w 35"/>
                <a:gd name="T3" fmla="*/ 25 h 35"/>
                <a:gd name="T4" fmla="*/ 31 w 35"/>
                <a:gd name="T5" fmla="*/ 28 h 35"/>
                <a:gd name="T6" fmla="*/ 31 w 35"/>
                <a:gd name="T7" fmla="*/ 11 h 35"/>
                <a:gd name="T8" fmla="*/ 15 w 35"/>
                <a:gd name="T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5">
                  <a:moveTo>
                    <a:pt x="15" y="7"/>
                  </a:moveTo>
                  <a:cubicBezTo>
                    <a:pt x="10" y="16"/>
                    <a:pt x="0" y="19"/>
                    <a:pt x="10" y="25"/>
                  </a:cubicBezTo>
                  <a:cubicBezTo>
                    <a:pt x="20" y="31"/>
                    <a:pt x="31" y="35"/>
                    <a:pt x="31" y="28"/>
                  </a:cubicBezTo>
                  <a:cubicBezTo>
                    <a:pt x="32" y="20"/>
                    <a:pt x="35" y="17"/>
                    <a:pt x="31" y="11"/>
                  </a:cubicBezTo>
                  <a:cubicBezTo>
                    <a:pt x="27" y="5"/>
                    <a:pt x="19" y="0"/>
                    <a:pt x="15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7" name="Freeform 377"/>
            <p:cNvSpPr>
              <a:spLocks/>
            </p:cNvSpPr>
            <p:nvPr/>
          </p:nvSpPr>
          <p:spPr bwMode="auto">
            <a:xfrm>
              <a:off x="7433184" y="4623885"/>
              <a:ext cx="4762" cy="2381"/>
            </a:xfrm>
            <a:custGeom>
              <a:avLst/>
              <a:gdLst>
                <a:gd name="T0" fmla="*/ 15 w 17"/>
                <a:gd name="T1" fmla="*/ 5 h 7"/>
                <a:gd name="T2" fmla="*/ 9 w 17"/>
                <a:gd name="T3" fmla="*/ 0 h 7"/>
                <a:gd name="T4" fmla="*/ 5 w 17"/>
                <a:gd name="T5" fmla="*/ 6 h 7"/>
                <a:gd name="T6" fmla="*/ 15 w 17"/>
                <a:gd name="T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7">
                  <a:moveTo>
                    <a:pt x="15" y="5"/>
                  </a:moveTo>
                  <a:cubicBezTo>
                    <a:pt x="17" y="3"/>
                    <a:pt x="14" y="0"/>
                    <a:pt x="9" y="0"/>
                  </a:cubicBezTo>
                  <a:cubicBezTo>
                    <a:pt x="2" y="0"/>
                    <a:pt x="0" y="5"/>
                    <a:pt x="5" y="6"/>
                  </a:cubicBezTo>
                  <a:cubicBezTo>
                    <a:pt x="10" y="7"/>
                    <a:pt x="13" y="6"/>
                    <a:pt x="15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8" name="Freeform 378"/>
            <p:cNvSpPr>
              <a:spLocks/>
            </p:cNvSpPr>
            <p:nvPr/>
          </p:nvSpPr>
          <p:spPr bwMode="auto">
            <a:xfrm>
              <a:off x="7317694" y="4300035"/>
              <a:ext cx="4762" cy="3572"/>
            </a:xfrm>
            <a:custGeom>
              <a:avLst/>
              <a:gdLst>
                <a:gd name="T0" fmla="*/ 8 w 18"/>
                <a:gd name="T1" fmla="*/ 4 h 15"/>
                <a:gd name="T2" fmla="*/ 5 w 18"/>
                <a:gd name="T3" fmla="*/ 12 h 15"/>
                <a:gd name="T4" fmla="*/ 15 w 18"/>
                <a:gd name="T5" fmla="*/ 10 h 15"/>
                <a:gd name="T6" fmla="*/ 8 w 18"/>
                <a:gd name="T7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8" y="4"/>
                  </a:moveTo>
                  <a:cubicBezTo>
                    <a:pt x="4" y="8"/>
                    <a:pt x="0" y="12"/>
                    <a:pt x="5" y="12"/>
                  </a:cubicBezTo>
                  <a:cubicBezTo>
                    <a:pt x="10" y="13"/>
                    <a:pt x="13" y="15"/>
                    <a:pt x="15" y="10"/>
                  </a:cubicBezTo>
                  <a:cubicBezTo>
                    <a:pt x="18" y="6"/>
                    <a:pt x="15" y="0"/>
                    <a:pt x="8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9" name="Freeform 379"/>
            <p:cNvSpPr>
              <a:spLocks/>
            </p:cNvSpPr>
            <p:nvPr/>
          </p:nvSpPr>
          <p:spPr bwMode="auto">
            <a:xfrm>
              <a:off x="7429613" y="4614360"/>
              <a:ext cx="4762" cy="3572"/>
            </a:xfrm>
            <a:custGeom>
              <a:avLst/>
              <a:gdLst>
                <a:gd name="T0" fmla="*/ 5 w 16"/>
                <a:gd name="T1" fmla="*/ 7 h 14"/>
                <a:gd name="T2" fmla="*/ 9 w 16"/>
                <a:gd name="T3" fmla="*/ 13 h 14"/>
                <a:gd name="T4" fmla="*/ 16 w 16"/>
                <a:gd name="T5" fmla="*/ 11 h 14"/>
                <a:gd name="T6" fmla="*/ 13 w 16"/>
                <a:gd name="T7" fmla="*/ 6 h 14"/>
                <a:gd name="T8" fmla="*/ 6 w 16"/>
                <a:gd name="T9" fmla="*/ 0 h 14"/>
                <a:gd name="T10" fmla="*/ 5 w 16"/>
                <a:gd name="T11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4">
                  <a:moveTo>
                    <a:pt x="5" y="7"/>
                  </a:moveTo>
                  <a:cubicBezTo>
                    <a:pt x="6" y="8"/>
                    <a:pt x="5" y="11"/>
                    <a:pt x="9" y="13"/>
                  </a:cubicBezTo>
                  <a:cubicBezTo>
                    <a:pt x="13" y="14"/>
                    <a:pt x="15" y="14"/>
                    <a:pt x="16" y="11"/>
                  </a:cubicBezTo>
                  <a:cubicBezTo>
                    <a:pt x="16" y="8"/>
                    <a:pt x="14" y="9"/>
                    <a:pt x="13" y="6"/>
                  </a:cubicBezTo>
                  <a:cubicBezTo>
                    <a:pt x="12" y="3"/>
                    <a:pt x="8" y="0"/>
                    <a:pt x="6" y="0"/>
                  </a:cubicBezTo>
                  <a:cubicBezTo>
                    <a:pt x="0" y="2"/>
                    <a:pt x="4" y="6"/>
                    <a:pt x="5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0" name="Freeform 380"/>
            <p:cNvSpPr>
              <a:spLocks/>
            </p:cNvSpPr>
            <p:nvPr/>
          </p:nvSpPr>
          <p:spPr bwMode="auto">
            <a:xfrm>
              <a:off x="7532006" y="5608532"/>
              <a:ext cx="5953" cy="5953"/>
            </a:xfrm>
            <a:custGeom>
              <a:avLst/>
              <a:gdLst>
                <a:gd name="T0" fmla="*/ 5 w 19"/>
                <a:gd name="T1" fmla="*/ 7 h 21"/>
                <a:gd name="T2" fmla="*/ 7 w 19"/>
                <a:gd name="T3" fmla="*/ 18 h 21"/>
                <a:gd name="T4" fmla="*/ 18 w 19"/>
                <a:gd name="T5" fmla="*/ 9 h 21"/>
                <a:gd name="T6" fmla="*/ 5 w 19"/>
                <a:gd name="T7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5" y="7"/>
                  </a:moveTo>
                  <a:cubicBezTo>
                    <a:pt x="0" y="15"/>
                    <a:pt x="1" y="21"/>
                    <a:pt x="7" y="18"/>
                  </a:cubicBezTo>
                  <a:cubicBezTo>
                    <a:pt x="14" y="14"/>
                    <a:pt x="19" y="13"/>
                    <a:pt x="18" y="9"/>
                  </a:cubicBezTo>
                  <a:cubicBezTo>
                    <a:pt x="16" y="6"/>
                    <a:pt x="12" y="0"/>
                    <a:pt x="5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1" name="Freeform 381"/>
            <p:cNvSpPr>
              <a:spLocks/>
            </p:cNvSpPr>
            <p:nvPr/>
          </p:nvSpPr>
          <p:spPr bwMode="auto">
            <a:xfrm>
              <a:off x="7524863" y="4790572"/>
              <a:ext cx="2381" cy="2381"/>
            </a:xfrm>
            <a:custGeom>
              <a:avLst/>
              <a:gdLst>
                <a:gd name="T0" fmla="*/ 11 w 11"/>
                <a:gd name="T1" fmla="*/ 7 h 9"/>
                <a:gd name="T2" fmla="*/ 4 w 11"/>
                <a:gd name="T3" fmla="*/ 3 h 9"/>
                <a:gd name="T4" fmla="*/ 4 w 11"/>
                <a:gd name="T5" fmla="*/ 9 h 9"/>
                <a:gd name="T6" fmla="*/ 11 w 11"/>
                <a:gd name="T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1" y="7"/>
                  </a:moveTo>
                  <a:cubicBezTo>
                    <a:pt x="11" y="4"/>
                    <a:pt x="8" y="0"/>
                    <a:pt x="4" y="3"/>
                  </a:cubicBezTo>
                  <a:cubicBezTo>
                    <a:pt x="2" y="5"/>
                    <a:pt x="0" y="9"/>
                    <a:pt x="4" y="9"/>
                  </a:cubicBezTo>
                  <a:cubicBezTo>
                    <a:pt x="8" y="9"/>
                    <a:pt x="11" y="9"/>
                    <a:pt x="11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2" name="Freeform 382"/>
            <p:cNvSpPr>
              <a:spLocks/>
            </p:cNvSpPr>
            <p:nvPr/>
          </p:nvSpPr>
          <p:spPr bwMode="auto">
            <a:xfrm>
              <a:off x="7505813" y="4775094"/>
              <a:ext cx="2381" cy="4762"/>
            </a:xfrm>
            <a:custGeom>
              <a:avLst/>
              <a:gdLst>
                <a:gd name="T0" fmla="*/ 0 w 11"/>
                <a:gd name="T1" fmla="*/ 6 h 14"/>
                <a:gd name="T2" fmla="*/ 5 w 11"/>
                <a:gd name="T3" fmla="*/ 13 h 14"/>
                <a:gd name="T4" fmla="*/ 9 w 11"/>
                <a:gd name="T5" fmla="*/ 10 h 14"/>
                <a:gd name="T6" fmla="*/ 0 w 11"/>
                <a:gd name="T7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4">
                  <a:moveTo>
                    <a:pt x="0" y="6"/>
                  </a:moveTo>
                  <a:cubicBezTo>
                    <a:pt x="0" y="10"/>
                    <a:pt x="3" y="14"/>
                    <a:pt x="5" y="13"/>
                  </a:cubicBezTo>
                  <a:cubicBezTo>
                    <a:pt x="8" y="12"/>
                    <a:pt x="11" y="14"/>
                    <a:pt x="9" y="10"/>
                  </a:cubicBezTo>
                  <a:cubicBezTo>
                    <a:pt x="7" y="6"/>
                    <a:pt x="0" y="0"/>
                    <a:pt x="0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3" name="Freeform 383"/>
            <p:cNvSpPr>
              <a:spLocks/>
            </p:cNvSpPr>
            <p:nvPr/>
          </p:nvSpPr>
          <p:spPr bwMode="auto">
            <a:xfrm>
              <a:off x="7541531" y="4797716"/>
              <a:ext cx="3572" cy="3572"/>
            </a:xfrm>
            <a:custGeom>
              <a:avLst/>
              <a:gdLst>
                <a:gd name="T0" fmla="*/ 5 w 14"/>
                <a:gd name="T1" fmla="*/ 6 h 11"/>
                <a:gd name="T2" fmla="*/ 4 w 14"/>
                <a:gd name="T3" fmla="*/ 11 h 11"/>
                <a:gd name="T4" fmla="*/ 13 w 14"/>
                <a:gd name="T5" fmla="*/ 7 h 11"/>
                <a:gd name="T6" fmla="*/ 5 w 14"/>
                <a:gd name="T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1">
                  <a:moveTo>
                    <a:pt x="5" y="6"/>
                  </a:moveTo>
                  <a:cubicBezTo>
                    <a:pt x="4" y="8"/>
                    <a:pt x="0" y="10"/>
                    <a:pt x="4" y="11"/>
                  </a:cubicBezTo>
                  <a:cubicBezTo>
                    <a:pt x="8" y="11"/>
                    <a:pt x="14" y="9"/>
                    <a:pt x="13" y="7"/>
                  </a:cubicBezTo>
                  <a:cubicBezTo>
                    <a:pt x="12" y="5"/>
                    <a:pt x="9" y="0"/>
                    <a:pt x="5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4" name="Freeform 384"/>
            <p:cNvSpPr>
              <a:spLocks/>
            </p:cNvSpPr>
            <p:nvPr/>
          </p:nvSpPr>
          <p:spPr bwMode="auto">
            <a:xfrm>
              <a:off x="7532006" y="4779857"/>
              <a:ext cx="2381" cy="2381"/>
            </a:xfrm>
            <a:custGeom>
              <a:avLst/>
              <a:gdLst>
                <a:gd name="T0" fmla="*/ 10 w 10"/>
                <a:gd name="T1" fmla="*/ 7 h 10"/>
                <a:gd name="T2" fmla="*/ 9 w 10"/>
                <a:gd name="T3" fmla="*/ 2 h 10"/>
                <a:gd name="T4" fmla="*/ 2 w 10"/>
                <a:gd name="T5" fmla="*/ 3 h 10"/>
                <a:gd name="T6" fmla="*/ 3 w 10"/>
                <a:gd name="T7" fmla="*/ 9 h 10"/>
                <a:gd name="T8" fmla="*/ 10 w 10"/>
                <a:gd name="T9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10" y="7"/>
                  </a:moveTo>
                  <a:cubicBezTo>
                    <a:pt x="9" y="4"/>
                    <a:pt x="10" y="4"/>
                    <a:pt x="9" y="2"/>
                  </a:cubicBezTo>
                  <a:cubicBezTo>
                    <a:pt x="7" y="0"/>
                    <a:pt x="2" y="0"/>
                    <a:pt x="2" y="3"/>
                  </a:cubicBezTo>
                  <a:cubicBezTo>
                    <a:pt x="0" y="6"/>
                    <a:pt x="0" y="9"/>
                    <a:pt x="3" y="9"/>
                  </a:cubicBezTo>
                  <a:cubicBezTo>
                    <a:pt x="6" y="9"/>
                    <a:pt x="10" y="10"/>
                    <a:pt x="10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5" name="Freeform 385"/>
            <p:cNvSpPr>
              <a:spLocks/>
            </p:cNvSpPr>
            <p:nvPr/>
          </p:nvSpPr>
          <p:spPr bwMode="auto">
            <a:xfrm>
              <a:off x="7456997" y="4657222"/>
              <a:ext cx="3572" cy="7144"/>
            </a:xfrm>
            <a:custGeom>
              <a:avLst/>
              <a:gdLst>
                <a:gd name="T0" fmla="*/ 9 w 10"/>
                <a:gd name="T1" fmla="*/ 20 h 25"/>
                <a:gd name="T2" fmla="*/ 9 w 10"/>
                <a:gd name="T3" fmla="*/ 12 h 25"/>
                <a:gd name="T4" fmla="*/ 1 w 10"/>
                <a:gd name="T5" fmla="*/ 9 h 25"/>
                <a:gd name="T6" fmla="*/ 3 w 10"/>
                <a:gd name="T7" fmla="*/ 17 h 25"/>
                <a:gd name="T8" fmla="*/ 9 w 10"/>
                <a:gd name="T9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5">
                  <a:moveTo>
                    <a:pt x="9" y="20"/>
                  </a:moveTo>
                  <a:cubicBezTo>
                    <a:pt x="10" y="16"/>
                    <a:pt x="10" y="18"/>
                    <a:pt x="9" y="12"/>
                  </a:cubicBezTo>
                  <a:cubicBezTo>
                    <a:pt x="9" y="6"/>
                    <a:pt x="2" y="0"/>
                    <a:pt x="1" y="9"/>
                  </a:cubicBezTo>
                  <a:cubicBezTo>
                    <a:pt x="0" y="13"/>
                    <a:pt x="1" y="13"/>
                    <a:pt x="3" y="17"/>
                  </a:cubicBezTo>
                  <a:cubicBezTo>
                    <a:pt x="5" y="20"/>
                    <a:pt x="7" y="25"/>
                    <a:pt x="9" y="2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6" name="Freeform 386"/>
            <p:cNvSpPr>
              <a:spLocks/>
            </p:cNvSpPr>
            <p:nvPr/>
          </p:nvSpPr>
          <p:spPr bwMode="auto">
            <a:xfrm>
              <a:off x="7461759" y="4666747"/>
              <a:ext cx="3572" cy="5953"/>
            </a:xfrm>
            <a:custGeom>
              <a:avLst/>
              <a:gdLst>
                <a:gd name="T0" fmla="*/ 10 w 15"/>
                <a:gd name="T1" fmla="*/ 19 h 22"/>
                <a:gd name="T2" fmla="*/ 13 w 15"/>
                <a:gd name="T3" fmla="*/ 12 h 22"/>
                <a:gd name="T4" fmla="*/ 4 w 15"/>
                <a:gd name="T5" fmla="*/ 4 h 22"/>
                <a:gd name="T6" fmla="*/ 4 w 15"/>
                <a:gd name="T7" fmla="*/ 10 h 22"/>
                <a:gd name="T8" fmla="*/ 10 w 15"/>
                <a:gd name="T9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2">
                  <a:moveTo>
                    <a:pt x="10" y="19"/>
                  </a:moveTo>
                  <a:cubicBezTo>
                    <a:pt x="13" y="17"/>
                    <a:pt x="15" y="16"/>
                    <a:pt x="13" y="12"/>
                  </a:cubicBezTo>
                  <a:cubicBezTo>
                    <a:pt x="12" y="8"/>
                    <a:pt x="6" y="0"/>
                    <a:pt x="4" y="4"/>
                  </a:cubicBezTo>
                  <a:cubicBezTo>
                    <a:pt x="2" y="7"/>
                    <a:pt x="0" y="6"/>
                    <a:pt x="4" y="10"/>
                  </a:cubicBezTo>
                  <a:cubicBezTo>
                    <a:pt x="8" y="14"/>
                    <a:pt x="7" y="22"/>
                    <a:pt x="10" y="1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7" name="Freeform 387"/>
            <p:cNvSpPr>
              <a:spLocks/>
            </p:cNvSpPr>
            <p:nvPr/>
          </p:nvSpPr>
          <p:spPr bwMode="auto">
            <a:xfrm>
              <a:off x="7476047" y="4679844"/>
              <a:ext cx="3572" cy="4762"/>
            </a:xfrm>
            <a:custGeom>
              <a:avLst/>
              <a:gdLst>
                <a:gd name="T0" fmla="*/ 5 w 15"/>
                <a:gd name="T1" fmla="*/ 11 h 15"/>
                <a:gd name="T2" fmla="*/ 14 w 15"/>
                <a:gd name="T3" fmla="*/ 9 h 15"/>
                <a:gd name="T4" fmla="*/ 5 w 15"/>
                <a:gd name="T5" fmla="*/ 3 h 15"/>
                <a:gd name="T6" fmla="*/ 5 w 15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5" y="11"/>
                  </a:moveTo>
                  <a:cubicBezTo>
                    <a:pt x="10" y="14"/>
                    <a:pt x="15" y="15"/>
                    <a:pt x="14" y="9"/>
                  </a:cubicBezTo>
                  <a:cubicBezTo>
                    <a:pt x="14" y="4"/>
                    <a:pt x="9" y="0"/>
                    <a:pt x="5" y="3"/>
                  </a:cubicBezTo>
                  <a:cubicBezTo>
                    <a:pt x="2" y="5"/>
                    <a:pt x="0" y="8"/>
                    <a:pt x="5" y="1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8" name="Freeform 388"/>
            <p:cNvSpPr>
              <a:spLocks/>
            </p:cNvSpPr>
            <p:nvPr/>
          </p:nvSpPr>
          <p:spPr bwMode="auto">
            <a:xfrm>
              <a:off x="7452234" y="5419222"/>
              <a:ext cx="4762" cy="4762"/>
            </a:xfrm>
            <a:custGeom>
              <a:avLst/>
              <a:gdLst>
                <a:gd name="T0" fmla="*/ 10 w 19"/>
                <a:gd name="T1" fmla="*/ 2 h 17"/>
                <a:gd name="T2" fmla="*/ 3 w 19"/>
                <a:gd name="T3" fmla="*/ 10 h 17"/>
                <a:gd name="T4" fmla="*/ 11 w 19"/>
                <a:gd name="T5" fmla="*/ 13 h 17"/>
                <a:gd name="T6" fmla="*/ 18 w 19"/>
                <a:gd name="T7" fmla="*/ 6 h 17"/>
                <a:gd name="T8" fmla="*/ 10 w 19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7">
                  <a:moveTo>
                    <a:pt x="10" y="2"/>
                  </a:moveTo>
                  <a:cubicBezTo>
                    <a:pt x="4" y="6"/>
                    <a:pt x="0" y="7"/>
                    <a:pt x="3" y="10"/>
                  </a:cubicBezTo>
                  <a:cubicBezTo>
                    <a:pt x="7" y="14"/>
                    <a:pt x="8" y="17"/>
                    <a:pt x="11" y="13"/>
                  </a:cubicBezTo>
                  <a:cubicBezTo>
                    <a:pt x="14" y="9"/>
                    <a:pt x="19" y="9"/>
                    <a:pt x="18" y="6"/>
                  </a:cubicBezTo>
                  <a:cubicBezTo>
                    <a:pt x="17" y="3"/>
                    <a:pt x="18" y="0"/>
                    <a:pt x="10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299" name="Gruppieren 298"/>
            <p:cNvGrpSpPr/>
            <p:nvPr/>
          </p:nvGrpSpPr>
          <p:grpSpPr>
            <a:xfrm>
              <a:off x="5446031" y="3596376"/>
              <a:ext cx="2131219" cy="1946672"/>
              <a:chOff x="5446031" y="3596376"/>
              <a:chExt cx="2131219" cy="1946672"/>
            </a:xfrm>
            <a:gradFill>
              <a:gsLst>
                <a:gs pos="0">
                  <a:srgbClr val="005591"/>
                </a:gs>
                <a:gs pos="100000">
                  <a:srgbClr val="80AAC8"/>
                </a:gs>
              </a:gsLst>
              <a:lin ang="18900000" scaled="1"/>
            </a:gradFill>
          </p:grpSpPr>
          <p:sp>
            <p:nvSpPr>
              <p:cNvPr id="490" name="Freeform 158"/>
              <p:cNvSpPr>
                <a:spLocks/>
              </p:cNvSpPr>
              <p:nvPr/>
            </p:nvSpPr>
            <p:spPr bwMode="auto">
              <a:xfrm>
                <a:off x="6549741" y="4447672"/>
                <a:ext cx="16669" cy="32147"/>
              </a:xfrm>
              <a:custGeom>
                <a:avLst/>
                <a:gdLst>
                  <a:gd name="T0" fmla="*/ 13 w 56"/>
                  <a:gd name="T1" fmla="*/ 55 h 111"/>
                  <a:gd name="T2" fmla="*/ 8 w 56"/>
                  <a:gd name="T3" fmla="*/ 73 h 111"/>
                  <a:gd name="T4" fmla="*/ 5 w 56"/>
                  <a:gd name="T5" fmla="*/ 90 h 111"/>
                  <a:gd name="T6" fmla="*/ 5 w 56"/>
                  <a:gd name="T7" fmla="*/ 109 h 111"/>
                  <a:gd name="T8" fmla="*/ 15 w 56"/>
                  <a:gd name="T9" fmla="*/ 87 h 111"/>
                  <a:gd name="T10" fmla="*/ 22 w 56"/>
                  <a:gd name="T11" fmla="*/ 69 h 111"/>
                  <a:gd name="T12" fmla="*/ 44 w 56"/>
                  <a:gd name="T13" fmla="*/ 55 h 111"/>
                  <a:gd name="T14" fmla="*/ 50 w 56"/>
                  <a:gd name="T15" fmla="*/ 39 h 111"/>
                  <a:gd name="T16" fmla="*/ 50 w 56"/>
                  <a:gd name="T17" fmla="*/ 20 h 111"/>
                  <a:gd name="T18" fmla="*/ 53 w 56"/>
                  <a:gd name="T19" fmla="*/ 3 h 111"/>
                  <a:gd name="T20" fmla="*/ 38 w 56"/>
                  <a:gd name="T21" fmla="*/ 18 h 111"/>
                  <a:gd name="T22" fmla="*/ 29 w 56"/>
                  <a:gd name="T23" fmla="*/ 36 h 111"/>
                  <a:gd name="T24" fmla="*/ 13 w 56"/>
                  <a:gd name="T25" fmla="*/ 55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6" h="111">
                    <a:moveTo>
                      <a:pt x="13" y="55"/>
                    </a:moveTo>
                    <a:cubicBezTo>
                      <a:pt x="11" y="63"/>
                      <a:pt x="8" y="67"/>
                      <a:pt x="8" y="73"/>
                    </a:cubicBezTo>
                    <a:cubicBezTo>
                      <a:pt x="8" y="79"/>
                      <a:pt x="6" y="83"/>
                      <a:pt x="5" y="90"/>
                    </a:cubicBezTo>
                    <a:cubicBezTo>
                      <a:pt x="5" y="97"/>
                      <a:pt x="0" y="111"/>
                      <a:pt x="5" y="109"/>
                    </a:cubicBezTo>
                    <a:cubicBezTo>
                      <a:pt x="11" y="107"/>
                      <a:pt x="13" y="94"/>
                      <a:pt x="15" y="87"/>
                    </a:cubicBezTo>
                    <a:cubicBezTo>
                      <a:pt x="17" y="80"/>
                      <a:pt x="13" y="74"/>
                      <a:pt x="22" y="69"/>
                    </a:cubicBezTo>
                    <a:cubicBezTo>
                      <a:pt x="30" y="64"/>
                      <a:pt x="39" y="56"/>
                      <a:pt x="44" y="55"/>
                    </a:cubicBezTo>
                    <a:cubicBezTo>
                      <a:pt x="48" y="54"/>
                      <a:pt x="50" y="48"/>
                      <a:pt x="50" y="39"/>
                    </a:cubicBezTo>
                    <a:cubicBezTo>
                      <a:pt x="50" y="31"/>
                      <a:pt x="48" y="28"/>
                      <a:pt x="50" y="20"/>
                    </a:cubicBezTo>
                    <a:cubicBezTo>
                      <a:pt x="51" y="11"/>
                      <a:pt x="56" y="6"/>
                      <a:pt x="53" y="3"/>
                    </a:cubicBezTo>
                    <a:cubicBezTo>
                      <a:pt x="50" y="0"/>
                      <a:pt x="39" y="11"/>
                      <a:pt x="38" y="18"/>
                    </a:cubicBezTo>
                    <a:cubicBezTo>
                      <a:pt x="36" y="27"/>
                      <a:pt x="34" y="27"/>
                      <a:pt x="29" y="36"/>
                    </a:cubicBezTo>
                    <a:cubicBezTo>
                      <a:pt x="23" y="45"/>
                      <a:pt x="14" y="48"/>
                      <a:pt x="13" y="55"/>
                    </a:cubicBezTo>
                    <a:close/>
                  </a:path>
                </a:pathLst>
              </a:custGeom>
              <a:grpFill/>
              <a:ln w="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51435" tIns="25717" rIns="51435" bIns="25717" numCol="1" anchor="t" anchorCtr="0" compatLnSpc="1">
                <a:prstTxWarp prst="textNoShape">
                  <a:avLst/>
                </a:prstTxWarp>
              </a:bodyPr>
              <a:lstStyle/>
              <a:p>
                <a:pPr defTabSz="51432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1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91" name="Freeform 160"/>
              <p:cNvSpPr>
                <a:spLocks/>
              </p:cNvSpPr>
              <p:nvPr/>
            </p:nvSpPr>
            <p:spPr bwMode="auto">
              <a:xfrm>
                <a:off x="6548550" y="4421478"/>
                <a:ext cx="5953" cy="15478"/>
              </a:xfrm>
              <a:custGeom>
                <a:avLst/>
                <a:gdLst>
                  <a:gd name="T0" fmla="*/ 2 w 22"/>
                  <a:gd name="T1" fmla="*/ 12 h 51"/>
                  <a:gd name="T2" fmla="*/ 6 w 22"/>
                  <a:gd name="T3" fmla="*/ 36 h 51"/>
                  <a:gd name="T4" fmla="*/ 14 w 22"/>
                  <a:gd name="T5" fmla="*/ 43 h 51"/>
                  <a:gd name="T6" fmla="*/ 22 w 22"/>
                  <a:gd name="T7" fmla="*/ 25 h 51"/>
                  <a:gd name="T8" fmla="*/ 2 w 22"/>
                  <a:gd name="T9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51">
                    <a:moveTo>
                      <a:pt x="2" y="12"/>
                    </a:moveTo>
                    <a:cubicBezTo>
                      <a:pt x="5" y="25"/>
                      <a:pt x="6" y="29"/>
                      <a:pt x="6" y="36"/>
                    </a:cubicBezTo>
                    <a:cubicBezTo>
                      <a:pt x="6" y="42"/>
                      <a:pt x="9" y="51"/>
                      <a:pt x="14" y="43"/>
                    </a:cubicBezTo>
                    <a:cubicBezTo>
                      <a:pt x="18" y="35"/>
                      <a:pt x="22" y="29"/>
                      <a:pt x="22" y="25"/>
                    </a:cubicBezTo>
                    <a:cubicBezTo>
                      <a:pt x="21" y="18"/>
                      <a:pt x="0" y="0"/>
                      <a:pt x="2" y="12"/>
                    </a:cubicBezTo>
                    <a:close/>
                  </a:path>
                </a:pathLst>
              </a:custGeom>
              <a:grpFill/>
              <a:ln w="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51435" tIns="25717" rIns="51435" bIns="25717" numCol="1" anchor="t" anchorCtr="0" compatLnSpc="1">
                <a:prstTxWarp prst="textNoShape">
                  <a:avLst/>
                </a:prstTxWarp>
              </a:bodyPr>
              <a:lstStyle/>
              <a:p>
                <a:pPr defTabSz="51432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13" kern="0" dirty="0">
                  <a:solidFill>
                    <a:sysClr val="windowText" lastClr="000000"/>
                  </a:solidFill>
                </a:endParaRPr>
              </a:p>
            </p:txBody>
          </p:sp>
          <p:grpSp>
            <p:nvGrpSpPr>
              <p:cNvPr id="492" name="Gruppieren 491"/>
              <p:cNvGrpSpPr/>
              <p:nvPr/>
            </p:nvGrpSpPr>
            <p:grpSpPr>
              <a:xfrm>
                <a:off x="5446031" y="3596376"/>
                <a:ext cx="2131219" cy="1946672"/>
                <a:chOff x="5446031" y="3596376"/>
                <a:chExt cx="2131219" cy="1946672"/>
              </a:xfrm>
              <a:grpFill/>
            </p:grpSpPr>
            <p:sp>
              <p:nvSpPr>
                <p:cNvPr id="493" name="Freeform 157"/>
                <p:cNvSpPr>
                  <a:spLocks/>
                </p:cNvSpPr>
                <p:nvPr/>
              </p:nvSpPr>
              <p:spPr bwMode="auto">
                <a:xfrm>
                  <a:off x="6567600" y="4440528"/>
                  <a:ext cx="20241" cy="29766"/>
                </a:xfrm>
                <a:custGeom>
                  <a:avLst/>
                  <a:gdLst>
                    <a:gd name="T0" fmla="*/ 29 w 72"/>
                    <a:gd name="T1" fmla="*/ 75 h 102"/>
                    <a:gd name="T2" fmla="*/ 33 w 72"/>
                    <a:gd name="T3" fmla="*/ 90 h 102"/>
                    <a:gd name="T4" fmla="*/ 40 w 72"/>
                    <a:gd name="T5" fmla="*/ 99 h 102"/>
                    <a:gd name="T6" fmla="*/ 46 w 72"/>
                    <a:gd name="T7" fmla="*/ 77 h 102"/>
                    <a:gd name="T8" fmla="*/ 56 w 72"/>
                    <a:gd name="T9" fmla="*/ 85 h 102"/>
                    <a:gd name="T10" fmla="*/ 67 w 72"/>
                    <a:gd name="T11" fmla="*/ 78 h 102"/>
                    <a:gd name="T12" fmla="*/ 52 w 72"/>
                    <a:gd name="T13" fmla="*/ 63 h 102"/>
                    <a:gd name="T14" fmla="*/ 50 w 72"/>
                    <a:gd name="T15" fmla="*/ 46 h 102"/>
                    <a:gd name="T16" fmla="*/ 47 w 72"/>
                    <a:gd name="T17" fmla="*/ 23 h 102"/>
                    <a:gd name="T18" fmla="*/ 39 w 72"/>
                    <a:gd name="T19" fmla="*/ 21 h 102"/>
                    <a:gd name="T20" fmla="*/ 27 w 72"/>
                    <a:gd name="T21" fmla="*/ 15 h 102"/>
                    <a:gd name="T22" fmla="*/ 19 w 72"/>
                    <a:gd name="T23" fmla="*/ 4 h 102"/>
                    <a:gd name="T24" fmla="*/ 4 w 72"/>
                    <a:gd name="T25" fmla="*/ 8 h 102"/>
                    <a:gd name="T26" fmla="*/ 4 w 72"/>
                    <a:gd name="T27" fmla="*/ 26 h 102"/>
                    <a:gd name="T28" fmla="*/ 6 w 72"/>
                    <a:gd name="T29" fmla="*/ 40 h 102"/>
                    <a:gd name="T30" fmla="*/ 8 w 72"/>
                    <a:gd name="T31" fmla="*/ 52 h 102"/>
                    <a:gd name="T32" fmla="*/ 19 w 72"/>
                    <a:gd name="T33" fmla="*/ 45 h 102"/>
                    <a:gd name="T34" fmla="*/ 31 w 72"/>
                    <a:gd name="T35" fmla="*/ 45 h 102"/>
                    <a:gd name="T36" fmla="*/ 30 w 72"/>
                    <a:gd name="T37" fmla="*/ 59 h 102"/>
                    <a:gd name="T38" fmla="*/ 29 w 72"/>
                    <a:gd name="T39" fmla="*/ 75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72" h="102">
                      <a:moveTo>
                        <a:pt x="29" y="75"/>
                      </a:moveTo>
                      <a:cubicBezTo>
                        <a:pt x="33" y="83"/>
                        <a:pt x="31" y="82"/>
                        <a:pt x="33" y="90"/>
                      </a:cubicBezTo>
                      <a:cubicBezTo>
                        <a:pt x="34" y="97"/>
                        <a:pt x="34" y="102"/>
                        <a:pt x="40" y="99"/>
                      </a:cubicBezTo>
                      <a:cubicBezTo>
                        <a:pt x="46" y="96"/>
                        <a:pt x="43" y="78"/>
                        <a:pt x="46" y="77"/>
                      </a:cubicBezTo>
                      <a:cubicBezTo>
                        <a:pt x="49" y="76"/>
                        <a:pt x="48" y="82"/>
                        <a:pt x="56" y="85"/>
                      </a:cubicBezTo>
                      <a:cubicBezTo>
                        <a:pt x="64" y="87"/>
                        <a:pt x="72" y="85"/>
                        <a:pt x="67" y="78"/>
                      </a:cubicBezTo>
                      <a:cubicBezTo>
                        <a:pt x="63" y="71"/>
                        <a:pt x="55" y="70"/>
                        <a:pt x="52" y="63"/>
                      </a:cubicBezTo>
                      <a:cubicBezTo>
                        <a:pt x="49" y="56"/>
                        <a:pt x="51" y="51"/>
                        <a:pt x="50" y="46"/>
                      </a:cubicBezTo>
                      <a:cubicBezTo>
                        <a:pt x="49" y="41"/>
                        <a:pt x="49" y="25"/>
                        <a:pt x="47" y="23"/>
                      </a:cubicBezTo>
                      <a:cubicBezTo>
                        <a:pt x="44" y="22"/>
                        <a:pt x="46" y="23"/>
                        <a:pt x="39" y="21"/>
                      </a:cubicBezTo>
                      <a:cubicBezTo>
                        <a:pt x="31" y="20"/>
                        <a:pt x="28" y="22"/>
                        <a:pt x="27" y="15"/>
                      </a:cubicBezTo>
                      <a:cubicBezTo>
                        <a:pt x="27" y="8"/>
                        <a:pt x="21" y="4"/>
                        <a:pt x="19" y="4"/>
                      </a:cubicBezTo>
                      <a:cubicBezTo>
                        <a:pt x="18" y="4"/>
                        <a:pt x="8" y="0"/>
                        <a:pt x="4" y="8"/>
                      </a:cubicBezTo>
                      <a:cubicBezTo>
                        <a:pt x="0" y="15"/>
                        <a:pt x="0" y="20"/>
                        <a:pt x="4" y="26"/>
                      </a:cubicBezTo>
                      <a:cubicBezTo>
                        <a:pt x="8" y="31"/>
                        <a:pt x="7" y="32"/>
                        <a:pt x="6" y="40"/>
                      </a:cubicBezTo>
                      <a:cubicBezTo>
                        <a:pt x="5" y="47"/>
                        <a:pt x="1" y="51"/>
                        <a:pt x="8" y="52"/>
                      </a:cubicBezTo>
                      <a:cubicBezTo>
                        <a:pt x="16" y="52"/>
                        <a:pt x="14" y="50"/>
                        <a:pt x="19" y="45"/>
                      </a:cubicBezTo>
                      <a:cubicBezTo>
                        <a:pt x="24" y="41"/>
                        <a:pt x="30" y="39"/>
                        <a:pt x="31" y="45"/>
                      </a:cubicBezTo>
                      <a:cubicBezTo>
                        <a:pt x="32" y="50"/>
                        <a:pt x="32" y="52"/>
                        <a:pt x="30" y="59"/>
                      </a:cubicBezTo>
                      <a:cubicBezTo>
                        <a:pt x="28" y="67"/>
                        <a:pt x="25" y="67"/>
                        <a:pt x="29" y="75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94" name="Freeform 279"/>
                <p:cNvSpPr>
                  <a:spLocks/>
                </p:cNvSpPr>
                <p:nvPr/>
              </p:nvSpPr>
              <p:spPr bwMode="auto">
                <a:xfrm>
                  <a:off x="6469969" y="4454816"/>
                  <a:ext cx="16669" cy="17859"/>
                </a:xfrm>
                <a:custGeom>
                  <a:avLst/>
                  <a:gdLst>
                    <a:gd name="T0" fmla="*/ 26 w 57"/>
                    <a:gd name="T1" fmla="*/ 28 h 60"/>
                    <a:gd name="T2" fmla="*/ 11 w 57"/>
                    <a:gd name="T3" fmla="*/ 40 h 60"/>
                    <a:gd name="T4" fmla="*/ 2 w 57"/>
                    <a:gd name="T5" fmla="*/ 52 h 60"/>
                    <a:gd name="T6" fmla="*/ 12 w 57"/>
                    <a:gd name="T7" fmla="*/ 55 h 60"/>
                    <a:gd name="T8" fmla="*/ 25 w 57"/>
                    <a:gd name="T9" fmla="*/ 45 h 60"/>
                    <a:gd name="T10" fmla="*/ 36 w 57"/>
                    <a:gd name="T11" fmla="*/ 35 h 60"/>
                    <a:gd name="T12" fmla="*/ 43 w 57"/>
                    <a:gd name="T13" fmla="*/ 25 h 60"/>
                    <a:gd name="T14" fmla="*/ 55 w 57"/>
                    <a:gd name="T15" fmla="*/ 18 h 60"/>
                    <a:gd name="T16" fmla="*/ 46 w 57"/>
                    <a:gd name="T17" fmla="*/ 6 h 60"/>
                    <a:gd name="T18" fmla="*/ 38 w 57"/>
                    <a:gd name="T19" fmla="*/ 8 h 60"/>
                    <a:gd name="T20" fmla="*/ 31 w 57"/>
                    <a:gd name="T21" fmla="*/ 5 h 60"/>
                    <a:gd name="T22" fmla="*/ 29 w 57"/>
                    <a:gd name="T23" fmla="*/ 19 h 60"/>
                    <a:gd name="T24" fmla="*/ 26 w 57"/>
                    <a:gd name="T25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7" h="60">
                      <a:moveTo>
                        <a:pt x="26" y="28"/>
                      </a:moveTo>
                      <a:cubicBezTo>
                        <a:pt x="21" y="31"/>
                        <a:pt x="16" y="35"/>
                        <a:pt x="11" y="40"/>
                      </a:cubicBezTo>
                      <a:cubicBezTo>
                        <a:pt x="6" y="44"/>
                        <a:pt x="0" y="50"/>
                        <a:pt x="2" y="52"/>
                      </a:cubicBezTo>
                      <a:cubicBezTo>
                        <a:pt x="5" y="55"/>
                        <a:pt x="6" y="60"/>
                        <a:pt x="12" y="55"/>
                      </a:cubicBezTo>
                      <a:cubicBezTo>
                        <a:pt x="18" y="50"/>
                        <a:pt x="17" y="47"/>
                        <a:pt x="25" y="45"/>
                      </a:cubicBezTo>
                      <a:cubicBezTo>
                        <a:pt x="32" y="42"/>
                        <a:pt x="35" y="40"/>
                        <a:pt x="36" y="35"/>
                      </a:cubicBezTo>
                      <a:cubicBezTo>
                        <a:pt x="37" y="31"/>
                        <a:pt x="37" y="28"/>
                        <a:pt x="43" y="25"/>
                      </a:cubicBezTo>
                      <a:cubicBezTo>
                        <a:pt x="50" y="21"/>
                        <a:pt x="53" y="22"/>
                        <a:pt x="55" y="18"/>
                      </a:cubicBezTo>
                      <a:cubicBezTo>
                        <a:pt x="57" y="13"/>
                        <a:pt x="47" y="7"/>
                        <a:pt x="46" y="6"/>
                      </a:cubicBezTo>
                      <a:cubicBezTo>
                        <a:pt x="44" y="5"/>
                        <a:pt x="40" y="10"/>
                        <a:pt x="38" y="8"/>
                      </a:cubicBezTo>
                      <a:cubicBezTo>
                        <a:pt x="36" y="6"/>
                        <a:pt x="31" y="0"/>
                        <a:pt x="31" y="5"/>
                      </a:cubicBezTo>
                      <a:cubicBezTo>
                        <a:pt x="29" y="13"/>
                        <a:pt x="28" y="14"/>
                        <a:pt x="29" y="19"/>
                      </a:cubicBezTo>
                      <a:cubicBezTo>
                        <a:pt x="29" y="24"/>
                        <a:pt x="30" y="25"/>
                        <a:pt x="26" y="28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95" name="Freeform 287"/>
                <p:cNvSpPr>
                  <a:spLocks/>
                </p:cNvSpPr>
                <p:nvPr/>
              </p:nvSpPr>
              <p:spPr bwMode="auto">
                <a:xfrm>
                  <a:off x="6236606" y="4463150"/>
                  <a:ext cx="17859" cy="16669"/>
                </a:xfrm>
                <a:custGeom>
                  <a:avLst/>
                  <a:gdLst>
                    <a:gd name="T0" fmla="*/ 45 w 65"/>
                    <a:gd name="T1" fmla="*/ 32 h 58"/>
                    <a:gd name="T2" fmla="*/ 34 w 65"/>
                    <a:gd name="T3" fmla="*/ 21 h 58"/>
                    <a:gd name="T4" fmla="*/ 4 w 65"/>
                    <a:gd name="T5" fmla="*/ 4 h 58"/>
                    <a:gd name="T6" fmla="*/ 7 w 65"/>
                    <a:gd name="T7" fmla="*/ 15 h 58"/>
                    <a:gd name="T8" fmla="*/ 23 w 65"/>
                    <a:gd name="T9" fmla="*/ 24 h 58"/>
                    <a:gd name="T10" fmla="*/ 40 w 65"/>
                    <a:gd name="T11" fmla="*/ 42 h 58"/>
                    <a:gd name="T12" fmla="*/ 56 w 65"/>
                    <a:gd name="T13" fmla="*/ 54 h 58"/>
                    <a:gd name="T14" fmla="*/ 58 w 65"/>
                    <a:gd name="T15" fmla="*/ 45 h 58"/>
                    <a:gd name="T16" fmla="*/ 45 w 65"/>
                    <a:gd name="T17" fmla="*/ 3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5" h="58">
                      <a:moveTo>
                        <a:pt x="45" y="32"/>
                      </a:moveTo>
                      <a:cubicBezTo>
                        <a:pt x="41" y="26"/>
                        <a:pt x="42" y="27"/>
                        <a:pt x="34" y="21"/>
                      </a:cubicBezTo>
                      <a:cubicBezTo>
                        <a:pt x="26" y="14"/>
                        <a:pt x="7" y="0"/>
                        <a:pt x="4" y="4"/>
                      </a:cubicBezTo>
                      <a:cubicBezTo>
                        <a:pt x="3" y="9"/>
                        <a:pt x="0" y="11"/>
                        <a:pt x="7" y="15"/>
                      </a:cubicBezTo>
                      <a:cubicBezTo>
                        <a:pt x="15" y="19"/>
                        <a:pt x="17" y="17"/>
                        <a:pt x="23" y="24"/>
                      </a:cubicBezTo>
                      <a:cubicBezTo>
                        <a:pt x="29" y="31"/>
                        <a:pt x="33" y="32"/>
                        <a:pt x="40" y="42"/>
                      </a:cubicBezTo>
                      <a:cubicBezTo>
                        <a:pt x="48" y="51"/>
                        <a:pt x="53" y="58"/>
                        <a:pt x="56" y="54"/>
                      </a:cubicBezTo>
                      <a:cubicBezTo>
                        <a:pt x="60" y="50"/>
                        <a:pt x="65" y="50"/>
                        <a:pt x="58" y="45"/>
                      </a:cubicBezTo>
                      <a:cubicBezTo>
                        <a:pt x="52" y="41"/>
                        <a:pt x="48" y="37"/>
                        <a:pt x="45" y="32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grpSp>
              <p:nvGrpSpPr>
                <p:cNvPr id="496" name="Gruppieren 495"/>
                <p:cNvGrpSpPr/>
                <p:nvPr/>
              </p:nvGrpSpPr>
              <p:grpSpPr>
                <a:xfrm>
                  <a:off x="5446031" y="3596376"/>
                  <a:ext cx="2131219" cy="1946672"/>
                  <a:chOff x="5446031" y="3596376"/>
                  <a:chExt cx="2131219" cy="1946672"/>
                </a:xfrm>
                <a:grpFill/>
              </p:grpSpPr>
              <p:sp>
                <p:nvSpPr>
                  <p:cNvPr id="497" name="Freeform 148"/>
                  <p:cNvSpPr>
                    <a:spLocks/>
                  </p:cNvSpPr>
                  <p:nvPr/>
                </p:nvSpPr>
                <p:spPr bwMode="auto">
                  <a:xfrm>
                    <a:off x="6497353" y="4406000"/>
                    <a:ext cx="22622" cy="25003"/>
                  </a:xfrm>
                  <a:custGeom>
                    <a:avLst/>
                    <a:gdLst>
                      <a:gd name="T0" fmla="*/ 72 w 77"/>
                      <a:gd name="T1" fmla="*/ 32 h 87"/>
                      <a:gd name="T2" fmla="*/ 74 w 77"/>
                      <a:gd name="T3" fmla="*/ 24 h 87"/>
                      <a:gd name="T4" fmla="*/ 54 w 77"/>
                      <a:gd name="T5" fmla="*/ 17 h 87"/>
                      <a:gd name="T6" fmla="*/ 43 w 77"/>
                      <a:gd name="T7" fmla="*/ 7 h 87"/>
                      <a:gd name="T8" fmla="*/ 25 w 77"/>
                      <a:gd name="T9" fmla="*/ 5 h 87"/>
                      <a:gd name="T10" fmla="*/ 6 w 77"/>
                      <a:gd name="T11" fmla="*/ 2 h 87"/>
                      <a:gd name="T12" fmla="*/ 5 w 77"/>
                      <a:gd name="T13" fmla="*/ 11 h 87"/>
                      <a:gd name="T14" fmla="*/ 20 w 77"/>
                      <a:gd name="T15" fmla="*/ 24 h 87"/>
                      <a:gd name="T16" fmla="*/ 28 w 77"/>
                      <a:gd name="T17" fmla="*/ 38 h 87"/>
                      <a:gd name="T18" fmla="*/ 32 w 77"/>
                      <a:gd name="T19" fmla="*/ 55 h 87"/>
                      <a:gd name="T20" fmla="*/ 45 w 77"/>
                      <a:gd name="T21" fmla="*/ 65 h 87"/>
                      <a:gd name="T22" fmla="*/ 52 w 77"/>
                      <a:gd name="T23" fmla="*/ 79 h 87"/>
                      <a:gd name="T24" fmla="*/ 61 w 77"/>
                      <a:gd name="T25" fmla="*/ 82 h 87"/>
                      <a:gd name="T26" fmla="*/ 70 w 77"/>
                      <a:gd name="T27" fmla="*/ 67 h 87"/>
                      <a:gd name="T28" fmla="*/ 73 w 77"/>
                      <a:gd name="T29" fmla="*/ 57 h 87"/>
                      <a:gd name="T30" fmla="*/ 71 w 77"/>
                      <a:gd name="T31" fmla="*/ 41 h 87"/>
                      <a:gd name="T32" fmla="*/ 72 w 77"/>
                      <a:gd name="T33" fmla="*/ 32 h 8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77" h="87">
                        <a:moveTo>
                          <a:pt x="72" y="32"/>
                        </a:moveTo>
                        <a:cubicBezTo>
                          <a:pt x="76" y="30"/>
                          <a:pt x="77" y="28"/>
                          <a:pt x="74" y="24"/>
                        </a:cubicBezTo>
                        <a:cubicBezTo>
                          <a:pt x="71" y="21"/>
                          <a:pt x="60" y="23"/>
                          <a:pt x="54" y="17"/>
                        </a:cubicBezTo>
                        <a:cubicBezTo>
                          <a:pt x="49" y="11"/>
                          <a:pt x="49" y="8"/>
                          <a:pt x="43" y="7"/>
                        </a:cubicBezTo>
                        <a:cubicBezTo>
                          <a:pt x="37" y="6"/>
                          <a:pt x="31" y="8"/>
                          <a:pt x="25" y="5"/>
                        </a:cubicBezTo>
                        <a:cubicBezTo>
                          <a:pt x="19" y="2"/>
                          <a:pt x="10" y="0"/>
                          <a:pt x="6" y="2"/>
                        </a:cubicBezTo>
                        <a:cubicBezTo>
                          <a:pt x="3" y="4"/>
                          <a:pt x="0" y="8"/>
                          <a:pt x="5" y="11"/>
                        </a:cubicBezTo>
                        <a:cubicBezTo>
                          <a:pt x="9" y="15"/>
                          <a:pt x="13" y="21"/>
                          <a:pt x="20" y="24"/>
                        </a:cubicBezTo>
                        <a:cubicBezTo>
                          <a:pt x="27" y="31"/>
                          <a:pt x="28" y="29"/>
                          <a:pt x="28" y="38"/>
                        </a:cubicBezTo>
                        <a:cubicBezTo>
                          <a:pt x="29" y="47"/>
                          <a:pt x="23" y="49"/>
                          <a:pt x="32" y="55"/>
                        </a:cubicBezTo>
                        <a:cubicBezTo>
                          <a:pt x="40" y="62"/>
                          <a:pt x="40" y="57"/>
                          <a:pt x="45" y="65"/>
                        </a:cubicBezTo>
                        <a:cubicBezTo>
                          <a:pt x="49" y="73"/>
                          <a:pt x="49" y="75"/>
                          <a:pt x="52" y="79"/>
                        </a:cubicBezTo>
                        <a:cubicBezTo>
                          <a:pt x="55" y="83"/>
                          <a:pt x="56" y="87"/>
                          <a:pt x="61" y="82"/>
                        </a:cubicBezTo>
                        <a:cubicBezTo>
                          <a:pt x="65" y="77"/>
                          <a:pt x="68" y="71"/>
                          <a:pt x="70" y="67"/>
                        </a:cubicBezTo>
                        <a:cubicBezTo>
                          <a:pt x="73" y="64"/>
                          <a:pt x="74" y="65"/>
                          <a:pt x="73" y="57"/>
                        </a:cubicBezTo>
                        <a:cubicBezTo>
                          <a:pt x="73" y="50"/>
                          <a:pt x="72" y="46"/>
                          <a:pt x="71" y="41"/>
                        </a:cubicBezTo>
                        <a:cubicBezTo>
                          <a:pt x="69" y="37"/>
                          <a:pt x="68" y="35"/>
                          <a:pt x="72" y="32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98" name="Freeform 161"/>
                  <p:cNvSpPr>
                    <a:spLocks/>
                  </p:cNvSpPr>
                  <p:nvPr/>
                </p:nvSpPr>
                <p:spPr bwMode="auto">
                  <a:xfrm>
                    <a:off x="6558075" y="4467913"/>
                    <a:ext cx="15478" cy="10716"/>
                  </a:xfrm>
                  <a:custGeom>
                    <a:avLst/>
                    <a:gdLst>
                      <a:gd name="T0" fmla="*/ 18 w 51"/>
                      <a:gd name="T1" fmla="*/ 6 h 38"/>
                      <a:gd name="T2" fmla="*/ 5 w 51"/>
                      <a:gd name="T3" fmla="*/ 18 h 38"/>
                      <a:gd name="T4" fmla="*/ 5 w 51"/>
                      <a:gd name="T5" fmla="*/ 29 h 38"/>
                      <a:gd name="T6" fmla="*/ 20 w 51"/>
                      <a:gd name="T7" fmla="*/ 36 h 38"/>
                      <a:gd name="T8" fmla="*/ 33 w 51"/>
                      <a:gd name="T9" fmla="*/ 30 h 38"/>
                      <a:gd name="T10" fmla="*/ 50 w 51"/>
                      <a:gd name="T11" fmla="*/ 23 h 38"/>
                      <a:gd name="T12" fmla="*/ 47 w 51"/>
                      <a:gd name="T13" fmla="*/ 9 h 38"/>
                      <a:gd name="T14" fmla="*/ 34 w 51"/>
                      <a:gd name="T15" fmla="*/ 6 h 38"/>
                      <a:gd name="T16" fmla="*/ 18 w 51"/>
                      <a:gd name="T17" fmla="*/ 6 h 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1" h="38">
                        <a:moveTo>
                          <a:pt x="18" y="6"/>
                        </a:moveTo>
                        <a:cubicBezTo>
                          <a:pt x="15" y="11"/>
                          <a:pt x="5" y="12"/>
                          <a:pt x="5" y="18"/>
                        </a:cubicBezTo>
                        <a:cubicBezTo>
                          <a:pt x="4" y="24"/>
                          <a:pt x="0" y="22"/>
                          <a:pt x="5" y="29"/>
                        </a:cubicBezTo>
                        <a:cubicBezTo>
                          <a:pt x="11" y="35"/>
                          <a:pt x="12" y="38"/>
                          <a:pt x="20" y="36"/>
                        </a:cubicBezTo>
                        <a:cubicBezTo>
                          <a:pt x="27" y="33"/>
                          <a:pt x="26" y="30"/>
                          <a:pt x="33" y="30"/>
                        </a:cubicBezTo>
                        <a:cubicBezTo>
                          <a:pt x="41" y="30"/>
                          <a:pt x="50" y="29"/>
                          <a:pt x="50" y="23"/>
                        </a:cubicBezTo>
                        <a:cubicBezTo>
                          <a:pt x="50" y="16"/>
                          <a:pt x="51" y="12"/>
                          <a:pt x="47" y="9"/>
                        </a:cubicBezTo>
                        <a:cubicBezTo>
                          <a:pt x="42" y="7"/>
                          <a:pt x="39" y="10"/>
                          <a:pt x="34" y="6"/>
                        </a:cubicBezTo>
                        <a:cubicBezTo>
                          <a:pt x="30" y="2"/>
                          <a:pt x="22" y="0"/>
                          <a:pt x="18" y="6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99" name="Freeform 166"/>
                  <p:cNvSpPr>
                    <a:spLocks/>
                  </p:cNvSpPr>
                  <p:nvPr/>
                </p:nvSpPr>
                <p:spPr bwMode="auto">
                  <a:xfrm>
                    <a:off x="6481875" y="4560782"/>
                    <a:ext cx="3572" cy="5953"/>
                  </a:xfrm>
                  <a:custGeom>
                    <a:avLst/>
                    <a:gdLst>
                      <a:gd name="T0" fmla="*/ 5 w 12"/>
                      <a:gd name="T1" fmla="*/ 16 h 17"/>
                      <a:gd name="T2" fmla="*/ 10 w 12"/>
                      <a:gd name="T3" fmla="*/ 12 h 17"/>
                      <a:gd name="T4" fmla="*/ 7 w 12"/>
                      <a:gd name="T5" fmla="*/ 6 h 17"/>
                      <a:gd name="T6" fmla="*/ 3 w 12"/>
                      <a:gd name="T7" fmla="*/ 3 h 17"/>
                      <a:gd name="T8" fmla="*/ 2 w 12"/>
                      <a:gd name="T9" fmla="*/ 11 h 17"/>
                      <a:gd name="T10" fmla="*/ 5 w 12"/>
                      <a:gd name="T11" fmla="*/ 16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2" h="17">
                        <a:moveTo>
                          <a:pt x="5" y="16"/>
                        </a:moveTo>
                        <a:cubicBezTo>
                          <a:pt x="9" y="15"/>
                          <a:pt x="12" y="15"/>
                          <a:pt x="10" y="12"/>
                        </a:cubicBezTo>
                        <a:cubicBezTo>
                          <a:pt x="9" y="10"/>
                          <a:pt x="7" y="8"/>
                          <a:pt x="7" y="6"/>
                        </a:cubicBezTo>
                        <a:cubicBezTo>
                          <a:pt x="7" y="3"/>
                          <a:pt x="6" y="0"/>
                          <a:pt x="3" y="3"/>
                        </a:cubicBezTo>
                        <a:cubicBezTo>
                          <a:pt x="2" y="6"/>
                          <a:pt x="1" y="7"/>
                          <a:pt x="2" y="11"/>
                        </a:cubicBezTo>
                        <a:cubicBezTo>
                          <a:pt x="2" y="16"/>
                          <a:pt x="0" y="17"/>
                          <a:pt x="5" y="16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00" name="Freeform 178"/>
                  <p:cNvSpPr>
                    <a:spLocks/>
                  </p:cNvSpPr>
                  <p:nvPr/>
                </p:nvSpPr>
                <p:spPr bwMode="auto">
                  <a:xfrm>
                    <a:off x="6594984" y="4782238"/>
                    <a:ext cx="17859" cy="9525"/>
                  </a:xfrm>
                  <a:custGeom>
                    <a:avLst/>
                    <a:gdLst>
                      <a:gd name="T0" fmla="*/ 5 w 64"/>
                      <a:gd name="T1" fmla="*/ 31 h 31"/>
                      <a:gd name="T2" fmla="*/ 14 w 64"/>
                      <a:gd name="T3" fmla="*/ 26 h 31"/>
                      <a:gd name="T4" fmla="*/ 23 w 64"/>
                      <a:gd name="T5" fmla="*/ 23 h 31"/>
                      <a:gd name="T6" fmla="*/ 32 w 64"/>
                      <a:gd name="T7" fmla="*/ 27 h 31"/>
                      <a:gd name="T8" fmla="*/ 46 w 64"/>
                      <a:gd name="T9" fmla="*/ 27 h 31"/>
                      <a:gd name="T10" fmla="*/ 56 w 64"/>
                      <a:gd name="T11" fmla="*/ 21 h 31"/>
                      <a:gd name="T12" fmla="*/ 64 w 64"/>
                      <a:gd name="T13" fmla="*/ 12 h 31"/>
                      <a:gd name="T14" fmla="*/ 55 w 64"/>
                      <a:gd name="T15" fmla="*/ 4 h 31"/>
                      <a:gd name="T16" fmla="*/ 47 w 64"/>
                      <a:gd name="T17" fmla="*/ 6 h 31"/>
                      <a:gd name="T18" fmla="*/ 32 w 64"/>
                      <a:gd name="T19" fmla="*/ 11 h 31"/>
                      <a:gd name="T20" fmla="*/ 23 w 64"/>
                      <a:gd name="T21" fmla="*/ 11 h 31"/>
                      <a:gd name="T22" fmla="*/ 15 w 64"/>
                      <a:gd name="T23" fmla="*/ 8 h 31"/>
                      <a:gd name="T24" fmla="*/ 10 w 64"/>
                      <a:gd name="T25" fmla="*/ 17 h 31"/>
                      <a:gd name="T26" fmla="*/ 4 w 64"/>
                      <a:gd name="T27" fmla="*/ 25 h 31"/>
                      <a:gd name="T28" fmla="*/ 5 w 64"/>
                      <a:gd name="T29" fmla="*/ 31 h 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64" h="31">
                        <a:moveTo>
                          <a:pt x="5" y="31"/>
                        </a:moveTo>
                        <a:cubicBezTo>
                          <a:pt x="6" y="31"/>
                          <a:pt x="12" y="29"/>
                          <a:pt x="14" y="26"/>
                        </a:cubicBezTo>
                        <a:cubicBezTo>
                          <a:pt x="17" y="23"/>
                          <a:pt x="19" y="24"/>
                          <a:pt x="23" y="23"/>
                        </a:cubicBezTo>
                        <a:cubicBezTo>
                          <a:pt x="28" y="23"/>
                          <a:pt x="29" y="25"/>
                          <a:pt x="32" y="27"/>
                        </a:cubicBezTo>
                        <a:cubicBezTo>
                          <a:pt x="36" y="30"/>
                          <a:pt x="44" y="30"/>
                          <a:pt x="46" y="27"/>
                        </a:cubicBezTo>
                        <a:cubicBezTo>
                          <a:pt x="49" y="24"/>
                          <a:pt x="51" y="24"/>
                          <a:pt x="56" y="21"/>
                        </a:cubicBezTo>
                        <a:cubicBezTo>
                          <a:pt x="61" y="18"/>
                          <a:pt x="64" y="15"/>
                          <a:pt x="64" y="12"/>
                        </a:cubicBezTo>
                        <a:cubicBezTo>
                          <a:pt x="63" y="9"/>
                          <a:pt x="60" y="9"/>
                          <a:pt x="55" y="4"/>
                        </a:cubicBezTo>
                        <a:cubicBezTo>
                          <a:pt x="50" y="0"/>
                          <a:pt x="50" y="4"/>
                          <a:pt x="47" y="6"/>
                        </a:cubicBezTo>
                        <a:cubicBezTo>
                          <a:pt x="43" y="8"/>
                          <a:pt x="39" y="8"/>
                          <a:pt x="32" y="11"/>
                        </a:cubicBezTo>
                        <a:cubicBezTo>
                          <a:pt x="28" y="12"/>
                          <a:pt x="26" y="12"/>
                          <a:pt x="23" y="11"/>
                        </a:cubicBezTo>
                        <a:cubicBezTo>
                          <a:pt x="20" y="10"/>
                          <a:pt x="19" y="8"/>
                          <a:pt x="15" y="8"/>
                        </a:cubicBezTo>
                        <a:cubicBezTo>
                          <a:pt x="12" y="7"/>
                          <a:pt x="11" y="12"/>
                          <a:pt x="10" y="17"/>
                        </a:cubicBezTo>
                        <a:cubicBezTo>
                          <a:pt x="10" y="21"/>
                          <a:pt x="7" y="23"/>
                          <a:pt x="4" y="25"/>
                        </a:cubicBezTo>
                        <a:cubicBezTo>
                          <a:pt x="0" y="28"/>
                          <a:pt x="4" y="31"/>
                          <a:pt x="5" y="31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01" name="Freeform 306"/>
                  <p:cNvSpPr>
                    <a:spLocks/>
                  </p:cNvSpPr>
                  <p:nvPr/>
                </p:nvSpPr>
                <p:spPr bwMode="auto">
                  <a:xfrm>
                    <a:off x="6745003" y="4744138"/>
                    <a:ext cx="9525" cy="17859"/>
                  </a:xfrm>
                  <a:custGeom>
                    <a:avLst/>
                    <a:gdLst>
                      <a:gd name="T0" fmla="*/ 26 w 34"/>
                      <a:gd name="T1" fmla="*/ 57 h 61"/>
                      <a:gd name="T2" fmla="*/ 30 w 34"/>
                      <a:gd name="T3" fmla="*/ 46 h 61"/>
                      <a:gd name="T4" fmla="*/ 31 w 34"/>
                      <a:gd name="T5" fmla="*/ 40 h 61"/>
                      <a:gd name="T6" fmla="*/ 26 w 34"/>
                      <a:gd name="T7" fmla="*/ 32 h 61"/>
                      <a:gd name="T8" fmla="*/ 31 w 34"/>
                      <a:gd name="T9" fmla="*/ 23 h 61"/>
                      <a:gd name="T10" fmla="*/ 27 w 34"/>
                      <a:gd name="T11" fmla="*/ 14 h 61"/>
                      <a:gd name="T12" fmla="*/ 24 w 34"/>
                      <a:gd name="T13" fmla="*/ 9 h 61"/>
                      <a:gd name="T14" fmla="*/ 20 w 34"/>
                      <a:gd name="T15" fmla="*/ 3 h 61"/>
                      <a:gd name="T16" fmla="*/ 13 w 34"/>
                      <a:gd name="T17" fmla="*/ 13 h 61"/>
                      <a:gd name="T18" fmla="*/ 2 w 34"/>
                      <a:gd name="T19" fmla="*/ 17 h 61"/>
                      <a:gd name="T20" fmla="*/ 6 w 34"/>
                      <a:gd name="T21" fmla="*/ 23 h 61"/>
                      <a:gd name="T22" fmla="*/ 9 w 34"/>
                      <a:gd name="T23" fmla="*/ 30 h 61"/>
                      <a:gd name="T24" fmla="*/ 5 w 34"/>
                      <a:gd name="T25" fmla="*/ 35 h 61"/>
                      <a:gd name="T26" fmla="*/ 4 w 34"/>
                      <a:gd name="T27" fmla="*/ 44 h 61"/>
                      <a:gd name="T28" fmla="*/ 12 w 34"/>
                      <a:gd name="T29" fmla="*/ 49 h 61"/>
                      <a:gd name="T30" fmla="*/ 18 w 34"/>
                      <a:gd name="T31" fmla="*/ 57 h 61"/>
                      <a:gd name="T32" fmla="*/ 26 w 34"/>
                      <a:gd name="T33" fmla="*/ 57 h 6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4" h="61">
                        <a:moveTo>
                          <a:pt x="26" y="57"/>
                        </a:moveTo>
                        <a:cubicBezTo>
                          <a:pt x="29" y="53"/>
                          <a:pt x="27" y="48"/>
                          <a:pt x="30" y="46"/>
                        </a:cubicBezTo>
                        <a:cubicBezTo>
                          <a:pt x="33" y="44"/>
                          <a:pt x="34" y="42"/>
                          <a:pt x="31" y="40"/>
                        </a:cubicBezTo>
                        <a:cubicBezTo>
                          <a:pt x="27" y="38"/>
                          <a:pt x="23" y="36"/>
                          <a:pt x="26" y="32"/>
                        </a:cubicBezTo>
                        <a:cubicBezTo>
                          <a:pt x="30" y="27"/>
                          <a:pt x="32" y="29"/>
                          <a:pt x="31" y="23"/>
                        </a:cubicBezTo>
                        <a:cubicBezTo>
                          <a:pt x="30" y="16"/>
                          <a:pt x="30" y="16"/>
                          <a:pt x="27" y="14"/>
                        </a:cubicBezTo>
                        <a:cubicBezTo>
                          <a:pt x="24" y="11"/>
                          <a:pt x="24" y="12"/>
                          <a:pt x="24" y="9"/>
                        </a:cubicBezTo>
                        <a:cubicBezTo>
                          <a:pt x="24" y="5"/>
                          <a:pt x="24" y="0"/>
                          <a:pt x="20" y="3"/>
                        </a:cubicBezTo>
                        <a:cubicBezTo>
                          <a:pt x="15" y="8"/>
                          <a:pt x="18" y="10"/>
                          <a:pt x="13" y="13"/>
                        </a:cubicBezTo>
                        <a:cubicBezTo>
                          <a:pt x="8" y="16"/>
                          <a:pt x="3" y="13"/>
                          <a:pt x="2" y="17"/>
                        </a:cubicBezTo>
                        <a:cubicBezTo>
                          <a:pt x="2" y="20"/>
                          <a:pt x="1" y="20"/>
                          <a:pt x="6" y="23"/>
                        </a:cubicBezTo>
                        <a:cubicBezTo>
                          <a:pt x="11" y="25"/>
                          <a:pt x="11" y="27"/>
                          <a:pt x="9" y="30"/>
                        </a:cubicBezTo>
                        <a:cubicBezTo>
                          <a:pt x="8" y="34"/>
                          <a:pt x="7" y="30"/>
                          <a:pt x="5" y="35"/>
                        </a:cubicBezTo>
                        <a:cubicBezTo>
                          <a:pt x="4" y="41"/>
                          <a:pt x="0" y="40"/>
                          <a:pt x="4" y="44"/>
                        </a:cubicBezTo>
                        <a:cubicBezTo>
                          <a:pt x="8" y="48"/>
                          <a:pt x="7" y="45"/>
                          <a:pt x="12" y="49"/>
                        </a:cubicBezTo>
                        <a:cubicBezTo>
                          <a:pt x="16" y="53"/>
                          <a:pt x="16" y="54"/>
                          <a:pt x="18" y="57"/>
                        </a:cubicBezTo>
                        <a:cubicBezTo>
                          <a:pt x="20" y="60"/>
                          <a:pt x="24" y="61"/>
                          <a:pt x="26" y="57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grpSp>
                <p:nvGrpSpPr>
                  <p:cNvPr id="502" name="Gruppieren 501"/>
                  <p:cNvGrpSpPr/>
                  <p:nvPr/>
                </p:nvGrpSpPr>
                <p:grpSpPr>
                  <a:xfrm>
                    <a:off x="5446031" y="3596376"/>
                    <a:ext cx="2131219" cy="1946672"/>
                    <a:chOff x="5446031" y="3596376"/>
                    <a:chExt cx="2131219" cy="1946672"/>
                  </a:xfrm>
                  <a:grpFill/>
                </p:grpSpPr>
                <p:sp>
                  <p:nvSpPr>
                    <p:cNvPr id="503" name="Freeform 151"/>
                    <p:cNvSpPr>
                      <a:spLocks/>
                    </p:cNvSpPr>
                    <p:nvPr/>
                  </p:nvSpPr>
                  <p:spPr bwMode="auto">
                    <a:xfrm>
                      <a:off x="6567600" y="4423860"/>
                      <a:ext cx="25003" cy="26194"/>
                    </a:xfrm>
                    <a:custGeom>
                      <a:avLst/>
                      <a:gdLst>
                        <a:gd name="T0" fmla="*/ 13 w 87"/>
                        <a:gd name="T1" fmla="*/ 4 h 90"/>
                        <a:gd name="T2" fmla="*/ 5 w 87"/>
                        <a:gd name="T3" fmla="*/ 18 h 90"/>
                        <a:gd name="T4" fmla="*/ 21 w 87"/>
                        <a:gd name="T5" fmla="*/ 32 h 90"/>
                        <a:gd name="T6" fmla="*/ 37 w 87"/>
                        <a:gd name="T7" fmla="*/ 43 h 90"/>
                        <a:gd name="T8" fmla="*/ 46 w 87"/>
                        <a:gd name="T9" fmla="*/ 58 h 90"/>
                        <a:gd name="T10" fmla="*/ 48 w 87"/>
                        <a:gd name="T11" fmla="*/ 73 h 90"/>
                        <a:gd name="T12" fmla="*/ 53 w 87"/>
                        <a:gd name="T13" fmla="*/ 82 h 90"/>
                        <a:gd name="T14" fmla="*/ 69 w 87"/>
                        <a:gd name="T15" fmla="*/ 89 h 90"/>
                        <a:gd name="T16" fmla="*/ 80 w 87"/>
                        <a:gd name="T17" fmla="*/ 79 h 90"/>
                        <a:gd name="T18" fmla="*/ 82 w 87"/>
                        <a:gd name="T19" fmla="*/ 61 h 90"/>
                        <a:gd name="T20" fmla="*/ 78 w 87"/>
                        <a:gd name="T21" fmla="*/ 45 h 90"/>
                        <a:gd name="T22" fmla="*/ 74 w 87"/>
                        <a:gd name="T23" fmla="*/ 22 h 90"/>
                        <a:gd name="T24" fmla="*/ 66 w 87"/>
                        <a:gd name="T25" fmla="*/ 10 h 90"/>
                        <a:gd name="T26" fmla="*/ 49 w 87"/>
                        <a:gd name="T27" fmla="*/ 3 h 90"/>
                        <a:gd name="T28" fmla="*/ 32 w 87"/>
                        <a:gd name="T29" fmla="*/ 4 h 90"/>
                        <a:gd name="T30" fmla="*/ 13 w 87"/>
                        <a:gd name="T31" fmla="*/ 4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87" h="90">
                          <a:moveTo>
                            <a:pt x="13" y="4"/>
                          </a:moveTo>
                          <a:cubicBezTo>
                            <a:pt x="7" y="9"/>
                            <a:pt x="0" y="10"/>
                            <a:pt x="5" y="18"/>
                          </a:cubicBezTo>
                          <a:cubicBezTo>
                            <a:pt x="10" y="26"/>
                            <a:pt x="12" y="27"/>
                            <a:pt x="21" y="32"/>
                          </a:cubicBezTo>
                          <a:cubicBezTo>
                            <a:pt x="30" y="37"/>
                            <a:pt x="30" y="36"/>
                            <a:pt x="37" y="43"/>
                          </a:cubicBezTo>
                          <a:cubicBezTo>
                            <a:pt x="45" y="50"/>
                            <a:pt x="46" y="49"/>
                            <a:pt x="46" y="58"/>
                          </a:cubicBezTo>
                          <a:cubicBezTo>
                            <a:pt x="47" y="67"/>
                            <a:pt x="43" y="69"/>
                            <a:pt x="48" y="73"/>
                          </a:cubicBezTo>
                          <a:cubicBezTo>
                            <a:pt x="52" y="78"/>
                            <a:pt x="48" y="75"/>
                            <a:pt x="53" y="82"/>
                          </a:cubicBezTo>
                          <a:cubicBezTo>
                            <a:pt x="58" y="89"/>
                            <a:pt x="65" y="90"/>
                            <a:pt x="69" y="89"/>
                          </a:cubicBezTo>
                          <a:cubicBezTo>
                            <a:pt x="72" y="88"/>
                            <a:pt x="78" y="85"/>
                            <a:pt x="80" y="79"/>
                          </a:cubicBezTo>
                          <a:cubicBezTo>
                            <a:pt x="82" y="72"/>
                            <a:pt x="87" y="69"/>
                            <a:pt x="82" y="61"/>
                          </a:cubicBezTo>
                          <a:cubicBezTo>
                            <a:pt x="78" y="53"/>
                            <a:pt x="78" y="52"/>
                            <a:pt x="78" y="45"/>
                          </a:cubicBezTo>
                          <a:cubicBezTo>
                            <a:pt x="78" y="37"/>
                            <a:pt x="81" y="27"/>
                            <a:pt x="74" y="22"/>
                          </a:cubicBezTo>
                          <a:cubicBezTo>
                            <a:pt x="67" y="16"/>
                            <a:pt x="67" y="14"/>
                            <a:pt x="66" y="10"/>
                          </a:cubicBezTo>
                          <a:cubicBezTo>
                            <a:pt x="64" y="6"/>
                            <a:pt x="59" y="0"/>
                            <a:pt x="49" y="3"/>
                          </a:cubicBezTo>
                          <a:cubicBezTo>
                            <a:pt x="39" y="5"/>
                            <a:pt x="37" y="4"/>
                            <a:pt x="32" y="4"/>
                          </a:cubicBezTo>
                          <a:cubicBezTo>
                            <a:pt x="28" y="4"/>
                            <a:pt x="20" y="2"/>
                            <a:pt x="13" y="4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04" name="Freeform 153"/>
                    <p:cNvSpPr>
                      <a:spLocks/>
                    </p:cNvSpPr>
                    <p:nvPr/>
                  </p:nvSpPr>
                  <p:spPr bwMode="auto">
                    <a:xfrm>
                      <a:off x="6487828" y="4315513"/>
                      <a:ext cx="78581" cy="109538"/>
                    </a:xfrm>
                    <a:custGeom>
                      <a:avLst/>
                      <a:gdLst>
                        <a:gd name="T0" fmla="*/ 3 w 276"/>
                        <a:gd name="T1" fmla="*/ 162 h 381"/>
                        <a:gd name="T2" fmla="*/ 17 w 276"/>
                        <a:gd name="T3" fmla="*/ 195 h 381"/>
                        <a:gd name="T4" fmla="*/ 23 w 276"/>
                        <a:gd name="T5" fmla="*/ 241 h 381"/>
                        <a:gd name="T6" fmla="*/ 40 w 276"/>
                        <a:gd name="T7" fmla="*/ 259 h 381"/>
                        <a:gd name="T8" fmla="*/ 51 w 276"/>
                        <a:gd name="T9" fmla="*/ 250 h 381"/>
                        <a:gd name="T10" fmla="*/ 60 w 276"/>
                        <a:gd name="T11" fmla="*/ 244 h 381"/>
                        <a:gd name="T12" fmla="*/ 75 w 276"/>
                        <a:gd name="T13" fmla="*/ 261 h 381"/>
                        <a:gd name="T14" fmla="*/ 56 w 276"/>
                        <a:gd name="T15" fmla="*/ 274 h 381"/>
                        <a:gd name="T16" fmla="*/ 56 w 276"/>
                        <a:gd name="T17" fmla="*/ 293 h 381"/>
                        <a:gd name="T18" fmla="*/ 73 w 276"/>
                        <a:gd name="T19" fmla="*/ 305 h 381"/>
                        <a:gd name="T20" fmla="*/ 102 w 276"/>
                        <a:gd name="T21" fmla="*/ 308 h 381"/>
                        <a:gd name="T22" fmla="*/ 128 w 276"/>
                        <a:gd name="T23" fmla="*/ 295 h 381"/>
                        <a:gd name="T24" fmla="*/ 148 w 276"/>
                        <a:gd name="T25" fmla="*/ 307 h 381"/>
                        <a:gd name="T26" fmla="*/ 162 w 276"/>
                        <a:gd name="T27" fmla="*/ 323 h 381"/>
                        <a:gd name="T28" fmla="*/ 173 w 276"/>
                        <a:gd name="T29" fmla="*/ 310 h 381"/>
                        <a:gd name="T30" fmla="*/ 172 w 276"/>
                        <a:gd name="T31" fmla="*/ 294 h 381"/>
                        <a:gd name="T32" fmla="*/ 189 w 276"/>
                        <a:gd name="T33" fmla="*/ 307 h 381"/>
                        <a:gd name="T34" fmla="*/ 208 w 276"/>
                        <a:gd name="T35" fmla="*/ 327 h 381"/>
                        <a:gd name="T36" fmla="*/ 221 w 276"/>
                        <a:gd name="T37" fmla="*/ 339 h 381"/>
                        <a:gd name="T38" fmla="*/ 236 w 276"/>
                        <a:gd name="T39" fmla="*/ 355 h 381"/>
                        <a:gd name="T40" fmla="*/ 258 w 276"/>
                        <a:gd name="T41" fmla="*/ 355 h 381"/>
                        <a:gd name="T42" fmla="*/ 261 w 276"/>
                        <a:gd name="T43" fmla="*/ 364 h 381"/>
                        <a:gd name="T44" fmla="*/ 265 w 276"/>
                        <a:gd name="T45" fmla="*/ 375 h 381"/>
                        <a:gd name="T46" fmla="*/ 273 w 276"/>
                        <a:gd name="T47" fmla="*/ 376 h 381"/>
                        <a:gd name="T48" fmla="*/ 276 w 276"/>
                        <a:gd name="T49" fmla="*/ 353 h 381"/>
                        <a:gd name="T50" fmla="*/ 262 w 276"/>
                        <a:gd name="T51" fmla="*/ 346 h 381"/>
                        <a:gd name="T52" fmla="*/ 255 w 276"/>
                        <a:gd name="T53" fmla="*/ 340 h 381"/>
                        <a:gd name="T54" fmla="*/ 240 w 276"/>
                        <a:gd name="T55" fmla="*/ 322 h 381"/>
                        <a:gd name="T56" fmla="*/ 249 w 276"/>
                        <a:gd name="T57" fmla="*/ 310 h 381"/>
                        <a:gd name="T58" fmla="*/ 253 w 276"/>
                        <a:gd name="T59" fmla="*/ 304 h 381"/>
                        <a:gd name="T60" fmla="*/ 234 w 276"/>
                        <a:gd name="T61" fmla="*/ 293 h 381"/>
                        <a:gd name="T62" fmla="*/ 216 w 276"/>
                        <a:gd name="T63" fmla="*/ 303 h 381"/>
                        <a:gd name="T64" fmla="*/ 205 w 276"/>
                        <a:gd name="T65" fmla="*/ 291 h 381"/>
                        <a:gd name="T66" fmla="*/ 187 w 276"/>
                        <a:gd name="T67" fmla="*/ 274 h 381"/>
                        <a:gd name="T68" fmla="*/ 160 w 276"/>
                        <a:gd name="T69" fmla="*/ 281 h 381"/>
                        <a:gd name="T70" fmla="*/ 142 w 276"/>
                        <a:gd name="T71" fmla="*/ 289 h 381"/>
                        <a:gd name="T72" fmla="*/ 124 w 276"/>
                        <a:gd name="T73" fmla="*/ 278 h 381"/>
                        <a:gd name="T74" fmla="*/ 122 w 276"/>
                        <a:gd name="T75" fmla="*/ 255 h 381"/>
                        <a:gd name="T76" fmla="*/ 117 w 276"/>
                        <a:gd name="T77" fmla="*/ 236 h 381"/>
                        <a:gd name="T78" fmla="*/ 107 w 276"/>
                        <a:gd name="T79" fmla="*/ 217 h 381"/>
                        <a:gd name="T80" fmla="*/ 105 w 276"/>
                        <a:gd name="T81" fmla="*/ 194 h 381"/>
                        <a:gd name="T82" fmla="*/ 113 w 276"/>
                        <a:gd name="T83" fmla="*/ 177 h 381"/>
                        <a:gd name="T84" fmla="*/ 142 w 276"/>
                        <a:gd name="T85" fmla="*/ 155 h 381"/>
                        <a:gd name="T86" fmla="*/ 158 w 276"/>
                        <a:gd name="T87" fmla="*/ 135 h 381"/>
                        <a:gd name="T88" fmla="*/ 172 w 276"/>
                        <a:gd name="T89" fmla="*/ 102 h 381"/>
                        <a:gd name="T90" fmla="*/ 155 w 276"/>
                        <a:gd name="T91" fmla="*/ 77 h 381"/>
                        <a:gd name="T92" fmla="*/ 154 w 276"/>
                        <a:gd name="T93" fmla="*/ 42 h 381"/>
                        <a:gd name="T94" fmla="*/ 144 w 276"/>
                        <a:gd name="T95" fmla="*/ 10 h 381"/>
                        <a:gd name="T96" fmla="*/ 120 w 276"/>
                        <a:gd name="T97" fmla="*/ 30 h 381"/>
                        <a:gd name="T98" fmla="*/ 112 w 276"/>
                        <a:gd name="T99" fmla="*/ 14 h 381"/>
                        <a:gd name="T100" fmla="*/ 90 w 276"/>
                        <a:gd name="T101" fmla="*/ 3 h 381"/>
                        <a:gd name="T102" fmla="*/ 61 w 276"/>
                        <a:gd name="T103" fmla="*/ 3 h 381"/>
                        <a:gd name="T104" fmla="*/ 46 w 276"/>
                        <a:gd name="T105" fmla="*/ 36 h 381"/>
                        <a:gd name="T106" fmla="*/ 42 w 276"/>
                        <a:gd name="T107" fmla="*/ 76 h 381"/>
                        <a:gd name="T108" fmla="*/ 35 w 276"/>
                        <a:gd name="T109" fmla="*/ 121 h 381"/>
                        <a:gd name="T110" fmla="*/ 42 w 276"/>
                        <a:gd name="T111" fmla="*/ 152 h 381"/>
                        <a:gd name="T112" fmla="*/ 23 w 276"/>
                        <a:gd name="T113" fmla="*/ 159 h 381"/>
                        <a:gd name="T114" fmla="*/ 3 w 276"/>
                        <a:gd name="T115" fmla="*/ 145 h 3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276" h="381">
                          <a:moveTo>
                            <a:pt x="3" y="145"/>
                          </a:moveTo>
                          <a:cubicBezTo>
                            <a:pt x="0" y="147"/>
                            <a:pt x="1" y="156"/>
                            <a:pt x="3" y="162"/>
                          </a:cubicBezTo>
                          <a:cubicBezTo>
                            <a:pt x="4" y="168"/>
                            <a:pt x="8" y="173"/>
                            <a:pt x="11" y="177"/>
                          </a:cubicBezTo>
                          <a:cubicBezTo>
                            <a:pt x="14" y="181"/>
                            <a:pt x="15" y="187"/>
                            <a:pt x="17" y="195"/>
                          </a:cubicBezTo>
                          <a:cubicBezTo>
                            <a:pt x="19" y="203"/>
                            <a:pt x="19" y="215"/>
                            <a:pt x="17" y="224"/>
                          </a:cubicBezTo>
                          <a:cubicBezTo>
                            <a:pt x="16" y="233"/>
                            <a:pt x="18" y="232"/>
                            <a:pt x="23" y="241"/>
                          </a:cubicBezTo>
                          <a:cubicBezTo>
                            <a:pt x="28" y="249"/>
                            <a:pt x="28" y="243"/>
                            <a:pt x="33" y="247"/>
                          </a:cubicBezTo>
                          <a:cubicBezTo>
                            <a:pt x="37" y="252"/>
                            <a:pt x="38" y="252"/>
                            <a:pt x="40" y="259"/>
                          </a:cubicBezTo>
                          <a:cubicBezTo>
                            <a:pt x="42" y="266"/>
                            <a:pt x="48" y="262"/>
                            <a:pt x="52" y="260"/>
                          </a:cubicBezTo>
                          <a:cubicBezTo>
                            <a:pt x="56" y="257"/>
                            <a:pt x="54" y="256"/>
                            <a:pt x="51" y="250"/>
                          </a:cubicBezTo>
                          <a:cubicBezTo>
                            <a:pt x="48" y="244"/>
                            <a:pt x="48" y="243"/>
                            <a:pt x="52" y="239"/>
                          </a:cubicBezTo>
                          <a:cubicBezTo>
                            <a:pt x="55" y="235"/>
                            <a:pt x="58" y="240"/>
                            <a:pt x="60" y="244"/>
                          </a:cubicBezTo>
                          <a:cubicBezTo>
                            <a:pt x="61" y="248"/>
                            <a:pt x="64" y="248"/>
                            <a:pt x="68" y="252"/>
                          </a:cubicBezTo>
                          <a:cubicBezTo>
                            <a:pt x="73" y="255"/>
                            <a:pt x="74" y="256"/>
                            <a:pt x="75" y="261"/>
                          </a:cubicBezTo>
                          <a:cubicBezTo>
                            <a:pt x="75" y="267"/>
                            <a:pt x="73" y="265"/>
                            <a:pt x="70" y="269"/>
                          </a:cubicBezTo>
                          <a:cubicBezTo>
                            <a:pt x="66" y="272"/>
                            <a:pt x="64" y="271"/>
                            <a:pt x="56" y="274"/>
                          </a:cubicBezTo>
                          <a:cubicBezTo>
                            <a:pt x="48" y="276"/>
                            <a:pt x="54" y="277"/>
                            <a:pt x="55" y="282"/>
                          </a:cubicBezTo>
                          <a:cubicBezTo>
                            <a:pt x="56" y="288"/>
                            <a:pt x="55" y="287"/>
                            <a:pt x="56" y="293"/>
                          </a:cubicBezTo>
                          <a:cubicBezTo>
                            <a:pt x="58" y="299"/>
                            <a:pt x="62" y="296"/>
                            <a:pt x="67" y="297"/>
                          </a:cubicBezTo>
                          <a:cubicBezTo>
                            <a:pt x="72" y="298"/>
                            <a:pt x="72" y="300"/>
                            <a:pt x="73" y="305"/>
                          </a:cubicBezTo>
                          <a:cubicBezTo>
                            <a:pt x="74" y="309"/>
                            <a:pt x="82" y="311"/>
                            <a:pt x="85" y="313"/>
                          </a:cubicBezTo>
                          <a:cubicBezTo>
                            <a:pt x="89" y="315"/>
                            <a:pt x="99" y="314"/>
                            <a:pt x="102" y="308"/>
                          </a:cubicBezTo>
                          <a:cubicBezTo>
                            <a:pt x="104" y="302"/>
                            <a:pt x="111" y="300"/>
                            <a:pt x="114" y="296"/>
                          </a:cubicBezTo>
                          <a:cubicBezTo>
                            <a:pt x="117" y="292"/>
                            <a:pt x="125" y="295"/>
                            <a:pt x="128" y="295"/>
                          </a:cubicBezTo>
                          <a:cubicBezTo>
                            <a:pt x="132" y="295"/>
                            <a:pt x="133" y="297"/>
                            <a:pt x="139" y="301"/>
                          </a:cubicBezTo>
                          <a:cubicBezTo>
                            <a:pt x="145" y="304"/>
                            <a:pt x="142" y="304"/>
                            <a:pt x="148" y="307"/>
                          </a:cubicBezTo>
                          <a:cubicBezTo>
                            <a:pt x="153" y="310"/>
                            <a:pt x="154" y="310"/>
                            <a:pt x="158" y="313"/>
                          </a:cubicBezTo>
                          <a:cubicBezTo>
                            <a:pt x="162" y="317"/>
                            <a:pt x="162" y="319"/>
                            <a:pt x="162" y="323"/>
                          </a:cubicBezTo>
                          <a:cubicBezTo>
                            <a:pt x="162" y="327"/>
                            <a:pt x="170" y="327"/>
                            <a:pt x="170" y="322"/>
                          </a:cubicBezTo>
                          <a:cubicBezTo>
                            <a:pt x="170" y="316"/>
                            <a:pt x="171" y="315"/>
                            <a:pt x="173" y="310"/>
                          </a:cubicBezTo>
                          <a:cubicBezTo>
                            <a:pt x="174" y="305"/>
                            <a:pt x="170" y="304"/>
                            <a:pt x="168" y="299"/>
                          </a:cubicBezTo>
                          <a:cubicBezTo>
                            <a:pt x="166" y="294"/>
                            <a:pt x="170" y="294"/>
                            <a:pt x="172" y="294"/>
                          </a:cubicBezTo>
                          <a:cubicBezTo>
                            <a:pt x="175" y="294"/>
                            <a:pt x="178" y="298"/>
                            <a:pt x="183" y="298"/>
                          </a:cubicBezTo>
                          <a:cubicBezTo>
                            <a:pt x="187" y="298"/>
                            <a:pt x="188" y="303"/>
                            <a:pt x="189" y="307"/>
                          </a:cubicBezTo>
                          <a:cubicBezTo>
                            <a:pt x="189" y="311"/>
                            <a:pt x="194" y="314"/>
                            <a:pt x="197" y="315"/>
                          </a:cubicBezTo>
                          <a:cubicBezTo>
                            <a:pt x="201" y="316"/>
                            <a:pt x="207" y="322"/>
                            <a:pt x="208" y="327"/>
                          </a:cubicBezTo>
                          <a:cubicBezTo>
                            <a:pt x="209" y="331"/>
                            <a:pt x="212" y="331"/>
                            <a:pt x="216" y="332"/>
                          </a:cubicBezTo>
                          <a:cubicBezTo>
                            <a:pt x="220" y="334"/>
                            <a:pt x="220" y="335"/>
                            <a:pt x="221" y="339"/>
                          </a:cubicBezTo>
                          <a:cubicBezTo>
                            <a:pt x="221" y="343"/>
                            <a:pt x="223" y="345"/>
                            <a:pt x="225" y="350"/>
                          </a:cubicBezTo>
                          <a:cubicBezTo>
                            <a:pt x="227" y="355"/>
                            <a:pt x="233" y="353"/>
                            <a:pt x="236" y="355"/>
                          </a:cubicBezTo>
                          <a:cubicBezTo>
                            <a:pt x="239" y="356"/>
                            <a:pt x="243" y="357"/>
                            <a:pt x="249" y="358"/>
                          </a:cubicBezTo>
                          <a:cubicBezTo>
                            <a:pt x="255" y="358"/>
                            <a:pt x="254" y="357"/>
                            <a:pt x="258" y="355"/>
                          </a:cubicBezTo>
                          <a:cubicBezTo>
                            <a:pt x="261" y="353"/>
                            <a:pt x="263" y="355"/>
                            <a:pt x="264" y="359"/>
                          </a:cubicBezTo>
                          <a:cubicBezTo>
                            <a:pt x="266" y="362"/>
                            <a:pt x="263" y="363"/>
                            <a:pt x="261" y="364"/>
                          </a:cubicBezTo>
                          <a:cubicBezTo>
                            <a:pt x="258" y="366"/>
                            <a:pt x="256" y="367"/>
                            <a:pt x="256" y="370"/>
                          </a:cubicBezTo>
                          <a:cubicBezTo>
                            <a:pt x="256" y="373"/>
                            <a:pt x="260" y="374"/>
                            <a:pt x="265" y="375"/>
                          </a:cubicBezTo>
                          <a:cubicBezTo>
                            <a:pt x="270" y="376"/>
                            <a:pt x="269" y="379"/>
                            <a:pt x="271" y="380"/>
                          </a:cubicBezTo>
                          <a:cubicBezTo>
                            <a:pt x="273" y="381"/>
                            <a:pt x="273" y="379"/>
                            <a:pt x="273" y="376"/>
                          </a:cubicBezTo>
                          <a:cubicBezTo>
                            <a:pt x="272" y="373"/>
                            <a:pt x="273" y="368"/>
                            <a:pt x="274" y="363"/>
                          </a:cubicBezTo>
                          <a:cubicBezTo>
                            <a:pt x="275" y="358"/>
                            <a:pt x="276" y="357"/>
                            <a:pt x="276" y="353"/>
                          </a:cubicBezTo>
                          <a:cubicBezTo>
                            <a:pt x="276" y="349"/>
                            <a:pt x="273" y="350"/>
                            <a:pt x="270" y="348"/>
                          </a:cubicBezTo>
                          <a:cubicBezTo>
                            <a:pt x="267" y="347"/>
                            <a:pt x="267" y="346"/>
                            <a:pt x="262" y="346"/>
                          </a:cubicBezTo>
                          <a:cubicBezTo>
                            <a:pt x="258" y="346"/>
                            <a:pt x="256" y="348"/>
                            <a:pt x="253" y="346"/>
                          </a:cubicBezTo>
                          <a:cubicBezTo>
                            <a:pt x="250" y="345"/>
                            <a:pt x="252" y="344"/>
                            <a:pt x="255" y="340"/>
                          </a:cubicBezTo>
                          <a:cubicBezTo>
                            <a:pt x="258" y="336"/>
                            <a:pt x="255" y="337"/>
                            <a:pt x="251" y="329"/>
                          </a:cubicBezTo>
                          <a:cubicBezTo>
                            <a:pt x="247" y="321"/>
                            <a:pt x="247" y="326"/>
                            <a:pt x="240" y="322"/>
                          </a:cubicBezTo>
                          <a:cubicBezTo>
                            <a:pt x="233" y="318"/>
                            <a:pt x="237" y="314"/>
                            <a:pt x="239" y="310"/>
                          </a:cubicBezTo>
                          <a:cubicBezTo>
                            <a:pt x="240" y="306"/>
                            <a:pt x="244" y="309"/>
                            <a:pt x="249" y="310"/>
                          </a:cubicBezTo>
                          <a:cubicBezTo>
                            <a:pt x="254" y="311"/>
                            <a:pt x="257" y="310"/>
                            <a:pt x="260" y="309"/>
                          </a:cubicBezTo>
                          <a:cubicBezTo>
                            <a:pt x="262" y="309"/>
                            <a:pt x="259" y="305"/>
                            <a:pt x="253" y="304"/>
                          </a:cubicBezTo>
                          <a:cubicBezTo>
                            <a:pt x="248" y="302"/>
                            <a:pt x="249" y="301"/>
                            <a:pt x="244" y="298"/>
                          </a:cubicBezTo>
                          <a:cubicBezTo>
                            <a:pt x="240" y="294"/>
                            <a:pt x="238" y="296"/>
                            <a:pt x="234" y="293"/>
                          </a:cubicBezTo>
                          <a:cubicBezTo>
                            <a:pt x="230" y="291"/>
                            <a:pt x="223" y="289"/>
                            <a:pt x="222" y="294"/>
                          </a:cubicBezTo>
                          <a:cubicBezTo>
                            <a:pt x="222" y="299"/>
                            <a:pt x="221" y="299"/>
                            <a:pt x="216" y="303"/>
                          </a:cubicBezTo>
                          <a:cubicBezTo>
                            <a:pt x="212" y="306"/>
                            <a:pt x="208" y="308"/>
                            <a:pt x="206" y="306"/>
                          </a:cubicBezTo>
                          <a:cubicBezTo>
                            <a:pt x="204" y="303"/>
                            <a:pt x="205" y="296"/>
                            <a:pt x="205" y="291"/>
                          </a:cubicBezTo>
                          <a:cubicBezTo>
                            <a:pt x="205" y="287"/>
                            <a:pt x="204" y="284"/>
                            <a:pt x="198" y="280"/>
                          </a:cubicBezTo>
                          <a:cubicBezTo>
                            <a:pt x="192" y="275"/>
                            <a:pt x="191" y="277"/>
                            <a:pt x="187" y="274"/>
                          </a:cubicBezTo>
                          <a:cubicBezTo>
                            <a:pt x="183" y="270"/>
                            <a:pt x="177" y="269"/>
                            <a:pt x="171" y="270"/>
                          </a:cubicBezTo>
                          <a:cubicBezTo>
                            <a:pt x="165" y="272"/>
                            <a:pt x="161" y="276"/>
                            <a:pt x="160" y="281"/>
                          </a:cubicBezTo>
                          <a:cubicBezTo>
                            <a:pt x="159" y="286"/>
                            <a:pt x="157" y="290"/>
                            <a:pt x="153" y="293"/>
                          </a:cubicBezTo>
                          <a:cubicBezTo>
                            <a:pt x="149" y="296"/>
                            <a:pt x="147" y="293"/>
                            <a:pt x="142" y="289"/>
                          </a:cubicBezTo>
                          <a:cubicBezTo>
                            <a:pt x="138" y="284"/>
                            <a:pt x="138" y="286"/>
                            <a:pt x="132" y="284"/>
                          </a:cubicBezTo>
                          <a:cubicBezTo>
                            <a:pt x="125" y="283"/>
                            <a:pt x="127" y="283"/>
                            <a:pt x="124" y="278"/>
                          </a:cubicBezTo>
                          <a:cubicBezTo>
                            <a:pt x="121" y="274"/>
                            <a:pt x="125" y="273"/>
                            <a:pt x="126" y="267"/>
                          </a:cubicBezTo>
                          <a:cubicBezTo>
                            <a:pt x="126" y="260"/>
                            <a:pt x="122" y="259"/>
                            <a:pt x="122" y="255"/>
                          </a:cubicBezTo>
                          <a:cubicBezTo>
                            <a:pt x="122" y="251"/>
                            <a:pt x="123" y="250"/>
                            <a:pt x="122" y="243"/>
                          </a:cubicBezTo>
                          <a:cubicBezTo>
                            <a:pt x="121" y="237"/>
                            <a:pt x="121" y="240"/>
                            <a:pt x="117" y="236"/>
                          </a:cubicBezTo>
                          <a:cubicBezTo>
                            <a:pt x="114" y="233"/>
                            <a:pt x="113" y="232"/>
                            <a:pt x="113" y="228"/>
                          </a:cubicBezTo>
                          <a:cubicBezTo>
                            <a:pt x="113" y="225"/>
                            <a:pt x="112" y="224"/>
                            <a:pt x="107" y="217"/>
                          </a:cubicBezTo>
                          <a:cubicBezTo>
                            <a:pt x="102" y="211"/>
                            <a:pt x="101" y="211"/>
                            <a:pt x="100" y="207"/>
                          </a:cubicBezTo>
                          <a:cubicBezTo>
                            <a:pt x="100" y="204"/>
                            <a:pt x="103" y="197"/>
                            <a:pt x="105" y="194"/>
                          </a:cubicBezTo>
                          <a:cubicBezTo>
                            <a:pt x="107" y="192"/>
                            <a:pt x="112" y="190"/>
                            <a:pt x="116" y="187"/>
                          </a:cubicBezTo>
                          <a:cubicBezTo>
                            <a:pt x="121" y="185"/>
                            <a:pt x="118" y="180"/>
                            <a:pt x="113" y="177"/>
                          </a:cubicBezTo>
                          <a:cubicBezTo>
                            <a:pt x="109" y="174"/>
                            <a:pt x="110" y="170"/>
                            <a:pt x="115" y="167"/>
                          </a:cubicBezTo>
                          <a:cubicBezTo>
                            <a:pt x="119" y="164"/>
                            <a:pt x="137" y="155"/>
                            <a:pt x="142" y="155"/>
                          </a:cubicBezTo>
                          <a:cubicBezTo>
                            <a:pt x="147" y="158"/>
                            <a:pt x="145" y="153"/>
                            <a:pt x="147" y="148"/>
                          </a:cubicBezTo>
                          <a:cubicBezTo>
                            <a:pt x="148" y="142"/>
                            <a:pt x="155" y="142"/>
                            <a:pt x="158" y="135"/>
                          </a:cubicBezTo>
                          <a:cubicBezTo>
                            <a:pt x="162" y="129"/>
                            <a:pt x="158" y="126"/>
                            <a:pt x="160" y="120"/>
                          </a:cubicBezTo>
                          <a:cubicBezTo>
                            <a:pt x="161" y="115"/>
                            <a:pt x="168" y="111"/>
                            <a:pt x="172" y="102"/>
                          </a:cubicBezTo>
                          <a:cubicBezTo>
                            <a:pt x="176" y="94"/>
                            <a:pt x="173" y="94"/>
                            <a:pt x="170" y="89"/>
                          </a:cubicBezTo>
                          <a:cubicBezTo>
                            <a:pt x="166" y="84"/>
                            <a:pt x="163" y="84"/>
                            <a:pt x="155" y="77"/>
                          </a:cubicBezTo>
                          <a:cubicBezTo>
                            <a:pt x="147" y="70"/>
                            <a:pt x="152" y="66"/>
                            <a:pt x="153" y="58"/>
                          </a:cubicBezTo>
                          <a:cubicBezTo>
                            <a:pt x="154" y="50"/>
                            <a:pt x="155" y="49"/>
                            <a:pt x="154" y="42"/>
                          </a:cubicBezTo>
                          <a:cubicBezTo>
                            <a:pt x="152" y="35"/>
                            <a:pt x="162" y="7"/>
                            <a:pt x="158" y="4"/>
                          </a:cubicBezTo>
                          <a:cubicBezTo>
                            <a:pt x="149" y="2"/>
                            <a:pt x="148" y="5"/>
                            <a:pt x="144" y="10"/>
                          </a:cubicBezTo>
                          <a:cubicBezTo>
                            <a:pt x="139" y="15"/>
                            <a:pt x="139" y="17"/>
                            <a:pt x="133" y="16"/>
                          </a:cubicBezTo>
                          <a:cubicBezTo>
                            <a:pt x="124" y="16"/>
                            <a:pt x="123" y="25"/>
                            <a:pt x="120" y="30"/>
                          </a:cubicBezTo>
                          <a:cubicBezTo>
                            <a:pt x="116" y="34"/>
                            <a:pt x="116" y="29"/>
                            <a:pt x="115" y="23"/>
                          </a:cubicBezTo>
                          <a:cubicBezTo>
                            <a:pt x="114" y="18"/>
                            <a:pt x="115" y="16"/>
                            <a:pt x="112" y="14"/>
                          </a:cubicBezTo>
                          <a:cubicBezTo>
                            <a:pt x="109" y="12"/>
                            <a:pt x="107" y="13"/>
                            <a:pt x="102" y="8"/>
                          </a:cubicBezTo>
                          <a:cubicBezTo>
                            <a:pt x="98" y="4"/>
                            <a:pt x="94" y="6"/>
                            <a:pt x="90" y="3"/>
                          </a:cubicBezTo>
                          <a:cubicBezTo>
                            <a:pt x="85" y="0"/>
                            <a:pt x="83" y="2"/>
                            <a:pt x="77" y="2"/>
                          </a:cubicBezTo>
                          <a:cubicBezTo>
                            <a:pt x="71" y="2"/>
                            <a:pt x="68" y="2"/>
                            <a:pt x="61" y="3"/>
                          </a:cubicBezTo>
                          <a:cubicBezTo>
                            <a:pt x="55" y="3"/>
                            <a:pt x="53" y="8"/>
                            <a:pt x="50" y="13"/>
                          </a:cubicBezTo>
                          <a:cubicBezTo>
                            <a:pt x="47" y="19"/>
                            <a:pt x="49" y="30"/>
                            <a:pt x="46" y="36"/>
                          </a:cubicBezTo>
                          <a:cubicBezTo>
                            <a:pt x="42" y="41"/>
                            <a:pt x="43" y="45"/>
                            <a:pt x="42" y="53"/>
                          </a:cubicBezTo>
                          <a:cubicBezTo>
                            <a:pt x="40" y="61"/>
                            <a:pt x="40" y="66"/>
                            <a:pt x="42" y="76"/>
                          </a:cubicBezTo>
                          <a:cubicBezTo>
                            <a:pt x="43" y="86"/>
                            <a:pt x="44" y="89"/>
                            <a:pt x="43" y="99"/>
                          </a:cubicBezTo>
                          <a:cubicBezTo>
                            <a:pt x="43" y="110"/>
                            <a:pt x="42" y="114"/>
                            <a:pt x="35" y="121"/>
                          </a:cubicBezTo>
                          <a:cubicBezTo>
                            <a:pt x="27" y="128"/>
                            <a:pt x="35" y="130"/>
                            <a:pt x="38" y="138"/>
                          </a:cubicBezTo>
                          <a:cubicBezTo>
                            <a:pt x="40" y="146"/>
                            <a:pt x="41" y="145"/>
                            <a:pt x="42" y="152"/>
                          </a:cubicBezTo>
                          <a:cubicBezTo>
                            <a:pt x="42" y="158"/>
                            <a:pt x="39" y="157"/>
                            <a:pt x="33" y="161"/>
                          </a:cubicBezTo>
                          <a:cubicBezTo>
                            <a:pt x="27" y="165"/>
                            <a:pt x="26" y="161"/>
                            <a:pt x="23" y="159"/>
                          </a:cubicBezTo>
                          <a:cubicBezTo>
                            <a:pt x="19" y="156"/>
                            <a:pt x="17" y="150"/>
                            <a:pt x="14" y="145"/>
                          </a:cubicBezTo>
                          <a:cubicBezTo>
                            <a:pt x="12" y="141"/>
                            <a:pt x="7" y="142"/>
                            <a:pt x="3" y="145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05" name="Freeform 159"/>
                    <p:cNvSpPr>
                      <a:spLocks/>
                    </p:cNvSpPr>
                    <p:nvPr/>
                  </p:nvSpPr>
                  <p:spPr bwMode="auto">
                    <a:xfrm>
                      <a:off x="6534262" y="4453625"/>
                      <a:ext cx="21431" cy="34528"/>
                    </a:xfrm>
                    <a:custGeom>
                      <a:avLst/>
                      <a:gdLst>
                        <a:gd name="T0" fmla="*/ 64 w 76"/>
                        <a:gd name="T1" fmla="*/ 0 h 119"/>
                        <a:gd name="T2" fmla="*/ 39 w 76"/>
                        <a:gd name="T3" fmla="*/ 1 h 119"/>
                        <a:gd name="T4" fmla="*/ 28 w 76"/>
                        <a:gd name="T5" fmla="*/ 17 h 119"/>
                        <a:gd name="T6" fmla="*/ 24 w 76"/>
                        <a:gd name="T7" fmla="*/ 41 h 119"/>
                        <a:gd name="T8" fmla="*/ 14 w 76"/>
                        <a:gd name="T9" fmla="*/ 58 h 119"/>
                        <a:gd name="T10" fmla="*/ 1 w 76"/>
                        <a:gd name="T11" fmla="*/ 67 h 119"/>
                        <a:gd name="T12" fmla="*/ 7 w 76"/>
                        <a:gd name="T13" fmla="*/ 83 h 119"/>
                        <a:gd name="T14" fmla="*/ 14 w 76"/>
                        <a:gd name="T15" fmla="*/ 95 h 119"/>
                        <a:gd name="T16" fmla="*/ 26 w 76"/>
                        <a:gd name="T17" fmla="*/ 97 h 119"/>
                        <a:gd name="T18" fmla="*/ 37 w 76"/>
                        <a:gd name="T19" fmla="*/ 111 h 119"/>
                        <a:gd name="T20" fmla="*/ 49 w 76"/>
                        <a:gd name="T21" fmla="*/ 115 h 119"/>
                        <a:gd name="T22" fmla="*/ 49 w 76"/>
                        <a:gd name="T23" fmla="*/ 95 h 119"/>
                        <a:gd name="T24" fmla="*/ 45 w 76"/>
                        <a:gd name="T25" fmla="*/ 74 h 119"/>
                        <a:gd name="T26" fmla="*/ 54 w 76"/>
                        <a:gd name="T27" fmla="*/ 55 h 119"/>
                        <a:gd name="T28" fmla="*/ 57 w 76"/>
                        <a:gd name="T29" fmla="*/ 32 h 119"/>
                        <a:gd name="T30" fmla="*/ 68 w 76"/>
                        <a:gd name="T31" fmla="*/ 15 h 119"/>
                        <a:gd name="T32" fmla="*/ 75 w 76"/>
                        <a:gd name="T33" fmla="*/ 10 h 119"/>
                        <a:gd name="T34" fmla="*/ 64 w 76"/>
                        <a:gd name="T35" fmla="*/ 0 h 1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76" h="119">
                          <a:moveTo>
                            <a:pt x="64" y="0"/>
                          </a:moveTo>
                          <a:cubicBezTo>
                            <a:pt x="57" y="0"/>
                            <a:pt x="44" y="1"/>
                            <a:pt x="39" y="1"/>
                          </a:cubicBezTo>
                          <a:cubicBezTo>
                            <a:pt x="31" y="7"/>
                            <a:pt x="29" y="4"/>
                            <a:pt x="28" y="17"/>
                          </a:cubicBezTo>
                          <a:cubicBezTo>
                            <a:pt x="28" y="30"/>
                            <a:pt x="27" y="29"/>
                            <a:pt x="24" y="41"/>
                          </a:cubicBezTo>
                          <a:cubicBezTo>
                            <a:pt x="20" y="53"/>
                            <a:pt x="21" y="53"/>
                            <a:pt x="14" y="58"/>
                          </a:cubicBezTo>
                          <a:cubicBezTo>
                            <a:pt x="8" y="62"/>
                            <a:pt x="1" y="58"/>
                            <a:pt x="1" y="67"/>
                          </a:cubicBezTo>
                          <a:cubicBezTo>
                            <a:pt x="1" y="76"/>
                            <a:pt x="0" y="75"/>
                            <a:pt x="7" y="83"/>
                          </a:cubicBezTo>
                          <a:cubicBezTo>
                            <a:pt x="13" y="92"/>
                            <a:pt x="8" y="92"/>
                            <a:pt x="14" y="95"/>
                          </a:cubicBezTo>
                          <a:cubicBezTo>
                            <a:pt x="20" y="97"/>
                            <a:pt x="21" y="91"/>
                            <a:pt x="26" y="97"/>
                          </a:cubicBezTo>
                          <a:cubicBezTo>
                            <a:pt x="31" y="104"/>
                            <a:pt x="31" y="104"/>
                            <a:pt x="37" y="111"/>
                          </a:cubicBezTo>
                          <a:cubicBezTo>
                            <a:pt x="43" y="119"/>
                            <a:pt x="47" y="119"/>
                            <a:pt x="49" y="115"/>
                          </a:cubicBezTo>
                          <a:cubicBezTo>
                            <a:pt x="51" y="112"/>
                            <a:pt x="52" y="102"/>
                            <a:pt x="49" y="95"/>
                          </a:cubicBezTo>
                          <a:cubicBezTo>
                            <a:pt x="46" y="88"/>
                            <a:pt x="42" y="82"/>
                            <a:pt x="45" y="74"/>
                          </a:cubicBezTo>
                          <a:cubicBezTo>
                            <a:pt x="48" y="67"/>
                            <a:pt x="54" y="67"/>
                            <a:pt x="54" y="55"/>
                          </a:cubicBezTo>
                          <a:cubicBezTo>
                            <a:pt x="54" y="44"/>
                            <a:pt x="53" y="40"/>
                            <a:pt x="57" y="32"/>
                          </a:cubicBezTo>
                          <a:cubicBezTo>
                            <a:pt x="62" y="24"/>
                            <a:pt x="64" y="18"/>
                            <a:pt x="68" y="15"/>
                          </a:cubicBezTo>
                          <a:cubicBezTo>
                            <a:pt x="72" y="12"/>
                            <a:pt x="76" y="15"/>
                            <a:pt x="75" y="10"/>
                          </a:cubicBezTo>
                          <a:cubicBezTo>
                            <a:pt x="75" y="4"/>
                            <a:pt x="72" y="0"/>
                            <a:pt x="64" y="0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06" name="Freeform 17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6359241" y="4750091"/>
                      <a:ext cx="225028" cy="94059"/>
                    </a:xfrm>
                    <a:custGeom>
                      <a:avLst/>
                      <a:gdLst>
                        <a:gd name="T0" fmla="*/ 754 w 784"/>
                        <a:gd name="T1" fmla="*/ 265 h 328"/>
                        <a:gd name="T2" fmla="*/ 767 w 784"/>
                        <a:gd name="T3" fmla="*/ 204 h 328"/>
                        <a:gd name="T4" fmla="*/ 699 w 784"/>
                        <a:gd name="T5" fmla="*/ 240 h 328"/>
                        <a:gd name="T6" fmla="*/ 217 w 784"/>
                        <a:gd name="T7" fmla="*/ 187 h 328"/>
                        <a:gd name="T8" fmla="*/ 250 w 784"/>
                        <a:gd name="T9" fmla="*/ 197 h 328"/>
                        <a:gd name="T10" fmla="*/ 256 w 784"/>
                        <a:gd name="T11" fmla="*/ 162 h 328"/>
                        <a:gd name="T12" fmla="*/ 196 w 784"/>
                        <a:gd name="T13" fmla="*/ 163 h 328"/>
                        <a:gd name="T14" fmla="*/ 132 w 784"/>
                        <a:gd name="T15" fmla="*/ 154 h 328"/>
                        <a:gd name="T16" fmla="*/ 161 w 784"/>
                        <a:gd name="T17" fmla="*/ 182 h 328"/>
                        <a:gd name="T18" fmla="*/ 193 w 784"/>
                        <a:gd name="T19" fmla="*/ 172 h 328"/>
                        <a:gd name="T20" fmla="*/ 194 w 784"/>
                        <a:gd name="T21" fmla="*/ 194 h 328"/>
                        <a:gd name="T22" fmla="*/ 405 w 784"/>
                        <a:gd name="T23" fmla="*/ 190 h 328"/>
                        <a:gd name="T24" fmla="*/ 399 w 784"/>
                        <a:gd name="T25" fmla="*/ 165 h 328"/>
                        <a:gd name="T26" fmla="*/ 381 w 784"/>
                        <a:gd name="T27" fmla="*/ 165 h 328"/>
                        <a:gd name="T28" fmla="*/ 353 w 784"/>
                        <a:gd name="T29" fmla="*/ 158 h 328"/>
                        <a:gd name="T30" fmla="*/ 335 w 784"/>
                        <a:gd name="T31" fmla="*/ 169 h 328"/>
                        <a:gd name="T32" fmla="*/ 366 w 784"/>
                        <a:gd name="T33" fmla="*/ 195 h 328"/>
                        <a:gd name="T34" fmla="*/ 581 w 784"/>
                        <a:gd name="T35" fmla="*/ 308 h 328"/>
                        <a:gd name="T36" fmla="*/ 604 w 784"/>
                        <a:gd name="T37" fmla="*/ 189 h 328"/>
                        <a:gd name="T38" fmla="*/ 566 w 784"/>
                        <a:gd name="T39" fmla="*/ 176 h 328"/>
                        <a:gd name="T40" fmla="*/ 521 w 784"/>
                        <a:gd name="T41" fmla="*/ 168 h 328"/>
                        <a:gd name="T42" fmla="*/ 466 w 784"/>
                        <a:gd name="T43" fmla="*/ 169 h 328"/>
                        <a:gd name="T44" fmla="*/ 481 w 784"/>
                        <a:gd name="T45" fmla="*/ 193 h 328"/>
                        <a:gd name="T46" fmla="*/ 535 w 784"/>
                        <a:gd name="T47" fmla="*/ 201 h 328"/>
                        <a:gd name="T48" fmla="*/ 582 w 784"/>
                        <a:gd name="T49" fmla="*/ 196 h 328"/>
                        <a:gd name="T50" fmla="*/ 172 w 784"/>
                        <a:gd name="T51" fmla="*/ 81 h 328"/>
                        <a:gd name="T52" fmla="*/ 408 w 784"/>
                        <a:gd name="T53" fmla="*/ 158 h 328"/>
                        <a:gd name="T54" fmla="*/ 329 w 784"/>
                        <a:gd name="T55" fmla="*/ 200 h 328"/>
                        <a:gd name="T56" fmla="*/ 331 w 784"/>
                        <a:gd name="T57" fmla="*/ 192 h 328"/>
                        <a:gd name="T58" fmla="*/ 279 w 784"/>
                        <a:gd name="T59" fmla="*/ 174 h 328"/>
                        <a:gd name="T60" fmla="*/ 294 w 784"/>
                        <a:gd name="T61" fmla="*/ 209 h 328"/>
                        <a:gd name="T62" fmla="*/ 430 w 784"/>
                        <a:gd name="T63" fmla="*/ 182 h 328"/>
                        <a:gd name="T64" fmla="*/ 11 w 784"/>
                        <a:gd name="T65" fmla="*/ 10 h 328"/>
                        <a:gd name="T66" fmla="*/ 497 w 784"/>
                        <a:gd name="T67" fmla="*/ 35 h 328"/>
                        <a:gd name="T68" fmla="*/ 54 w 784"/>
                        <a:gd name="T69" fmla="*/ 75 h 328"/>
                        <a:gd name="T70" fmla="*/ 47 w 784"/>
                        <a:gd name="T71" fmla="*/ 98 h 328"/>
                        <a:gd name="T72" fmla="*/ 54 w 784"/>
                        <a:gd name="T73" fmla="*/ 75 h 328"/>
                        <a:gd name="T74" fmla="*/ 462 w 784"/>
                        <a:gd name="T75" fmla="*/ 268 h 328"/>
                        <a:gd name="T76" fmla="*/ 502 w 784"/>
                        <a:gd name="T77" fmla="*/ 281 h 328"/>
                        <a:gd name="T78" fmla="*/ 502 w 784"/>
                        <a:gd name="T79" fmla="*/ 252 h 328"/>
                        <a:gd name="T80" fmla="*/ 468 w 784"/>
                        <a:gd name="T81" fmla="*/ 232 h 328"/>
                        <a:gd name="T82" fmla="*/ 408 w 784"/>
                        <a:gd name="T83" fmla="*/ 238 h 328"/>
                        <a:gd name="T84" fmla="*/ 501 w 784"/>
                        <a:gd name="T85" fmla="*/ 17 h 328"/>
                        <a:gd name="T86" fmla="*/ 744 w 784"/>
                        <a:gd name="T87" fmla="*/ 175 h 328"/>
                        <a:gd name="T88" fmla="*/ 737 w 784"/>
                        <a:gd name="T89" fmla="*/ 162 h 328"/>
                        <a:gd name="T90" fmla="*/ 673 w 784"/>
                        <a:gd name="T91" fmla="*/ 173 h 328"/>
                        <a:gd name="T92" fmla="*/ 709 w 784"/>
                        <a:gd name="T93" fmla="*/ 169 h 328"/>
                        <a:gd name="T94" fmla="*/ 672 w 784"/>
                        <a:gd name="T95" fmla="*/ 279 h 328"/>
                        <a:gd name="T96" fmla="*/ 616 w 784"/>
                        <a:gd name="T97" fmla="*/ 187 h 328"/>
                        <a:gd name="T98" fmla="*/ 635 w 784"/>
                        <a:gd name="T99" fmla="*/ 164 h 328"/>
                        <a:gd name="T100" fmla="*/ 692 w 784"/>
                        <a:gd name="T101" fmla="*/ 167 h 328"/>
                        <a:gd name="T102" fmla="*/ 649 w 784"/>
                        <a:gd name="T103" fmla="*/ 323 h 328"/>
                        <a:gd name="T104" fmla="*/ 665 w 784"/>
                        <a:gd name="T105" fmla="*/ 303 h 3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784" h="328">
                          <a:moveTo>
                            <a:pt x="686" y="288"/>
                          </a:moveTo>
                          <a:cubicBezTo>
                            <a:pt x="692" y="292"/>
                            <a:pt x="689" y="293"/>
                            <a:pt x="703" y="287"/>
                          </a:cubicBezTo>
                          <a:cubicBezTo>
                            <a:pt x="718" y="281"/>
                            <a:pt x="721" y="284"/>
                            <a:pt x="732" y="281"/>
                          </a:cubicBezTo>
                          <a:cubicBezTo>
                            <a:pt x="742" y="278"/>
                            <a:pt x="744" y="275"/>
                            <a:pt x="754" y="265"/>
                          </a:cubicBezTo>
                          <a:cubicBezTo>
                            <a:pt x="764" y="256"/>
                            <a:pt x="765" y="255"/>
                            <a:pt x="776" y="245"/>
                          </a:cubicBezTo>
                          <a:cubicBezTo>
                            <a:pt x="779" y="243"/>
                            <a:pt x="782" y="240"/>
                            <a:pt x="784" y="238"/>
                          </a:cubicBezTo>
                          <a:cubicBezTo>
                            <a:pt x="784" y="227"/>
                            <a:pt x="782" y="213"/>
                            <a:pt x="777" y="210"/>
                          </a:cubicBezTo>
                          <a:cubicBezTo>
                            <a:pt x="772" y="208"/>
                            <a:pt x="769" y="206"/>
                            <a:pt x="767" y="204"/>
                          </a:cubicBezTo>
                          <a:cubicBezTo>
                            <a:pt x="761" y="206"/>
                            <a:pt x="762" y="203"/>
                            <a:pt x="755" y="210"/>
                          </a:cubicBezTo>
                          <a:cubicBezTo>
                            <a:pt x="747" y="219"/>
                            <a:pt x="746" y="221"/>
                            <a:pt x="740" y="226"/>
                          </a:cubicBezTo>
                          <a:cubicBezTo>
                            <a:pt x="734" y="232"/>
                            <a:pt x="730" y="229"/>
                            <a:pt x="719" y="232"/>
                          </a:cubicBezTo>
                          <a:cubicBezTo>
                            <a:pt x="708" y="236"/>
                            <a:pt x="704" y="230"/>
                            <a:pt x="699" y="240"/>
                          </a:cubicBezTo>
                          <a:cubicBezTo>
                            <a:pt x="694" y="249"/>
                            <a:pt x="691" y="250"/>
                            <a:pt x="692" y="260"/>
                          </a:cubicBezTo>
                          <a:cubicBezTo>
                            <a:pt x="692" y="270"/>
                            <a:pt x="697" y="269"/>
                            <a:pt x="693" y="276"/>
                          </a:cubicBezTo>
                          <a:cubicBezTo>
                            <a:pt x="688" y="283"/>
                            <a:pt x="680" y="284"/>
                            <a:pt x="686" y="288"/>
                          </a:cubicBezTo>
                          <a:close/>
                          <a:moveTo>
                            <a:pt x="217" y="187"/>
                          </a:moveTo>
                          <a:cubicBezTo>
                            <a:pt x="211" y="190"/>
                            <a:pt x="206" y="191"/>
                            <a:pt x="210" y="194"/>
                          </a:cubicBezTo>
                          <a:cubicBezTo>
                            <a:pt x="214" y="197"/>
                            <a:pt x="216" y="196"/>
                            <a:pt x="222" y="197"/>
                          </a:cubicBezTo>
                          <a:cubicBezTo>
                            <a:pt x="228" y="198"/>
                            <a:pt x="230" y="198"/>
                            <a:pt x="235" y="201"/>
                          </a:cubicBezTo>
                          <a:cubicBezTo>
                            <a:pt x="239" y="204"/>
                            <a:pt x="247" y="201"/>
                            <a:pt x="250" y="197"/>
                          </a:cubicBezTo>
                          <a:cubicBezTo>
                            <a:pt x="253" y="193"/>
                            <a:pt x="253" y="196"/>
                            <a:pt x="255" y="191"/>
                          </a:cubicBezTo>
                          <a:cubicBezTo>
                            <a:pt x="258" y="186"/>
                            <a:pt x="257" y="182"/>
                            <a:pt x="259" y="178"/>
                          </a:cubicBezTo>
                          <a:cubicBezTo>
                            <a:pt x="261" y="175"/>
                            <a:pt x="264" y="174"/>
                            <a:pt x="264" y="170"/>
                          </a:cubicBezTo>
                          <a:cubicBezTo>
                            <a:pt x="263" y="167"/>
                            <a:pt x="260" y="163"/>
                            <a:pt x="256" y="162"/>
                          </a:cubicBezTo>
                          <a:cubicBezTo>
                            <a:pt x="252" y="161"/>
                            <a:pt x="241" y="156"/>
                            <a:pt x="228" y="164"/>
                          </a:cubicBezTo>
                          <a:cubicBezTo>
                            <a:pt x="222" y="169"/>
                            <a:pt x="227" y="177"/>
                            <a:pt x="224" y="181"/>
                          </a:cubicBezTo>
                          <a:cubicBezTo>
                            <a:pt x="222" y="185"/>
                            <a:pt x="222" y="185"/>
                            <a:pt x="217" y="187"/>
                          </a:cubicBezTo>
                          <a:close/>
                          <a:moveTo>
                            <a:pt x="196" y="163"/>
                          </a:moveTo>
                          <a:cubicBezTo>
                            <a:pt x="194" y="159"/>
                            <a:pt x="189" y="159"/>
                            <a:pt x="183" y="154"/>
                          </a:cubicBezTo>
                          <a:cubicBezTo>
                            <a:pt x="177" y="149"/>
                            <a:pt x="174" y="149"/>
                            <a:pt x="163" y="149"/>
                          </a:cubicBezTo>
                          <a:cubicBezTo>
                            <a:pt x="158" y="149"/>
                            <a:pt x="154" y="150"/>
                            <a:pt x="149" y="153"/>
                          </a:cubicBezTo>
                          <a:cubicBezTo>
                            <a:pt x="143" y="155"/>
                            <a:pt x="142" y="153"/>
                            <a:pt x="132" y="154"/>
                          </a:cubicBezTo>
                          <a:cubicBezTo>
                            <a:pt x="123" y="155"/>
                            <a:pt x="126" y="158"/>
                            <a:pt x="128" y="161"/>
                          </a:cubicBezTo>
                          <a:cubicBezTo>
                            <a:pt x="129" y="164"/>
                            <a:pt x="133" y="166"/>
                            <a:pt x="138" y="169"/>
                          </a:cubicBezTo>
                          <a:cubicBezTo>
                            <a:pt x="143" y="171"/>
                            <a:pt x="146" y="171"/>
                            <a:pt x="153" y="172"/>
                          </a:cubicBezTo>
                          <a:cubicBezTo>
                            <a:pt x="161" y="173"/>
                            <a:pt x="160" y="178"/>
                            <a:pt x="161" y="182"/>
                          </a:cubicBezTo>
                          <a:cubicBezTo>
                            <a:pt x="162" y="187"/>
                            <a:pt x="161" y="188"/>
                            <a:pt x="161" y="193"/>
                          </a:cubicBezTo>
                          <a:cubicBezTo>
                            <a:pt x="162" y="198"/>
                            <a:pt x="168" y="194"/>
                            <a:pt x="170" y="188"/>
                          </a:cubicBezTo>
                          <a:cubicBezTo>
                            <a:pt x="173" y="182"/>
                            <a:pt x="177" y="182"/>
                            <a:pt x="181" y="179"/>
                          </a:cubicBezTo>
                          <a:cubicBezTo>
                            <a:pt x="185" y="176"/>
                            <a:pt x="189" y="175"/>
                            <a:pt x="193" y="172"/>
                          </a:cubicBezTo>
                          <a:cubicBezTo>
                            <a:pt x="197" y="168"/>
                            <a:pt x="198" y="166"/>
                            <a:pt x="196" y="163"/>
                          </a:cubicBezTo>
                          <a:close/>
                          <a:moveTo>
                            <a:pt x="186" y="189"/>
                          </a:moveTo>
                          <a:cubicBezTo>
                            <a:pt x="185" y="192"/>
                            <a:pt x="185" y="192"/>
                            <a:pt x="187" y="196"/>
                          </a:cubicBezTo>
                          <a:cubicBezTo>
                            <a:pt x="189" y="199"/>
                            <a:pt x="193" y="198"/>
                            <a:pt x="194" y="194"/>
                          </a:cubicBezTo>
                          <a:cubicBezTo>
                            <a:pt x="194" y="190"/>
                            <a:pt x="189" y="184"/>
                            <a:pt x="186" y="189"/>
                          </a:cubicBezTo>
                          <a:close/>
                          <a:moveTo>
                            <a:pt x="380" y="195"/>
                          </a:moveTo>
                          <a:cubicBezTo>
                            <a:pt x="385" y="193"/>
                            <a:pt x="387" y="195"/>
                            <a:pt x="391" y="191"/>
                          </a:cubicBezTo>
                          <a:cubicBezTo>
                            <a:pt x="394" y="187"/>
                            <a:pt x="400" y="191"/>
                            <a:pt x="405" y="190"/>
                          </a:cubicBezTo>
                          <a:cubicBezTo>
                            <a:pt x="411" y="189"/>
                            <a:pt x="410" y="190"/>
                            <a:pt x="411" y="187"/>
                          </a:cubicBezTo>
                          <a:cubicBezTo>
                            <a:pt x="412" y="185"/>
                            <a:pt x="410" y="185"/>
                            <a:pt x="406" y="182"/>
                          </a:cubicBezTo>
                          <a:cubicBezTo>
                            <a:pt x="402" y="180"/>
                            <a:pt x="404" y="179"/>
                            <a:pt x="405" y="174"/>
                          </a:cubicBezTo>
                          <a:cubicBezTo>
                            <a:pt x="405" y="169"/>
                            <a:pt x="403" y="168"/>
                            <a:pt x="399" y="165"/>
                          </a:cubicBezTo>
                          <a:cubicBezTo>
                            <a:pt x="397" y="162"/>
                            <a:pt x="392" y="165"/>
                            <a:pt x="389" y="168"/>
                          </a:cubicBezTo>
                          <a:cubicBezTo>
                            <a:pt x="386" y="170"/>
                            <a:pt x="388" y="171"/>
                            <a:pt x="386" y="174"/>
                          </a:cubicBezTo>
                          <a:cubicBezTo>
                            <a:pt x="384" y="177"/>
                            <a:pt x="382" y="174"/>
                            <a:pt x="379" y="173"/>
                          </a:cubicBezTo>
                          <a:cubicBezTo>
                            <a:pt x="377" y="171"/>
                            <a:pt x="381" y="168"/>
                            <a:pt x="381" y="165"/>
                          </a:cubicBezTo>
                          <a:cubicBezTo>
                            <a:pt x="382" y="162"/>
                            <a:pt x="380" y="163"/>
                            <a:pt x="376" y="162"/>
                          </a:cubicBezTo>
                          <a:cubicBezTo>
                            <a:pt x="372" y="161"/>
                            <a:pt x="370" y="163"/>
                            <a:pt x="367" y="166"/>
                          </a:cubicBezTo>
                          <a:cubicBezTo>
                            <a:pt x="365" y="170"/>
                            <a:pt x="364" y="169"/>
                            <a:pt x="360" y="167"/>
                          </a:cubicBezTo>
                          <a:cubicBezTo>
                            <a:pt x="355" y="166"/>
                            <a:pt x="355" y="163"/>
                            <a:pt x="353" y="158"/>
                          </a:cubicBezTo>
                          <a:cubicBezTo>
                            <a:pt x="351" y="154"/>
                            <a:pt x="349" y="157"/>
                            <a:pt x="342" y="156"/>
                          </a:cubicBezTo>
                          <a:cubicBezTo>
                            <a:pt x="336" y="156"/>
                            <a:pt x="336" y="154"/>
                            <a:pt x="331" y="153"/>
                          </a:cubicBezTo>
                          <a:cubicBezTo>
                            <a:pt x="325" y="152"/>
                            <a:pt x="328" y="156"/>
                            <a:pt x="328" y="160"/>
                          </a:cubicBezTo>
                          <a:cubicBezTo>
                            <a:pt x="328" y="164"/>
                            <a:pt x="331" y="167"/>
                            <a:pt x="335" y="169"/>
                          </a:cubicBezTo>
                          <a:cubicBezTo>
                            <a:pt x="339" y="172"/>
                            <a:pt x="345" y="173"/>
                            <a:pt x="353" y="177"/>
                          </a:cubicBezTo>
                          <a:cubicBezTo>
                            <a:pt x="360" y="181"/>
                            <a:pt x="357" y="181"/>
                            <a:pt x="360" y="180"/>
                          </a:cubicBezTo>
                          <a:cubicBezTo>
                            <a:pt x="362" y="179"/>
                            <a:pt x="367" y="182"/>
                            <a:pt x="370" y="184"/>
                          </a:cubicBezTo>
                          <a:cubicBezTo>
                            <a:pt x="372" y="185"/>
                            <a:pt x="368" y="189"/>
                            <a:pt x="366" y="195"/>
                          </a:cubicBezTo>
                          <a:cubicBezTo>
                            <a:pt x="364" y="200"/>
                            <a:pt x="375" y="198"/>
                            <a:pt x="380" y="195"/>
                          </a:cubicBezTo>
                          <a:close/>
                          <a:moveTo>
                            <a:pt x="579" y="300"/>
                          </a:moveTo>
                          <a:cubicBezTo>
                            <a:pt x="575" y="301"/>
                            <a:pt x="571" y="302"/>
                            <a:pt x="574" y="305"/>
                          </a:cubicBezTo>
                          <a:cubicBezTo>
                            <a:pt x="577" y="308"/>
                            <a:pt x="579" y="310"/>
                            <a:pt x="581" y="308"/>
                          </a:cubicBezTo>
                          <a:cubicBezTo>
                            <a:pt x="583" y="307"/>
                            <a:pt x="587" y="305"/>
                            <a:pt x="587" y="302"/>
                          </a:cubicBezTo>
                          <a:cubicBezTo>
                            <a:pt x="587" y="299"/>
                            <a:pt x="583" y="299"/>
                            <a:pt x="579" y="300"/>
                          </a:cubicBezTo>
                          <a:close/>
                          <a:moveTo>
                            <a:pt x="597" y="193"/>
                          </a:moveTo>
                          <a:cubicBezTo>
                            <a:pt x="604" y="193"/>
                            <a:pt x="604" y="193"/>
                            <a:pt x="604" y="189"/>
                          </a:cubicBezTo>
                          <a:cubicBezTo>
                            <a:pt x="604" y="186"/>
                            <a:pt x="603" y="188"/>
                            <a:pt x="599" y="186"/>
                          </a:cubicBezTo>
                          <a:cubicBezTo>
                            <a:pt x="596" y="184"/>
                            <a:pt x="598" y="184"/>
                            <a:pt x="595" y="181"/>
                          </a:cubicBezTo>
                          <a:cubicBezTo>
                            <a:pt x="593" y="178"/>
                            <a:pt x="589" y="178"/>
                            <a:pt x="582" y="176"/>
                          </a:cubicBezTo>
                          <a:cubicBezTo>
                            <a:pt x="576" y="175"/>
                            <a:pt x="573" y="176"/>
                            <a:pt x="566" y="176"/>
                          </a:cubicBezTo>
                          <a:cubicBezTo>
                            <a:pt x="560" y="176"/>
                            <a:pt x="564" y="178"/>
                            <a:pt x="560" y="182"/>
                          </a:cubicBezTo>
                          <a:cubicBezTo>
                            <a:pt x="556" y="186"/>
                            <a:pt x="554" y="182"/>
                            <a:pt x="549" y="179"/>
                          </a:cubicBezTo>
                          <a:cubicBezTo>
                            <a:pt x="544" y="176"/>
                            <a:pt x="544" y="176"/>
                            <a:pt x="538" y="171"/>
                          </a:cubicBezTo>
                          <a:cubicBezTo>
                            <a:pt x="532" y="167"/>
                            <a:pt x="532" y="168"/>
                            <a:pt x="521" y="168"/>
                          </a:cubicBezTo>
                          <a:cubicBezTo>
                            <a:pt x="510" y="168"/>
                            <a:pt x="515" y="168"/>
                            <a:pt x="510" y="167"/>
                          </a:cubicBezTo>
                          <a:cubicBezTo>
                            <a:pt x="504" y="165"/>
                            <a:pt x="503" y="165"/>
                            <a:pt x="496" y="165"/>
                          </a:cubicBezTo>
                          <a:cubicBezTo>
                            <a:pt x="490" y="166"/>
                            <a:pt x="481" y="165"/>
                            <a:pt x="477" y="166"/>
                          </a:cubicBezTo>
                          <a:cubicBezTo>
                            <a:pt x="473" y="167"/>
                            <a:pt x="474" y="168"/>
                            <a:pt x="466" y="169"/>
                          </a:cubicBezTo>
                          <a:cubicBezTo>
                            <a:pt x="459" y="170"/>
                            <a:pt x="462" y="173"/>
                            <a:pt x="459" y="176"/>
                          </a:cubicBezTo>
                          <a:cubicBezTo>
                            <a:pt x="456" y="179"/>
                            <a:pt x="454" y="181"/>
                            <a:pt x="455" y="188"/>
                          </a:cubicBezTo>
                          <a:cubicBezTo>
                            <a:pt x="455" y="196"/>
                            <a:pt x="459" y="190"/>
                            <a:pt x="468" y="190"/>
                          </a:cubicBezTo>
                          <a:cubicBezTo>
                            <a:pt x="476" y="190"/>
                            <a:pt x="476" y="191"/>
                            <a:pt x="481" y="193"/>
                          </a:cubicBezTo>
                          <a:cubicBezTo>
                            <a:pt x="486" y="196"/>
                            <a:pt x="492" y="195"/>
                            <a:pt x="500" y="193"/>
                          </a:cubicBezTo>
                          <a:cubicBezTo>
                            <a:pt x="508" y="191"/>
                            <a:pt x="509" y="192"/>
                            <a:pt x="516" y="192"/>
                          </a:cubicBezTo>
                          <a:cubicBezTo>
                            <a:pt x="522" y="192"/>
                            <a:pt x="520" y="196"/>
                            <a:pt x="524" y="200"/>
                          </a:cubicBezTo>
                          <a:cubicBezTo>
                            <a:pt x="527" y="204"/>
                            <a:pt x="529" y="203"/>
                            <a:pt x="535" y="201"/>
                          </a:cubicBezTo>
                          <a:cubicBezTo>
                            <a:pt x="540" y="199"/>
                            <a:pt x="541" y="196"/>
                            <a:pt x="550" y="194"/>
                          </a:cubicBezTo>
                          <a:cubicBezTo>
                            <a:pt x="559" y="191"/>
                            <a:pt x="557" y="195"/>
                            <a:pt x="559" y="197"/>
                          </a:cubicBezTo>
                          <a:cubicBezTo>
                            <a:pt x="561" y="198"/>
                            <a:pt x="567" y="201"/>
                            <a:pt x="572" y="201"/>
                          </a:cubicBezTo>
                          <a:cubicBezTo>
                            <a:pt x="577" y="201"/>
                            <a:pt x="577" y="199"/>
                            <a:pt x="582" y="196"/>
                          </a:cubicBezTo>
                          <a:cubicBezTo>
                            <a:pt x="586" y="193"/>
                            <a:pt x="591" y="193"/>
                            <a:pt x="597" y="193"/>
                          </a:cubicBezTo>
                          <a:close/>
                          <a:moveTo>
                            <a:pt x="184" y="82"/>
                          </a:moveTo>
                          <a:cubicBezTo>
                            <a:pt x="189" y="81"/>
                            <a:pt x="179" y="68"/>
                            <a:pt x="172" y="73"/>
                          </a:cubicBezTo>
                          <a:cubicBezTo>
                            <a:pt x="170" y="76"/>
                            <a:pt x="166" y="80"/>
                            <a:pt x="172" y="81"/>
                          </a:cubicBezTo>
                          <a:cubicBezTo>
                            <a:pt x="178" y="82"/>
                            <a:pt x="180" y="82"/>
                            <a:pt x="184" y="82"/>
                          </a:cubicBezTo>
                          <a:close/>
                          <a:moveTo>
                            <a:pt x="413" y="157"/>
                          </a:moveTo>
                          <a:cubicBezTo>
                            <a:pt x="414" y="154"/>
                            <a:pt x="410" y="147"/>
                            <a:pt x="407" y="152"/>
                          </a:cubicBezTo>
                          <a:cubicBezTo>
                            <a:pt x="407" y="155"/>
                            <a:pt x="405" y="158"/>
                            <a:pt x="408" y="158"/>
                          </a:cubicBezTo>
                          <a:cubicBezTo>
                            <a:pt x="411" y="159"/>
                            <a:pt x="412" y="160"/>
                            <a:pt x="413" y="157"/>
                          </a:cubicBezTo>
                          <a:close/>
                          <a:moveTo>
                            <a:pt x="294" y="209"/>
                          </a:moveTo>
                          <a:cubicBezTo>
                            <a:pt x="303" y="208"/>
                            <a:pt x="309" y="207"/>
                            <a:pt x="313" y="205"/>
                          </a:cubicBezTo>
                          <a:cubicBezTo>
                            <a:pt x="317" y="203"/>
                            <a:pt x="326" y="203"/>
                            <a:pt x="329" y="200"/>
                          </a:cubicBezTo>
                          <a:cubicBezTo>
                            <a:pt x="332" y="196"/>
                            <a:pt x="342" y="196"/>
                            <a:pt x="348" y="194"/>
                          </a:cubicBezTo>
                          <a:cubicBezTo>
                            <a:pt x="354" y="192"/>
                            <a:pt x="355" y="192"/>
                            <a:pt x="355" y="188"/>
                          </a:cubicBezTo>
                          <a:cubicBezTo>
                            <a:pt x="355" y="185"/>
                            <a:pt x="351" y="188"/>
                            <a:pt x="346" y="188"/>
                          </a:cubicBezTo>
                          <a:cubicBezTo>
                            <a:pt x="341" y="189"/>
                            <a:pt x="338" y="191"/>
                            <a:pt x="331" y="192"/>
                          </a:cubicBezTo>
                          <a:cubicBezTo>
                            <a:pt x="325" y="192"/>
                            <a:pt x="325" y="192"/>
                            <a:pt x="319" y="188"/>
                          </a:cubicBezTo>
                          <a:cubicBezTo>
                            <a:pt x="313" y="183"/>
                            <a:pt x="313" y="184"/>
                            <a:pt x="309" y="179"/>
                          </a:cubicBezTo>
                          <a:cubicBezTo>
                            <a:pt x="305" y="175"/>
                            <a:pt x="304" y="175"/>
                            <a:pt x="295" y="173"/>
                          </a:cubicBezTo>
                          <a:cubicBezTo>
                            <a:pt x="290" y="172"/>
                            <a:pt x="282" y="173"/>
                            <a:pt x="279" y="174"/>
                          </a:cubicBezTo>
                          <a:cubicBezTo>
                            <a:pt x="276" y="175"/>
                            <a:pt x="275" y="179"/>
                            <a:pt x="273" y="185"/>
                          </a:cubicBezTo>
                          <a:cubicBezTo>
                            <a:pt x="270" y="191"/>
                            <a:pt x="270" y="193"/>
                            <a:pt x="270" y="199"/>
                          </a:cubicBezTo>
                          <a:cubicBezTo>
                            <a:pt x="269" y="204"/>
                            <a:pt x="271" y="206"/>
                            <a:pt x="274" y="209"/>
                          </a:cubicBezTo>
                          <a:cubicBezTo>
                            <a:pt x="276" y="212"/>
                            <a:pt x="284" y="211"/>
                            <a:pt x="294" y="209"/>
                          </a:cubicBezTo>
                          <a:close/>
                          <a:moveTo>
                            <a:pt x="429" y="188"/>
                          </a:moveTo>
                          <a:cubicBezTo>
                            <a:pt x="434" y="189"/>
                            <a:pt x="439" y="187"/>
                            <a:pt x="439" y="184"/>
                          </a:cubicBezTo>
                          <a:cubicBezTo>
                            <a:pt x="439" y="181"/>
                            <a:pt x="438" y="167"/>
                            <a:pt x="430" y="173"/>
                          </a:cubicBezTo>
                          <a:cubicBezTo>
                            <a:pt x="429" y="176"/>
                            <a:pt x="430" y="178"/>
                            <a:pt x="430" y="182"/>
                          </a:cubicBezTo>
                          <a:cubicBezTo>
                            <a:pt x="429" y="186"/>
                            <a:pt x="423" y="188"/>
                            <a:pt x="429" y="188"/>
                          </a:cubicBezTo>
                          <a:close/>
                          <a:moveTo>
                            <a:pt x="7" y="3"/>
                          </a:moveTo>
                          <a:cubicBezTo>
                            <a:pt x="4" y="8"/>
                            <a:pt x="0" y="12"/>
                            <a:pt x="5" y="13"/>
                          </a:cubicBezTo>
                          <a:cubicBezTo>
                            <a:pt x="9" y="13"/>
                            <a:pt x="5" y="16"/>
                            <a:pt x="11" y="10"/>
                          </a:cubicBezTo>
                          <a:cubicBezTo>
                            <a:pt x="17" y="5"/>
                            <a:pt x="10" y="0"/>
                            <a:pt x="7" y="3"/>
                          </a:cubicBezTo>
                          <a:close/>
                          <a:moveTo>
                            <a:pt x="494" y="49"/>
                          </a:moveTo>
                          <a:cubicBezTo>
                            <a:pt x="497" y="47"/>
                            <a:pt x="496" y="45"/>
                            <a:pt x="497" y="41"/>
                          </a:cubicBezTo>
                          <a:cubicBezTo>
                            <a:pt x="498" y="38"/>
                            <a:pt x="499" y="36"/>
                            <a:pt x="497" y="35"/>
                          </a:cubicBezTo>
                          <a:cubicBezTo>
                            <a:pt x="496" y="35"/>
                            <a:pt x="494" y="34"/>
                            <a:pt x="493" y="37"/>
                          </a:cubicBezTo>
                          <a:cubicBezTo>
                            <a:pt x="494" y="42"/>
                            <a:pt x="492" y="40"/>
                            <a:pt x="492" y="44"/>
                          </a:cubicBezTo>
                          <a:cubicBezTo>
                            <a:pt x="492" y="49"/>
                            <a:pt x="490" y="51"/>
                            <a:pt x="494" y="49"/>
                          </a:cubicBezTo>
                          <a:close/>
                          <a:moveTo>
                            <a:pt x="54" y="75"/>
                          </a:moveTo>
                          <a:cubicBezTo>
                            <a:pt x="46" y="75"/>
                            <a:pt x="37" y="76"/>
                            <a:pt x="31" y="78"/>
                          </a:cubicBezTo>
                          <a:cubicBezTo>
                            <a:pt x="24" y="80"/>
                            <a:pt x="24" y="82"/>
                            <a:pt x="22" y="88"/>
                          </a:cubicBezTo>
                          <a:cubicBezTo>
                            <a:pt x="21" y="94"/>
                            <a:pt x="26" y="92"/>
                            <a:pt x="32" y="92"/>
                          </a:cubicBezTo>
                          <a:cubicBezTo>
                            <a:pt x="37" y="93"/>
                            <a:pt x="39" y="97"/>
                            <a:pt x="47" y="98"/>
                          </a:cubicBezTo>
                          <a:cubicBezTo>
                            <a:pt x="56" y="99"/>
                            <a:pt x="56" y="98"/>
                            <a:pt x="62" y="95"/>
                          </a:cubicBezTo>
                          <a:cubicBezTo>
                            <a:pt x="68" y="91"/>
                            <a:pt x="69" y="91"/>
                            <a:pt x="78" y="89"/>
                          </a:cubicBezTo>
                          <a:cubicBezTo>
                            <a:pt x="88" y="88"/>
                            <a:pt x="95" y="79"/>
                            <a:pt x="85" y="78"/>
                          </a:cubicBezTo>
                          <a:cubicBezTo>
                            <a:pt x="74" y="78"/>
                            <a:pt x="70" y="75"/>
                            <a:pt x="54" y="75"/>
                          </a:cubicBezTo>
                          <a:close/>
                          <a:moveTo>
                            <a:pt x="421" y="253"/>
                          </a:moveTo>
                          <a:cubicBezTo>
                            <a:pt x="427" y="255"/>
                            <a:pt x="429" y="256"/>
                            <a:pt x="434" y="256"/>
                          </a:cubicBezTo>
                          <a:cubicBezTo>
                            <a:pt x="440" y="256"/>
                            <a:pt x="445" y="257"/>
                            <a:pt x="451" y="259"/>
                          </a:cubicBezTo>
                          <a:cubicBezTo>
                            <a:pt x="457" y="260"/>
                            <a:pt x="458" y="263"/>
                            <a:pt x="462" y="268"/>
                          </a:cubicBezTo>
                          <a:cubicBezTo>
                            <a:pt x="466" y="273"/>
                            <a:pt x="471" y="273"/>
                            <a:pt x="475" y="275"/>
                          </a:cubicBezTo>
                          <a:cubicBezTo>
                            <a:pt x="480" y="277"/>
                            <a:pt x="481" y="279"/>
                            <a:pt x="483" y="283"/>
                          </a:cubicBezTo>
                          <a:cubicBezTo>
                            <a:pt x="484" y="287"/>
                            <a:pt x="490" y="287"/>
                            <a:pt x="493" y="286"/>
                          </a:cubicBezTo>
                          <a:cubicBezTo>
                            <a:pt x="496" y="286"/>
                            <a:pt x="499" y="284"/>
                            <a:pt x="502" y="281"/>
                          </a:cubicBezTo>
                          <a:cubicBezTo>
                            <a:pt x="505" y="277"/>
                            <a:pt x="508" y="279"/>
                            <a:pt x="512" y="278"/>
                          </a:cubicBezTo>
                          <a:cubicBezTo>
                            <a:pt x="515" y="276"/>
                            <a:pt x="513" y="269"/>
                            <a:pt x="511" y="267"/>
                          </a:cubicBezTo>
                          <a:cubicBezTo>
                            <a:pt x="509" y="265"/>
                            <a:pt x="508" y="265"/>
                            <a:pt x="504" y="260"/>
                          </a:cubicBezTo>
                          <a:cubicBezTo>
                            <a:pt x="500" y="255"/>
                            <a:pt x="503" y="256"/>
                            <a:pt x="502" y="252"/>
                          </a:cubicBezTo>
                          <a:cubicBezTo>
                            <a:pt x="500" y="249"/>
                            <a:pt x="496" y="250"/>
                            <a:pt x="491" y="249"/>
                          </a:cubicBezTo>
                          <a:cubicBezTo>
                            <a:pt x="486" y="247"/>
                            <a:pt x="486" y="248"/>
                            <a:pt x="481" y="246"/>
                          </a:cubicBezTo>
                          <a:cubicBezTo>
                            <a:pt x="475" y="243"/>
                            <a:pt x="478" y="242"/>
                            <a:pt x="476" y="237"/>
                          </a:cubicBezTo>
                          <a:cubicBezTo>
                            <a:pt x="473" y="232"/>
                            <a:pt x="474" y="236"/>
                            <a:pt x="468" y="232"/>
                          </a:cubicBezTo>
                          <a:cubicBezTo>
                            <a:pt x="462" y="228"/>
                            <a:pt x="461" y="229"/>
                            <a:pt x="454" y="228"/>
                          </a:cubicBezTo>
                          <a:cubicBezTo>
                            <a:pt x="448" y="227"/>
                            <a:pt x="445" y="229"/>
                            <a:pt x="438" y="229"/>
                          </a:cubicBezTo>
                          <a:cubicBezTo>
                            <a:pt x="429" y="229"/>
                            <a:pt x="419" y="232"/>
                            <a:pt x="415" y="235"/>
                          </a:cubicBezTo>
                          <a:cubicBezTo>
                            <a:pt x="411" y="238"/>
                            <a:pt x="410" y="237"/>
                            <a:pt x="408" y="238"/>
                          </a:cubicBezTo>
                          <a:cubicBezTo>
                            <a:pt x="405" y="240"/>
                            <a:pt x="401" y="243"/>
                            <a:pt x="403" y="246"/>
                          </a:cubicBezTo>
                          <a:cubicBezTo>
                            <a:pt x="405" y="249"/>
                            <a:pt x="414" y="251"/>
                            <a:pt x="421" y="253"/>
                          </a:cubicBezTo>
                          <a:close/>
                          <a:moveTo>
                            <a:pt x="498" y="23"/>
                          </a:moveTo>
                          <a:cubicBezTo>
                            <a:pt x="500" y="22"/>
                            <a:pt x="501" y="21"/>
                            <a:pt x="501" y="17"/>
                          </a:cubicBezTo>
                          <a:cubicBezTo>
                            <a:pt x="500" y="14"/>
                            <a:pt x="496" y="3"/>
                            <a:pt x="494" y="9"/>
                          </a:cubicBezTo>
                          <a:cubicBezTo>
                            <a:pt x="494" y="14"/>
                            <a:pt x="497" y="13"/>
                            <a:pt x="496" y="18"/>
                          </a:cubicBezTo>
                          <a:cubicBezTo>
                            <a:pt x="496" y="23"/>
                            <a:pt x="496" y="24"/>
                            <a:pt x="498" y="23"/>
                          </a:cubicBezTo>
                          <a:close/>
                          <a:moveTo>
                            <a:pt x="744" y="175"/>
                          </a:moveTo>
                          <a:cubicBezTo>
                            <a:pt x="751" y="174"/>
                            <a:pt x="748" y="171"/>
                            <a:pt x="761" y="170"/>
                          </a:cubicBezTo>
                          <a:cubicBezTo>
                            <a:pt x="774" y="169"/>
                            <a:pt x="773" y="167"/>
                            <a:pt x="765" y="157"/>
                          </a:cubicBezTo>
                          <a:cubicBezTo>
                            <a:pt x="757" y="148"/>
                            <a:pt x="754" y="158"/>
                            <a:pt x="739" y="154"/>
                          </a:cubicBezTo>
                          <a:cubicBezTo>
                            <a:pt x="736" y="152"/>
                            <a:pt x="736" y="159"/>
                            <a:pt x="737" y="162"/>
                          </a:cubicBezTo>
                          <a:cubicBezTo>
                            <a:pt x="738" y="164"/>
                            <a:pt x="735" y="169"/>
                            <a:pt x="734" y="172"/>
                          </a:cubicBezTo>
                          <a:cubicBezTo>
                            <a:pt x="733" y="176"/>
                            <a:pt x="737" y="176"/>
                            <a:pt x="744" y="175"/>
                          </a:cubicBezTo>
                          <a:close/>
                          <a:moveTo>
                            <a:pt x="679" y="178"/>
                          </a:moveTo>
                          <a:cubicBezTo>
                            <a:pt x="682" y="174"/>
                            <a:pt x="681" y="169"/>
                            <a:pt x="673" y="173"/>
                          </a:cubicBezTo>
                          <a:cubicBezTo>
                            <a:pt x="669" y="175"/>
                            <a:pt x="664" y="177"/>
                            <a:pt x="669" y="178"/>
                          </a:cubicBezTo>
                          <a:cubicBezTo>
                            <a:pt x="674" y="180"/>
                            <a:pt x="677" y="183"/>
                            <a:pt x="679" y="178"/>
                          </a:cubicBezTo>
                          <a:close/>
                          <a:moveTo>
                            <a:pt x="718" y="163"/>
                          </a:moveTo>
                          <a:cubicBezTo>
                            <a:pt x="715" y="167"/>
                            <a:pt x="710" y="165"/>
                            <a:pt x="709" y="169"/>
                          </a:cubicBezTo>
                          <a:cubicBezTo>
                            <a:pt x="709" y="173"/>
                            <a:pt x="709" y="174"/>
                            <a:pt x="714" y="174"/>
                          </a:cubicBezTo>
                          <a:cubicBezTo>
                            <a:pt x="719" y="174"/>
                            <a:pt x="722" y="173"/>
                            <a:pt x="723" y="169"/>
                          </a:cubicBezTo>
                          <a:cubicBezTo>
                            <a:pt x="724" y="165"/>
                            <a:pt x="722" y="160"/>
                            <a:pt x="718" y="163"/>
                          </a:cubicBezTo>
                          <a:close/>
                          <a:moveTo>
                            <a:pt x="672" y="279"/>
                          </a:moveTo>
                          <a:cubicBezTo>
                            <a:pt x="671" y="283"/>
                            <a:pt x="668" y="285"/>
                            <a:pt x="670" y="289"/>
                          </a:cubicBezTo>
                          <a:cubicBezTo>
                            <a:pt x="673" y="291"/>
                            <a:pt x="678" y="281"/>
                            <a:pt x="678" y="279"/>
                          </a:cubicBezTo>
                          <a:cubicBezTo>
                            <a:pt x="678" y="277"/>
                            <a:pt x="672" y="275"/>
                            <a:pt x="672" y="279"/>
                          </a:cubicBezTo>
                          <a:close/>
                          <a:moveTo>
                            <a:pt x="616" y="187"/>
                          </a:moveTo>
                          <a:cubicBezTo>
                            <a:pt x="621" y="187"/>
                            <a:pt x="622" y="188"/>
                            <a:pt x="627" y="184"/>
                          </a:cubicBezTo>
                          <a:cubicBezTo>
                            <a:pt x="632" y="180"/>
                            <a:pt x="639" y="182"/>
                            <a:pt x="643" y="178"/>
                          </a:cubicBezTo>
                          <a:cubicBezTo>
                            <a:pt x="647" y="174"/>
                            <a:pt x="649" y="172"/>
                            <a:pt x="647" y="164"/>
                          </a:cubicBezTo>
                          <a:cubicBezTo>
                            <a:pt x="646" y="156"/>
                            <a:pt x="640" y="156"/>
                            <a:pt x="635" y="164"/>
                          </a:cubicBezTo>
                          <a:cubicBezTo>
                            <a:pt x="631" y="170"/>
                            <a:pt x="628" y="166"/>
                            <a:pt x="622" y="174"/>
                          </a:cubicBezTo>
                          <a:cubicBezTo>
                            <a:pt x="617" y="181"/>
                            <a:pt x="610" y="187"/>
                            <a:pt x="616" y="187"/>
                          </a:cubicBezTo>
                          <a:close/>
                          <a:moveTo>
                            <a:pt x="692" y="160"/>
                          </a:moveTo>
                          <a:cubicBezTo>
                            <a:pt x="689" y="163"/>
                            <a:pt x="690" y="167"/>
                            <a:pt x="692" y="167"/>
                          </a:cubicBezTo>
                          <a:cubicBezTo>
                            <a:pt x="695" y="167"/>
                            <a:pt x="698" y="167"/>
                            <a:pt x="700" y="163"/>
                          </a:cubicBezTo>
                          <a:cubicBezTo>
                            <a:pt x="701" y="159"/>
                            <a:pt x="694" y="157"/>
                            <a:pt x="692" y="160"/>
                          </a:cubicBezTo>
                          <a:close/>
                          <a:moveTo>
                            <a:pt x="640" y="327"/>
                          </a:moveTo>
                          <a:cubicBezTo>
                            <a:pt x="643" y="328"/>
                            <a:pt x="646" y="326"/>
                            <a:pt x="649" y="323"/>
                          </a:cubicBezTo>
                          <a:cubicBezTo>
                            <a:pt x="651" y="320"/>
                            <a:pt x="652" y="321"/>
                            <a:pt x="659" y="318"/>
                          </a:cubicBezTo>
                          <a:cubicBezTo>
                            <a:pt x="667" y="315"/>
                            <a:pt x="673" y="314"/>
                            <a:pt x="674" y="311"/>
                          </a:cubicBezTo>
                          <a:cubicBezTo>
                            <a:pt x="674" y="309"/>
                            <a:pt x="676" y="300"/>
                            <a:pt x="675" y="299"/>
                          </a:cubicBezTo>
                          <a:cubicBezTo>
                            <a:pt x="673" y="299"/>
                            <a:pt x="669" y="300"/>
                            <a:pt x="665" y="303"/>
                          </a:cubicBezTo>
                          <a:cubicBezTo>
                            <a:pt x="660" y="306"/>
                            <a:pt x="662" y="304"/>
                            <a:pt x="656" y="307"/>
                          </a:cubicBezTo>
                          <a:cubicBezTo>
                            <a:pt x="650" y="311"/>
                            <a:pt x="648" y="308"/>
                            <a:pt x="643" y="314"/>
                          </a:cubicBezTo>
                          <a:cubicBezTo>
                            <a:pt x="638" y="320"/>
                            <a:pt x="637" y="325"/>
                            <a:pt x="640" y="327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07" name="Freeform 283"/>
                    <p:cNvSpPr>
                      <a:spLocks/>
                    </p:cNvSpPr>
                    <p:nvPr/>
                  </p:nvSpPr>
                  <p:spPr bwMode="auto">
                    <a:xfrm>
                      <a:off x="6390197" y="4560782"/>
                      <a:ext cx="17859" cy="14287"/>
                    </a:xfrm>
                    <a:custGeom>
                      <a:avLst/>
                      <a:gdLst>
                        <a:gd name="T0" fmla="*/ 36 w 63"/>
                        <a:gd name="T1" fmla="*/ 31 h 51"/>
                        <a:gd name="T2" fmla="*/ 49 w 63"/>
                        <a:gd name="T3" fmla="*/ 31 h 51"/>
                        <a:gd name="T4" fmla="*/ 55 w 63"/>
                        <a:gd name="T5" fmla="*/ 33 h 51"/>
                        <a:gd name="T6" fmla="*/ 60 w 63"/>
                        <a:gd name="T7" fmla="*/ 32 h 51"/>
                        <a:gd name="T8" fmla="*/ 63 w 63"/>
                        <a:gd name="T9" fmla="*/ 25 h 51"/>
                        <a:gd name="T10" fmla="*/ 59 w 63"/>
                        <a:gd name="T11" fmla="*/ 1 h 51"/>
                        <a:gd name="T12" fmla="*/ 57 w 63"/>
                        <a:gd name="T13" fmla="*/ 1 h 51"/>
                        <a:gd name="T14" fmla="*/ 34 w 63"/>
                        <a:gd name="T15" fmla="*/ 4 h 51"/>
                        <a:gd name="T16" fmla="*/ 16 w 63"/>
                        <a:gd name="T17" fmla="*/ 20 h 51"/>
                        <a:gd name="T18" fmla="*/ 0 w 63"/>
                        <a:gd name="T19" fmla="*/ 26 h 51"/>
                        <a:gd name="T20" fmla="*/ 18 w 63"/>
                        <a:gd name="T21" fmla="*/ 48 h 51"/>
                        <a:gd name="T22" fmla="*/ 24 w 63"/>
                        <a:gd name="T23" fmla="*/ 51 h 51"/>
                        <a:gd name="T24" fmla="*/ 29 w 63"/>
                        <a:gd name="T25" fmla="*/ 51 h 51"/>
                        <a:gd name="T26" fmla="*/ 31 w 63"/>
                        <a:gd name="T27" fmla="*/ 50 h 51"/>
                        <a:gd name="T28" fmla="*/ 31 w 63"/>
                        <a:gd name="T29" fmla="*/ 49 h 51"/>
                        <a:gd name="T30" fmla="*/ 31 w 63"/>
                        <a:gd name="T31" fmla="*/ 44 h 51"/>
                        <a:gd name="T32" fmla="*/ 36 w 63"/>
                        <a:gd name="T33" fmla="*/ 31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63" h="51">
                          <a:moveTo>
                            <a:pt x="36" y="31"/>
                          </a:moveTo>
                          <a:cubicBezTo>
                            <a:pt x="41" y="27"/>
                            <a:pt x="44" y="29"/>
                            <a:pt x="49" y="31"/>
                          </a:cubicBezTo>
                          <a:cubicBezTo>
                            <a:pt x="50" y="32"/>
                            <a:pt x="52" y="32"/>
                            <a:pt x="55" y="33"/>
                          </a:cubicBezTo>
                          <a:cubicBezTo>
                            <a:pt x="58" y="34"/>
                            <a:pt x="59" y="33"/>
                            <a:pt x="60" y="32"/>
                          </a:cubicBezTo>
                          <a:cubicBezTo>
                            <a:pt x="62" y="30"/>
                            <a:pt x="62" y="28"/>
                            <a:pt x="63" y="25"/>
                          </a:cubicBezTo>
                          <a:cubicBezTo>
                            <a:pt x="63" y="21"/>
                            <a:pt x="61" y="9"/>
                            <a:pt x="59" y="1"/>
                          </a:cubicBezTo>
                          <a:cubicBezTo>
                            <a:pt x="58" y="1"/>
                            <a:pt x="57" y="1"/>
                            <a:pt x="57" y="1"/>
                          </a:cubicBezTo>
                          <a:cubicBezTo>
                            <a:pt x="49" y="0"/>
                            <a:pt x="43" y="2"/>
                            <a:pt x="34" y="4"/>
                          </a:cubicBezTo>
                          <a:cubicBezTo>
                            <a:pt x="25" y="6"/>
                            <a:pt x="25" y="12"/>
                            <a:pt x="16" y="20"/>
                          </a:cubicBezTo>
                          <a:cubicBezTo>
                            <a:pt x="9" y="26"/>
                            <a:pt x="7" y="25"/>
                            <a:pt x="0" y="26"/>
                          </a:cubicBezTo>
                          <a:cubicBezTo>
                            <a:pt x="6" y="34"/>
                            <a:pt x="13" y="44"/>
                            <a:pt x="18" y="48"/>
                          </a:cubicBezTo>
                          <a:cubicBezTo>
                            <a:pt x="20" y="49"/>
                            <a:pt x="22" y="50"/>
                            <a:pt x="24" y="51"/>
                          </a:cubicBezTo>
                          <a:cubicBezTo>
                            <a:pt x="26" y="51"/>
                            <a:pt x="27" y="51"/>
                            <a:pt x="29" y="51"/>
                          </a:cubicBezTo>
                          <a:cubicBezTo>
                            <a:pt x="30" y="51"/>
                            <a:pt x="31" y="50"/>
                            <a:pt x="31" y="50"/>
                          </a:cubicBezTo>
                          <a:cubicBezTo>
                            <a:pt x="31" y="50"/>
                            <a:pt x="31" y="49"/>
                            <a:pt x="31" y="49"/>
                          </a:cubicBezTo>
                          <a:cubicBezTo>
                            <a:pt x="31" y="48"/>
                            <a:pt x="31" y="46"/>
                            <a:pt x="31" y="44"/>
                          </a:cubicBezTo>
                          <a:cubicBezTo>
                            <a:pt x="31" y="40"/>
                            <a:pt x="31" y="35"/>
                            <a:pt x="36" y="31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08" name="Freeform 285"/>
                    <p:cNvSpPr>
                      <a:spLocks/>
                    </p:cNvSpPr>
                    <p:nvPr/>
                  </p:nvSpPr>
                  <p:spPr bwMode="auto">
                    <a:xfrm>
                      <a:off x="6442584" y="4471485"/>
                      <a:ext cx="27384" cy="27384"/>
                    </a:xfrm>
                    <a:custGeom>
                      <a:avLst/>
                      <a:gdLst>
                        <a:gd name="T0" fmla="*/ 6 w 94"/>
                        <a:gd name="T1" fmla="*/ 95 h 98"/>
                        <a:gd name="T2" fmla="*/ 24 w 94"/>
                        <a:gd name="T3" fmla="*/ 80 h 98"/>
                        <a:gd name="T4" fmla="*/ 48 w 94"/>
                        <a:gd name="T5" fmla="*/ 62 h 98"/>
                        <a:gd name="T6" fmla="*/ 64 w 94"/>
                        <a:gd name="T7" fmla="*/ 49 h 98"/>
                        <a:gd name="T8" fmla="*/ 83 w 94"/>
                        <a:gd name="T9" fmla="*/ 35 h 98"/>
                        <a:gd name="T10" fmla="*/ 92 w 94"/>
                        <a:gd name="T11" fmla="*/ 22 h 98"/>
                        <a:gd name="T12" fmla="*/ 94 w 94"/>
                        <a:gd name="T13" fmla="*/ 9 h 98"/>
                        <a:gd name="T14" fmla="*/ 80 w 94"/>
                        <a:gd name="T15" fmla="*/ 13 h 98"/>
                        <a:gd name="T16" fmla="*/ 62 w 94"/>
                        <a:gd name="T17" fmla="*/ 29 h 98"/>
                        <a:gd name="T18" fmla="*/ 44 w 94"/>
                        <a:gd name="T19" fmla="*/ 48 h 98"/>
                        <a:gd name="T20" fmla="*/ 20 w 94"/>
                        <a:gd name="T21" fmla="*/ 68 h 98"/>
                        <a:gd name="T22" fmla="*/ 3 w 94"/>
                        <a:gd name="T23" fmla="*/ 87 h 98"/>
                        <a:gd name="T24" fmla="*/ 6 w 94"/>
                        <a:gd name="T25" fmla="*/ 95 h 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94" h="98">
                          <a:moveTo>
                            <a:pt x="6" y="95"/>
                          </a:moveTo>
                          <a:cubicBezTo>
                            <a:pt x="10" y="92"/>
                            <a:pt x="21" y="86"/>
                            <a:pt x="24" y="80"/>
                          </a:cubicBezTo>
                          <a:cubicBezTo>
                            <a:pt x="27" y="75"/>
                            <a:pt x="43" y="68"/>
                            <a:pt x="48" y="62"/>
                          </a:cubicBezTo>
                          <a:cubicBezTo>
                            <a:pt x="54" y="57"/>
                            <a:pt x="59" y="55"/>
                            <a:pt x="64" y="49"/>
                          </a:cubicBezTo>
                          <a:cubicBezTo>
                            <a:pt x="68" y="44"/>
                            <a:pt x="76" y="41"/>
                            <a:pt x="83" y="35"/>
                          </a:cubicBezTo>
                          <a:cubicBezTo>
                            <a:pt x="90" y="28"/>
                            <a:pt x="92" y="27"/>
                            <a:pt x="92" y="22"/>
                          </a:cubicBezTo>
                          <a:cubicBezTo>
                            <a:pt x="92" y="18"/>
                            <a:pt x="94" y="14"/>
                            <a:pt x="94" y="9"/>
                          </a:cubicBezTo>
                          <a:cubicBezTo>
                            <a:pt x="94" y="0"/>
                            <a:pt x="86" y="11"/>
                            <a:pt x="80" y="13"/>
                          </a:cubicBezTo>
                          <a:cubicBezTo>
                            <a:pt x="75" y="15"/>
                            <a:pt x="66" y="26"/>
                            <a:pt x="62" y="29"/>
                          </a:cubicBezTo>
                          <a:cubicBezTo>
                            <a:pt x="58" y="33"/>
                            <a:pt x="50" y="43"/>
                            <a:pt x="44" y="48"/>
                          </a:cubicBezTo>
                          <a:cubicBezTo>
                            <a:pt x="39" y="53"/>
                            <a:pt x="25" y="62"/>
                            <a:pt x="20" y="68"/>
                          </a:cubicBezTo>
                          <a:cubicBezTo>
                            <a:pt x="14" y="73"/>
                            <a:pt x="6" y="82"/>
                            <a:pt x="3" y="87"/>
                          </a:cubicBezTo>
                          <a:cubicBezTo>
                            <a:pt x="0" y="92"/>
                            <a:pt x="2" y="98"/>
                            <a:pt x="6" y="95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09" name="Freeform 298"/>
                    <p:cNvSpPr>
                      <a:spLocks/>
                    </p:cNvSpPr>
                    <p:nvPr/>
                  </p:nvSpPr>
                  <p:spPr bwMode="auto">
                    <a:xfrm>
                      <a:off x="6687853" y="4775094"/>
                      <a:ext cx="16669" cy="16669"/>
                    </a:xfrm>
                    <a:custGeom>
                      <a:avLst/>
                      <a:gdLst>
                        <a:gd name="T0" fmla="*/ 49 w 56"/>
                        <a:gd name="T1" fmla="*/ 6 h 58"/>
                        <a:gd name="T2" fmla="*/ 55 w 56"/>
                        <a:gd name="T3" fmla="*/ 6 h 58"/>
                        <a:gd name="T4" fmla="*/ 47 w 56"/>
                        <a:gd name="T5" fmla="*/ 0 h 58"/>
                        <a:gd name="T6" fmla="*/ 36 w 56"/>
                        <a:gd name="T7" fmla="*/ 4 h 58"/>
                        <a:gd name="T8" fmla="*/ 25 w 56"/>
                        <a:gd name="T9" fmla="*/ 12 h 58"/>
                        <a:gd name="T10" fmla="*/ 15 w 56"/>
                        <a:gd name="T11" fmla="*/ 23 h 58"/>
                        <a:gd name="T12" fmla="*/ 7 w 56"/>
                        <a:gd name="T13" fmla="*/ 35 h 58"/>
                        <a:gd name="T14" fmla="*/ 5 w 56"/>
                        <a:gd name="T15" fmla="*/ 51 h 58"/>
                        <a:gd name="T16" fmla="*/ 14 w 56"/>
                        <a:gd name="T17" fmla="*/ 54 h 58"/>
                        <a:gd name="T18" fmla="*/ 26 w 56"/>
                        <a:gd name="T19" fmla="*/ 41 h 58"/>
                        <a:gd name="T20" fmla="*/ 41 w 56"/>
                        <a:gd name="T21" fmla="*/ 25 h 58"/>
                        <a:gd name="T22" fmla="*/ 40 w 56"/>
                        <a:gd name="T23" fmla="*/ 10 h 58"/>
                        <a:gd name="T24" fmla="*/ 49 w 56"/>
                        <a:gd name="T25" fmla="*/ 6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56" h="58">
                          <a:moveTo>
                            <a:pt x="49" y="6"/>
                          </a:moveTo>
                          <a:cubicBezTo>
                            <a:pt x="54" y="8"/>
                            <a:pt x="56" y="8"/>
                            <a:pt x="55" y="6"/>
                          </a:cubicBezTo>
                          <a:cubicBezTo>
                            <a:pt x="54" y="4"/>
                            <a:pt x="52" y="0"/>
                            <a:pt x="47" y="0"/>
                          </a:cubicBezTo>
                          <a:cubicBezTo>
                            <a:pt x="42" y="0"/>
                            <a:pt x="42" y="2"/>
                            <a:pt x="36" y="4"/>
                          </a:cubicBezTo>
                          <a:cubicBezTo>
                            <a:pt x="30" y="7"/>
                            <a:pt x="31" y="7"/>
                            <a:pt x="25" y="12"/>
                          </a:cubicBezTo>
                          <a:cubicBezTo>
                            <a:pt x="19" y="16"/>
                            <a:pt x="17" y="17"/>
                            <a:pt x="15" y="23"/>
                          </a:cubicBezTo>
                          <a:cubicBezTo>
                            <a:pt x="13" y="30"/>
                            <a:pt x="10" y="28"/>
                            <a:pt x="7" y="35"/>
                          </a:cubicBezTo>
                          <a:cubicBezTo>
                            <a:pt x="4" y="43"/>
                            <a:pt x="0" y="47"/>
                            <a:pt x="5" y="51"/>
                          </a:cubicBezTo>
                          <a:cubicBezTo>
                            <a:pt x="9" y="55"/>
                            <a:pt x="8" y="58"/>
                            <a:pt x="14" y="54"/>
                          </a:cubicBezTo>
                          <a:cubicBezTo>
                            <a:pt x="19" y="51"/>
                            <a:pt x="17" y="49"/>
                            <a:pt x="26" y="41"/>
                          </a:cubicBezTo>
                          <a:cubicBezTo>
                            <a:pt x="34" y="32"/>
                            <a:pt x="41" y="32"/>
                            <a:pt x="41" y="25"/>
                          </a:cubicBezTo>
                          <a:cubicBezTo>
                            <a:pt x="40" y="17"/>
                            <a:pt x="38" y="13"/>
                            <a:pt x="40" y="10"/>
                          </a:cubicBezTo>
                          <a:cubicBezTo>
                            <a:pt x="42" y="8"/>
                            <a:pt x="44" y="4"/>
                            <a:pt x="49" y="6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10" name="Freeform 301"/>
                    <p:cNvSpPr>
                      <a:spLocks/>
                    </p:cNvSpPr>
                    <p:nvPr/>
                  </p:nvSpPr>
                  <p:spPr bwMode="auto">
                    <a:xfrm>
                      <a:off x="6805725" y="4779857"/>
                      <a:ext cx="23812" cy="19050"/>
                    </a:xfrm>
                    <a:custGeom>
                      <a:avLst/>
                      <a:gdLst>
                        <a:gd name="T0" fmla="*/ 77 w 83"/>
                        <a:gd name="T1" fmla="*/ 29 h 65"/>
                        <a:gd name="T2" fmla="*/ 80 w 83"/>
                        <a:gd name="T3" fmla="*/ 21 h 65"/>
                        <a:gd name="T4" fmla="*/ 81 w 83"/>
                        <a:gd name="T5" fmla="*/ 13 h 65"/>
                        <a:gd name="T6" fmla="*/ 74 w 83"/>
                        <a:gd name="T7" fmla="*/ 5 h 65"/>
                        <a:gd name="T8" fmla="*/ 65 w 83"/>
                        <a:gd name="T9" fmla="*/ 3 h 65"/>
                        <a:gd name="T10" fmla="*/ 52 w 83"/>
                        <a:gd name="T11" fmla="*/ 2 h 65"/>
                        <a:gd name="T12" fmla="*/ 36 w 83"/>
                        <a:gd name="T13" fmla="*/ 6 h 65"/>
                        <a:gd name="T14" fmla="*/ 21 w 83"/>
                        <a:gd name="T15" fmla="*/ 16 h 65"/>
                        <a:gd name="T16" fmla="*/ 15 w 83"/>
                        <a:gd name="T17" fmla="*/ 33 h 65"/>
                        <a:gd name="T18" fmla="*/ 9 w 83"/>
                        <a:gd name="T19" fmla="*/ 48 h 65"/>
                        <a:gd name="T20" fmla="*/ 1 w 83"/>
                        <a:gd name="T21" fmla="*/ 61 h 65"/>
                        <a:gd name="T22" fmla="*/ 9 w 83"/>
                        <a:gd name="T23" fmla="*/ 64 h 65"/>
                        <a:gd name="T24" fmla="*/ 25 w 83"/>
                        <a:gd name="T25" fmla="*/ 62 h 65"/>
                        <a:gd name="T26" fmla="*/ 43 w 83"/>
                        <a:gd name="T27" fmla="*/ 60 h 65"/>
                        <a:gd name="T28" fmla="*/ 56 w 83"/>
                        <a:gd name="T29" fmla="*/ 52 h 65"/>
                        <a:gd name="T30" fmla="*/ 65 w 83"/>
                        <a:gd name="T31" fmla="*/ 46 h 65"/>
                        <a:gd name="T32" fmla="*/ 73 w 83"/>
                        <a:gd name="T33" fmla="*/ 38 h 65"/>
                        <a:gd name="T34" fmla="*/ 77 w 83"/>
                        <a:gd name="T35" fmla="*/ 29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83" h="65">
                          <a:moveTo>
                            <a:pt x="77" y="29"/>
                          </a:moveTo>
                          <a:cubicBezTo>
                            <a:pt x="76" y="24"/>
                            <a:pt x="78" y="25"/>
                            <a:pt x="80" y="21"/>
                          </a:cubicBezTo>
                          <a:cubicBezTo>
                            <a:pt x="83" y="17"/>
                            <a:pt x="82" y="16"/>
                            <a:pt x="81" y="13"/>
                          </a:cubicBezTo>
                          <a:cubicBezTo>
                            <a:pt x="80" y="10"/>
                            <a:pt x="78" y="7"/>
                            <a:pt x="74" y="5"/>
                          </a:cubicBezTo>
                          <a:cubicBezTo>
                            <a:pt x="71" y="3"/>
                            <a:pt x="71" y="5"/>
                            <a:pt x="65" y="3"/>
                          </a:cubicBezTo>
                          <a:cubicBezTo>
                            <a:pt x="59" y="0"/>
                            <a:pt x="56" y="2"/>
                            <a:pt x="52" y="2"/>
                          </a:cubicBezTo>
                          <a:cubicBezTo>
                            <a:pt x="48" y="2"/>
                            <a:pt x="42" y="3"/>
                            <a:pt x="36" y="6"/>
                          </a:cubicBezTo>
                          <a:cubicBezTo>
                            <a:pt x="30" y="8"/>
                            <a:pt x="27" y="11"/>
                            <a:pt x="21" y="16"/>
                          </a:cubicBezTo>
                          <a:cubicBezTo>
                            <a:pt x="15" y="22"/>
                            <a:pt x="17" y="27"/>
                            <a:pt x="15" y="33"/>
                          </a:cubicBezTo>
                          <a:cubicBezTo>
                            <a:pt x="14" y="39"/>
                            <a:pt x="11" y="42"/>
                            <a:pt x="9" y="48"/>
                          </a:cubicBezTo>
                          <a:cubicBezTo>
                            <a:pt x="6" y="54"/>
                            <a:pt x="2" y="57"/>
                            <a:pt x="1" y="61"/>
                          </a:cubicBezTo>
                          <a:cubicBezTo>
                            <a:pt x="0" y="64"/>
                            <a:pt x="3" y="65"/>
                            <a:pt x="9" y="64"/>
                          </a:cubicBezTo>
                          <a:cubicBezTo>
                            <a:pt x="14" y="63"/>
                            <a:pt x="18" y="63"/>
                            <a:pt x="25" y="62"/>
                          </a:cubicBezTo>
                          <a:cubicBezTo>
                            <a:pt x="32" y="61"/>
                            <a:pt x="40" y="62"/>
                            <a:pt x="43" y="60"/>
                          </a:cubicBezTo>
                          <a:cubicBezTo>
                            <a:pt x="47" y="59"/>
                            <a:pt x="51" y="57"/>
                            <a:pt x="56" y="52"/>
                          </a:cubicBezTo>
                          <a:cubicBezTo>
                            <a:pt x="60" y="46"/>
                            <a:pt x="65" y="49"/>
                            <a:pt x="65" y="46"/>
                          </a:cubicBezTo>
                          <a:cubicBezTo>
                            <a:pt x="66" y="42"/>
                            <a:pt x="69" y="42"/>
                            <a:pt x="73" y="38"/>
                          </a:cubicBezTo>
                          <a:cubicBezTo>
                            <a:pt x="78" y="34"/>
                            <a:pt x="77" y="34"/>
                            <a:pt x="77" y="29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11" name="Freeform 307"/>
                    <p:cNvSpPr>
                      <a:spLocks/>
                    </p:cNvSpPr>
                    <p:nvPr/>
                  </p:nvSpPr>
                  <p:spPr bwMode="auto">
                    <a:xfrm>
                      <a:off x="6741431" y="4758425"/>
                      <a:ext cx="8334" cy="13097"/>
                    </a:xfrm>
                    <a:custGeom>
                      <a:avLst/>
                      <a:gdLst>
                        <a:gd name="T0" fmla="*/ 10 w 31"/>
                        <a:gd name="T1" fmla="*/ 21 h 47"/>
                        <a:gd name="T2" fmla="*/ 3 w 31"/>
                        <a:gd name="T3" fmla="*/ 29 h 47"/>
                        <a:gd name="T4" fmla="*/ 3 w 31"/>
                        <a:gd name="T5" fmla="*/ 38 h 47"/>
                        <a:gd name="T6" fmla="*/ 11 w 31"/>
                        <a:gd name="T7" fmla="*/ 46 h 47"/>
                        <a:gd name="T8" fmla="*/ 17 w 31"/>
                        <a:gd name="T9" fmla="*/ 38 h 47"/>
                        <a:gd name="T10" fmla="*/ 23 w 31"/>
                        <a:gd name="T11" fmla="*/ 32 h 47"/>
                        <a:gd name="T12" fmla="*/ 29 w 31"/>
                        <a:gd name="T13" fmla="*/ 29 h 47"/>
                        <a:gd name="T14" fmla="*/ 25 w 31"/>
                        <a:gd name="T15" fmla="*/ 19 h 47"/>
                        <a:gd name="T16" fmla="*/ 18 w 31"/>
                        <a:gd name="T17" fmla="*/ 13 h 47"/>
                        <a:gd name="T18" fmla="*/ 12 w 31"/>
                        <a:gd name="T19" fmla="*/ 6 h 47"/>
                        <a:gd name="T20" fmla="*/ 8 w 31"/>
                        <a:gd name="T21" fmla="*/ 12 h 47"/>
                        <a:gd name="T22" fmla="*/ 14 w 31"/>
                        <a:gd name="T23" fmla="*/ 18 h 47"/>
                        <a:gd name="T24" fmla="*/ 10 w 31"/>
                        <a:gd name="T25" fmla="*/ 21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31" h="47">
                          <a:moveTo>
                            <a:pt x="10" y="21"/>
                          </a:moveTo>
                          <a:cubicBezTo>
                            <a:pt x="5" y="22"/>
                            <a:pt x="6" y="24"/>
                            <a:pt x="3" y="29"/>
                          </a:cubicBezTo>
                          <a:cubicBezTo>
                            <a:pt x="0" y="33"/>
                            <a:pt x="2" y="33"/>
                            <a:pt x="3" y="38"/>
                          </a:cubicBezTo>
                          <a:cubicBezTo>
                            <a:pt x="4" y="42"/>
                            <a:pt x="8" y="45"/>
                            <a:pt x="11" y="46"/>
                          </a:cubicBezTo>
                          <a:cubicBezTo>
                            <a:pt x="13" y="47"/>
                            <a:pt x="15" y="44"/>
                            <a:pt x="17" y="38"/>
                          </a:cubicBezTo>
                          <a:cubicBezTo>
                            <a:pt x="18" y="32"/>
                            <a:pt x="21" y="34"/>
                            <a:pt x="23" y="32"/>
                          </a:cubicBezTo>
                          <a:cubicBezTo>
                            <a:pt x="25" y="31"/>
                            <a:pt x="27" y="32"/>
                            <a:pt x="29" y="29"/>
                          </a:cubicBezTo>
                          <a:cubicBezTo>
                            <a:pt x="31" y="25"/>
                            <a:pt x="29" y="25"/>
                            <a:pt x="25" y="19"/>
                          </a:cubicBezTo>
                          <a:cubicBezTo>
                            <a:pt x="21" y="14"/>
                            <a:pt x="23" y="16"/>
                            <a:pt x="18" y="13"/>
                          </a:cubicBezTo>
                          <a:cubicBezTo>
                            <a:pt x="14" y="10"/>
                            <a:pt x="15" y="11"/>
                            <a:pt x="12" y="6"/>
                          </a:cubicBezTo>
                          <a:cubicBezTo>
                            <a:pt x="11" y="0"/>
                            <a:pt x="7" y="7"/>
                            <a:pt x="8" y="12"/>
                          </a:cubicBezTo>
                          <a:cubicBezTo>
                            <a:pt x="9" y="17"/>
                            <a:pt x="12" y="15"/>
                            <a:pt x="14" y="18"/>
                          </a:cubicBezTo>
                          <a:cubicBezTo>
                            <a:pt x="16" y="20"/>
                            <a:pt x="14" y="20"/>
                            <a:pt x="10" y="21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12" name="Freeform 30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105763" y="4707229"/>
                      <a:ext cx="138112" cy="153591"/>
                    </a:xfrm>
                    <a:custGeom>
                      <a:avLst/>
                      <a:gdLst>
                        <a:gd name="T0" fmla="*/ 10 w 483"/>
                        <a:gd name="T1" fmla="*/ 12 h 533"/>
                        <a:gd name="T2" fmla="*/ 445 w 483"/>
                        <a:gd name="T3" fmla="*/ 437 h 533"/>
                        <a:gd name="T4" fmla="*/ 437 w 483"/>
                        <a:gd name="T5" fmla="*/ 451 h 533"/>
                        <a:gd name="T6" fmla="*/ 481 w 483"/>
                        <a:gd name="T7" fmla="*/ 466 h 533"/>
                        <a:gd name="T8" fmla="*/ 460 w 483"/>
                        <a:gd name="T9" fmla="*/ 403 h 533"/>
                        <a:gd name="T10" fmla="*/ 460 w 483"/>
                        <a:gd name="T11" fmla="*/ 403 h 533"/>
                        <a:gd name="T12" fmla="*/ 405 w 483"/>
                        <a:gd name="T13" fmla="*/ 346 h 533"/>
                        <a:gd name="T14" fmla="*/ 378 w 483"/>
                        <a:gd name="T15" fmla="*/ 312 h 533"/>
                        <a:gd name="T16" fmla="*/ 391 w 483"/>
                        <a:gd name="T17" fmla="*/ 363 h 533"/>
                        <a:gd name="T18" fmla="*/ 423 w 483"/>
                        <a:gd name="T19" fmla="*/ 383 h 533"/>
                        <a:gd name="T20" fmla="*/ 356 w 483"/>
                        <a:gd name="T21" fmla="*/ 355 h 533"/>
                        <a:gd name="T22" fmla="*/ 355 w 483"/>
                        <a:gd name="T23" fmla="*/ 360 h 533"/>
                        <a:gd name="T24" fmla="*/ 283 w 483"/>
                        <a:gd name="T25" fmla="*/ 362 h 533"/>
                        <a:gd name="T26" fmla="*/ 369 w 483"/>
                        <a:gd name="T27" fmla="*/ 389 h 533"/>
                        <a:gd name="T28" fmla="*/ 329 w 483"/>
                        <a:gd name="T29" fmla="*/ 376 h 533"/>
                        <a:gd name="T30" fmla="*/ 319 w 483"/>
                        <a:gd name="T31" fmla="*/ 393 h 533"/>
                        <a:gd name="T32" fmla="*/ 371 w 483"/>
                        <a:gd name="T33" fmla="*/ 410 h 533"/>
                        <a:gd name="T34" fmla="*/ 369 w 483"/>
                        <a:gd name="T35" fmla="*/ 389 h 533"/>
                        <a:gd name="T36" fmla="*/ 339 w 483"/>
                        <a:gd name="T37" fmla="*/ 511 h 533"/>
                        <a:gd name="T38" fmla="*/ 365 w 483"/>
                        <a:gd name="T39" fmla="*/ 531 h 533"/>
                        <a:gd name="T40" fmla="*/ 330 w 483"/>
                        <a:gd name="T41" fmla="*/ 322 h 533"/>
                        <a:gd name="T42" fmla="*/ 310 w 483"/>
                        <a:gd name="T43" fmla="*/ 295 h 533"/>
                        <a:gd name="T44" fmla="*/ 261 w 483"/>
                        <a:gd name="T45" fmla="*/ 266 h 533"/>
                        <a:gd name="T46" fmla="*/ 236 w 483"/>
                        <a:gd name="T47" fmla="*/ 265 h 533"/>
                        <a:gd name="T48" fmla="*/ 277 w 483"/>
                        <a:gd name="T49" fmla="*/ 295 h 533"/>
                        <a:gd name="T50" fmla="*/ 318 w 483"/>
                        <a:gd name="T51" fmla="*/ 316 h 533"/>
                        <a:gd name="T52" fmla="*/ 211 w 483"/>
                        <a:gd name="T53" fmla="*/ 331 h 533"/>
                        <a:gd name="T54" fmla="*/ 214 w 483"/>
                        <a:gd name="T55" fmla="*/ 325 h 533"/>
                        <a:gd name="T56" fmla="*/ 161 w 483"/>
                        <a:gd name="T57" fmla="*/ 235 h 533"/>
                        <a:gd name="T58" fmla="*/ 126 w 483"/>
                        <a:gd name="T59" fmla="*/ 212 h 533"/>
                        <a:gd name="T60" fmla="*/ 145 w 483"/>
                        <a:gd name="T61" fmla="*/ 239 h 533"/>
                        <a:gd name="T62" fmla="*/ 130 w 483"/>
                        <a:gd name="T63" fmla="*/ 268 h 533"/>
                        <a:gd name="T64" fmla="*/ 139 w 483"/>
                        <a:gd name="T65" fmla="*/ 277 h 533"/>
                        <a:gd name="T66" fmla="*/ 124 w 483"/>
                        <a:gd name="T67" fmla="*/ 296 h 533"/>
                        <a:gd name="T68" fmla="*/ 122 w 483"/>
                        <a:gd name="T69" fmla="*/ 289 h 533"/>
                        <a:gd name="T70" fmla="*/ 167 w 483"/>
                        <a:gd name="T71" fmla="*/ 331 h 533"/>
                        <a:gd name="T72" fmla="*/ 175 w 483"/>
                        <a:gd name="T73" fmla="*/ 324 h 533"/>
                        <a:gd name="T74" fmla="*/ 158 w 483"/>
                        <a:gd name="T75" fmla="*/ 297 h 533"/>
                        <a:gd name="T76" fmla="*/ 154 w 483"/>
                        <a:gd name="T77" fmla="*/ 286 h 533"/>
                        <a:gd name="T78" fmla="*/ 180 w 483"/>
                        <a:gd name="T79" fmla="*/ 293 h 533"/>
                        <a:gd name="T80" fmla="*/ 192 w 483"/>
                        <a:gd name="T81" fmla="*/ 313 h 533"/>
                        <a:gd name="T82" fmla="*/ 200 w 483"/>
                        <a:gd name="T83" fmla="*/ 306 h 533"/>
                        <a:gd name="T84" fmla="*/ 9 w 483"/>
                        <a:gd name="T85" fmla="*/ 121 h 533"/>
                        <a:gd name="T86" fmla="*/ 74 w 483"/>
                        <a:gd name="T87" fmla="*/ 185 h 533"/>
                        <a:gd name="T88" fmla="*/ 31 w 483"/>
                        <a:gd name="T89" fmla="*/ 137 h 533"/>
                        <a:gd name="T90" fmla="*/ 13 w 483"/>
                        <a:gd name="T91" fmla="*/ 162 h 533"/>
                        <a:gd name="T92" fmla="*/ 48 w 483"/>
                        <a:gd name="T93" fmla="*/ 203 h 533"/>
                        <a:gd name="T94" fmla="*/ 80 w 483"/>
                        <a:gd name="T95" fmla="*/ 216 h 5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483" h="533">
                          <a:moveTo>
                            <a:pt x="15" y="9"/>
                          </a:moveTo>
                          <a:cubicBezTo>
                            <a:pt x="16" y="7"/>
                            <a:pt x="13" y="0"/>
                            <a:pt x="10" y="4"/>
                          </a:cubicBezTo>
                          <a:cubicBezTo>
                            <a:pt x="8" y="8"/>
                            <a:pt x="9" y="12"/>
                            <a:pt x="10" y="12"/>
                          </a:cubicBezTo>
                          <a:cubicBezTo>
                            <a:pt x="12" y="12"/>
                            <a:pt x="14" y="12"/>
                            <a:pt x="15" y="9"/>
                          </a:cubicBezTo>
                          <a:close/>
                          <a:moveTo>
                            <a:pt x="461" y="445"/>
                          </a:moveTo>
                          <a:cubicBezTo>
                            <a:pt x="455" y="439"/>
                            <a:pt x="454" y="438"/>
                            <a:pt x="445" y="437"/>
                          </a:cubicBezTo>
                          <a:cubicBezTo>
                            <a:pt x="435" y="436"/>
                            <a:pt x="423" y="428"/>
                            <a:pt x="423" y="431"/>
                          </a:cubicBezTo>
                          <a:cubicBezTo>
                            <a:pt x="422" y="436"/>
                            <a:pt x="422" y="438"/>
                            <a:pt x="427" y="442"/>
                          </a:cubicBezTo>
                          <a:cubicBezTo>
                            <a:pt x="432" y="445"/>
                            <a:pt x="434" y="446"/>
                            <a:pt x="437" y="451"/>
                          </a:cubicBezTo>
                          <a:cubicBezTo>
                            <a:pt x="440" y="456"/>
                            <a:pt x="438" y="456"/>
                            <a:pt x="448" y="459"/>
                          </a:cubicBezTo>
                          <a:cubicBezTo>
                            <a:pt x="458" y="463"/>
                            <a:pt x="458" y="462"/>
                            <a:pt x="464" y="464"/>
                          </a:cubicBezTo>
                          <a:cubicBezTo>
                            <a:pt x="470" y="466"/>
                            <a:pt x="480" y="470"/>
                            <a:pt x="481" y="466"/>
                          </a:cubicBezTo>
                          <a:cubicBezTo>
                            <a:pt x="483" y="462"/>
                            <a:pt x="481" y="463"/>
                            <a:pt x="476" y="456"/>
                          </a:cubicBezTo>
                          <a:cubicBezTo>
                            <a:pt x="471" y="449"/>
                            <a:pt x="467" y="452"/>
                            <a:pt x="461" y="445"/>
                          </a:cubicBezTo>
                          <a:close/>
                          <a:moveTo>
                            <a:pt x="460" y="403"/>
                          </a:moveTo>
                          <a:cubicBezTo>
                            <a:pt x="461" y="398"/>
                            <a:pt x="460" y="391"/>
                            <a:pt x="457" y="393"/>
                          </a:cubicBezTo>
                          <a:cubicBezTo>
                            <a:pt x="454" y="396"/>
                            <a:pt x="452" y="400"/>
                            <a:pt x="454" y="402"/>
                          </a:cubicBezTo>
                          <a:cubicBezTo>
                            <a:pt x="456" y="405"/>
                            <a:pt x="459" y="407"/>
                            <a:pt x="460" y="403"/>
                          </a:cubicBezTo>
                          <a:close/>
                          <a:moveTo>
                            <a:pt x="423" y="383"/>
                          </a:moveTo>
                          <a:cubicBezTo>
                            <a:pt x="419" y="378"/>
                            <a:pt x="416" y="373"/>
                            <a:pt x="416" y="368"/>
                          </a:cubicBezTo>
                          <a:cubicBezTo>
                            <a:pt x="416" y="363"/>
                            <a:pt x="407" y="353"/>
                            <a:pt x="405" y="346"/>
                          </a:cubicBezTo>
                          <a:cubicBezTo>
                            <a:pt x="402" y="339"/>
                            <a:pt x="404" y="338"/>
                            <a:pt x="402" y="332"/>
                          </a:cubicBezTo>
                          <a:cubicBezTo>
                            <a:pt x="399" y="326"/>
                            <a:pt x="398" y="330"/>
                            <a:pt x="393" y="322"/>
                          </a:cubicBezTo>
                          <a:cubicBezTo>
                            <a:pt x="389" y="314"/>
                            <a:pt x="383" y="307"/>
                            <a:pt x="378" y="312"/>
                          </a:cubicBezTo>
                          <a:cubicBezTo>
                            <a:pt x="377" y="319"/>
                            <a:pt x="378" y="321"/>
                            <a:pt x="382" y="329"/>
                          </a:cubicBezTo>
                          <a:cubicBezTo>
                            <a:pt x="385" y="337"/>
                            <a:pt x="386" y="335"/>
                            <a:pt x="386" y="347"/>
                          </a:cubicBezTo>
                          <a:cubicBezTo>
                            <a:pt x="387" y="360"/>
                            <a:pt x="382" y="359"/>
                            <a:pt x="391" y="363"/>
                          </a:cubicBezTo>
                          <a:cubicBezTo>
                            <a:pt x="400" y="368"/>
                            <a:pt x="399" y="362"/>
                            <a:pt x="405" y="371"/>
                          </a:cubicBezTo>
                          <a:cubicBezTo>
                            <a:pt x="410" y="379"/>
                            <a:pt x="410" y="385"/>
                            <a:pt x="417" y="387"/>
                          </a:cubicBezTo>
                          <a:cubicBezTo>
                            <a:pt x="423" y="388"/>
                            <a:pt x="427" y="388"/>
                            <a:pt x="423" y="383"/>
                          </a:cubicBezTo>
                          <a:close/>
                          <a:moveTo>
                            <a:pt x="355" y="360"/>
                          </a:moveTo>
                          <a:cubicBezTo>
                            <a:pt x="357" y="361"/>
                            <a:pt x="362" y="363"/>
                            <a:pt x="363" y="361"/>
                          </a:cubicBezTo>
                          <a:cubicBezTo>
                            <a:pt x="363" y="360"/>
                            <a:pt x="359" y="360"/>
                            <a:pt x="356" y="355"/>
                          </a:cubicBezTo>
                          <a:cubicBezTo>
                            <a:pt x="354" y="350"/>
                            <a:pt x="348" y="348"/>
                            <a:pt x="346" y="353"/>
                          </a:cubicBezTo>
                          <a:cubicBezTo>
                            <a:pt x="346" y="354"/>
                            <a:pt x="347" y="357"/>
                            <a:pt x="350" y="357"/>
                          </a:cubicBezTo>
                          <a:cubicBezTo>
                            <a:pt x="353" y="358"/>
                            <a:pt x="354" y="359"/>
                            <a:pt x="355" y="360"/>
                          </a:cubicBezTo>
                          <a:close/>
                          <a:moveTo>
                            <a:pt x="282" y="355"/>
                          </a:moveTo>
                          <a:cubicBezTo>
                            <a:pt x="280" y="357"/>
                            <a:pt x="278" y="357"/>
                            <a:pt x="279" y="359"/>
                          </a:cubicBezTo>
                          <a:cubicBezTo>
                            <a:pt x="279" y="361"/>
                            <a:pt x="280" y="363"/>
                            <a:pt x="283" y="362"/>
                          </a:cubicBezTo>
                          <a:cubicBezTo>
                            <a:pt x="286" y="360"/>
                            <a:pt x="288" y="362"/>
                            <a:pt x="289" y="357"/>
                          </a:cubicBezTo>
                          <a:cubicBezTo>
                            <a:pt x="291" y="353"/>
                            <a:pt x="286" y="351"/>
                            <a:pt x="282" y="355"/>
                          </a:cubicBezTo>
                          <a:close/>
                          <a:moveTo>
                            <a:pt x="369" y="389"/>
                          </a:moveTo>
                          <a:cubicBezTo>
                            <a:pt x="362" y="384"/>
                            <a:pt x="363" y="384"/>
                            <a:pt x="355" y="381"/>
                          </a:cubicBezTo>
                          <a:cubicBezTo>
                            <a:pt x="348" y="378"/>
                            <a:pt x="348" y="381"/>
                            <a:pt x="339" y="381"/>
                          </a:cubicBezTo>
                          <a:cubicBezTo>
                            <a:pt x="329" y="381"/>
                            <a:pt x="335" y="380"/>
                            <a:pt x="329" y="376"/>
                          </a:cubicBezTo>
                          <a:cubicBezTo>
                            <a:pt x="325" y="373"/>
                            <a:pt x="321" y="371"/>
                            <a:pt x="318" y="372"/>
                          </a:cubicBezTo>
                          <a:cubicBezTo>
                            <a:pt x="315" y="374"/>
                            <a:pt x="314" y="377"/>
                            <a:pt x="313" y="384"/>
                          </a:cubicBezTo>
                          <a:cubicBezTo>
                            <a:pt x="313" y="392"/>
                            <a:pt x="318" y="389"/>
                            <a:pt x="319" y="393"/>
                          </a:cubicBezTo>
                          <a:cubicBezTo>
                            <a:pt x="321" y="397"/>
                            <a:pt x="324" y="398"/>
                            <a:pt x="330" y="402"/>
                          </a:cubicBezTo>
                          <a:cubicBezTo>
                            <a:pt x="336" y="407"/>
                            <a:pt x="343" y="404"/>
                            <a:pt x="349" y="404"/>
                          </a:cubicBezTo>
                          <a:cubicBezTo>
                            <a:pt x="356" y="403"/>
                            <a:pt x="363" y="406"/>
                            <a:pt x="371" y="410"/>
                          </a:cubicBezTo>
                          <a:cubicBezTo>
                            <a:pt x="378" y="414"/>
                            <a:pt x="379" y="409"/>
                            <a:pt x="382" y="406"/>
                          </a:cubicBezTo>
                          <a:cubicBezTo>
                            <a:pt x="385" y="403"/>
                            <a:pt x="384" y="399"/>
                            <a:pt x="381" y="396"/>
                          </a:cubicBezTo>
                          <a:cubicBezTo>
                            <a:pt x="379" y="392"/>
                            <a:pt x="376" y="394"/>
                            <a:pt x="369" y="389"/>
                          </a:cubicBezTo>
                          <a:close/>
                          <a:moveTo>
                            <a:pt x="361" y="519"/>
                          </a:moveTo>
                          <a:cubicBezTo>
                            <a:pt x="358" y="518"/>
                            <a:pt x="352" y="518"/>
                            <a:pt x="350" y="515"/>
                          </a:cubicBezTo>
                          <a:cubicBezTo>
                            <a:pt x="347" y="512"/>
                            <a:pt x="340" y="507"/>
                            <a:pt x="339" y="511"/>
                          </a:cubicBezTo>
                          <a:cubicBezTo>
                            <a:pt x="340" y="517"/>
                            <a:pt x="341" y="518"/>
                            <a:pt x="346" y="519"/>
                          </a:cubicBezTo>
                          <a:cubicBezTo>
                            <a:pt x="350" y="521"/>
                            <a:pt x="353" y="519"/>
                            <a:pt x="357" y="524"/>
                          </a:cubicBezTo>
                          <a:cubicBezTo>
                            <a:pt x="360" y="528"/>
                            <a:pt x="361" y="533"/>
                            <a:pt x="365" y="531"/>
                          </a:cubicBezTo>
                          <a:cubicBezTo>
                            <a:pt x="368" y="529"/>
                            <a:pt x="370" y="529"/>
                            <a:pt x="367" y="524"/>
                          </a:cubicBezTo>
                          <a:cubicBezTo>
                            <a:pt x="364" y="520"/>
                            <a:pt x="364" y="521"/>
                            <a:pt x="361" y="519"/>
                          </a:cubicBezTo>
                          <a:close/>
                          <a:moveTo>
                            <a:pt x="330" y="322"/>
                          </a:moveTo>
                          <a:cubicBezTo>
                            <a:pt x="336" y="323"/>
                            <a:pt x="331" y="321"/>
                            <a:pt x="329" y="317"/>
                          </a:cubicBezTo>
                          <a:cubicBezTo>
                            <a:pt x="327" y="312"/>
                            <a:pt x="325" y="310"/>
                            <a:pt x="318" y="305"/>
                          </a:cubicBezTo>
                          <a:cubicBezTo>
                            <a:pt x="310" y="300"/>
                            <a:pt x="314" y="300"/>
                            <a:pt x="310" y="295"/>
                          </a:cubicBezTo>
                          <a:cubicBezTo>
                            <a:pt x="306" y="289"/>
                            <a:pt x="302" y="289"/>
                            <a:pt x="293" y="288"/>
                          </a:cubicBezTo>
                          <a:cubicBezTo>
                            <a:pt x="285" y="287"/>
                            <a:pt x="286" y="287"/>
                            <a:pt x="278" y="281"/>
                          </a:cubicBezTo>
                          <a:cubicBezTo>
                            <a:pt x="269" y="275"/>
                            <a:pt x="272" y="275"/>
                            <a:pt x="261" y="266"/>
                          </a:cubicBezTo>
                          <a:cubicBezTo>
                            <a:pt x="256" y="261"/>
                            <a:pt x="250" y="264"/>
                            <a:pt x="246" y="264"/>
                          </a:cubicBezTo>
                          <a:cubicBezTo>
                            <a:pt x="242" y="264"/>
                            <a:pt x="240" y="261"/>
                            <a:pt x="235" y="260"/>
                          </a:cubicBezTo>
                          <a:cubicBezTo>
                            <a:pt x="230" y="258"/>
                            <a:pt x="234" y="262"/>
                            <a:pt x="236" y="265"/>
                          </a:cubicBezTo>
                          <a:cubicBezTo>
                            <a:pt x="238" y="268"/>
                            <a:pt x="241" y="266"/>
                            <a:pt x="247" y="272"/>
                          </a:cubicBezTo>
                          <a:cubicBezTo>
                            <a:pt x="254" y="277"/>
                            <a:pt x="258" y="278"/>
                            <a:pt x="265" y="283"/>
                          </a:cubicBezTo>
                          <a:cubicBezTo>
                            <a:pt x="272" y="287"/>
                            <a:pt x="272" y="290"/>
                            <a:pt x="277" y="295"/>
                          </a:cubicBezTo>
                          <a:cubicBezTo>
                            <a:pt x="281" y="300"/>
                            <a:pt x="284" y="297"/>
                            <a:pt x="290" y="299"/>
                          </a:cubicBezTo>
                          <a:cubicBezTo>
                            <a:pt x="295" y="302"/>
                            <a:pt x="298" y="307"/>
                            <a:pt x="307" y="311"/>
                          </a:cubicBezTo>
                          <a:cubicBezTo>
                            <a:pt x="316" y="315"/>
                            <a:pt x="314" y="314"/>
                            <a:pt x="318" y="316"/>
                          </a:cubicBezTo>
                          <a:cubicBezTo>
                            <a:pt x="322" y="318"/>
                            <a:pt x="324" y="322"/>
                            <a:pt x="330" y="322"/>
                          </a:cubicBezTo>
                          <a:close/>
                          <a:moveTo>
                            <a:pt x="214" y="325"/>
                          </a:moveTo>
                          <a:cubicBezTo>
                            <a:pt x="211" y="326"/>
                            <a:pt x="209" y="328"/>
                            <a:pt x="211" y="331"/>
                          </a:cubicBezTo>
                          <a:cubicBezTo>
                            <a:pt x="213" y="334"/>
                            <a:pt x="214" y="335"/>
                            <a:pt x="217" y="334"/>
                          </a:cubicBezTo>
                          <a:cubicBezTo>
                            <a:pt x="219" y="333"/>
                            <a:pt x="219" y="330"/>
                            <a:pt x="222" y="328"/>
                          </a:cubicBezTo>
                          <a:cubicBezTo>
                            <a:pt x="225" y="326"/>
                            <a:pt x="219" y="323"/>
                            <a:pt x="214" y="325"/>
                          </a:cubicBezTo>
                          <a:close/>
                          <a:moveTo>
                            <a:pt x="169" y="249"/>
                          </a:moveTo>
                          <a:cubicBezTo>
                            <a:pt x="181" y="249"/>
                            <a:pt x="176" y="246"/>
                            <a:pt x="172" y="243"/>
                          </a:cubicBezTo>
                          <a:cubicBezTo>
                            <a:pt x="167" y="241"/>
                            <a:pt x="161" y="237"/>
                            <a:pt x="161" y="235"/>
                          </a:cubicBezTo>
                          <a:cubicBezTo>
                            <a:pt x="161" y="232"/>
                            <a:pt x="161" y="229"/>
                            <a:pt x="157" y="226"/>
                          </a:cubicBezTo>
                          <a:cubicBezTo>
                            <a:pt x="152" y="223"/>
                            <a:pt x="148" y="224"/>
                            <a:pt x="144" y="220"/>
                          </a:cubicBezTo>
                          <a:cubicBezTo>
                            <a:pt x="141" y="215"/>
                            <a:pt x="128" y="209"/>
                            <a:pt x="126" y="212"/>
                          </a:cubicBezTo>
                          <a:cubicBezTo>
                            <a:pt x="124" y="216"/>
                            <a:pt x="124" y="218"/>
                            <a:pt x="129" y="221"/>
                          </a:cubicBezTo>
                          <a:cubicBezTo>
                            <a:pt x="133" y="224"/>
                            <a:pt x="136" y="224"/>
                            <a:pt x="139" y="229"/>
                          </a:cubicBezTo>
                          <a:cubicBezTo>
                            <a:pt x="141" y="234"/>
                            <a:pt x="140" y="236"/>
                            <a:pt x="145" y="239"/>
                          </a:cubicBezTo>
                          <a:cubicBezTo>
                            <a:pt x="149" y="242"/>
                            <a:pt x="147" y="245"/>
                            <a:pt x="154" y="247"/>
                          </a:cubicBezTo>
                          <a:cubicBezTo>
                            <a:pt x="160" y="249"/>
                            <a:pt x="157" y="248"/>
                            <a:pt x="169" y="249"/>
                          </a:cubicBezTo>
                          <a:close/>
                          <a:moveTo>
                            <a:pt x="130" y="268"/>
                          </a:moveTo>
                          <a:cubicBezTo>
                            <a:pt x="129" y="270"/>
                            <a:pt x="128" y="271"/>
                            <a:pt x="130" y="273"/>
                          </a:cubicBezTo>
                          <a:cubicBezTo>
                            <a:pt x="132" y="276"/>
                            <a:pt x="131" y="279"/>
                            <a:pt x="133" y="280"/>
                          </a:cubicBezTo>
                          <a:cubicBezTo>
                            <a:pt x="134" y="282"/>
                            <a:pt x="138" y="280"/>
                            <a:pt x="139" y="277"/>
                          </a:cubicBezTo>
                          <a:cubicBezTo>
                            <a:pt x="140" y="273"/>
                            <a:pt x="133" y="264"/>
                            <a:pt x="130" y="268"/>
                          </a:cubicBezTo>
                          <a:close/>
                          <a:moveTo>
                            <a:pt x="122" y="289"/>
                          </a:moveTo>
                          <a:cubicBezTo>
                            <a:pt x="122" y="292"/>
                            <a:pt x="123" y="292"/>
                            <a:pt x="124" y="296"/>
                          </a:cubicBezTo>
                          <a:cubicBezTo>
                            <a:pt x="126" y="300"/>
                            <a:pt x="122" y="305"/>
                            <a:pt x="125" y="305"/>
                          </a:cubicBezTo>
                          <a:cubicBezTo>
                            <a:pt x="128" y="305"/>
                            <a:pt x="129" y="302"/>
                            <a:pt x="129" y="298"/>
                          </a:cubicBezTo>
                          <a:cubicBezTo>
                            <a:pt x="129" y="294"/>
                            <a:pt x="126" y="288"/>
                            <a:pt x="122" y="289"/>
                          </a:cubicBezTo>
                          <a:close/>
                          <a:moveTo>
                            <a:pt x="175" y="324"/>
                          </a:moveTo>
                          <a:cubicBezTo>
                            <a:pt x="174" y="320"/>
                            <a:pt x="169" y="320"/>
                            <a:pt x="167" y="321"/>
                          </a:cubicBezTo>
                          <a:cubicBezTo>
                            <a:pt x="165" y="323"/>
                            <a:pt x="163" y="327"/>
                            <a:pt x="167" y="331"/>
                          </a:cubicBezTo>
                          <a:cubicBezTo>
                            <a:pt x="172" y="334"/>
                            <a:pt x="173" y="335"/>
                            <a:pt x="177" y="337"/>
                          </a:cubicBezTo>
                          <a:cubicBezTo>
                            <a:pt x="181" y="338"/>
                            <a:pt x="179" y="336"/>
                            <a:pt x="178" y="332"/>
                          </a:cubicBezTo>
                          <a:cubicBezTo>
                            <a:pt x="176" y="328"/>
                            <a:pt x="177" y="328"/>
                            <a:pt x="175" y="324"/>
                          </a:cubicBezTo>
                          <a:close/>
                          <a:moveTo>
                            <a:pt x="154" y="286"/>
                          </a:moveTo>
                          <a:cubicBezTo>
                            <a:pt x="154" y="288"/>
                            <a:pt x="155" y="291"/>
                            <a:pt x="157" y="292"/>
                          </a:cubicBezTo>
                          <a:cubicBezTo>
                            <a:pt x="159" y="293"/>
                            <a:pt x="154" y="296"/>
                            <a:pt x="158" y="297"/>
                          </a:cubicBezTo>
                          <a:cubicBezTo>
                            <a:pt x="162" y="298"/>
                            <a:pt x="164" y="296"/>
                            <a:pt x="164" y="293"/>
                          </a:cubicBezTo>
                          <a:cubicBezTo>
                            <a:pt x="164" y="290"/>
                            <a:pt x="163" y="289"/>
                            <a:pt x="162" y="286"/>
                          </a:cubicBezTo>
                          <a:cubicBezTo>
                            <a:pt x="161" y="284"/>
                            <a:pt x="155" y="282"/>
                            <a:pt x="154" y="286"/>
                          </a:cubicBezTo>
                          <a:close/>
                          <a:moveTo>
                            <a:pt x="200" y="306"/>
                          </a:moveTo>
                          <a:cubicBezTo>
                            <a:pt x="195" y="302"/>
                            <a:pt x="196" y="301"/>
                            <a:pt x="190" y="295"/>
                          </a:cubicBezTo>
                          <a:cubicBezTo>
                            <a:pt x="185" y="289"/>
                            <a:pt x="184" y="292"/>
                            <a:pt x="180" y="293"/>
                          </a:cubicBezTo>
                          <a:cubicBezTo>
                            <a:pt x="177" y="293"/>
                            <a:pt x="173" y="300"/>
                            <a:pt x="173" y="304"/>
                          </a:cubicBezTo>
                          <a:cubicBezTo>
                            <a:pt x="174" y="308"/>
                            <a:pt x="177" y="307"/>
                            <a:pt x="183" y="307"/>
                          </a:cubicBezTo>
                          <a:cubicBezTo>
                            <a:pt x="189" y="307"/>
                            <a:pt x="189" y="309"/>
                            <a:pt x="192" y="313"/>
                          </a:cubicBezTo>
                          <a:cubicBezTo>
                            <a:pt x="195" y="316"/>
                            <a:pt x="193" y="319"/>
                            <a:pt x="200" y="322"/>
                          </a:cubicBezTo>
                          <a:cubicBezTo>
                            <a:pt x="206" y="324"/>
                            <a:pt x="205" y="320"/>
                            <a:pt x="204" y="317"/>
                          </a:cubicBezTo>
                          <a:cubicBezTo>
                            <a:pt x="204" y="315"/>
                            <a:pt x="205" y="309"/>
                            <a:pt x="200" y="306"/>
                          </a:cubicBezTo>
                          <a:close/>
                          <a:moveTo>
                            <a:pt x="1" y="107"/>
                          </a:moveTo>
                          <a:cubicBezTo>
                            <a:pt x="0" y="110"/>
                            <a:pt x="2" y="117"/>
                            <a:pt x="3" y="120"/>
                          </a:cubicBezTo>
                          <a:cubicBezTo>
                            <a:pt x="4" y="123"/>
                            <a:pt x="9" y="124"/>
                            <a:pt x="9" y="121"/>
                          </a:cubicBezTo>
                          <a:cubicBezTo>
                            <a:pt x="10" y="118"/>
                            <a:pt x="9" y="117"/>
                            <a:pt x="9" y="110"/>
                          </a:cubicBezTo>
                          <a:cubicBezTo>
                            <a:pt x="9" y="103"/>
                            <a:pt x="3" y="102"/>
                            <a:pt x="1" y="107"/>
                          </a:cubicBezTo>
                          <a:close/>
                          <a:moveTo>
                            <a:pt x="74" y="185"/>
                          </a:moveTo>
                          <a:cubicBezTo>
                            <a:pt x="64" y="178"/>
                            <a:pt x="58" y="179"/>
                            <a:pt x="52" y="171"/>
                          </a:cubicBezTo>
                          <a:cubicBezTo>
                            <a:pt x="47" y="162"/>
                            <a:pt x="41" y="159"/>
                            <a:pt x="38" y="151"/>
                          </a:cubicBezTo>
                          <a:cubicBezTo>
                            <a:pt x="36" y="144"/>
                            <a:pt x="36" y="141"/>
                            <a:pt x="31" y="137"/>
                          </a:cubicBezTo>
                          <a:cubicBezTo>
                            <a:pt x="25" y="134"/>
                            <a:pt x="21" y="131"/>
                            <a:pt x="18" y="133"/>
                          </a:cubicBezTo>
                          <a:cubicBezTo>
                            <a:pt x="15" y="136"/>
                            <a:pt x="14" y="139"/>
                            <a:pt x="12" y="147"/>
                          </a:cubicBezTo>
                          <a:cubicBezTo>
                            <a:pt x="12" y="154"/>
                            <a:pt x="11" y="157"/>
                            <a:pt x="13" y="162"/>
                          </a:cubicBezTo>
                          <a:cubicBezTo>
                            <a:pt x="16" y="168"/>
                            <a:pt x="16" y="167"/>
                            <a:pt x="22" y="174"/>
                          </a:cubicBezTo>
                          <a:cubicBezTo>
                            <a:pt x="28" y="181"/>
                            <a:pt x="30" y="190"/>
                            <a:pt x="34" y="194"/>
                          </a:cubicBezTo>
                          <a:cubicBezTo>
                            <a:pt x="37" y="198"/>
                            <a:pt x="43" y="199"/>
                            <a:pt x="48" y="203"/>
                          </a:cubicBezTo>
                          <a:cubicBezTo>
                            <a:pt x="53" y="207"/>
                            <a:pt x="53" y="210"/>
                            <a:pt x="56" y="213"/>
                          </a:cubicBezTo>
                          <a:cubicBezTo>
                            <a:pt x="59" y="216"/>
                            <a:pt x="59" y="212"/>
                            <a:pt x="65" y="218"/>
                          </a:cubicBezTo>
                          <a:cubicBezTo>
                            <a:pt x="70" y="224"/>
                            <a:pt x="77" y="220"/>
                            <a:pt x="80" y="216"/>
                          </a:cubicBezTo>
                          <a:cubicBezTo>
                            <a:pt x="83" y="213"/>
                            <a:pt x="87" y="210"/>
                            <a:pt x="86" y="204"/>
                          </a:cubicBezTo>
                          <a:cubicBezTo>
                            <a:pt x="84" y="198"/>
                            <a:pt x="84" y="192"/>
                            <a:pt x="74" y="185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13" name="Freeform 31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303406" y="4837007"/>
                      <a:ext cx="75009" cy="177403"/>
                    </a:xfrm>
                    <a:custGeom>
                      <a:avLst/>
                      <a:gdLst>
                        <a:gd name="T0" fmla="*/ 70 w 260"/>
                        <a:gd name="T1" fmla="*/ 73 h 618"/>
                        <a:gd name="T2" fmla="*/ 65 w 260"/>
                        <a:gd name="T3" fmla="*/ 58 h 618"/>
                        <a:gd name="T4" fmla="*/ 54 w 260"/>
                        <a:gd name="T5" fmla="*/ 158 h 618"/>
                        <a:gd name="T6" fmla="*/ 49 w 260"/>
                        <a:gd name="T7" fmla="*/ 163 h 618"/>
                        <a:gd name="T8" fmla="*/ 10 w 260"/>
                        <a:gd name="T9" fmla="*/ 7 h 618"/>
                        <a:gd name="T10" fmla="*/ 19 w 260"/>
                        <a:gd name="T11" fmla="*/ 14 h 618"/>
                        <a:gd name="T12" fmla="*/ 10 w 260"/>
                        <a:gd name="T13" fmla="*/ 7 h 618"/>
                        <a:gd name="T14" fmla="*/ 111 w 260"/>
                        <a:gd name="T15" fmla="*/ 238 h 618"/>
                        <a:gd name="T16" fmla="*/ 108 w 260"/>
                        <a:gd name="T17" fmla="*/ 226 h 618"/>
                        <a:gd name="T18" fmla="*/ 94 w 260"/>
                        <a:gd name="T19" fmla="*/ 337 h 618"/>
                        <a:gd name="T20" fmla="*/ 103 w 260"/>
                        <a:gd name="T21" fmla="*/ 355 h 618"/>
                        <a:gd name="T22" fmla="*/ 115 w 260"/>
                        <a:gd name="T23" fmla="*/ 377 h 618"/>
                        <a:gd name="T24" fmla="*/ 121 w 260"/>
                        <a:gd name="T25" fmla="*/ 355 h 618"/>
                        <a:gd name="T26" fmla="*/ 94 w 260"/>
                        <a:gd name="T27" fmla="*/ 337 h 618"/>
                        <a:gd name="T28" fmla="*/ 109 w 260"/>
                        <a:gd name="T29" fmla="*/ 197 h 618"/>
                        <a:gd name="T30" fmla="*/ 115 w 260"/>
                        <a:gd name="T31" fmla="*/ 210 h 618"/>
                        <a:gd name="T32" fmla="*/ 126 w 260"/>
                        <a:gd name="T33" fmla="*/ 193 h 618"/>
                        <a:gd name="T34" fmla="*/ 134 w 260"/>
                        <a:gd name="T35" fmla="*/ 300 h 618"/>
                        <a:gd name="T36" fmla="*/ 127 w 260"/>
                        <a:gd name="T37" fmla="*/ 308 h 618"/>
                        <a:gd name="T38" fmla="*/ 139 w 260"/>
                        <a:gd name="T39" fmla="*/ 302 h 618"/>
                        <a:gd name="T40" fmla="*/ 252 w 260"/>
                        <a:gd name="T41" fmla="*/ 610 h 618"/>
                        <a:gd name="T42" fmla="*/ 256 w 260"/>
                        <a:gd name="T43" fmla="*/ 605 h 618"/>
                        <a:gd name="T44" fmla="*/ 252 w 260"/>
                        <a:gd name="T45" fmla="*/ 610 h 618"/>
                        <a:gd name="T46" fmla="*/ 206 w 260"/>
                        <a:gd name="T47" fmla="*/ 508 h 618"/>
                        <a:gd name="T48" fmla="*/ 219 w 260"/>
                        <a:gd name="T49" fmla="*/ 526 h 618"/>
                        <a:gd name="T50" fmla="*/ 219 w 260"/>
                        <a:gd name="T51" fmla="*/ 516 h 618"/>
                        <a:gd name="T52" fmla="*/ 224 w 260"/>
                        <a:gd name="T53" fmla="*/ 574 h 618"/>
                        <a:gd name="T54" fmla="*/ 232 w 260"/>
                        <a:gd name="T55" fmla="*/ 564 h 618"/>
                        <a:gd name="T56" fmla="*/ 160 w 260"/>
                        <a:gd name="T57" fmla="*/ 442 h 618"/>
                        <a:gd name="T58" fmla="*/ 165 w 260"/>
                        <a:gd name="T59" fmla="*/ 457 h 618"/>
                        <a:gd name="T60" fmla="*/ 173 w 260"/>
                        <a:gd name="T61" fmla="*/ 445 h 618"/>
                        <a:gd name="T62" fmla="*/ 54 w 260"/>
                        <a:gd name="T63" fmla="*/ 267 h 618"/>
                        <a:gd name="T64" fmla="*/ 61 w 260"/>
                        <a:gd name="T65" fmla="*/ 310 h 618"/>
                        <a:gd name="T66" fmla="*/ 84 w 260"/>
                        <a:gd name="T67" fmla="*/ 316 h 618"/>
                        <a:gd name="T68" fmla="*/ 91 w 260"/>
                        <a:gd name="T69" fmla="*/ 300 h 618"/>
                        <a:gd name="T70" fmla="*/ 81 w 260"/>
                        <a:gd name="T71" fmla="*/ 275 h 618"/>
                        <a:gd name="T72" fmla="*/ 68 w 260"/>
                        <a:gd name="T73" fmla="*/ 277 h 618"/>
                        <a:gd name="T74" fmla="*/ 54 w 260"/>
                        <a:gd name="T75" fmla="*/ 267 h 618"/>
                        <a:gd name="T76" fmla="*/ 148 w 260"/>
                        <a:gd name="T77" fmla="*/ 288 h 618"/>
                        <a:gd name="T78" fmla="*/ 152 w 260"/>
                        <a:gd name="T79" fmla="*/ 289 h 618"/>
                        <a:gd name="T80" fmla="*/ 153 w 260"/>
                        <a:gd name="T81" fmla="*/ 310 h 618"/>
                        <a:gd name="T82" fmla="*/ 153 w 260"/>
                        <a:gd name="T83" fmla="*/ 327 h 618"/>
                        <a:gd name="T84" fmla="*/ 157 w 260"/>
                        <a:gd name="T85" fmla="*/ 333 h 618"/>
                        <a:gd name="T86" fmla="*/ 153 w 260"/>
                        <a:gd name="T87" fmla="*/ 316 h 618"/>
                        <a:gd name="T88" fmla="*/ 142 w 260"/>
                        <a:gd name="T89" fmla="*/ 356 h 618"/>
                        <a:gd name="T90" fmla="*/ 160 w 260"/>
                        <a:gd name="T91" fmla="*/ 360 h 618"/>
                        <a:gd name="T92" fmla="*/ 146 w 260"/>
                        <a:gd name="T93" fmla="*/ 350 h 618"/>
                        <a:gd name="T94" fmla="*/ 171 w 260"/>
                        <a:gd name="T95" fmla="*/ 390 h 618"/>
                        <a:gd name="T96" fmla="*/ 152 w 260"/>
                        <a:gd name="T97" fmla="*/ 381 h 618"/>
                        <a:gd name="T98" fmla="*/ 157 w 260"/>
                        <a:gd name="T99" fmla="*/ 394 h 618"/>
                        <a:gd name="T100" fmla="*/ 171 w 260"/>
                        <a:gd name="T101" fmla="*/ 390 h 6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</a:cxnLst>
                      <a:rect l="0" t="0" r="r" b="b"/>
                      <a:pathLst>
                        <a:path w="260" h="618">
                          <a:moveTo>
                            <a:pt x="65" y="58"/>
                          </a:moveTo>
                          <a:cubicBezTo>
                            <a:pt x="64" y="64"/>
                            <a:pt x="67" y="71"/>
                            <a:pt x="70" y="73"/>
                          </a:cubicBezTo>
                          <a:cubicBezTo>
                            <a:pt x="73" y="74"/>
                            <a:pt x="78" y="76"/>
                            <a:pt x="80" y="71"/>
                          </a:cubicBezTo>
                          <a:cubicBezTo>
                            <a:pt x="82" y="65"/>
                            <a:pt x="67" y="48"/>
                            <a:pt x="65" y="58"/>
                          </a:cubicBezTo>
                          <a:close/>
                          <a:moveTo>
                            <a:pt x="55" y="165"/>
                          </a:moveTo>
                          <a:cubicBezTo>
                            <a:pt x="56" y="162"/>
                            <a:pt x="54" y="162"/>
                            <a:pt x="54" y="158"/>
                          </a:cubicBezTo>
                          <a:cubicBezTo>
                            <a:pt x="54" y="154"/>
                            <a:pt x="52" y="152"/>
                            <a:pt x="49" y="156"/>
                          </a:cubicBezTo>
                          <a:cubicBezTo>
                            <a:pt x="49" y="158"/>
                            <a:pt x="47" y="160"/>
                            <a:pt x="49" y="163"/>
                          </a:cubicBezTo>
                          <a:cubicBezTo>
                            <a:pt x="52" y="166"/>
                            <a:pt x="54" y="168"/>
                            <a:pt x="55" y="165"/>
                          </a:cubicBezTo>
                          <a:close/>
                          <a:moveTo>
                            <a:pt x="10" y="7"/>
                          </a:moveTo>
                          <a:cubicBezTo>
                            <a:pt x="4" y="16"/>
                            <a:pt x="0" y="21"/>
                            <a:pt x="5" y="21"/>
                          </a:cubicBezTo>
                          <a:cubicBezTo>
                            <a:pt x="10" y="21"/>
                            <a:pt x="13" y="17"/>
                            <a:pt x="19" y="14"/>
                          </a:cubicBezTo>
                          <a:cubicBezTo>
                            <a:pt x="25" y="10"/>
                            <a:pt x="30" y="18"/>
                            <a:pt x="30" y="9"/>
                          </a:cubicBezTo>
                          <a:cubicBezTo>
                            <a:pt x="29" y="0"/>
                            <a:pt x="17" y="2"/>
                            <a:pt x="10" y="7"/>
                          </a:cubicBezTo>
                          <a:close/>
                          <a:moveTo>
                            <a:pt x="104" y="233"/>
                          </a:moveTo>
                          <a:cubicBezTo>
                            <a:pt x="105" y="238"/>
                            <a:pt x="107" y="241"/>
                            <a:pt x="111" y="238"/>
                          </a:cubicBezTo>
                          <a:cubicBezTo>
                            <a:pt x="116" y="235"/>
                            <a:pt x="121" y="234"/>
                            <a:pt x="120" y="229"/>
                          </a:cubicBezTo>
                          <a:cubicBezTo>
                            <a:pt x="118" y="224"/>
                            <a:pt x="110" y="223"/>
                            <a:pt x="108" y="226"/>
                          </a:cubicBezTo>
                          <a:cubicBezTo>
                            <a:pt x="107" y="229"/>
                            <a:pt x="102" y="229"/>
                            <a:pt x="104" y="233"/>
                          </a:cubicBezTo>
                          <a:close/>
                          <a:moveTo>
                            <a:pt x="94" y="337"/>
                          </a:moveTo>
                          <a:cubicBezTo>
                            <a:pt x="90" y="343"/>
                            <a:pt x="84" y="344"/>
                            <a:pt x="91" y="349"/>
                          </a:cubicBezTo>
                          <a:cubicBezTo>
                            <a:pt x="99" y="355"/>
                            <a:pt x="101" y="349"/>
                            <a:pt x="103" y="355"/>
                          </a:cubicBezTo>
                          <a:cubicBezTo>
                            <a:pt x="106" y="361"/>
                            <a:pt x="104" y="359"/>
                            <a:pt x="106" y="367"/>
                          </a:cubicBezTo>
                          <a:cubicBezTo>
                            <a:pt x="108" y="375"/>
                            <a:pt x="108" y="380"/>
                            <a:pt x="115" y="377"/>
                          </a:cubicBezTo>
                          <a:cubicBezTo>
                            <a:pt x="122" y="374"/>
                            <a:pt x="126" y="377"/>
                            <a:pt x="126" y="370"/>
                          </a:cubicBezTo>
                          <a:cubicBezTo>
                            <a:pt x="126" y="362"/>
                            <a:pt x="129" y="360"/>
                            <a:pt x="121" y="355"/>
                          </a:cubicBezTo>
                          <a:cubicBezTo>
                            <a:pt x="113" y="350"/>
                            <a:pt x="111" y="350"/>
                            <a:pt x="108" y="345"/>
                          </a:cubicBezTo>
                          <a:cubicBezTo>
                            <a:pt x="104" y="340"/>
                            <a:pt x="99" y="333"/>
                            <a:pt x="94" y="337"/>
                          </a:cubicBezTo>
                          <a:close/>
                          <a:moveTo>
                            <a:pt x="116" y="195"/>
                          </a:moveTo>
                          <a:cubicBezTo>
                            <a:pt x="113" y="197"/>
                            <a:pt x="110" y="191"/>
                            <a:pt x="109" y="197"/>
                          </a:cubicBezTo>
                          <a:cubicBezTo>
                            <a:pt x="108" y="202"/>
                            <a:pt x="108" y="208"/>
                            <a:pt x="109" y="211"/>
                          </a:cubicBezTo>
                          <a:cubicBezTo>
                            <a:pt x="111" y="213"/>
                            <a:pt x="115" y="215"/>
                            <a:pt x="115" y="210"/>
                          </a:cubicBezTo>
                          <a:cubicBezTo>
                            <a:pt x="116" y="205"/>
                            <a:pt x="113" y="204"/>
                            <a:pt x="119" y="200"/>
                          </a:cubicBezTo>
                          <a:cubicBezTo>
                            <a:pt x="124" y="196"/>
                            <a:pt x="128" y="193"/>
                            <a:pt x="126" y="193"/>
                          </a:cubicBezTo>
                          <a:cubicBezTo>
                            <a:pt x="124" y="192"/>
                            <a:pt x="120" y="193"/>
                            <a:pt x="116" y="195"/>
                          </a:cubicBezTo>
                          <a:close/>
                          <a:moveTo>
                            <a:pt x="134" y="300"/>
                          </a:moveTo>
                          <a:cubicBezTo>
                            <a:pt x="130" y="301"/>
                            <a:pt x="127" y="300"/>
                            <a:pt x="126" y="302"/>
                          </a:cubicBezTo>
                          <a:cubicBezTo>
                            <a:pt x="124" y="305"/>
                            <a:pt x="124" y="308"/>
                            <a:pt x="127" y="308"/>
                          </a:cubicBezTo>
                          <a:cubicBezTo>
                            <a:pt x="130" y="309"/>
                            <a:pt x="132" y="311"/>
                            <a:pt x="135" y="308"/>
                          </a:cubicBezTo>
                          <a:cubicBezTo>
                            <a:pt x="137" y="305"/>
                            <a:pt x="138" y="306"/>
                            <a:pt x="139" y="302"/>
                          </a:cubicBezTo>
                          <a:cubicBezTo>
                            <a:pt x="141" y="298"/>
                            <a:pt x="138" y="299"/>
                            <a:pt x="134" y="300"/>
                          </a:cubicBezTo>
                          <a:close/>
                          <a:moveTo>
                            <a:pt x="252" y="610"/>
                          </a:moveTo>
                          <a:cubicBezTo>
                            <a:pt x="254" y="612"/>
                            <a:pt x="257" y="618"/>
                            <a:pt x="259" y="614"/>
                          </a:cubicBezTo>
                          <a:cubicBezTo>
                            <a:pt x="260" y="610"/>
                            <a:pt x="258" y="609"/>
                            <a:pt x="256" y="605"/>
                          </a:cubicBezTo>
                          <a:cubicBezTo>
                            <a:pt x="255" y="601"/>
                            <a:pt x="250" y="599"/>
                            <a:pt x="249" y="604"/>
                          </a:cubicBezTo>
                          <a:cubicBezTo>
                            <a:pt x="247" y="606"/>
                            <a:pt x="250" y="607"/>
                            <a:pt x="252" y="610"/>
                          </a:cubicBezTo>
                          <a:close/>
                          <a:moveTo>
                            <a:pt x="219" y="516"/>
                          </a:moveTo>
                          <a:cubicBezTo>
                            <a:pt x="218" y="509"/>
                            <a:pt x="208" y="503"/>
                            <a:pt x="206" y="508"/>
                          </a:cubicBezTo>
                          <a:cubicBezTo>
                            <a:pt x="203" y="513"/>
                            <a:pt x="201" y="517"/>
                            <a:pt x="203" y="520"/>
                          </a:cubicBezTo>
                          <a:cubicBezTo>
                            <a:pt x="206" y="524"/>
                            <a:pt x="214" y="525"/>
                            <a:pt x="219" y="526"/>
                          </a:cubicBezTo>
                          <a:cubicBezTo>
                            <a:pt x="224" y="528"/>
                            <a:pt x="229" y="531"/>
                            <a:pt x="227" y="526"/>
                          </a:cubicBezTo>
                          <a:cubicBezTo>
                            <a:pt x="225" y="522"/>
                            <a:pt x="220" y="523"/>
                            <a:pt x="219" y="516"/>
                          </a:cubicBezTo>
                          <a:close/>
                          <a:moveTo>
                            <a:pt x="219" y="558"/>
                          </a:moveTo>
                          <a:cubicBezTo>
                            <a:pt x="223" y="568"/>
                            <a:pt x="219" y="571"/>
                            <a:pt x="224" y="574"/>
                          </a:cubicBezTo>
                          <a:cubicBezTo>
                            <a:pt x="229" y="577"/>
                            <a:pt x="235" y="577"/>
                            <a:pt x="235" y="572"/>
                          </a:cubicBezTo>
                          <a:cubicBezTo>
                            <a:pt x="236" y="568"/>
                            <a:pt x="235" y="569"/>
                            <a:pt x="232" y="564"/>
                          </a:cubicBezTo>
                          <a:cubicBezTo>
                            <a:pt x="228" y="559"/>
                            <a:pt x="214" y="545"/>
                            <a:pt x="219" y="558"/>
                          </a:cubicBezTo>
                          <a:close/>
                          <a:moveTo>
                            <a:pt x="160" y="442"/>
                          </a:moveTo>
                          <a:cubicBezTo>
                            <a:pt x="154" y="446"/>
                            <a:pt x="150" y="448"/>
                            <a:pt x="153" y="451"/>
                          </a:cubicBezTo>
                          <a:cubicBezTo>
                            <a:pt x="156" y="454"/>
                            <a:pt x="161" y="457"/>
                            <a:pt x="165" y="457"/>
                          </a:cubicBezTo>
                          <a:cubicBezTo>
                            <a:pt x="169" y="457"/>
                            <a:pt x="175" y="457"/>
                            <a:pt x="176" y="453"/>
                          </a:cubicBezTo>
                          <a:cubicBezTo>
                            <a:pt x="176" y="449"/>
                            <a:pt x="173" y="450"/>
                            <a:pt x="173" y="445"/>
                          </a:cubicBezTo>
                          <a:cubicBezTo>
                            <a:pt x="172" y="441"/>
                            <a:pt x="165" y="439"/>
                            <a:pt x="160" y="442"/>
                          </a:cubicBezTo>
                          <a:close/>
                          <a:moveTo>
                            <a:pt x="54" y="267"/>
                          </a:moveTo>
                          <a:cubicBezTo>
                            <a:pt x="56" y="279"/>
                            <a:pt x="54" y="279"/>
                            <a:pt x="54" y="289"/>
                          </a:cubicBezTo>
                          <a:cubicBezTo>
                            <a:pt x="54" y="299"/>
                            <a:pt x="58" y="302"/>
                            <a:pt x="61" y="310"/>
                          </a:cubicBezTo>
                          <a:cubicBezTo>
                            <a:pt x="64" y="317"/>
                            <a:pt x="66" y="320"/>
                            <a:pt x="71" y="318"/>
                          </a:cubicBezTo>
                          <a:cubicBezTo>
                            <a:pt x="77" y="316"/>
                            <a:pt x="78" y="312"/>
                            <a:pt x="84" y="316"/>
                          </a:cubicBezTo>
                          <a:cubicBezTo>
                            <a:pt x="89" y="320"/>
                            <a:pt x="98" y="324"/>
                            <a:pt x="96" y="316"/>
                          </a:cubicBezTo>
                          <a:cubicBezTo>
                            <a:pt x="93" y="309"/>
                            <a:pt x="90" y="305"/>
                            <a:pt x="91" y="300"/>
                          </a:cubicBezTo>
                          <a:cubicBezTo>
                            <a:pt x="92" y="294"/>
                            <a:pt x="91" y="294"/>
                            <a:pt x="87" y="286"/>
                          </a:cubicBezTo>
                          <a:cubicBezTo>
                            <a:pt x="83" y="277"/>
                            <a:pt x="86" y="269"/>
                            <a:pt x="81" y="275"/>
                          </a:cubicBezTo>
                          <a:cubicBezTo>
                            <a:pt x="76" y="281"/>
                            <a:pt x="77" y="293"/>
                            <a:pt x="73" y="288"/>
                          </a:cubicBezTo>
                          <a:cubicBezTo>
                            <a:pt x="69" y="283"/>
                            <a:pt x="67" y="283"/>
                            <a:pt x="68" y="277"/>
                          </a:cubicBezTo>
                          <a:cubicBezTo>
                            <a:pt x="69" y="271"/>
                            <a:pt x="70" y="270"/>
                            <a:pt x="66" y="265"/>
                          </a:cubicBezTo>
                          <a:cubicBezTo>
                            <a:pt x="62" y="259"/>
                            <a:pt x="49" y="251"/>
                            <a:pt x="54" y="267"/>
                          </a:cubicBezTo>
                          <a:close/>
                          <a:moveTo>
                            <a:pt x="149" y="276"/>
                          </a:moveTo>
                          <a:cubicBezTo>
                            <a:pt x="148" y="281"/>
                            <a:pt x="149" y="282"/>
                            <a:pt x="148" y="288"/>
                          </a:cubicBezTo>
                          <a:cubicBezTo>
                            <a:pt x="148" y="294"/>
                            <a:pt x="148" y="298"/>
                            <a:pt x="150" y="297"/>
                          </a:cubicBezTo>
                          <a:cubicBezTo>
                            <a:pt x="152" y="296"/>
                            <a:pt x="153" y="293"/>
                            <a:pt x="152" y="289"/>
                          </a:cubicBezTo>
                          <a:cubicBezTo>
                            <a:pt x="151" y="284"/>
                            <a:pt x="150" y="268"/>
                            <a:pt x="149" y="276"/>
                          </a:cubicBezTo>
                          <a:close/>
                          <a:moveTo>
                            <a:pt x="153" y="310"/>
                          </a:moveTo>
                          <a:cubicBezTo>
                            <a:pt x="152" y="313"/>
                            <a:pt x="148" y="313"/>
                            <a:pt x="150" y="318"/>
                          </a:cubicBezTo>
                          <a:cubicBezTo>
                            <a:pt x="153" y="324"/>
                            <a:pt x="154" y="323"/>
                            <a:pt x="153" y="327"/>
                          </a:cubicBezTo>
                          <a:cubicBezTo>
                            <a:pt x="153" y="331"/>
                            <a:pt x="153" y="339"/>
                            <a:pt x="155" y="339"/>
                          </a:cubicBezTo>
                          <a:cubicBezTo>
                            <a:pt x="157" y="338"/>
                            <a:pt x="158" y="336"/>
                            <a:pt x="157" y="333"/>
                          </a:cubicBezTo>
                          <a:cubicBezTo>
                            <a:pt x="156" y="330"/>
                            <a:pt x="156" y="326"/>
                            <a:pt x="157" y="324"/>
                          </a:cubicBezTo>
                          <a:cubicBezTo>
                            <a:pt x="157" y="322"/>
                            <a:pt x="153" y="319"/>
                            <a:pt x="153" y="316"/>
                          </a:cubicBezTo>
                          <a:cubicBezTo>
                            <a:pt x="154" y="313"/>
                            <a:pt x="158" y="307"/>
                            <a:pt x="153" y="310"/>
                          </a:cubicBezTo>
                          <a:close/>
                          <a:moveTo>
                            <a:pt x="142" y="356"/>
                          </a:moveTo>
                          <a:cubicBezTo>
                            <a:pt x="146" y="360"/>
                            <a:pt x="149" y="362"/>
                            <a:pt x="153" y="362"/>
                          </a:cubicBezTo>
                          <a:cubicBezTo>
                            <a:pt x="157" y="362"/>
                            <a:pt x="160" y="365"/>
                            <a:pt x="160" y="360"/>
                          </a:cubicBezTo>
                          <a:cubicBezTo>
                            <a:pt x="160" y="355"/>
                            <a:pt x="158" y="356"/>
                            <a:pt x="156" y="352"/>
                          </a:cubicBezTo>
                          <a:cubicBezTo>
                            <a:pt x="155" y="349"/>
                            <a:pt x="151" y="347"/>
                            <a:pt x="146" y="350"/>
                          </a:cubicBezTo>
                          <a:cubicBezTo>
                            <a:pt x="143" y="353"/>
                            <a:pt x="139" y="351"/>
                            <a:pt x="142" y="356"/>
                          </a:cubicBezTo>
                          <a:close/>
                          <a:moveTo>
                            <a:pt x="171" y="390"/>
                          </a:moveTo>
                          <a:cubicBezTo>
                            <a:pt x="165" y="387"/>
                            <a:pt x="163" y="387"/>
                            <a:pt x="162" y="384"/>
                          </a:cubicBezTo>
                          <a:cubicBezTo>
                            <a:pt x="160" y="381"/>
                            <a:pt x="153" y="375"/>
                            <a:pt x="152" y="381"/>
                          </a:cubicBezTo>
                          <a:cubicBezTo>
                            <a:pt x="150" y="388"/>
                            <a:pt x="147" y="387"/>
                            <a:pt x="149" y="390"/>
                          </a:cubicBezTo>
                          <a:cubicBezTo>
                            <a:pt x="151" y="393"/>
                            <a:pt x="153" y="395"/>
                            <a:pt x="157" y="394"/>
                          </a:cubicBezTo>
                          <a:cubicBezTo>
                            <a:pt x="162" y="394"/>
                            <a:pt x="162" y="395"/>
                            <a:pt x="167" y="395"/>
                          </a:cubicBezTo>
                          <a:cubicBezTo>
                            <a:pt x="172" y="395"/>
                            <a:pt x="176" y="393"/>
                            <a:pt x="171" y="390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grpSp>
                  <p:nvGrpSpPr>
                    <p:cNvPr id="514" name="Gruppieren 513"/>
                    <p:cNvGrpSpPr/>
                    <p:nvPr/>
                  </p:nvGrpSpPr>
                  <p:grpSpPr>
                    <a:xfrm>
                      <a:off x="5446031" y="3596376"/>
                      <a:ext cx="2131219" cy="1946672"/>
                      <a:chOff x="5446031" y="3596376"/>
                      <a:chExt cx="2131219" cy="1946672"/>
                    </a:xfrm>
                    <a:grpFill/>
                  </p:grpSpPr>
                  <p:sp>
                    <p:nvSpPr>
                      <p:cNvPr id="515" name="Freeform 14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23547" y="4434575"/>
                        <a:ext cx="25003" cy="28575"/>
                      </a:xfrm>
                      <a:custGeom>
                        <a:avLst/>
                        <a:gdLst>
                          <a:gd name="T0" fmla="*/ 44 w 84"/>
                          <a:gd name="T1" fmla="*/ 27 h 97"/>
                          <a:gd name="T2" fmla="*/ 24 w 84"/>
                          <a:gd name="T3" fmla="*/ 12 h 97"/>
                          <a:gd name="T4" fmla="*/ 11 w 84"/>
                          <a:gd name="T5" fmla="*/ 4 h 97"/>
                          <a:gd name="T6" fmla="*/ 7 w 84"/>
                          <a:gd name="T7" fmla="*/ 19 h 97"/>
                          <a:gd name="T8" fmla="*/ 16 w 84"/>
                          <a:gd name="T9" fmla="*/ 25 h 97"/>
                          <a:gd name="T10" fmla="*/ 15 w 84"/>
                          <a:gd name="T11" fmla="*/ 42 h 97"/>
                          <a:gd name="T12" fmla="*/ 12 w 84"/>
                          <a:gd name="T13" fmla="*/ 60 h 97"/>
                          <a:gd name="T14" fmla="*/ 9 w 84"/>
                          <a:gd name="T15" fmla="*/ 80 h 97"/>
                          <a:gd name="T16" fmla="*/ 9 w 84"/>
                          <a:gd name="T17" fmla="*/ 96 h 97"/>
                          <a:gd name="T18" fmla="*/ 24 w 84"/>
                          <a:gd name="T19" fmla="*/ 89 h 97"/>
                          <a:gd name="T20" fmla="*/ 45 w 84"/>
                          <a:gd name="T21" fmla="*/ 75 h 97"/>
                          <a:gd name="T22" fmla="*/ 63 w 84"/>
                          <a:gd name="T23" fmla="*/ 63 h 97"/>
                          <a:gd name="T24" fmla="*/ 72 w 84"/>
                          <a:gd name="T25" fmla="*/ 48 h 97"/>
                          <a:gd name="T26" fmla="*/ 83 w 84"/>
                          <a:gd name="T27" fmla="*/ 30 h 97"/>
                          <a:gd name="T28" fmla="*/ 64 w 84"/>
                          <a:gd name="T29" fmla="*/ 30 h 97"/>
                          <a:gd name="T30" fmla="*/ 44 w 84"/>
                          <a:gd name="T31" fmla="*/ 27 h 9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</a:cxnLst>
                        <a:rect l="0" t="0" r="r" b="b"/>
                        <a:pathLst>
                          <a:path w="84" h="97">
                            <a:moveTo>
                              <a:pt x="44" y="27"/>
                            </a:moveTo>
                            <a:cubicBezTo>
                              <a:pt x="38" y="21"/>
                              <a:pt x="32" y="19"/>
                              <a:pt x="24" y="12"/>
                            </a:cubicBezTo>
                            <a:cubicBezTo>
                              <a:pt x="17" y="6"/>
                              <a:pt x="14" y="0"/>
                              <a:pt x="11" y="4"/>
                            </a:cubicBezTo>
                            <a:cubicBezTo>
                              <a:pt x="7" y="10"/>
                              <a:pt x="0" y="16"/>
                              <a:pt x="7" y="19"/>
                            </a:cubicBezTo>
                            <a:cubicBezTo>
                              <a:pt x="14" y="23"/>
                              <a:pt x="15" y="17"/>
                              <a:pt x="16" y="25"/>
                            </a:cubicBezTo>
                            <a:cubicBezTo>
                              <a:pt x="17" y="33"/>
                              <a:pt x="16" y="35"/>
                              <a:pt x="15" y="42"/>
                            </a:cubicBezTo>
                            <a:cubicBezTo>
                              <a:pt x="13" y="49"/>
                              <a:pt x="13" y="49"/>
                              <a:pt x="12" y="60"/>
                            </a:cubicBezTo>
                            <a:cubicBezTo>
                              <a:pt x="11" y="70"/>
                              <a:pt x="11" y="72"/>
                              <a:pt x="9" y="80"/>
                            </a:cubicBezTo>
                            <a:cubicBezTo>
                              <a:pt x="7" y="88"/>
                              <a:pt x="4" y="96"/>
                              <a:pt x="9" y="96"/>
                            </a:cubicBezTo>
                            <a:cubicBezTo>
                              <a:pt x="14" y="96"/>
                              <a:pt x="18" y="97"/>
                              <a:pt x="24" y="89"/>
                            </a:cubicBezTo>
                            <a:cubicBezTo>
                              <a:pt x="30" y="80"/>
                              <a:pt x="37" y="78"/>
                              <a:pt x="45" y="75"/>
                            </a:cubicBezTo>
                            <a:cubicBezTo>
                              <a:pt x="54" y="71"/>
                              <a:pt x="59" y="71"/>
                              <a:pt x="63" y="63"/>
                            </a:cubicBezTo>
                            <a:cubicBezTo>
                              <a:pt x="67" y="56"/>
                              <a:pt x="64" y="57"/>
                              <a:pt x="72" y="48"/>
                            </a:cubicBezTo>
                            <a:cubicBezTo>
                              <a:pt x="81" y="39"/>
                              <a:pt x="84" y="34"/>
                              <a:pt x="83" y="30"/>
                            </a:cubicBezTo>
                            <a:cubicBezTo>
                              <a:pt x="81" y="27"/>
                              <a:pt x="73" y="27"/>
                              <a:pt x="64" y="30"/>
                            </a:cubicBezTo>
                            <a:cubicBezTo>
                              <a:pt x="56" y="32"/>
                              <a:pt x="50" y="33"/>
                              <a:pt x="44" y="27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516" name="Freeform 16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492591" y="4189307"/>
                        <a:ext cx="34528" cy="65484"/>
                      </a:xfrm>
                      <a:custGeom>
                        <a:avLst/>
                        <a:gdLst>
                          <a:gd name="T0" fmla="*/ 3 w 120"/>
                          <a:gd name="T1" fmla="*/ 144 h 226"/>
                          <a:gd name="T2" fmla="*/ 12 w 120"/>
                          <a:gd name="T3" fmla="*/ 163 h 226"/>
                          <a:gd name="T4" fmla="*/ 24 w 120"/>
                          <a:gd name="T5" fmla="*/ 188 h 226"/>
                          <a:gd name="T6" fmla="*/ 34 w 120"/>
                          <a:gd name="T7" fmla="*/ 204 h 226"/>
                          <a:gd name="T8" fmla="*/ 45 w 120"/>
                          <a:gd name="T9" fmla="*/ 223 h 226"/>
                          <a:gd name="T10" fmla="*/ 50 w 120"/>
                          <a:gd name="T11" fmla="*/ 201 h 226"/>
                          <a:gd name="T12" fmla="*/ 69 w 120"/>
                          <a:gd name="T13" fmla="*/ 168 h 226"/>
                          <a:gd name="T14" fmla="*/ 84 w 120"/>
                          <a:gd name="T15" fmla="*/ 132 h 226"/>
                          <a:gd name="T16" fmla="*/ 96 w 120"/>
                          <a:gd name="T17" fmla="*/ 101 h 226"/>
                          <a:gd name="T18" fmla="*/ 104 w 120"/>
                          <a:gd name="T19" fmla="*/ 74 h 226"/>
                          <a:gd name="T20" fmla="*/ 111 w 120"/>
                          <a:gd name="T21" fmla="*/ 47 h 226"/>
                          <a:gd name="T22" fmla="*/ 114 w 120"/>
                          <a:gd name="T23" fmla="*/ 33 h 226"/>
                          <a:gd name="T24" fmla="*/ 119 w 120"/>
                          <a:gd name="T25" fmla="*/ 20 h 226"/>
                          <a:gd name="T26" fmla="*/ 108 w 120"/>
                          <a:gd name="T27" fmla="*/ 13 h 226"/>
                          <a:gd name="T28" fmla="*/ 88 w 120"/>
                          <a:gd name="T29" fmla="*/ 3 h 226"/>
                          <a:gd name="T30" fmla="*/ 77 w 120"/>
                          <a:gd name="T31" fmla="*/ 14 h 226"/>
                          <a:gd name="T32" fmla="*/ 55 w 120"/>
                          <a:gd name="T33" fmla="*/ 30 h 226"/>
                          <a:gd name="T34" fmla="*/ 41 w 120"/>
                          <a:gd name="T35" fmla="*/ 50 h 226"/>
                          <a:gd name="T36" fmla="*/ 21 w 120"/>
                          <a:gd name="T37" fmla="*/ 81 h 226"/>
                          <a:gd name="T38" fmla="*/ 11 w 120"/>
                          <a:gd name="T39" fmla="*/ 100 h 226"/>
                          <a:gd name="T40" fmla="*/ 6 w 120"/>
                          <a:gd name="T41" fmla="*/ 121 h 226"/>
                          <a:gd name="T42" fmla="*/ 3 w 120"/>
                          <a:gd name="T43" fmla="*/ 144 h 22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</a:cxnLst>
                        <a:rect l="0" t="0" r="r" b="b"/>
                        <a:pathLst>
                          <a:path w="120" h="226">
                            <a:moveTo>
                              <a:pt x="3" y="144"/>
                            </a:moveTo>
                            <a:cubicBezTo>
                              <a:pt x="6" y="153"/>
                              <a:pt x="7" y="153"/>
                              <a:pt x="12" y="163"/>
                            </a:cubicBezTo>
                            <a:cubicBezTo>
                              <a:pt x="17" y="173"/>
                              <a:pt x="20" y="178"/>
                              <a:pt x="24" y="188"/>
                            </a:cubicBezTo>
                            <a:cubicBezTo>
                              <a:pt x="28" y="198"/>
                              <a:pt x="28" y="189"/>
                              <a:pt x="34" y="204"/>
                            </a:cubicBezTo>
                            <a:cubicBezTo>
                              <a:pt x="40" y="218"/>
                              <a:pt x="42" y="226"/>
                              <a:pt x="45" y="223"/>
                            </a:cubicBezTo>
                            <a:cubicBezTo>
                              <a:pt x="48" y="219"/>
                              <a:pt x="49" y="207"/>
                              <a:pt x="50" y="201"/>
                            </a:cubicBezTo>
                            <a:cubicBezTo>
                              <a:pt x="50" y="195"/>
                              <a:pt x="65" y="177"/>
                              <a:pt x="69" y="168"/>
                            </a:cubicBezTo>
                            <a:cubicBezTo>
                              <a:pt x="74" y="158"/>
                              <a:pt x="76" y="144"/>
                              <a:pt x="84" y="132"/>
                            </a:cubicBezTo>
                            <a:cubicBezTo>
                              <a:pt x="92" y="121"/>
                              <a:pt x="96" y="108"/>
                              <a:pt x="96" y="101"/>
                            </a:cubicBezTo>
                            <a:cubicBezTo>
                              <a:pt x="96" y="93"/>
                              <a:pt x="103" y="81"/>
                              <a:pt x="104" y="74"/>
                            </a:cubicBezTo>
                            <a:cubicBezTo>
                              <a:pt x="105" y="67"/>
                              <a:pt x="110" y="54"/>
                              <a:pt x="111" y="47"/>
                            </a:cubicBezTo>
                            <a:cubicBezTo>
                              <a:pt x="113" y="41"/>
                              <a:pt x="111" y="38"/>
                              <a:pt x="114" y="33"/>
                            </a:cubicBezTo>
                            <a:cubicBezTo>
                              <a:pt x="117" y="29"/>
                              <a:pt x="120" y="24"/>
                              <a:pt x="119" y="20"/>
                            </a:cubicBezTo>
                            <a:cubicBezTo>
                              <a:pt x="117" y="16"/>
                              <a:pt x="115" y="18"/>
                              <a:pt x="108" y="13"/>
                            </a:cubicBezTo>
                            <a:cubicBezTo>
                              <a:pt x="100" y="8"/>
                              <a:pt x="92" y="0"/>
                              <a:pt x="88" y="3"/>
                            </a:cubicBezTo>
                            <a:cubicBezTo>
                              <a:pt x="84" y="6"/>
                              <a:pt x="83" y="9"/>
                              <a:pt x="77" y="14"/>
                            </a:cubicBezTo>
                            <a:cubicBezTo>
                              <a:pt x="72" y="18"/>
                              <a:pt x="56" y="19"/>
                              <a:pt x="55" y="30"/>
                            </a:cubicBezTo>
                            <a:cubicBezTo>
                              <a:pt x="50" y="44"/>
                              <a:pt x="50" y="40"/>
                              <a:pt x="41" y="50"/>
                            </a:cubicBezTo>
                            <a:cubicBezTo>
                              <a:pt x="32" y="60"/>
                              <a:pt x="23" y="71"/>
                              <a:pt x="21" y="81"/>
                            </a:cubicBezTo>
                            <a:cubicBezTo>
                              <a:pt x="20" y="92"/>
                              <a:pt x="14" y="92"/>
                              <a:pt x="11" y="100"/>
                            </a:cubicBezTo>
                            <a:cubicBezTo>
                              <a:pt x="8" y="109"/>
                              <a:pt x="4" y="111"/>
                              <a:pt x="6" y="121"/>
                            </a:cubicBezTo>
                            <a:cubicBezTo>
                              <a:pt x="8" y="131"/>
                              <a:pt x="0" y="135"/>
                              <a:pt x="3" y="144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517" name="Freeform 173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6469969" y="4617932"/>
                        <a:ext cx="165497" cy="132159"/>
                      </a:xfrm>
                      <a:custGeom>
                        <a:avLst/>
                        <a:gdLst>
                          <a:gd name="T0" fmla="*/ 242 w 578"/>
                          <a:gd name="T1" fmla="*/ 360 h 461"/>
                          <a:gd name="T2" fmla="*/ 226 w 578"/>
                          <a:gd name="T3" fmla="*/ 317 h 461"/>
                          <a:gd name="T4" fmla="*/ 198 w 578"/>
                          <a:gd name="T5" fmla="*/ 264 h 461"/>
                          <a:gd name="T6" fmla="*/ 185 w 578"/>
                          <a:gd name="T7" fmla="*/ 223 h 461"/>
                          <a:gd name="T8" fmla="*/ 257 w 578"/>
                          <a:gd name="T9" fmla="*/ 163 h 461"/>
                          <a:gd name="T10" fmla="*/ 288 w 578"/>
                          <a:gd name="T11" fmla="*/ 149 h 461"/>
                          <a:gd name="T12" fmla="*/ 215 w 578"/>
                          <a:gd name="T13" fmla="*/ 157 h 461"/>
                          <a:gd name="T14" fmla="*/ 149 w 578"/>
                          <a:gd name="T15" fmla="*/ 192 h 461"/>
                          <a:gd name="T16" fmla="*/ 88 w 578"/>
                          <a:gd name="T17" fmla="*/ 152 h 461"/>
                          <a:gd name="T18" fmla="*/ 110 w 578"/>
                          <a:gd name="T19" fmla="*/ 76 h 461"/>
                          <a:gd name="T20" fmla="*/ 243 w 578"/>
                          <a:gd name="T21" fmla="*/ 76 h 461"/>
                          <a:gd name="T22" fmla="*/ 339 w 578"/>
                          <a:gd name="T23" fmla="*/ 83 h 461"/>
                          <a:gd name="T24" fmla="*/ 399 w 578"/>
                          <a:gd name="T25" fmla="*/ 14 h 461"/>
                          <a:gd name="T26" fmla="*/ 358 w 578"/>
                          <a:gd name="T27" fmla="*/ 34 h 461"/>
                          <a:gd name="T28" fmla="*/ 293 w 578"/>
                          <a:gd name="T29" fmla="*/ 52 h 461"/>
                          <a:gd name="T30" fmla="*/ 232 w 578"/>
                          <a:gd name="T31" fmla="*/ 50 h 461"/>
                          <a:gd name="T32" fmla="*/ 167 w 578"/>
                          <a:gd name="T33" fmla="*/ 28 h 461"/>
                          <a:gd name="T34" fmla="*/ 122 w 578"/>
                          <a:gd name="T35" fmla="*/ 50 h 461"/>
                          <a:gd name="T36" fmla="*/ 70 w 578"/>
                          <a:gd name="T37" fmla="*/ 76 h 461"/>
                          <a:gd name="T38" fmla="*/ 69 w 578"/>
                          <a:gd name="T39" fmla="*/ 152 h 461"/>
                          <a:gd name="T40" fmla="*/ 37 w 578"/>
                          <a:gd name="T41" fmla="*/ 206 h 461"/>
                          <a:gd name="T42" fmla="*/ 12 w 578"/>
                          <a:gd name="T43" fmla="*/ 283 h 461"/>
                          <a:gd name="T44" fmla="*/ 47 w 578"/>
                          <a:gd name="T45" fmla="*/ 330 h 461"/>
                          <a:gd name="T46" fmla="*/ 50 w 578"/>
                          <a:gd name="T47" fmla="*/ 387 h 461"/>
                          <a:gd name="T48" fmla="*/ 49 w 578"/>
                          <a:gd name="T49" fmla="*/ 452 h 461"/>
                          <a:gd name="T50" fmla="*/ 107 w 578"/>
                          <a:gd name="T51" fmla="*/ 450 h 461"/>
                          <a:gd name="T52" fmla="*/ 106 w 578"/>
                          <a:gd name="T53" fmla="*/ 385 h 461"/>
                          <a:gd name="T54" fmla="*/ 102 w 578"/>
                          <a:gd name="T55" fmla="*/ 288 h 461"/>
                          <a:gd name="T56" fmla="*/ 142 w 578"/>
                          <a:gd name="T57" fmla="*/ 311 h 461"/>
                          <a:gd name="T58" fmla="*/ 179 w 578"/>
                          <a:gd name="T59" fmla="*/ 359 h 461"/>
                          <a:gd name="T60" fmla="*/ 192 w 578"/>
                          <a:gd name="T61" fmla="*/ 405 h 461"/>
                          <a:gd name="T62" fmla="*/ 225 w 578"/>
                          <a:gd name="T63" fmla="*/ 382 h 461"/>
                          <a:gd name="T64" fmla="*/ 532 w 578"/>
                          <a:gd name="T65" fmla="*/ 93 h 461"/>
                          <a:gd name="T66" fmla="*/ 538 w 578"/>
                          <a:gd name="T67" fmla="*/ 62 h 461"/>
                          <a:gd name="T68" fmla="*/ 521 w 578"/>
                          <a:gd name="T69" fmla="*/ 134 h 461"/>
                          <a:gd name="T70" fmla="*/ 441 w 578"/>
                          <a:gd name="T71" fmla="*/ 241 h 461"/>
                          <a:gd name="T72" fmla="*/ 508 w 578"/>
                          <a:gd name="T73" fmla="*/ 305 h 461"/>
                          <a:gd name="T74" fmla="*/ 464 w 578"/>
                          <a:gd name="T75" fmla="*/ 328 h 461"/>
                          <a:gd name="T76" fmla="*/ 438 w 578"/>
                          <a:gd name="T77" fmla="*/ 220 h 461"/>
                          <a:gd name="T78" fmla="*/ 437 w 578"/>
                          <a:gd name="T79" fmla="*/ 224 h 461"/>
                          <a:gd name="T80" fmla="*/ 352 w 578"/>
                          <a:gd name="T81" fmla="*/ 226 h 461"/>
                          <a:gd name="T82" fmla="*/ 555 w 578"/>
                          <a:gd name="T83" fmla="*/ 151 h 461"/>
                          <a:gd name="T84" fmla="*/ 539 w 578"/>
                          <a:gd name="T85" fmla="*/ 149 h 461"/>
                          <a:gd name="T86" fmla="*/ 551 w 578"/>
                          <a:gd name="T87" fmla="*/ 186 h 461"/>
                          <a:gd name="T88" fmla="*/ 272 w 578"/>
                          <a:gd name="T89" fmla="*/ 199 h 461"/>
                          <a:gd name="T90" fmla="*/ 577 w 578"/>
                          <a:gd name="T91" fmla="*/ 210 h 461"/>
                          <a:gd name="T92" fmla="*/ 550 w 578"/>
                          <a:gd name="T93" fmla="*/ 212 h 461"/>
                          <a:gd name="T94" fmla="*/ 575 w 578"/>
                          <a:gd name="T95" fmla="*/ 303 h 461"/>
                          <a:gd name="T96" fmla="*/ 297 w 578"/>
                          <a:gd name="T97" fmla="*/ 212 h 461"/>
                          <a:gd name="T98" fmla="*/ 202 w 578"/>
                          <a:gd name="T99" fmla="*/ 131 h 461"/>
                          <a:gd name="T100" fmla="*/ 199 w 578"/>
                          <a:gd name="T101" fmla="*/ 138 h 461"/>
                          <a:gd name="T102" fmla="*/ 218 w 578"/>
                          <a:gd name="T103" fmla="*/ 118 h 461"/>
                          <a:gd name="T104" fmla="*/ 260 w 578"/>
                          <a:gd name="T105" fmla="*/ 182 h 461"/>
                          <a:gd name="T106" fmla="*/ 274 w 578"/>
                          <a:gd name="T107" fmla="*/ 218 h 461"/>
                          <a:gd name="T108" fmla="*/ 200 w 578"/>
                          <a:gd name="T109" fmla="*/ 429 h 461"/>
                          <a:gd name="T110" fmla="*/ 248 w 578"/>
                          <a:gd name="T111" fmla="*/ 408 h 461"/>
                          <a:gd name="T112" fmla="*/ 225 w 578"/>
                          <a:gd name="T113" fmla="*/ 441 h 461"/>
                          <a:gd name="T114" fmla="*/ 259 w 578"/>
                          <a:gd name="T115" fmla="*/ 404 h 461"/>
                          <a:gd name="T116" fmla="*/ 255 w 578"/>
                          <a:gd name="T117" fmla="*/ 453 h 461"/>
                          <a:gd name="T118" fmla="*/ 271 w 578"/>
                          <a:gd name="T119" fmla="*/ 405 h 46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  <a:cxn ang="0">
                            <a:pos x="T94" y="T95"/>
                          </a:cxn>
                          <a:cxn ang="0">
                            <a:pos x="T96" y="T97"/>
                          </a:cxn>
                          <a:cxn ang="0">
                            <a:pos x="T98" y="T99"/>
                          </a:cxn>
                          <a:cxn ang="0">
                            <a:pos x="T100" y="T101"/>
                          </a:cxn>
                          <a:cxn ang="0">
                            <a:pos x="T102" y="T103"/>
                          </a:cxn>
                          <a:cxn ang="0">
                            <a:pos x="T104" y="T105"/>
                          </a:cxn>
                          <a:cxn ang="0">
                            <a:pos x="T106" y="T107"/>
                          </a:cxn>
                          <a:cxn ang="0">
                            <a:pos x="T108" y="T109"/>
                          </a:cxn>
                          <a:cxn ang="0">
                            <a:pos x="T110" y="T111"/>
                          </a:cxn>
                          <a:cxn ang="0">
                            <a:pos x="T112" y="T113"/>
                          </a:cxn>
                          <a:cxn ang="0">
                            <a:pos x="T114" y="T115"/>
                          </a:cxn>
                          <a:cxn ang="0">
                            <a:pos x="T116" y="T117"/>
                          </a:cxn>
                          <a:cxn ang="0">
                            <a:pos x="T118" y="T119"/>
                          </a:cxn>
                        </a:cxnLst>
                        <a:rect l="0" t="0" r="r" b="b"/>
                        <a:pathLst>
                          <a:path w="578" h="461">
                            <a:moveTo>
                              <a:pt x="239" y="380"/>
                            </a:moveTo>
                            <a:cubicBezTo>
                              <a:pt x="243" y="380"/>
                              <a:pt x="247" y="382"/>
                              <a:pt x="251" y="381"/>
                            </a:cubicBezTo>
                            <a:cubicBezTo>
                              <a:pt x="256" y="380"/>
                              <a:pt x="255" y="377"/>
                              <a:pt x="257" y="373"/>
                            </a:cubicBezTo>
                            <a:cubicBezTo>
                              <a:pt x="259" y="369"/>
                              <a:pt x="258" y="365"/>
                              <a:pt x="255" y="363"/>
                            </a:cubicBezTo>
                            <a:cubicBezTo>
                              <a:pt x="252" y="361"/>
                              <a:pt x="252" y="366"/>
                              <a:pt x="249" y="366"/>
                            </a:cubicBezTo>
                            <a:cubicBezTo>
                              <a:pt x="246" y="366"/>
                              <a:pt x="245" y="365"/>
                              <a:pt x="242" y="360"/>
                            </a:cubicBezTo>
                            <a:cubicBezTo>
                              <a:pt x="239" y="354"/>
                              <a:pt x="240" y="357"/>
                              <a:pt x="240" y="354"/>
                            </a:cubicBezTo>
                            <a:cubicBezTo>
                              <a:pt x="241" y="350"/>
                              <a:pt x="241" y="349"/>
                              <a:pt x="238" y="346"/>
                            </a:cubicBezTo>
                            <a:cubicBezTo>
                              <a:pt x="235" y="343"/>
                              <a:pt x="233" y="343"/>
                              <a:pt x="228" y="340"/>
                            </a:cubicBezTo>
                            <a:cubicBezTo>
                              <a:pt x="224" y="337"/>
                              <a:pt x="221" y="336"/>
                              <a:pt x="218" y="332"/>
                            </a:cubicBezTo>
                            <a:cubicBezTo>
                              <a:pt x="215" y="328"/>
                              <a:pt x="218" y="328"/>
                              <a:pt x="221" y="327"/>
                            </a:cubicBezTo>
                            <a:cubicBezTo>
                              <a:pt x="223" y="325"/>
                              <a:pt x="227" y="322"/>
                              <a:pt x="226" y="317"/>
                            </a:cubicBezTo>
                            <a:cubicBezTo>
                              <a:pt x="224" y="311"/>
                              <a:pt x="224" y="311"/>
                              <a:pt x="225" y="308"/>
                            </a:cubicBezTo>
                            <a:cubicBezTo>
                              <a:pt x="226" y="305"/>
                              <a:pt x="229" y="307"/>
                              <a:pt x="230" y="304"/>
                            </a:cubicBezTo>
                            <a:cubicBezTo>
                              <a:pt x="232" y="302"/>
                              <a:pt x="230" y="299"/>
                              <a:pt x="226" y="295"/>
                            </a:cubicBezTo>
                            <a:cubicBezTo>
                              <a:pt x="221" y="291"/>
                              <a:pt x="219" y="292"/>
                              <a:pt x="213" y="287"/>
                            </a:cubicBezTo>
                            <a:cubicBezTo>
                              <a:pt x="207" y="282"/>
                              <a:pt x="209" y="284"/>
                              <a:pt x="204" y="276"/>
                            </a:cubicBezTo>
                            <a:cubicBezTo>
                              <a:pt x="198" y="268"/>
                              <a:pt x="200" y="270"/>
                              <a:pt x="198" y="264"/>
                            </a:cubicBezTo>
                            <a:cubicBezTo>
                              <a:pt x="195" y="258"/>
                              <a:pt x="193" y="256"/>
                              <a:pt x="191" y="252"/>
                            </a:cubicBezTo>
                            <a:cubicBezTo>
                              <a:pt x="190" y="247"/>
                              <a:pt x="185" y="242"/>
                              <a:pt x="179" y="238"/>
                            </a:cubicBezTo>
                            <a:cubicBezTo>
                              <a:pt x="173" y="235"/>
                              <a:pt x="165" y="234"/>
                              <a:pt x="162" y="231"/>
                            </a:cubicBezTo>
                            <a:cubicBezTo>
                              <a:pt x="158" y="229"/>
                              <a:pt x="160" y="222"/>
                              <a:pt x="162" y="220"/>
                            </a:cubicBezTo>
                            <a:cubicBezTo>
                              <a:pt x="165" y="218"/>
                              <a:pt x="170" y="223"/>
                              <a:pt x="175" y="225"/>
                            </a:cubicBezTo>
                            <a:cubicBezTo>
                              <a:pt x="180" y="227"/>
                              <a:pt x="183" y="225"/>
                              <a:pt x="185" y="223"/>
                            </a:cubicBezTo>
                            <a:cubicBezTo>
                              <a:pt x="188" y="222"/>
                              <a:pt x="199" y="218"/>
                              <a:pt x="200" y="213"/>
                            </a:cubicBezTo>
                            <a:cubicBezTo>
                              <a:pt x="201" y="209"/>
                              <a:pt x="207" y="206"/>
                              <a:pt x="211" y="200"/>
                            </a:cubicBezTo>
                            <a:cubicBezTo>
                              <a:pt x="214" y="195"/>
                              <a:pt x="220" y="193"/>
                              <a:pt x="224" y="189"/>
                            </a:cubicBezTo>
                            <a:cubicBezTo>
                              <a:pt x="229" y="184"/>
                              <a:pt x="235" y="185"/>
                              <a:pt x="240" y="181"/>
                            </a:cubicBezTo>
                            <a:cubicBezTo>
                              <a:pt x="244" y="177"/>
                              <a:pt x="245" y="176"/>
                              <a:pt x="246" y="170"/>
                            </a:cubicBezTo>
                            <a:cubicBezTo>
                              <a:pt x="247" y="165"/>
                              <a:pt x="252" y="166"/>
                              <a:pt x="257" y="163"/>
                            </a:cubicBezTo>
                            <a:cubicBezTo>
                              <a:pt x="262" y="159"/>
                              <a:pt x="263" y="163"/>
                              <a:pt x="268" y="161"/>
                            </a:cubicBezTo>
                            <a:cubicBezTo>
                              <a:pt x="273" y="159"/>
                              <a:pt x="277" y="162"/>
                              <a:pt x="280" y="163"/>
                            </a:cubicBezTo>
                            <a:cubicBezTo>
                              <a:pt x="283" y="163"/>
                              <a:pt x="282" y="168"/>
                              <a:pt x="283" y="172"/>
                            </a:cubicBezTo>
                            <a:cubicBezTo>
                              <a:pt x="285" y="177"/>
                              <a:pt x="289" y="173"/>
                              <a:pt x="288" y="169"/>
                            </a:cubicBezTo>
                            <a:cubicBezTo>
                              <a:pt x="287" y="165"/>
                              <a:pt x="289" y="164"/>
                              <a:pt x="289" y="160"/>
                            </a:cubicBezTo>
                            <a:cubicBezTo>
                              <a:pt x="290" y="157"/>
                              <a:pt x="290" y="152"/>
                              <a:pt x="288" y="149"/>
                            </a:cubicBezTo>
                            <a:cubicBezTo>
                              <a:pt x="286" y="146"/>
                              <a:pt x="284" y="149"/>
                              <a:pt x="281" y="147"/>
                            </a:cubicBezTo>
                            <a:cubicBezTo>
                              <a:pt x="278" y="146"/>
                              <a:pt x="277" y="145"/>
                              <a:pt x="270" y="144"/>
                            </a:cubicBezTo>
                            <a:cubicBezTo>
                              <a:pt x="262" y="143"/>
                              <a:pt x="266" y="146"/>
                              <a:pt x="263" y="152"/>
                            </a:cubicBezTo>
                            <a:cubicBezTo>
                              <a:pt x="260" y="158"/>
                              <a:pt x="255" y="156"/>
                              <a:pt x="250" y="156"/>
                            </a:cubicBezTo>
                            <a:cubicBezTo>
                              <a:pt x="246" y="156"/>
                              <a:pt x="241" y="156"/>
                              <a:pt x="231" y="156"/>
                            </a:cubicBezTo>
                            <a:cubicBezTo>
                              <a:pt x="220" y="155"/>
                              <a:pt x="223" y="156"/>
                              <a:pt x="215" y="157"/>
                            </a:cubicBezTo>
                            <a:cubicBezTo>
                              <a:pt x="207" y="157"/>
                              <a:pt x="208" y="160"/>
                              <a:pt x="204" y="164"/>
                            </a:cubicBezTo>
                            <a:cubicBezTo>
                              <a:pt x="199" y="168"/>
                              <a:pt x="196" y="166"/>
                              <a:pt x="192" y="164"/>
                            </a:cubicBezTo>
                            <a:cubicBezTo>
                              <a:pt x="187" y="163"/>
                              <a:pt x="184" y="158"/>
                              <a:pt x="177" y="159"/>
                            </a:cubicBezTo>
                            <a:cubicBezTo>
                              <a:pt x="171" y="160"/>
                              <a:pt x="172" y="166"/>
                              <a:pt x="167" y="171"/>
                            </a:cubicBezTo>
                            <a:cubicBezTo>
                              <a:pt x="162" y="177"/>
                              <a:pt x="161" y="176"/>
                              <a:pt x="159" y="180"/>
                            </a:cubicBezTo>
                            <a:cubicBezTo>
                              <a:pt x="156" y="184"/>
                              <a:pt x="152" y="190"/>
                              <a:pt x="149" y="192"/>
                            </a:cubicBezTo>
                            <a:cubicBezTo>
                              <a:pt x="145" y="194"/>
                              <a:pt x="141" y="196"/>
                              <a:pt x="135" y="195"/>
                            </a:cubicBezTo>
                            <a:cubicBezTo>
                              <a:pt x="130" y="195"/>
                              <a:pt x="125" y="194"/>
                              <a:pt x="122" y="191"/>
                            </a:cubicBezTo>
                            <a:cubicBezTo>
                              <a:pt x="119" y="187"/>
                              <a:pt x="116" y="178"/>
                              <a:pt x="115" y="175"/>
                            </a:cubicBezTo>
                            <a:cubicBezTo>
                              <a:pt x="114" y="172"/>
                              <a:pt x="112" y="169"/>
                              <a:pt x="106" y="164"/>
                            </a:cubicBezTo>
                            <a:cubicBezTo>
                              <a:pt x="101" y="159"/>
                              <a:pt x="102" y="162"/>
                              <a:pt x="95" y="159"/>
                            </a:cubicBezTo>
                            <a:cubicBezTo>
                              <a:pt x="88" y="156"/>
                              <a:pt x="90" y="157"/>
                              <a:pt x="88" y="152"/>
                            </a:cubicBezTo>
                            <a:cubicBezTo>
                              <a:pt x="86" y="147"/>
                              <a:pt x="85" y="148"/>
                              <a:pt x="84" y="143"/>
                            </a:cubicBezTo>
                            <a:cubicBezTo>
                              <a:pt x="82" y="137"/>
                              <a:pt x="80" y="131"/>
                              <a:pt x="80" y="125"/>
                            </a:cubicBezTo>
                            <a:cubicBezTo>
                              <a:pt x="79" y="119"/>
                              <a:pt x="83" y="115"/>
                              <a:pt x="83" y="108"/>
                            </a:cubicBezTo>
                            <a:cubicBezTo>
                              <a:pt x="83" y="101"/>
                              <a:pt x="85" y="102"/>
                              <a:pt x="88" y="99"/>
                            </a:cubicBezTo>
                            <a:cubicBezTo>
                              <a:pt x="91" y="96"/>
                              <a:pt x="94" y="95"/>
                              <a:pt x="96" y="92"/>
                            </a:cubicBezTo>
                            <a:cubicBezTo>
                              <a:pt x="98" y="89"/>
                              <a:pt x="107" y="77"/>
                              <a:pt x="110" y="76"/>
                            </a:cubicBezTo>
                            <a:cubicBezTo>
                              <a:pt x="113" y="76"/>
                              <a:pt x="117" y="77"/>
                              <a:pt x="123" y="76"/>
                            </a:cubicBezTo>
                            <a:cubicBezTo>
                              <a:pt x="128" y="75"/>
                              <a:pt x="139" y="74"/>
                              <a:pt x="147" y="77"/>
                            </a:cubicBezTo>
                            <a:cubicBezTo>
                              <a:pt x="156" y="81"/>
                              <a:pt x="164" y="82"/>
                              <a:pt x="170" y="82"/>
                            </a:cubicBezTo>
                            <a:cubicBezTo>
                              <a:pt x="177" y="82"/>
                              <a:pt x="187" y="81"/>
                              <a:pt x="194" y="79"/>
                            </a:cubicBezTo>
                            <a:cubicBezTo>
                              <a:pt x="201" y="76"/>
                              <a:pt x="207" y="80"/>
                              <a:pt x="216" y="80"/>
                            </a:cubicBezTo>
                            <a:cubicBezTo>
                              <a:pt x="224" y="79"/>
                              <a:pt x="235" y="77"/>
                              <a:pt x="243" y="76"/>
                            </a:cubicBezTo>
                            <a:cubicBezTo>
                              <a:pt x="250" y="75"/>
                              <a:pt x="253" y="76"/>
                              <a:pt x="264" y="77"/>
                            </a:cubicBezTo>
                            <a:cubicBezTo>
                              <a:pt x="275" y="78"/>
                              <a:pt x="275" y="80"/>
                              <a:pt x="280" y="80"/>
                            </a:cubicBezTo>
                            <a:cubicBezTo>
                              <a:pt x="285" y="81"/>
                              <a:pt x="287" y="84"/>
                              <a:pt x="293" y="89"/>
                            </a:cubicBezTo>
                            <a:cubicBezTo>
                              <a:pt x="298" y="94"/>
                              <a:pt x="302" y="93"/>
                              <a:pt x="309" y="93"/>
                            </a:cubicBezTo>
                            <a:cubicBezTo>
                              <a:pt x="316" y="93"/>
                              <a:pt x="314" y="92"/>
                              <a:pt x="321" y="88"/>
                            </a:cubicBezTo>
                            <a:cubicBezTo>
                              <a:pt x="329" y="84"/>
                              <a:pt x="331" y="84"/>
                              <a:pt x="339" y="83"/>
                            </a:cubicBezTo>
                            <a:cubicBezTo>
                              <a:pt x="346" y="82"/>
                              <a:pt x="345" y="81"/>
                              <a:pt x="351" y="76"/>
                            </a:cubicBezTo>
                            <a:cubicBezTo>
                              <a:pt x="356" y="71"/>
                              <a:pt x="354" y="73"/>
                              <a:pt x="359" y="66"/>
                            </a:cubicBezTo>
                            <a:cubicBezTo>
                              <a:pt x="364" y="60"/>
                              <a:pt x="367" y="57"/>
                              <a:pt x="373" y="54"/>
                            </a:cubicBezTo>
                            <a:cubicBezTo>
                              <a:pt x="378" y="50"/>
                              <a:pt x="381" y="49"/>
                              <a:pt x="381" y="44"/>
                            </a:cubicBezTo>
                            <a:cubicBezTo>
                              <a:pt x="382" y="39"/>
                              <a:pt x="384" y="37"/>
                              <a:pt x="390" y="31"/>
                            </a:cubicBezTo>
                            <a:cubicBezTo>
                              <a:pt x="396" y="25"/>
                              <a:pt x="394" y="18"/>
                              <a:pt x="399" y="14"/>
                            </a:cubicBezTo>
                            <a:cubicBezTo>
                              <a:pt x="404" y="9"/>
                              <a:pt x="400" y="3"/>
                              <a:pt x="396" y="2"/>
                            </a:cubicBezTo>
                            <a:cubicBezTo>
                              <a:pt x="393" y="0"/>
                              <a:pt x="385" y="2"/>
                              <a:pt x="381" y="6"/>
                            </a:cubicBezTo>
                            <a:cubicBezTo>
                              <a:pt x="377" y="10"/>
                              <a:pt x="376" y="18"/>
                              <a:pt x="373" y="19"/>
                            </a:cubicBezTo>
                            <a:cubicBezTo>
                              <a:pt x="370" y="20"/>
                              <a:pt x="367" y="20"/>
                              <a:pt x="363" y="22"/>
                            </a:cubicBezTo>
                            <a:cubicBezTo>
                              <a:pt x="360" y="25"/>
                              <a:pt x="363" y="25"/>
                              <a:pt x="364" y="29"/>
                            </a:cubicBezTo>
                            <a:cubicBezTo>
                              <a:pt x="364" y="33"/>
                              <a:pt x="361" y="34"/>
                              <a:pt x="358" y="34"/>
                            </a:cubicBezTo>
                            <a:cubicBezTo>
                              <a:pt x="355" y="34"/>
                              <a:pt x="348" y="39"/>
                              <a:pt x="345" y="44"/>
                            </a:cubicBezTo>
                            <a:cubicBezTo>
                              <a:pt x="342" y="49"/>
                              <a:pt x="339" y="48"/>
                              <a:pt x="333" y="48"/>
                            </a:cubicBezTo>
                            <a:cubicBezTo>
                              <a:pt x="327" y="49"/>
                              <a:pt x="327" y="50"/>
                              <a:pt x="325" y="55"/>
                            </a:cubicBezTo>
                            <a:cubicBezTo>
                              <a:pt x="324" y="59"/>
                              <a:pt x="321" y="57"/>
                              <a:pt x="317" y="58"/>
                            </a:cubicBezTo>
                            <a:cubicBezTo>
                              <a:pt x="313" y="58"/>
                              <a:pt x="311" y="57"/>
                              <a:pt x="308" y="55"/>
                            </a:cubicBezTo>
                            <a:cubicBezTo>
                              <a:pt x="305" y="52"/>
                              <a:pt x="300" y="52"/>
                              <a:pt x="293" y="52"/>
                            </a:cubicBezTo>
                            <a:cubicBezTo>
                              <a:pt x="289" y="52"/>
                              <a:pt x="286" y="53"/>
                              <a:pt x="284" y="53"/>
                            </a:cubicBezTo>
                            <a:cubicBezTo>
                              <a:pt x="282" y="54"/>
                              <a:pt x="279" y="53"/>
                              <a:pt x="273" y="52"/>
                            </a:cubicBezTo>
                            <a:cubicBezTo>
                              <a:pt x="267" y="50"/>
                              <a:pt x="268" y="53"/>
                              <a:pt x="264" y="56"/>
                            </a:cubicBezTo>
                            <a:cubicBezTo>
                              <a:pt x="260" y="59"/>
                              <a:pt x="258" y="61"/>
                              <a:pt x="256" y="60"/>
                            </a:cubicBezTo>
                            <a:cubicBezTo>
                              <a:pt x="253" y="58"/>
                              <a:pt x="251" y="58"/>
                              <a:pt x="244" y="56"/>
                            </a:cubicBezTo>
                            <a:cubicBezTo>
                              <a:pt x="238" y="54"/>
                              <a:pt x="235" y="55"/>
                              <a:pt x="232" y="50"/>
                            </a:cubicBezTo>
                            <a:cubicBezTo>
                              <a:pt x="228" y="44"/>
                              <a:pt x="222" y="44"/>
                              <a:pt x="216" y="45"/>
                            </a:cubicBezTo>
                            <a:cubicBezTo>
                              <a:pt x="211" y="45"/>
                              <a:pt x="210" y="46"/>
                              <a:pt x="205" y="44"/>
                            </a:cubicBezTo>
                            <a:cubicBezTo>
                              <a:pt x="200" y="41"/>
                              <a:pt x="198" y="44"/>
                              <a:pt x="191" y="45"/>
                            </a:cubicBezTo>
                            <a:cubicBezTo>
                              <a:pt x="184" y="47"/>
                              <a:pt x="185" y="45"/>
                              <a:pt x="179" y="43"/>
                            </a:cubicBezTo>
                            <a:cubicBezTo>
                              <a:pt x="173" y="42"/>
                              <a:pt x="175" y="40"/>
                              <a:pt x="174" y="35"/>
                            </a:cubicBezTo>
                            <a:cubicBezTo>
                              <a:pt x="174" y="29"/>
                              <a:pt x="171" y="29"/>
                              <a:pt x="167" y="28"/>
                            </a:cubicBezTo>
                            <a:cubicBezTo>
                              <a:pt x="163" y="26"/>
                              <a:pt x="161" y="29"/>
                              <a:pt x="155" y="30"/>
                            </a:cubicBezTo>
                            <a:cubicBezTo>
                              <a:pt x="148" y="31"/>
                              <a:pt x="149" y="30"/>
                              <a:pt x="145" y="30"/>
                            </a:cubicBezTo>
                            <a:cubicBezTo>
                              <a:pt x="140" y="30"/>
                              <a:pt x="140" y="28"/>
                              <a:pt x="137" y="25"/>
                            </a:cubicBezTo>
                            <a:cubicBezTo>
                              <a:pt x="133" y="22"/>
                              <a:pt x="130" y="26"/>
                              <a:pt x="128" y="30"/>
                            </a:cubicBezTo>
                            <a:cubicBezTo>
                              <a:pt x="125" y="33"/>
                              <a:pt x="128" y="35"/>
                              <a:pt x="128" y="42"/>
                            </a:cubicBezTo>
                            <a:cubicBezTo>
                              <a:pt x="128" y="50"/>
                              <a:pt x="125" y="47"/>
                              <a:pt x="122" y="50"/>
                            </a:cubicBezTo>
                            <a:cubicBezTo>
                              <a:pt x="119" y="54"/>
                              <a:pt x="118" y="57"/>
                              <a:pt x="112" y="58"/>
                            </a:cubicBezTo>
                            <a:cubicBezTo>
                              <a:pt x="107" y="59"/>
                              <a:pt x="105" y="56"/>
                              <a:pt x="101" y="53"/>
                            </a:cubicBezTo>
                            <a:cubicBezTo>
                              <a:pt x="96" y="50"/>
                              <a:pt x="96" y="51"/>
                              <a:pt x="91" y="54"/>
                            </a:cubicBezTo>
                            <a:cubicBezTo>
                              <a:pt x="86" y="58"/>
                              <a:pt x="88" y="58"/>
                              <a:pt x="85" y="63"/>
                            </a:cubicBezTo>
                            <a:cubicBezTo>
                              <a:pt x="82" y="68"/>
                              <a:pt x="83" y="67"/>
                              <a:pt x="79" y="69"/>
                            </a:cubicBezTo>
                            <a:cubicBezTo>
                              <a:pt x="75" y="72"/>
                              <a:pt x="74" y="72"/>
                              <a:pt x="70" y="76"/>
                            </a:cubicBezTo>
                            <a:cubicBezTo>
                              <a:pt x="65" y="80"/>
                              <a:pt x="69" y="82"/>
                              <a:pt x="69" y="87"/>
                            </a:cubicBezTo>
                            <a:cubicBezTo>
                              <a:pt x="68" y="92"/>
                              <a:pt x="66" y="94"/>
                              <a:pt x="62" y="99"/>
                            </a:cubicBezTo>
                            <a:cubicBezTo>
                              <a:pt x="57" y="104"/>
                              <a:pt x="59" y="104"/>
                              <a:pt x="60" y="109"/>
                            </a:cubicBezTo>
                            <a:cubicBezTo>
                              <a:pt x="60" y="114"/>
                              <a:pt x="62" y="111"/>
                              <a:pt x="67" y="116"/>
                            </a:cubicBezTo>
                            <a:cubicBezTo>
                              <a:pt x="72" y="120"/>
                              <a:pt x="67" y="138"/>
                              <a:pt x="70" y="142"/>
                            </a:cubicBezTo>
                            <a:cubicBezTo>
                              <a:pt x="73" y="146"/>
                              <a:pt x="71" y="148"/>
                              <a:pt x="69" y="152"/>
                            </a:cubicBezTo>
                            <a:cubicBezTo>
                              <a:pt x="67" y="156"/>
                              <a:pt x="67" y="153"/>
                              <a:pt x="63" y="151"/>
                            </a:cubicBezTo>
                            <a:cubicBezTo>
                              <a:pt x="59" y="150"/>
                              <a:pt x="58" y="153"/>
                              <a:pt x="53" y="155"/>
                            </a:cubicBezTo>
                            <a:cubicBezTo>
                              <a:pt x="49" y="158"/>
                              <a:pt x="50" y="160"/>
                              <a:pt x="47" y="166"/>
                            </a:cubicBezTo>
                            <a:cubicBezTo>
                              <a:pt x="44" y="172"/>
                              <a:pt x="44" y="172"/>
                              <a:pt x="39" y="175"/>
                            </a:cubicBezTo>
                            <a:cubicBezTo>
                              <a:pt x="33" y="178"/>
                              <a:pt x="37" y="180"/>
                              <a:pt x="35" y="188"/>
                            </a:cubicBezTo>
                            <a:cubicBezTo>
                              <a:pt x="33" y="195"/>
                              <a:pt x="35" y="200"/>
                              <a:pt x="37" y="206"/>
                            </a:cubicBezTo>
                            <a:cubicBezTo>
                              <a:pt x="40" y="213"/>
                              <a:pt x="39" y="225"/>
                              <a:pt x="35" y="228"/>
                            </a:cubicBezTo>
                            <a:cubicBezTo>
                              <a:pt x="31" y="231"/>
                              <a:pt x="28" y="234"/>
                              <a:pt x="25" y="238"/>
                            </a:cubicBezTo>
                            <a:cubicBezTo>
                              <a:pt x="22" y="241"/>
                              <a:pt x="24" y="244"/>
                              <a:pt x="19" y="251"/>
                            </a:cubicBezTo>
                            <a:cubicBezTo>
                              <a:pt x="14" y="257"/>
                              <a:pt x="14" y="256"/>
                              <a:pt x="9" y="258"/>
                            </a:cubicBezTo>
                            <a:cubicBezTo>
                              <a:pt x="3" y="260"/>
                              <a:pt x="3" y="267"/>
                              <a:pt x="5" y="273"/>
                            </a:cubicBezTo>
                            <a:cubicBezTo>
                              <a:pt x="6" y="280"/>
                              <a:pt x="9" y="277"/>
                              <a:pt x="12" y="283"/>
                            </a:cubicBezTo>
                            <a:cubicBezTo>
                              <a:pt x="15" y="290"/>
                              <a:pt x="12" y="290"/>
                              <a:pt x="6" y="292"/>
                            </a:cubicBezTo>
                            <a:cubicBezTo>
                              <a:pt x="0" y="294"/>
                              <a:pt x="2" y="296"/>
                              <a:pt x="2" y="301"/>
                            </a:cubicBezTo>
                            <a:cubicBezTo>
                              <a:pt x="2" y="307"/>
                              <a:pt x="4" y="309"/>
                              <a:pt x="12" y="312"/>
                            </a:cubicBezTo>
                            <a:cubicBezTo>
                              <a:pt x="19" y="315"/>
                              <a:pt x="15" y="323"/>
                              <a:pt x="20" y="326"/>
                            </a:cubicBezTo>
                            <a:cubicBezTo>
                              <a:pt x="24" y="330"/>
                              <a:pt x="33" y="327"/>
                              <a:pt x="38" y="325"/>
                            </a:cubicBezTo>
                            <a:cubicBezTo>
                              <a:pt x="42" y="323"/>
                              <a:pt x="43" y="326"/>
                              <a:pt x="47" y="330"/>
                            </a:cubicBezTo>
                            <a:cubicBezTo>
                              <a:pt x="50" y="334"/>
                              <a:pt x="47" y="335"/>
                              <a:pt x="44" y="340"/>
                            </a:cubicBezTo>
                            <a:cubicBezTo>
                              <a:pt x="41" y="346"/>
                              <a:pt x="46" y="346"/>
                              <a:pt x="52" y="352"/>
                            </a:cubicBezTo>
                            <a:cubicBezTo>
                              <a:pt x="57" y="358"/>
                              <a:pt x="56" y="356"/>
                              <a:pt x="57" y="359"/>
                            </a:cubicBezTo>
                            <a:cubicBezTo>
                              <a:pt x="58" y="363"/>
                              <a:pt x="57" y="363"/>
                              <a:pt x="55" y="364"/>
                            </a:cubicBezTo>
                            <a:cubicBezTo>
                              <a:pt x="54" y="365"/>
                              <a:pt x="52" y="367"/>
                              <a:pt x="50" y="371"/>
                            </a:cubicBezTo>
                            <a:cubicBezTo>
                              <a:pt x="48" y="375"/>
                              <a:pt x="49" y="380"/>
                              <a:pt x="50" y="387"/>
                            </a:cubicBezTo>
                            <a:cubicBezTo>
                              <a:pt x="51" y="394"/>
                              <a:pt x="51" y="392"/>
                              <a:pt x="50" y="396"/>
                            </a:cubicBezTo>
                            <a:cubicBezTo>
                              <a:pt x="50" y="401"/>
                              <a:pt x="48" y="402"/>
                              <a:pt x="43" y="407"/>
                            </a:cubicBezTo>
                            <a:cubicBezTo>
                              <a:pt x="39" y="412"/>
                              <a:pt x="43" y="414"/>
                              <a:pt x="45" y="421"/>
                            </a:cubicBezTo>
                            <a:cubicBezTo>
                              <a:pt x="48" y="429"/>
                              <a:pt x="45" y="428"/>
                              <a:pt x="43" y="433"/>
                            </a:cubicBezTo>
                            <a:cubicBezTo>
                              <a:pt x="42" y="439"/>
                              <a:pt x="44" y="440"/>
                              <a:pt x="44" y="443"/>
                            </a:cubicBezTo>
                            <a:cubicBezTo>
                              <a:pt x="44" y="446"/>
                              <a:pt x="45" y="449"/>
                              <a:pt x="49" y="452"/>
                            </a:cubicBezTo>
                            <a:cubicBezTo>
                              <a:pt x="52" y="455"/>
                              <a:pt x="55" y="452"/>
                              <a:pt x="59" y="450"/>
                            </a:cubicBezTo>
                            <a:cubicBezTo>
                              <a:pt x="63" y="448"/>
                              <a:pt x="66" y="451"/>
                              <a:pt x="67" y="455"/>
                            </a:cubicBezTo>
                            <a:cubicBezTo>
                              <a:pt x="69" y="460"/>
                              <a:pt x="71" y="461"/>
                              <a:pt x="76" y="460"/>
                            </a:cubicBezTo>
                            <a:cubicBezTo>
                              <a:pt x="82" y="459"/>
                              <a:pt x="84" y="452"/>
                              <a:pt x="87" y="449"/>
                            </a:cubicBezTo>
                            <a:cubicBezTo>
                              <a:pt x="90" y="446"/>
                              <a:pt x="95" y="449"/>
                              <a:pt x="97" y="450"/>
                            </a:cubicBezTo>
                            <a:cubicBezTo>
                              <a:pt x="99" y="452"/>
                              <a:pt x="106" y="454"/>
                              <a:pt x="107" y="450"/>
                            </a:cubicBezTo>
                            <a:cubicBezTo>
                              <a:pt x="107" y="445"/>
                              <a:pt x="106" y="442"/>
                              <a:pt x="104" y="435"/>
                            </a:cubicBezTo>
                            <a:cubicBezTo>
                              <a:pt x="101" y="429"/>
                              <a:pt x="100" y="432"/>
                              <a:pt x="96" y="429"/>
                            </a:cubicBezTo>
                            <a:cubicBezTo>
                              <a:pt x="92" y="425"/>
                              <a:pt x="95" y="424"/>
                              <a:pt x="97" y="419"/>
                            </a:cubicBezTo>
                            <a:cubicBezTo>
                              <a:pt x="98" y="414"/>
                              <a:pt x="99" y="414"/>
                              <a:pt x="101" y="412"/>
                            </a:cubicBezTo>
                            <a:cubicBezTo>
                              <a:pt x="104" y="410"/>
                              <a:pt x="106" y="404"/>
                              <a:pt x="107" y="400"/>
                            </a:cubicBezTo>
                            <a:cubicBezTo>
                              <a:pt x="108" y="396"/>
                              <a:pt x="108" y="392"/>
                              <a:pt x="106" y="385"/>
                            </a:cubicBezTo>
                            <a:cubicBezTo>
                              <a:pt x="104" y="379"/>
                              <a:pt x="100" y="371"/>
                              <a:pt x="101" y="360"/>
                            </a:cubicBezTo>
                            <a:cubicBezTo>
                              <a:pt x="102" y="348"/>
                              <a:pt x="109" y="348"/>
                              <a:pt x="108" y="343"/>
                            </a:cubicBezTo>
                            <a:cubicBezTo>
                              <a:pt x="107" y="338"/>
                              <a:pt x="108" y="332"/>
                              <a:pt x="108" y="324"/>
                            </a:cubicBezTo>
                            <a:cubicBezTo>
                              <a:pt x="108" y="317"/>
                              <a:pt x="109" y="317"/>
                              <a:pt x="107" y="310"/>
                            </a:cubicBezTo>
                            <a:cubicBezTo>
                              <a:pt x="104" y="302"/>
                              <a:pt x="102" y="305"/>
                              <a:pt x="99" y="297"/>
                            </a:cubicBezTo>
                            <a:cubicBezTo>
                              <a:pt x="95" y="289"/>
                              <a:pt x="99" y="291"/>
                              <a:pt x="102" y="288"/>
                            </a:cubicBezTo>
                            <a:cubicBezTo>
                              <a:pt x="105" y="284"/>
                              <a:pt x="109" y="285"/>
                              <a:pt x="112" y="279"/>
                            </a:cubicBezTo>
                            <a:cubicBezTo>
                              <a:pt x="115" y="273"/>
                              <a:pt x="119" y="276"/>
                              <a:pt x="125" y="275"/>
                            </a:cubicBezTo>
                            <a:cubicBezTo>
                              <a:pt x="131" y="273"/>
                              <a:pt x="135" y="276"/>
                              <a:pt x="140" y="277"/>
                            </a:cubicBezTo>
                            <a:cubicBezTo>
                              <a:pt x="144" y="278"/>
                              <a:pt x="143" y="283"/>
                              <a:pt x="143" y="288"/>
                            </a:cubicBezTo>
                            <a:cubicBezTo>
                              <a:pt x="143" y="293"/>
                              <a:pt x="143" y="291"/>
                              <a:pt x="145" y="298"/>
                            </a:cubicBezTo>
                            <a:cubicBezTo>
                              <a:pt x="147" y="304"/>
                              <a:pt x="146" y="305"/>
                              <a:pt x="142" y="311"/>
                            </a:cubicBezTo>
                            <a:cubicBezTo>
                              <a:pt x="138" y="317"/>
                              <a:pt x="136" y="315"/>
                              <a:pt x="134" y="320"/>
                            </a:cubicBezTo>
                            <a:cubicBezTo>
                              <a:pt x="132" y="325"/>
                              <a:pt x="136" y="323"/>
                              <a:pt x="137" y="326"/>
                            </a:cubicBezTo>
                            <a:cubicBezTo>
                              <a:pt x="137" y="329"/>
                              <a:pt x="143" y="333"/>
                              <a:pt x="149" y="336"/>
                            </a:cubicBezTo>
                            <a:cubicBezTo>
                              <a:pt x="154" y="339"/>
                              <a:pt x="155" y="339"/>
                              <a:pt x="157" y="344"/>
                            </a:cubicBezTo>
                            <a:cubicBezTo>
                              <a:pt x="160" y="349"/>
                              <a:pt x="161" y="350"/>
                              <a:pt x="165" y="353"/>
                            </a:cubicBezTo>
                            <a:cubicBezTo>
                              <a:pt x="169" y="355"/>
                              <a:pt x="175" y="356"/>
                              <a:pt x="179" y="359"/>
                            </a:cubicBezTo>
                            <a:cubicBezTo>
                              <a:pt x="183" y="362"/>
                              <a:pt x="179" y="364"/>
                              <a:pt x="177" y="369"/>
                            </a:cubicBezTo>
                            <a:cubicBezTo>
                              <a:pt x="175" y="374"/>
                              <a:pt x="177" y="375"/>
                              <a:pt x="176" y="377"/>
                            </a:cubicBezTo>
                            <a:cubicBezTo>
                              <a:pt x="175" y="380"/>
                              <a:pt x="173" y="383"/>
                              <a:pt x="172" y="389"/>
                            </a:cubicBezTo>
                            <a:cubicBezTo>
                              <a:pt x="171" y="395"/>
                              <a:pt x="173" y="393"/>
                              <a:pt x="174" y="396"/>
                            </a:cubicBezTo>
                            <a:cubicBezTo>
                              <a:pt x="174" y="399"/>
                              <a:pt x="179" y="403"/>
                              <a:pt x="182" y="405"/>
                            </a:cubicBezTo>
                            <a:cubicBezTo>
                              <a:pt x="185" y="407"/>
                              <a:pt x="191" y="405"/>
                              <a:pt x="192" y="405"/>
                            </a:cubicBezTo>
                            <a:cubicBezTo>
                              <a:pt x="193" y="405"/>
                              <a:pt x="203" y="409"/>
                              <a:pt x="207" y="408"/>
                            </a:cubicBezTo>
                            <a:cubicBezTo>
                              <a:pt x="212" y="408"/>
                              <a:pt x="209" y="404"/>
                              <a:pt x="211" y="401"/>
                            </a:cubicBezTo>
                            <a:cubicBezTo>
                              <a:pt x="213" y="398"/>
                              <a:pt x="212" y="396"/>
                              <a:pt x="209" y="394"/>
                            </a:cubicBezTo>
                            <a:cubicBezTo>
                              <a:pt x="206" y="392"/>
                              <a:pt x="205" y="391"/>
                              <a:pt x="204" y="388"/>
                            </a:cubicBezTo>
                            <a:cubicBezTo>
                              <a:pt x="204" y="384"/>
                              <a:pt x="207" y="384"/>
                              <a:pt x="212" y="383"/>
                            </a:cubicBezTo>
                            <a:cubicBezTo>
                              <a:pt x="216" y="382"/>
                              <a:pt x="219" y="383"/>
                              <a:pt x="225" y="382"/>
                            </a:cubicBezTo>
                            <a:cubicBezTo>
                              <a:pt x="230" y="380"/>
                              <a:pt x="234" y="380"/>
                              <a:pt x="239" y="380"/>
                            </a:cubicBezTo>
                            <a:close/>
                            <a:moveTo>
                              <a:pt x="527" y="157"/>
                            </a:moveTo>
                            <a:cubicBezTo>
                              <a:pt x="529" y="153"/>
                              <a:pt x="525" y="143"/>
                              <a:pt x="523" y="148"/>
                            </a:cubicBezTo>
                            <a:cubicBezTo>
                              <a:pt x="523" y="151"/>
                              <a:pt x="519" y="151"/>
                              <a:pt x="521" y="154"/>
                            </a:cubicBezTo>
                            <a:cubicBezTo>
                              <a:pt x="524" y="157"/>
                              <a:pt x="526" y="161"/>
                              <a:pt x="527" y="157"/>
                            </a:cubicBezTo>
                            <a:close/>
                            <a:moveTo>
                              <a:pt x="532" y="93"/>
                            </a:moveTo>
                            <a:cubicBezTo>
                              <a:pt x="536" y="93"/>
                              <a:pt x="537" y="92"/>
                              <a:pt x="538" y="89"/>
                            </a:cubicBezTo>
                            <a:cubicBezTo>
                              <a:pt x="540" y="86"/>
                              <a:pt x="537" y="77"/>
                              <a:pt x="536" y="83"/>
                            </a:cubicBezTo>
                            <a:cubicBezTo>
                              <a:pt x="534" y="87"/>
                              <a:pt x="531" y="86"/>
                              <a:pt x="531" y="90"/>
                            </a:cubicBezTo>
                            <a:cubicBezTo>
                              <a:pt x="530" y="93"/>
                              <a:pt x="528" y="94"/>
                              <a:pt x="532" y="93"/>
                            </a:cubicBezTo>
                            <a:close/>
                            <a:moveTo>
                              <a:pt x="531" y="61"/>
                            </a:moveTo>
                            <a:cubicBezTo>
                              <a:pt x="534" y="62"/>
                              <a:pt x="537" y="67"/>
                              <a:pt x="538" y="62"/>
                            </a:cubicBezTo>
                            <a:cubicBezTo>
                              <a:pt x="539" y="58"/>
                              <a:pt x="537" y="59"/>
                              <a:pt x="537" y="56"/>
                            </a:cubicBezTo>
                            <a:cubicBezTo>
                              <a:pt x="536" y="54"/>
                              <a:pt x="531" y="52"/>
                              <a:pt x="530" y="55"/>
                            </a:cubicBezTo>
                            <a:cubicBezTo>
                              <a:pt x="530" y="59"/>
                              <a:pt x="529" y="59"/>
                              <a:pt x="531" y="61"/>
                            </a:cubicBezTo>
                            <a:close/>
                            <a:moveTo>
                              <a:pt x="528" y="132"/>
                            </a:moveTo>
                            <a:cubicBezTo>
                              <a:pt x="528" y="130"/>
                              <a:pt x="522" y="125"/>
                              <a:pt x="520" y="127"/>
                            </a:cubicBezTo>
                            <a:cubicBezTo>
                              <a:pt x="519" y="131"/>
                              <a:pt x="518" y="134"/>
                              <a:pt x="521" y="134"/>
                            </a:cubicBezTo>
                            <a:cubicBezTo>
                              <a:pt x="524" y="135"/>
                              <a:pt x="527" y="135"/>
                              <a:pt x="528" y="132"/>
                            </a:cubicBezTo>
                            <a:close/>
                            <a:moveTo>
                              <a:pt x="447" y="249"/>
                            </a:moveTo>
                            <a:cubicBezTo>
                              <a:pt x="450" y="255"/>
                              <a:pt x="453" y="258"/>
                              <a:pt x="452" y="253"/>
                            </a:cubicBezTo>
                            <a:cubicBezTo>
                              <a:pt x="451" y="248"/>
                              <a:pt x="450" y="248"/>
                              <a:pt x="450" y="243"/>
                            </a:cubicBezTo>
                            <a:cubicBezTo>
                              <a:pt x="450" y="238"/>
                              <a:pt x="446" y="232"/>
                              <a:pt x="442" y="234"/>
                            </a:cubicBezTo>
                            <a:cubicBezTo>
                              <a:pt x="439" y="236"/>
                              <a:pt x="438" y="237"/>
                              <a:pt x="441" y="241"/>
                            </a:cubicBezTo>
                            <a:cubicBezTo>
                              <a:pt x="445" y="245"/>
                              <a:pt x="444" y="244"/>
                              <a:pt x="447" y="249"/>
                            </a:cubicBezTo>
                            <a:close/>
                            <a:moveTo>
                              <a:pt x="517" y="334"/>
                            </a:moveTo>
                            <a:cubicBezTo>
                              <a:pt x="522" y="333"/>
                              <a:pt x="524" y="331"/>
                              <a:pt x="524" y="326"/>
                            </a:cubicBezTo>
                            <a:cubicBezTo>
                              <a:pt x="525" y="321"/>
                              <a:pt x="525" y="320"/>
                              <a:pt x="524" y="316"/>
                            </a:cubicBezTo>
                            <a:cubicBezTo>
                              <a:pt x="523" y="313"/>
                              <a:pt x="523" y="314"/>
                              <a:pt x="519" y="312"/>
                            </a:cubicBezTo>
                            <a:cubicBezTo>
                              <a:pt x="515" y="311"/>
                              <a:pt x="513" y="310"/>
                              <a:pt x="508" y="305"/>
                            </a:cubicBezTo>
                            <a:cubicBezTo>
                              <a:pt x="504" y="298"/>
                              <a:pt x="497" y="297"/>
                              <a:pt x="493" y="296"/>
                            </a:cubicBezTo>
                            <a:cubicBezTo>
                              <a:pt x="489" y="295"/>
                              <a:pt x="478" y="298"/>
                              <a:pt x="475" y="299"/>
                            </a:cubicBezTo>
                            <a:cubicBezTo>
                              <a:pt x="471" y="300"/>
                              <a:pt x="467" y="303"/>
                              <a:pt x="461" y="303"/>
                            </a:cubicBezTo>
                            <a:cubicBezTo>
                              <a:pt x="455" y="303"/>
                              <a:pt x="451" y="304"/>
                              <a:pt x="449" y="307"/>
                            </a:cubicBezTo>
                            <a:cubicBezTo>
                              <a:pt x="446" y="310"/>
                              <a:pt x="453" y="315"/>
                              <a:pt x="453" y="319"/>
                            </a:cubicBezTo>
                            <a:cubicBezTo>
                              <a:pt x="454" y="324"/>
                              <a:pt x="459" y="326"/>
                              <a:pt x="464" y="328"/>
                            </a:cubicBezTo>
                            <a:cubicBezTo>
                              <a:pt x="470" y="331"/>
                              <a:pt x="472" y="333"/>
                              <a:pt x="475" y="336"/>
                            </a:cubicBezTo>
                            <a:cubicBezTo>
                              <a:pt x="478" y="339"/>
                              <a:pt x="486" y="344"/>
                              <a:pt x="491" y="344"/>
                            </a:cubicBezTo>
                            <a:cubicBezTo>
                              <a:pt x="495" y="345"/>
                              <a:pt x="498" y="343"/>
                              <a:pt x="503" y="337"/>
                            </a:cubicBezTo>
                            <a:cubicBezTo>
                              <a:pt x="507" y="331"/>
                              <a:pt x="512" y="335"/>
                              <a:pt x="517" y="334"/>
                            </a:cubicBezTo>
                            <a:close/>
                            <a:moveTo>
                              <a:pt x="437" y="224"/>
                            </a:moveTo>
                            <a:cubicBezTo>
                              <a:pt x="439" y="222"/>
                              <a:pt x="441" y="221"/>
                              <a:pt x="438" y="220"/>
                            </a:cubicBezTo>
                            <a:cubicBezTo>
                              <a:pt x="435" y="219"/>
                              <a:pt x="428" y="219"/>
                              <a:pt x="425" y="219"/>
                            </a:cubicBezTo>
                            <a:cubicBezTo>
                              <a:pt x="422" y="219"/>
                              <a:pt x="421" y="218"/>
                              <a:pt x="419" y="219"/>
                            </a:cubicBezTo>
                            <a:cubicBezTo>
                              <a:pt x="412" y="220"/>
                              <a:pt x="411" y="223"/>
                              <a:pt x="412" y="225"/>
                            </a:cubicBezTo>
                            <a:cubicBezTo>
                              <a:pt x="414" y="228"/>
                              <a:pt x="414" y="230"/>
                              <a:pt x="420" y="228"/>
                            </a:cubicBezTo>
                            <a:cubicBezTo>
                              <a:pt x="426" y="227"/>
                              <a:pt x="423" y="226"/>
                              <a:pt x="428" y="225"/>
                            </a:cubicBezTo>
                            <a:cubicBezTo>
                              <a:pt x="433" y="224"/>
                              <a:pt x="435" y="226"/>
                              <a:pt x="437" y="224"/>
                            </a:cubicBezTo>
                            <a:close/>
                            <a:moveTo>
                              <a:pt x="402" y="223"/>
                            </a:moveTo>
                            <a:cubicBezTo>
                              <a:pt x="402" y="218"/>
                              <a:pt x="404" y="216"/>
                              <a:pt x="398" y="216"/>
                            </a:cubicBezTo>
                            <a:cubicBezTo>
                              <a:pt x="393" y="216"/>
                              <a:pt x="390" y="218"/>
                              <a:pt x="386" y="216"/>
                            </a:cubicBezTo>
                            <a:cubicBezTo>
                              <a:pt x="383" y="214"/>
                              <a:pt x="377" y="214"/>
                              <a:pt x="372" y="215"/>
                            </a:cubicBezTo>
                            <a:cubicBezTo>
                              <a:pt x="362" y="216"/>
                              <a:pt x="357" y="212"/>
                              <a:pt x="354" y="213"/>
                            </a:cubicBezTo>
                            <a:cubicBezTo>
                              <a:pt x="351" y="214"/>
                              <a:pt x="350" y="221"/>
                              <a:pt x="352" y="226"/>
                            </a:cubicBezTo>
                            <a:cubicBezTo>
                              <a:pt x="354" y="231"/>
                              <a:pt x="352" y="232"/>
                              <a:pt x="358" y="231"/>
                            </a:cubicBezTo>
                            <a:cubicBezTo>
                              <a:pt x="363" y="231"/>
                              <a:pt x="362" y="230"/>
                              <a:pt x="369" y="228"/>
                            </a:cubicBezTo>
                            <a:cubicBezTo>
                              <a:pt x="376" y="226"/>
                              <a:pt x="377" y="225"/>
                              <a:pt x="382" y="226"/>
                            </a:cubicBezTo>
                            <a:cubicBezTo>
                              <a:pt x="387" y="227"/>
                              <a:pt x="387" y="226"/>
                              <a:pt x="392" y="225"/>
                            </a:cubicBezTo>
                            <a:cubicBezTo>
                              <a:pt x="398" y="225"/>
                              <a:pt x="402" y="227"/>
                              <a:pt x="402" y="223"/>
                            </a:cubicBezTo>
                            <a:close/>
                            <a:moveTo>
                              <a:pt x="555" y="151"/>
                            </a:moveTo>
                            <a:cubicBezTo>
                              <a:pt x="554" y="147"/>
                              <a:pt x="551" y="148"/>
                              <a:pt x="549" y="144"/>
                            </a:cubicBezTo>
                            <a:cubicBezTo>
                              <a:pt x="547" y="141"/>
                              <a:pt x="548" y="138"/>
                              <a:pt x="547" y="135"/>
                            </a:cubicBezTo>
                            <a:cubicBezTo>
                              <a:pt x="546" y="133"/>
                              <a:pt x="542" y="133"/>
                              <a:pt x="539" y="133"/>
                            </a:cubicBezTo>
                            <a:cubicBezTo>
                              <a:pt x="535" y="134"/>
                              <a:pt x="532" y="132"/>
                              <a:pt x="534" y="137"/>
                            </a:cubicBezTo>
                            <a:cubicBezTo>
                              <a:pt x="535" y="141"/>
                              <a:pt x="537" y="140"/>
                              <a:pt x="538" y="143"/>
                            </a:cubicBezTo>
                            <a:cubicBezTo>
                              <a:pt x="539" y="146"/>
                              <a:pt x="538" y="145"/>
                              <a:pt x="539" y="149"/>
                            </a:cubicBezTo>
                            <a:cubicBezTo>
                              <a:pt x="540" y="152"/>
                              <a:pt x="536" y="154"/>
                              <a:pt x="541" y="155"/>
                            </a:cubicBezTo>
                            <a:cubicBezTo>
                              <a:pt x="546" y="156"/>
                              <a:pt x="546" y="153"/>
                              <a:pt x="550" y="153"/>
                            </a:cubicBezTo>
                            <a:cubicBezTo>
                              <a:pt x="553" y="154"/>
                              <a:pt x="556" y="156"/>
                              <a:pt x="555" y="151"/>
                            </a:cubicBezTo>
                            <a:close/>
                            <a:moveTo>
                              <a:pt x="543" y="180"/>
                            </a:moveTo>
                            <a:cubicBezTo>
                              <a:pt x="542" y="182"/>
                              <a:pt x="538" y="182"/>
                              <a:pt x="543" y="184"/>
                            </a:cubicBezTo>
                            <a:cubicBezTo>
                              <a:pt x="547" y="186"/>
                              <a:pt x="549" y="188"/>
                              <a:pt x="551" y="186"/>
                            </a:cubicBezTo>
                            <a:cubicBezTo>
                              <a:pt x="553" y="184"/>
                              <a:pt x="555" y="184"/>
                              <a:pt x="553" y="182"/>
                            </a:cubicBezTo>
                            <a:cubicBezTo>
                              <a:pt x="551" y="180"/>
                              <a:pt x="549" y="179"/>
                              <a:pt x="543" y="180"/>
                            </a:cubicBezTo>
                            <a:close/>
                            <a:moveTo>
                              <a:pt x="285" y="193"/>
                            </a:moveTo>
                            <a:cubicBezTo>
                              <a:pt x="290" y="192"/>
                              <a:pt x="295" y="190"/>
                              <a:pt x="291" y="189"/>
                            </a:cubicBezTo>
                            <a:cubicBezTo>
                              <a:pt x="287" y="189"/>
                              <a:pt x="281" y="188"/>
                              <a:pt x="277" y="190"/>
                            </a:cubicBezTo>
                            <a:cubicBezTo>
                              <a:pt x="274" y="193"/>
                              <a:pt x="272" y="196"/>
                              <a:pt x="272" y="199"/>
                            </a:cubicBezTo>
                            <a:cubicBezTo>
                              <a:pt x="272" y="204"/>
                              <a:pt x="270" y="209"/>
                              <a:pt x="275" y="208"/>
                            </a:cubicBezTo>
                            <a:cubicBezTo>
                              <a:pt x="279" y="208"/>
                              <a:pt x="283" y="208"/>
                              <a:pt x="282" y="202"/>
                            </a:cubicBezTo>
                            <a:cubicBezTo>
                              <a:pt x="280" y="197"/>
                              <a:pt x="280" y="194"/>
                              <a:pt x="285" y="193"/>
                            </a:cubicBezTo>
                            <a:close/>
                            <a:moveTo>
                              <a:pt x="550" y="212"/>
                            </a:moveTo>
                            <a:cubicBezTo>
                              <a:pt x="555" y="212"/>
                              <a:pt x="554" y="210"/>
                              <a:pt x="562" y="211"/>
                            </a:cubicBezTo>
                            <a:cubicBezTo>
                              <a:pt x="570" y="211"/>
                              <a:pt x="576" y="212"/>
                              <a:pt x="577" y="210"/>
                            </a:cubicBezTo>
                            <a:cubicBezTo>
                              <a:pt x="578" y="208"/>
                              <a:pt x="578" y="208"/>
                              <a:pt x="574" y="205"/>
                            </a:cubicBezTo>
                            <a:cubicBezTo>
                              <a:pt x="569" y="201"/>
                              <a:pt x="564" y="199"/>
                              <a:pt x="562" y="197"/>
                            </a:cubicBezTo>
                            <a:cubicBezTo>
                              <a:pt x="559" y="194"/>
                              <a:pt x="561" y="193"/>
                              <a:pt x="557" y="193"/>
                            </a:cubicBezTo>
                            <a:cubicBezTo>
                              <a:pt x="553" y="193"/>
                              <a:pt x="547" y="195"/>
                              <a:pt x="543" y="196"/>
                            </a:cubicBezTo>
                            <a:cubicBezTo>
                              <a:pt x="541" y="198"/>
                              <a:pt x="537" y="198"/>
                              <a:pt x="540" y="204"/>
                            </a:cubicBezTo>
                            <a:cubicBezTo>
                              <a:pt x="543" y="209"/>
                              <a:pt x="544" y="212"/>
                              <a:pt x="550" y="212"/>
                            </a:cubicBezTo>
                            <a:close/>
                            <a:moveTo>
                              <a:pt x="568" y="302"/>
                            </a:moveTo>
                            <a:cubicBezTo>
                              <a:pt x="564" y="305"/>
                              <a:pt x="564" y="310"/>
                              <a:pt x="564" y="314"/>
                            </a:cubicBezTo>
                            <a:cubicBezTo>
                              <a:pt x="564" y="319"/>
                              <a:pt x="563" y="322"/>
                              <a:pt x="564" y="324"/>
                            </a:cubicBezTo>
                            <a:cubicBezTo>
                              <a:pt x="565" y="326"/>
                              <a:pt x="568" y="322"/>
                              <a:pt x="569" y="318"/>
                            </a:cubicBezTo>
                            <a:cubicBezTo>
                              <a:pt x="570" y="313"/>
                              <a:pt x="573" y="313"/>
                              <a:pt x="575" y="311"/>
                            </a:cubicBezTo>
                            <a:cubicBezTo>
                              <a:pt x="578" y="308"/>
                              <a:pt x="576" y="305"/>
                              <a:pt x="575" y="303"/>
                            </a:cubicBezTo>
                            <a:cubicBezTo>
                              <a:pt x="574" y="300"/>
                              <a:pt x="570" y="301"/>
                              <a:pt x="568" y="302"/>
                            </a:cubicBezTo>
                            <a:close/>
                            <a:moveTo>
                              <a:pt x="297" y="212"/>
                            </a:moveTo>
                            <a:cubicBezTo>
                              <a:pt x="300" y="209"/>
                              <a:pt x="299" y="206"/>
                              <a:pt x="300" y="203"/>
                            </a:cubicBezTo>
                            <a:cubicBezTo>
                              <a:pt x="300" y="200"/>
                              <a:pt x="298" y="198"/>
                              <a:pt x="296" y="199"/>
                            </a:cubicBezTo>
                            <a:cubicBezTo>
                              <a:pt x="295" y="202"/>
                              <a:pt x="293" y="200"/>
                              <a:pt x="294" y="205"/>
                            </a:cubicBezTo>
                            <a:cubicBezTo>
                              <a:pt x="295" y="209"/>
                              <a:pt x="295" y="215"/>
                              <a:pt x="297" y="212"/>
                            </a:cubicBezTo>
                            <a:close/>
                            <a:moveTo>
                              <a:pt x="320" y="230"/>
                            </a:moveTo>
                            <a:cubicBezTo>
                              <a:pt x="321" y="227"/>
                              <a:pt x="320" y="225"/>
                              <a:pt x="319" y="224"/>
                            </a:cubicBezTo>
                            <a:cubicBezTo>
                              <a:pt x="317" y="223"/>
                              <a:pt x="314" y="220"/>
                              <a:pt x="311" y="223"/>
                            </a:cubicBezTo>
                            <a:cubicBezTo>
                              <a:pt x="309" y="225"/>
                              <a:pt x="313" y="228"/>
                              <a:pt x="315" y="230"/>
                            </a:cubicBezTo>
                            <a:cubicBezTo>
                              <a:pt x="316" y="231"/>
                              <a:pt x="320" y="234"/>
                              <a:pt x="320" y="230"/>
                            </a:cubicBezTo>
                            <a:close/>
                            <a:moveTo>
                              <a:pt x="202" y="131"/>
                            </a:moveTo>
                            <a:cubicBezTo>
                              <a:pt x="205" y="129"/>
                              <a:pt x="203" y="125"/>
                              <a:pt x="198" y="126"/>
                            </a:cubicBezTo>
                            <a:cubicBezTo>
                              <a:pt x="194" y="130"/>
                              <a:pt x="196" y="133"/>
                              <a:pt x="191" y="134"/>
                            </a:cubicBezTo>
                            <a:cubicBezTo>
                              <a:pt x="186" y="134"/>
                              <a:pt x="183" y="131"/>
                              <a:pt x="181" y="134"/>
                            </a:cubicBezTo>
                            <a:cubicBezTo>
                              <a:pt x="179" y="138"/>
                              <a:pt x="176" y="142"/>
                              <a:pt x="181" y="143"/>
                            </a:cubicBezTo>
                            <a:cubicBezTo>
                              <a:pt x="186" y="143"/>
                              <a:pt x="188" y="142"/>
                              <a:pt x="191" y="140"/>
                            </a:cubicBezTo>
                            <a:cubicBezTo>
                              <a:pt x="193" y="138"/>
                              <a:pt x="197" y="141"/>
                              <a:pt x="199" y="138"/>
                            </a:cubicBezTo>
                            <a:cubicBezTo>
                              <a:pt x="201" y="134"/>
                              <a:pt x="199" y="133"/>
                              <a:pt x="202" y="131"/>
                            </a:cubicBezTo>
                            <a:close/>
                            <a:moveTo>
                              <a:pt x="218" y="118"/>
                            </a:moveTo>
                            <a:cubicBezTo>
                              <a:pt x="215" y="120"/>
                              <a:pt x="215" y="122"/>
                              <a:pt x="219" y="124"/>
                            </a:cubicBezTo>
                            <a:cubicBezTo>
                              <a:pt x="223" y="126"/>
                              <a:pt x="223" y="126"/>
                              <a:pt x="226" y="127"/>
                            </a:cubicBezTo>
                            <a:cubicBezTo>
                              <a:pt x="228" y="128"/>
                              <a:pt x="231" y="126"/>
                              <a:pt x="228" y="124"/>
                            </a:cubicBezTo>
                            <a:cubicBezTo>
                              <a:pt x="226" y="122"/>
                              <a:pt x="222" y="116"/>
                              <a:pt x="218" y="118"/>
                            </a:cubicBezTo>
                            <a:close/>
                            <a:moveTo>
                              <a:pt x="254" y="203"/>
                            </a:moveTo>
                            <a:cubicBezTo>
                              <a:pt x="258" y="203"/>
                              <a:pt x="261" y="206"/>
                              <a:pt x="262" y="201"/>
                            </a:cubicBezTo>
                            <a:cubicBezTo>
                              <a:pt x="263" y="196"/>
                              <a:pt x="261" y="194"/>
                              <a:pt x="264" y="192"/>
                            </a:cubicBezTo>
                            <a:cubicBezTo>
                              <a:pt x="268" y="190"/>
                              <a:pt x="268" y="188"/>
                              <a:pt x="272" y="187"/>
                            </a:cubicBezTo>
                            <a:cubicBezTo>
                              <a:pt x="276" y="186"/>
                              <a:pt x="280" y="188"/>
                              <a:pt x="278" y="184"/>
                            </a:cubicBezTo>
                            <a:cubicBezTo>
                              <a:pt x="275" y="181"/>
                              <a:pt x="265" y="179"/>
                              <a:pt x="260" y="182"/>
                            </a:cubicBezTo>
                            <a:cubicBezTo>
                              <a:pt x="254" y="185"/>
                              <a:pt x="253" y="185"/>
                              <a:pt x="253" y="191"/>
                            </a:cubicBezTo>
                            <a:cubicBezTo>
                              <a:pt x="253" y="198"/>
                              <a:pt x="250" y="202"/>
                              <a:pt x="254" y="203"/>
                            </a:cubicBezTo>
                            <a:close/>
                            <a:moveTo>
                              <a:pt x="268" y="218"/>
                            </a:moveTo>
                            <a:cubicBezTo>
                              <a:pt x="268" y="221"/>
                              <a:pt x="268" y="217"/>
                              <a:pt x="271" y="222"/>
                            </a:cubicBezTo>
                            <a:cubicBezTo>
                              <a:pt x="274" y="227"/>
                              <a:pt x="276" y="229"/>
                              <a:pt x="277" y="225"/>
                            </a:cubicBezTo>
                            <a:cubicBezTo>
                              <a:pt x="277" y="221"/>
                              <a:pt x="276" y="221"/>
                              <a:pt x="274" y="218"/>
                            </a:cubicBezTo>
                            <a:cubicBezTo>
                              <a:pt x="272" y="215"/>
                              <a:pt x="267" y="212"/>
                              <a:pt x="268" y="218"/>
                            </a:cubicBezTo>
                            <a:close/>
                            <a:moveTo>
                              <a:pt x="195" y="422"/>
                            </a:moveTo>
                            <a:cubicBezTo>
                              <a:pt x="193" y="426"/>
                              <a:pt x="191" y="424"/>
                              <a:pt x="191" y="428"/>
                            </a:cubicBezTo>
                            <a:cubicBezTo>
                              <a:pt x="191" y="431"/>
                              <a:pt x="191" y="433"/>
                              <a:pt x="194" y="437"/>
                            </a:cubicBezTo>
                            <a:cubicBezTo>
                              <a:pt x="197" y="441"/>
                              <a:pt x="199" y="444"/>
                              <a:pt x="201" y="440"/>
                            </a:cubicBezTo>
                            <a:cubicBezTo>
                              <a:pt x="202" y="436"/>
                              <a:pt x="199" y="436"/>
                              <a:pt x="200" y="429"/>
                            </a:cubicBezTo>
                            <a:cubicBezTo>
                              <a:pt x="201" y="423"/>
                              <a:pt x="197" y="418"/>
                              <a:pt x="195" y="422"/>
                            </a:cubicBezTo>
                            <a:close/>
                            <a:moveTo>
                              <a:pt x="225" y="441"/>
                            </a:moveTo>
                            <a:cubicBezTo>
                              <a:pt x="229" y="442"/>
                              <a:pt x="231" y="442"/>
                              <a:pt x="234" y="438"/>
                            </a:cubicBezTo>
                            <a:cubicBezTo>
                              <a:pt x="237" y="433"/>
                              <a:pt x="236" y="430"/>
                              <a:pt x="237" y="426"/>
                            </a:cubicBezTo>
                            <a:cubicBezTo>
                              <a:pt x="238" y="423"/>
                              <a:pt x="237" y="424"/>
                              <a:pt x="241" y="419"/>
                            </a:cubicBezTo>
                            <a:cubicBezTo>
                              <a:pt x="246" y="413"/>
                              <a:pt x="249" y="412"/>
                              <a:pt x="248" y="408"/>
                            </a:cubicBezTo>
                            <a:cubicBezTo>
                              <a:pt x="247" y="403"/>
                              <a:pt x="247" y="403"/>
                              <a:pt x="244" y="398"/>
                            </a:cubicBezTo>
                            <a:cubicBezTo>
                              <a:pt x="242" y="394"/>
                              <a:pt x="236" y="395"/>
                              <a:pt x="231" y="399"/>
                            </a:cubicBezTo>
                            <a:cubicBezTo>
                              <a:pt x="225" y="403"/>
                              <a:pt x="223" y="406"/>
                              <a:pt x="224" y="411"/>
                            </a:cubicBezTo>
                            <a:cubicBezTo>
                              <a:pt x="226" y="415"/>
                              <a:pt x="225" y="417"/>
                              <a:pt x="224" y="421"/>
                            </a:cubicBezTo>
                            <a:cubicBezTo>
                              <a:pt x="223" y="426"/>
                              <a:pt x="223" y="428"/>
                              <a:pt x="223" y="432"/>
                            </a:cubicBezTo>
                            <a:cubicBezTo>
                              <a:pt x="223" y="437"/>
                              <a:pt x="221" y="440"/>
                              <a:pt x="225" y="441"/>
                            </a:cubicBezTo>
                            <a:close/>
                            <a:moveTo>
                              <a:pt x="271" y="405"/>
                            </a:moveTo>
                            <a:cubicBezTo>
                              <a:pt x="275" y="407"/>
                              <a:pt x="278" y="409"/>
                              <a:pt x="278" y="405"/>
                            </a:cubicBezTo>
                            <a:cubicBezTo>
                              <a:pt x="278" y="401"/>
                              <a:pt x="273" y="397"/>
                              <a:pt x="273" y="393"/>
                            </a:cubicBezTo>
                            <a:cubicBezTo>
                              <a:pt x="272" y="388"/>
                              <a:pt x="269" y="384"/>
                              <a:pt x="266" y="385"/>
                            </a:cubicBezTo>
                            <a:cubicBezTo>
                              <a:pt x="260" y="388"/>
                              <a:pt x="260" y="389"/>
                              <a:pt x="259" y="394"/>
                            </a:cubicBezTo>
                            <a:cubicBezTo>
                              <a:pt x="259" y="399"/>
                              <a:pt x="259" y="401"/>
                              <a:pt x="259" y="404"/>
                            </a:cubicBezTo>
                            <a:cubicBezTo>
                              <a:pt x="259" y="406"/>
                              <a:pt x="257" y="407"/>
                              <a:pt x="255" y="412"/>
                            </a:cubicBezTo>
                            <a:cubicBezTo>
                              <a:pt x="254" y="417"/>
                              <a:pt x="253" y="419"/>
                              <a:pt x="254" y="423"/>
                            </a:cubicBezTo>
                            <a:cubicBezTo>
                              <a:pt x="255" y="427"/>
                              <a:pt x="254" y="430"/>
                              <a:pt x="252" y="433"/>
                            </a:cubicBezTo>
                            <a:cubicBezTo>
                              <a:pt x="249" y="435"/>
                              <a:pt x="246" y="436"/>
                              <a:pt x="245" y="440"/>
                            </a:cubicBezTo>
                            <a:cubicBezTo>
                              <a:pt x="245" y="443"/>
                              <a:pt x="244" y="444"/>
                              <a:pt x="247" y="447"/>
                            </a:cubicBezTo>
                            <a:cubicBezTo>
                              <a:pt x="249" y="451"/>
                              <a:pt x="251" y="454"/>
                              <a:pt x="255" y="453"/>
                            </a:cubicBezTo>
                            <a:cubicBezTo>
                              <a:pt x="259" y="451"/>
                              <a:pt x="257" y="452"/>
                              <a:pt x="263" y="446"/>
                            </a:cubicBezTo>
                            <a:cubicBezTo>
                              <a:pt x="268" y="441"/>
                              <a:pt x="273" y="438"/>
                              <a:pt x="274" y="436"/>
                            </a:cubicBezTo>
                            <a:cubicBezTo>
                              <a:pt x="276" y="434"/>
                              <a:pt x="276" y="430"/>
                              <a:pt x="272" y="428"/>
                            </a:cubicBezTo>
                            <a:cubicBezTo>
                              <a:pt x="269" y="425"/>
                              <a:pt x="265" y="425"/>
                              <a:pt x="265" y="418"/>
                            </a:cubicBezTo>
                            <a:cubicBezTo>
                              <a:pt x="265" y="412"/>
                              <a:pt x="266" y="409"/>
                              <a:pt x="267" y="407"/>
                            </a:cubicBezTo>
                            <a:cubicBezTo>
                              <a:pt x="267" y="405"/>
                              <a:pt x="267" y="402"/>
                              <a:pt x="271" y="405"/>
                            </a:cubicBezTo>
                            <a:close/>
                            <a:moveTo>
                              <a:pt x="280" y="363"/>
                            </a:moveTo>
                            <a:cubicBezTo>
                              <a:pt x="280" y="359"/>
                              <a:pt x="273" y="354"/>
                              <a:pt x="269" y="354"/>
                            </a:cubicBezTo>
                            <a:cubicBezTo>
                              <a:pt x="266" y="357"/>
                              <a:pt x="262" y="358"/>
                              <a:pt x="266" y="362"/>
                            </a:cubicBezTo>
                            <a:cubicBezTo>
                              <a:pt x="270" y="366"/>
                              <a:pt x="271" y="371"/>
                              <a:pt x="274" y="369"/>
                            </a:cubicBezTo>
                            <a:cubicBezTo>
                              <a:pt x="278" y="367"/>
                              <a:pt x="281" y="366"/>
                              <a:pt x="280" y="363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518" name="Freeform 28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217556" y="4459579"/>
                        <a:ext cx="28575" cy="35719"/>
                      </a:xfrm>
                      <a:custGeom>
                        <a:avLst/>
                        <a:gdLst>
                          <a:gd name="T0" fmla="*/ 40 w 101"/>
                          <a:gd name="T1" fmla="*/ 122 h 126"/>
                          <a:gd name="T2" fmla="*/ 58 w 101"/>
                          <a:gd name="T3" fmla="*/ 100 h 126"/>
                          <a:gd name="T4" fmla="*/ 75 w 101"/>
                          <a:gd name="T5" fmla="*/ 88 h 126"/>
                          <a:gd name="T6" fmla="*/ 99 w 101"/>
                          <a:gd name="T7" fmla="*/ 77 h 126"/>
                          <a:gd name="T8" fmla="*/ 92 w 101"/>
                          <a:gd name="T9" fmla="*/ 58 h 126"/>
                          <a:gd name="T10" fmla="*/ 77 w 101"/>
                          <a:gd name="T11" fmla="*/ 42 h 126"/>
                          <a:gd name="T12" fmla="*/ 61 w 101"/>
                          <a:gd name="T13" fmla="*/ 29 h 126"/>
                          <a:gd name="T14" fmla="*/ 49 w 101"/>
                          <a:gd name="T15" fmla="*/ 12 h 126"/>
                          <a:gd name="T16" fmla="*/ 39 w 101"/>
                          <a:gd name="T17" fmla="*/ 1 h 126"/>
                          <a:gd name="T18" fmla="*/ 38 w 101"/>
                          <a:gd name="T19" fmla="*/ 0 h 126"/>
                          <a:gd name="T20" fmla="*/ 30 w 101"/>
                          <a:gd name="T21" fmla="*/ 4 h 126"/>
                          <a:gd name="T22" fmla="*/ 3 w 101"/>
                          <a:gd name="T23" fmla="*/ 16 h 126"/>
                          <a:gd name="T24" fmla="*/ 0 w 101"/>
                          <a:gd name="T25" fmla="*/ 18 h 126"/>
                          <a:gd name="T26" fmla="*/ 10 w 101"/>
                          <a:gd name="T27" fmla="*/ 33 h 126"/>
                          <a:gd name="T28" fmla="*/ 29 w 101"/>
                          <a:gd name="T29" fmla="*/ 40 h 126"/>
                          <a:gd name="T30" fmla="*/ 36 w 101"/>
                          <a:gd name="T31" fmla="*/ 48 h 126"/>
                          <a:gd name="T32" fmla="*/ 27 w 101"/>
                          <a:gd name="T33" fmla="*/ 55 h 126"/>
                          <a:gd name="T34" fmla="*/ 19 w 101"/>
                          <a:gd name="T35" fmla="*/ 67 h 126"/>
                          <a:gd name="T36" fmla="*/ 19 w 101"/>
                          <a:gd name="T37" fmla="*/ 88 h 126"/>
                          <a:gd name="T38" fmla="*/ 14 w 101"/>
                          <a:gd name="T39" fmla="*/ 113 h 126"/>
                          <a:gd name="T40" fmla="*/ 25 w 101"/>
                          <a:gd name="T41" fmla="*/ 121 h 126"/>
                          <a:gd name="T42" fmla="*/ 40 w 101"/>
                          <a:gd name="T43" fmla="*/ 122 h 12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</a:cxnLst>
                        <a:rect l="0" t="0" r="r" b="b"/>
                        <a:pathLst>
                          <a:path w="101" h="126">
                            <a:moveTo>
                              <a:pt x="40" y="122"/>
                            </a:moveTo>
                            <a:cubicBezTo>
                              <a:pt x="46" y="119"/>
                              <a:pt x="53" y="108"/>
                              <a:pt x="58" y="100"/>
                            </a:cubicBezTo>
                            <a:cubicBezTo>
                              <a:pt x="63" y="92"/>
                              <a:pt x="70" y="90"/>
                              <a:pt x="75" y="88"/>
                            </a:cubicBezTo>
                            <a:cubicBezTo>
                              <a:pt x="79" y="86"/>
                              <a:pt x="96" y="81"/>
                              <a:pt x="99" y="77"/>
                            </a:cubicBezTo>
                            <a:cubicBezTo>
                              <a:pt x="101" y="73"/>
                              <a:pt x="97" y="66"/>
                              <a:pt x="92" y="58"/>
                            </a:cubicBezTo>
                            <a:cubicBezTo>
                              <a:pt x="88" y="51"/>
                              <a:pt x="81" y="47"/>
                              <a:pt x="77" y="42"/>
                            </a:cubicBezTo>
                            <a:cubicBezTo>
                              <a:pt x="73" y="36"/>
                              <a:pt x="67" y="33"/>
                              <a:pt x="61" y="29"/>
                            </a:cubicBezTo>
                            <a:cubicBezTo>
                              <a:pt x="55" y="25"/>
                              <a:pt x="54" y="20"/>
                              <a:pt x="49" y="12"/>
                            </a:cubicBezTo>
                            <a:cubicBezTo>
                              <a:pt x="43" y="4"/>
                              <a:pt x="41" y="3"/>
                              <a:pt x="39" y="1"/>
                            </a:cubicBezTo>
                            <a:cubicBezTo>
                              <a:pt x="38" y="0"/>
                              <a:pt x="38" y="0"/>
                              <a:pt x="38" y="0"/>
                            </a:cubicBezTo>
                            <a:cubicBezTo>
                              <a:pt x="35" y="2"/>
                              <a:pt x="32" y="3"/>
                              <a:pt x="30" y="4"/>
                            </a:cubicBezTo>
                            <a:cubicBezTo>
                              <a:pt x="26" y="6"/>
                              <a:pt x="13" y="12"/>
                              <a:pt x="3" y="16"/>
                            </a:cubicBezTo>
                            <a:cubicBezTo>
                              <a:pt x="2" y="17"/>
                              <a:pt x="1" y="17"/>
                              <a:pt x="0" y="18"/>
                            </a:cubicBezTo>
                            <a:cubicBezTo>
                              <a:pt x="2" y="25"/>
                              <a:pt x="8" y="27"/>
                              <a:pt x="10" y="33"/>
                            </a:cubicBezTo>
                            <a:cubicBezTo>
                              <a:pt x="13" y="38"/>
                              <a:pt x="23" y="39"/>
                              <a:pt x="29" y="40"/>
                            </a:cubicBezTo>
                            <a:cubicBezTo>
                              <a:pt x="36" y="41"/>
                              <a:pt x="36" y="44"/>
                              <a:pt x="36" y="48"/>
                            </a:cubicBezTo>
                            <a:cubicBezTo>
                              <a:pt x="36" y="52"/>
                              <a:pt x="30" y="53"/>
                              <a:pt x="27" y="55"/>
                            </a:cubicBezTo>
                            <a:cubicBezTo>
                              <a:pt x="23" y="57"/>
                              <a:pt x="21" y="62"/>
                              <a:pt x="19" y="67"/>
                            </a:cubicBezTo>
                            <a:cubicBezTo>
                              <a:pt x="17" y="72"/>
                              <a:pt x="19" y="80"/>
                              <a:pt x="19" y="88"/>
                            </a:cubicBezTo>
                            <a:cubicBezTo>
                              <a:pt x="18" y="97"/>
                              <a:pt x="16" y="106"/>
                              <a:pt x="14" y="113"/>
                            </a:cubicBezTo>
                            <a:cubicBezTo>
                              <a:pt x="13" y="120"/>
                              <a:pt x="20" y="116"/>
                              <a:pt x="25" y="121"/>
                            </a:cubicBezTo>
                            <a:cubicBezTo>
                              <a:pt x="30" y="126"/>
                              <a:pt x="33" y="126"/>
                              <a:pt x="40" y="122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519" name="Freeform 29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9234" y="4525063"/>
                        <a:ext cx="170259" cy="107156"/>
                      </a:xfrm>
                      <a:custGeom>
                        <a:avLst/>
                        <a:gdLst>
                          <a:gd name="T0" fmla="*/ 60 w 594"/>
                          <a:gd name="T1" fmla="*/ 345 h 372"/>
                          <a:gd name="T2" fmla="*/ 33 w 594"/>
                          <a:gd name="T3" fmla="*/ 326 h 372"/>
                          <a:gd name="T4" fmla="*/ 2 w 594"/>
                          <a:gd name="T5" fmla="*/ 312 h 372"/>
                          <a:gd name="T6" fmla="*/ 21 w 594"/>
                          <a:gd name="T7" fmla="*/ 347 h 372"/>
                          <a:gd name="T8" fmla="*/ 85 w 594"/>
                          <a:gd name="T9" fmla="*/ 364 h 372"/>
                          <a:gd name="T10" fmla="*/ 134 w 594"/>
                          <a:gd name="T11" fmla="*/ 366 h 372"/>
                          <a:gd name="T12" fmla="*/ 152 w 594"/>
                          <a:gd name="T13" fmla="*/ 340 h 372"/>
                          <a:gd name="T14" fmla="*/ 222 w 594"/>
                          <a:gd name="T15" fmla="*/ 344 h 372"/>
                          <a:gd name="T16" fmla="*/ 250 w 594"/>
                          <a:gd name="T17" fmla="*/ 348 h 372"/>
                          <a:gd name="T18" fmla="*/ 286 w 594"/>
                          <a:gd name="T19" fmla="*/ 341 h 372"/>
                          <a:gd name="T20" fmla="*/ 307 w 594"/>
                          <a:gd name="T21" fmla="*/ 324 h 372"/>
                          <a:gd name="T22" fmla="*/ 315 w 594"/>
                          <a:gd name="T23" fmla="*/ 306 h 372"/>
                          <a:gd name="T24" fmla="*/ 333 w 594"/>
                          <a:gd name="T25" fmla="*/ 276 h 372"/>
                          <a:gd name="T26" fmla="*/ 346 w 594"/>
                          <a:gd name="T27" fmla="*/ 244 h 372"/>
                          <a:gd name="T28" fmla="*/ 363 w 594"/>
                          <a:gd name="T29" fmla="*/ 214 h 372"/>
                          <a:gd name="T30" fmla="*/ 363 w 594"/>
                          <a:gd name="T31" fmla="*/ 180 h 372"/>
                          <a:gd name="T32" fmla="*/ 403 w 594"/>
                          <a:gd name="T33" fmla="*/ 155 h 372"/>
                          <a:gd name="T34" fmla="*/ 465 w 594"/>
                          <a:gd name="T35" fmla="*/ 162 h 372"/>
                          <a:gd name="T36" fmla="*/ 509 w 594"/>
                          <a:gd name="T37" fmla="*/ 159 h 372"/>
                          <a:gd name="T38" fmla="*/ 549 w 594"/>
                          <a:gd name="T39" fmla="*/ 148 h 372"/>
                          <a:gd name="T40" fmla="*/ 551 w 594"/>
                          <a:gd name="T41" fmla="*/ 132 h 372"/>
                          <a:gd name="T42" fmla="*/ 585 w 594"/>
                          <a:gd name="T43" fmla="*/ 103 h 372"/>
                          <a:gd name="T44" fmla="*/ 546 w 594"/>
                          <a:gd name="T45" fmla="*/ 90 h 372"/>
                          <a:gd name="T46" fmla="*/ 509 w 594"/>
                          <a:gd name="T47" fmla="*/ 79 h 372"/>
                          <a:gd name="T48" fmla="*/ 498 w 594"/>
                          <a:gd name="T49" fmla="*/ 72 h 372"/>
                          <a:gd name="T50" fmla="*/ 489 w 594"/>
                          <a:gd name="T51" fmla="*/ 49 h 372"/>
                          <a:gd name="T52" fmla="*/ 482 w 594"/>
                          <a:gd name="T53" fmla="*/ 21 h 372"/>
                          <a:gd name="T54" fmla="*/ 455 w 594"/>
                          <a:gd name="T55" fmla="*/ 10 h 372"/>
                          <a:gd name="T56" fmla="*/ 441 w 594"/>
                          <a:gd name="T57" fmla="*/ 18 h 372"/>
                          <a:gd name="T58" fmla="*/ 432 w 594"/>
                          <a:gd name="T59" fmla="*/ 16 h 372"/>
                          <a:gd name="T60" fmla="*/ 410 w 594"/>
                          <a:gd name="T61" fmla="*/ 45 h 372"/>
                          <a:gd name="T62" fmla="*/ 387 w 594"/>
                          <a:gd name="T63" fmla="*/ 77 h 372"/>
                          <a:gd name="T64" fmla="*/ 365 w 594"/>
                          <a:gd name="T65" fmla="*/ 91 h 372"/>
                          <a:gd name="T66" fmla="*/ 357 w 594"/>
                          <a:gd name="T67" fmla="*/ 125 h 372"/>
                          <a:gd name="T68" fmla="*/ 349 w 594"/>
                          <a:gd name="T69" fmla="*/ 160 h 372"/>
                          <a:gd name="T70" fmla="*/ 323 w 594"/>
                          <a:gd name="T71" fmla="*/ 161 h 372"/>
                          <a:gd name="T72" fmla="*/ 320 w 594"/>
                          <a:gd name="T73" fmla="*/ 178 h 372"/>
                          <a:gd name="T74" fmla="*/ 296 w 594"/>
                          <a:gd name="T75" fmla="*/ 177 h 372"/>
                          <a:gd name="T76" fmla="*/ 264 w 594"/>
                          <a:gd name="T77" fmla="*/ 161 h 372"/>
                          <a:gd name="T78" fmla="*/ 203 w 594"/>
                          <a:gd name="T79" fmla="*/ 237 h 372"/>
                          <a:gd name="T80" fmla="*/ 144 w 594"/>
                          <a:gd name="T81" fmla="*/ 256 h 372"/>
                          <a:gd name="T82" fmla="*/ 117 w 594"/>
                          <a:gd name="T83" fmla="*/ 278 h 372"/>
                          <a:gd name="T84" fmla="*/ 103 w 594"/>
                          <a:gd name="T85" fmla="*/ 290 h 372"/>
                          <a:gd name="T86" fmla="*/ 94 w 594"/>
                          <a:gd name="T87" fmla="*/ 320 h 372"/>
                          <a:gd name="T88" fmla="*/ 94 w 594"/>
                          <a:gd name="T89" fmla="*/ 339 h 372"/>
                          <a:gd name="T90" fmla="*/ 88 w 594"/>
                          <a:gd name="T91" fmla="*/ 351 h 37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</a:cxnLst>
                        <a:rect l="0" t="0" r="r" b="b"/>
                        <a:pathLst>
                          <a:path w="594" h="372">
                            <a:moveTo>
                              <a:pt x="88" y="351"/>
                            </a:moveTo>
                            <a:cubicBezTo>
                              <a:pt x="84" y="350"/>
                              <a:pt x="83" y="349"/>
                              <a:pt x="78" y="347"/>
                            </a:cubicBezTo>
                            <a:cubicBezTo>
                              <a:pt x="72" y="346"/>
                              <a:pt x="64" y="351"/>
                              <a:pt x="60" y="345"/>
                            </a:cubicBezTo>
                            <a:cubicBezTo>
                              <a:pt x="56" y="339"/>
                              <a:pt x="60" y="338"/>
                              <a:pt x="57" y="332"/>
                            </a:cubicBezTo>
                            <a:cubicBezTo>
                              <a:pt x="54" y="326"/>
                              <a:pt x="49" y="327"/>
                              <a:pt x="45" y="326"/>
                            </a:cubicBezTo>
                            <a:cubicBezTo>
                              <a:pt x="40" y="325"/>
                              <a:pt x="37" y="326"/>
                              <a:pt x="33" y="326"/>
                            </a:cubicBezTo>
                            <a:cubicBezTo>
                              <a:pt x="28" y="326"/>
                              <a:pt x="24" y="328"/>
                              <a:pt x="19" y="327"/>
                            </a:cubicBezTo>
                            <a:cubicBezTo>
                              <a:pt x="14" y="327"/>
                              <a:pt x="13" y="325"/>
                              <a:pt x="9" y="320"/>
                            </a:cubicBezTo>
                            <a:cubicBezTo>
                              <a:pt x="6" y="315"/>
                              <a:pt x="6" y="315"/>
                              <a:pt x="2" y="312"/>
                            </a:cubicBezTo>
                            <a:cubicBezTo>
                              <a:pt x="2" y="312"/>
                              <a:pt x="2" y="312"/>
                              <a:pt x="2" y="312"/>
                            </a:cubicBezTo>
                            <a:cubicBezTo>
                              <a:pt x="1" y="315"/>
                              <a:pt x="0" y="318"/>
                              <a:pt x="0" y="321"/>
                            </a:cubicBezTo>
                            <a:cubicBezTo>
                              <a:pt x="0" y="324"/>
                              <a:pt x="10" y="336"/>
                              <a:pt x="21" y="347"/>
                            </a:cubicBezTo>
                            <a:cubicBezTo>
                              <a:pt x="31" y="358"/>
                              <a:pt x="42" y="367"/>
                              <a:pt x="48" y="369"/>
                            </a:cubicBezTo>
                            <a:cubicBezTo>
                              <a:pt x="57" y="372"/>
                              <a:pt x="66" y="369"/>
                              <a:pt x="74" y="367"/>
                            </a:cubicBezTo>
                            <a:cubicBezTo>
                              <a:pt x="78" y="365"/>
                              <a:pt x="82" y="364"/>
                              <a:pt x="85" y="364"/>
                            </a:cubicBezTo>
                            <a:cubicBezTo>
                              <a:pt x="91" y="363"/>
                              <a:pt x="95" y="362"/>
                              <a:pt x="100" y="362"/>
                            </a:cubicBezTo>
                            <a:cubicBezTo>
                              <a:pt x="105" y="362"/>
                              <a:pt x="109" y="363"/>
                              <a:pt x="117" y="364"/>
                            </a:cubicBezTo>
                            <a:cubicBezTo>
                              <a:pt x="124" y="366"/>
                              <a:pt x="129" y="366"/>
                              <a:pt x="134" y="366"/>
                            </a:cubicBezTo>
                            <a:cubicBezTo>
                              <a:pt x="137" y="366"/>
                              <a:pt x="140" y="364"/>
                              <a:pt x="142" y="362"/>
                            </a:cubicBezTo>
                            <a:cubicBezTo>
                              <a:pt x="144" y="360"/>
                              <a:pt x="144" y="357"/>
                              <a:pt x="145" y="354"/>
                            </a:cubicBezTo>
                            <a:cubicBezTo>
                              <a:pt x="145" y="350"/>
                              <a:pt x="146" y="345"/>
                              <a:pt x="152" y="340"/>
                            </a:cubicBezTo>
                            <a:cubicBezTo>
                              <a:pt x="157" y="337"/>
                              <a:pt x="166" y="335"/>
                              <a:pt x="175" y="334"/>
                            </a:cubicBezTo>
                            <a:cubicBezTo>
                              <a:pt x="183" y="334"/>
                              <a:pt x="191" y="334"/>
                              <a:pt x="196" y="334"/>
                            </a:cubicBezTo>
                            <a:cubicBezTo>
                              <a:pt x="203" y="334"/>
                              <a:pt x="213" y="339"/>
                              <a:pt x="222" y="344"/>
                            </a:cubicBezTo>
                            <a:cubicBezTo>
                              <a:pt x="225" y="346"/>
                              <a:pt x="228" y="348"/>
                              <a:pt x="230" y="349"/>
                            </a:cubicBezTo>
                            <a:cubicBezTo>
                              <a:pt x="234" y="351"/>
                              <a:pt x="238" y="352"/>
                              <a:pt x="241" y="351"/>
                            </a:cubicBezTo>
                            <a:cubicBezTo>
                              <a:pt x="244" y="351"/>
                              <a:pt x="247" y="350"/>
                              <a:pt x="250" y="348"/>
                            </a:cubicBezTo>
                            <a:cubicBezTo>
                              <a:pt x="252" y="348"/>
                              <a:pt x="253" y="347"/>
                              <a:pt x="254" y="346"/>
                            </a:cubicBezTo>
                            <a:cubicBezTo>
                              <a:pt x="258" y="344"/>
                              <a:pt x="262" y="342"/>
                              <a:pt x="272" y="341"/>
                            </a:cubicBezTo>
                            <a:cubicBezTo>
                              <a:pt x="279" y="340"/>
                              <a:pt x="283" y="341"/>
                              <a:pt x="286" y="341"/>
                            </a:cubicBezTo>
                            <a:cubicBezTo>
                              <a:pt x="289" y="342"/>
                              <a:pt x="291" y="342"/>
                              <a:pt x="295" y="340"/>
                            </a:cubicBezTo>
                            <a:cubicBezTo>
                              <a:pt x="300" y="337"/>
                              <a:pt x="302" y="334"/>
                              <a:pt x="304" y="330"/>
                            </a:cubicBezTo>
                            <a:cubicBezTo>
                              <a:pt x="305" y="329"/>
                              <a:pt x="306" y="327"/>
                              <a:pt x="307" y="324"/>
                            </a:cubicBezTo>
                            <a:cubicBezTo>
                              <a:pt x="309" y="321"/>
                              <a:pt x="311" y="319"/>
                              <a:pt x="312" y="317"/>
                            </a:cubicBezTo>
                            <a:cubicBezTo>
                              <a:pt x="314" y="315"/>
                              <a:pt x="315" y="313"/>
                              <a:pt x="315" y="311"/>
                            </a:cubicBezTo>
                            <a:cubicBezTo>
                              <a:pt x="315" y="310"/>
                              <a:pt x="315" y="308"/>
                              <a:pt x="315" y="306"/>
                            </a:cubicBezTo>
                            <a:cubicBezTo>
                              <a:pt x="314" y="299"/>
                              <a:pt x="313" y="292"/>
                              <a:pt x="318" y="286"/>
                            </a:cubicBezTo>
                            <a:cubicBezTo>
                              <a:pt x="321" y="283"/>
                              <a:pt x="325" y="282"/>
                              <a:pt x="328" y="281"/>
                            </a:cubicBezTo>
                            <a:cubicBezTo>
                              <a:pt x="331" y="280"/>
                              <a:pt x="334" y="279"/>
                              <a:pt x="333" y="276"/>
                            </a:cubicBezTo>
                            <a:cubicBezTo>
                              <a:pt x="333" y="274"/>
                              <a:pt x="333" y="272"/>
                              <a:pt x="332" y="270"/>
                            </a:cubicBezTo>
                            <a:cubicBezTo>
                              <a:pt x="331" y="264"/>
                              <a:pt x="330" y="259"/>
                              <a:pt x="335" y="252"/>
                            </a:cubicBezTo>
                            <a:cubicBezTo>
                              <a:pt x="338" y="247"/>
                              <a:pt x="342" y="246"/>
                              <a:pt x="346" y="244"/>
                            </a:cubicBezTo>
                            <a:cubicBezTo>
                              <a:pt x="349" y="243"/>
                              <a:pt x="351" y="241"/>
                              <a:pt x="354" y="239"/>
                            </a:cubicBezTo>
                            <a:cubicBezTo>
                              <a:pt x="356" y="236"/>
                              <a:pt x="359" y="232"/>
                              <a:pt x="360" y="228"/>
                            </a:cubicBezTo>
                            <a:cubicBezTo>
                              <a:pt x="362" y="223"/>
                              <a:pt x="362" y="219"/>
                              <a:pt x="363" y="214"/>
                            </a:cubicBezTo>
                            <a:cubicBezTo>
                              <a:pt x="363" y="209"/>
                              <a:pt x="362" y="204"/>
                              <a:pt x="361" y="200"/>
                            </a:cubicBezTo>
                            <a:cubicBezTo>
                              <a:pt x="360" y="193"/>
                              <a:pt x="359" y="187"/>
                              <a:pt x="362" y="183"/>
                            </a:cubicBezTo>
                            <a:cubicBezTo>
                              <a:pt x="362" y="182"/>
                              <a:pt x="362" y="181"/>
                              <a:pt x="363" y="180"/>
                            </a:cubicBezTo>
                            <a:cubicBezTo>
                              <a:pt x="363" y="180"/>
                              <a:pt x="363" y="180"/>
                              <a:pt x="363" y="180"/>
                            </a:cubicBezTo>
                            <a:cubicBezTo>
                              <a:pt x="366" y="174"/>
                              <a:pt x="369" y="165"/>
                              <a:pt x="382" y="160"/>
                            </a:cubicBezTo>
                            <a:cubicBezTo>
                              <a:pt x="389" y="158"/>
                              <a:pt x="396" y="156"/>
                              <a:pt x="403" y="155"/>
                            </a:cubicBezTo>
                            <a:cubicBezTo>
                              <a:pt x="411" y="154"/>
                              <a:pt x="419" y="155"/>
                              <a:pt x="428" y="157"/>
                            </a:cubicBezTo>
                            <a:cubicBezTo>
                              <a:pt x="439" y="160"/>
                              <a:pt x="445" y="160"/>
                              <a:pt x="453" y="161"/>
                            </a:cubicBezTo>
                            <a:cubicBezTo>
                              <a:pt x="456" y="161"/>
                              <a:pt x="460" y="161"/>
                              <a:pt x="465" y="162"/>
                            </a:cubicBezTo>
                            <a:cubicBezTo>
                              <a:pt x="471" y="163"/>
                              <a:pt x="480" y="165"/>
                              <a:pt x="488" y="167"/>
                            </a:cubicBezTo>
                            <a:cubicBezTo>
                              <a:pt x="488" y="163"/>
                              <a:pt x="489" y="161"/>
                              <a:pt x="496" y="158"/>
                            </a:cubicBezTo>
                            <a:cubicBezTo>
                              <a:pt x="504" y="154"/>
                              <a:pt x="499" y="161"/>
                              <a:pt x="509" y="159"/>
                            </a:cubicBezTo>
                            <a:cubicBezTo>
                              <a:pt x="518" y="157"/>
                              <a:pt x="527" y="162"/>
                              <a:pt x="533" y="163"/>
                            </a:cubicBezTo>
                            <a:cubicBezTo>
                              <a:pt x="538" y="164"/>
                              <a:pt x="546" y="164"/>
                              <a:pt x="553" y="158"/>
                            </a:cubicBezTo>
                            <a:cubicBezTo>
                              <a:pt x="559" y="153"/>
                              <a:pt x="552" y="153"/>
                              <a:pt x="549" y="148"/>
                            </a:cubicBezTo>
                            <a:cubicBezTo>
                              <a:pt x="546" y="142"/>
                              <a:pt x="541" y="141"/>
                              <a:pt x="535" y="140"/>
                            </a:cubicBezTo>
                            <a:cubicBezTo>
                              <a:pt x="528" y="138"/>
                              <a:pt x="530" y="120"/>
                              <a:pt x="538" y="118"/>
                            </a:cubicBezTo>
                            <a:cubicBezTo>
                              <a:pt x="546" y="124"/>
                              <a:pt x="547" y="135"/>
                              <a:pt x="551" y="132"/>
                            </a:cubicBezTo>
                            <a:cubicBezTo>
                              <a:pt x="555" y="129"/>
                              <a:pt x="560" y="124"/>
                              <a:pt x="574" y="117"/>
                            </a:cubicBezTo>
                            <a:cubicBezTo>
                              <a:pt x="589" y="111"/>
                              <a:pt x="590" y="115"/>
                              <a:pt x="592" y="108"/>
                            </a:cubicBezTo>
                            <a:cubicBezTo>
                              <a:pt x="594" y="102"/>
                              <a:pt x="591" y="102"/>
                              <a:pt x="585" y="103"/>
                            </a:cubicBezTo>
                            <a:cubicBezTo>
                              <a:pt x="578" y="104"/>
                              <a:pt x="574" y="104"/>
                              <a:pt x="567" y="98"/>
                            </a:cubicBezTo>
                            <a:cubicBezTo>
                              <a:pt x="560" y="92"/>
                              <a:pt x="565" y="93"/>
                              <a:pt x="560" y="88"/>
                            </a:cubicBezTo>
                            <a:cubicBezTo>
                              <a:pt x="555" y="83"/>
                              <a:pt x="553" y="91"/>
                              <a:pt x="546" y="90"/>
                            </a:cubicBezTo>
                            <a:cubicBezTo>
                              <a:pt x="538" y="88"/>
                              <a:pt x="543" y="86"/>
                              <a:pt x="537" y="79"/>
                            </a:cubicBezTo>
                            <a:cubicBezTo>
                              <a:pt x="531" y="72"/>
                              <a:pt x="529" y="79"/>
                              <a:pt x="523" y="85"/>
                            </a:cubicBezTo>
                            <a:cubicBezTo>
                              <a:pt x="518" y="92"/>
                              <a:pt x="513" y="85"/>
                              <a:pt x="509" y="79"/>
                            </a:cubicBezTo>
                            <a:cubicBezTo>
                              <a:pt x="505" y="72"/>
                              <a:pt x="513" y="72"/>
                              <a:pt x="517" y="65"/>
                            </a:cubicBezTo>
                            <a:cubicBezTo>
                              <a:pt x="521" y="58"/>
                              <a:pt x="514" y="58"/>
                              <a:pt x="509" y="58"/>
                            </a:cubicBezTo>
                            <a:cubicBezTo>
                              <a:pt x="504" y="58"/>
                              <a:pt x="504" y="66"/>
                              <a:pt x="498" y="72"/>
                            </a:cubicBezTo>
                            <a:cubicBezTo>
                              <a:pt x="491" y="78"/>
                              <a:pt x="491" y="72"/>
                              <a:pt x="485" y="70"/>
                            </a:cubicBezTo>
                            <a:cubicBezTo>
                              <a:pt x="479" y="68"/>
                              <a:pt x="487" y="66"/>
                              <a:pt x="491" y="60"/>
                            </a:cubicBezTo>
                            <a:cubicBezTo>
                              <a:pt x="494" y="54"/>
                              <a:pt x="488" y="55"/>
                              <a:pt x="489" y="49"/>
                            </a:cubicBezTo>
                            <a:cubicBezTo>
                              <a:pt x="490" y="43"/>
                              <a:pt x="497" y="44"/>
                              <a:pt x="497" y="36"/>
                            </a:cubicBezTo>
                            <a:cubicBezTo>
                              <a:pt x="497" y="28"/>
                              <a:pt x="494" y="35"/>
                              <a:pt x="489" y="31"/>
                            </a:cubicBezTo>
                            <a:cubicBezTo>
                              <a:pt x="485" y="26"/>
                              <a:pt x="488" y="26"/>
                              <a:pt x="482" y="21"/>
                            </a:cubicBezTo>
                            <a:cubicBezTo>
                              <a:pt x="476" y="17"/>
                              <a:pt x="478" y="21"/>
                              <a:pt x="470" y="20"/>
                            </a:cubicBezTo>
                            <a:cubicBezTo>
                              <a:pt x="462" y="19"/>
                              <a:pt x="467" y="12"/>
                              <a:pt x="461" y="4"/>
                            </a:cubicBezTo>
                            <a:cubicBezTo>
                              <a:pt x="459" y="0"/>
                              <a:pt x="455" y="6"/>
                              <a:pt x="455" y="10"/>
                            </a:cubicBezTo>
                            <a:cubicBezTo>
                              <a:pt x="455" y="14"/>
                              <a:pt x="453" y="13"/>
                              <a:pt x="451" y="17"/>
                            </a:cubicBezTo>
                            <a:cubicBezTo>
                              <a:pt x="450" y="21"/>
                              <a:pt x="448" y="21"/>
                              <a:pt x="446" y="23"/>
                            </a:cubicBezTo>
                            <a:cubicBezTo>
                              <a:pt x="444" y="25"/>
                              <a:pt x="442" y="23"/>
                              <a:pt x="441" y="18"/>
                            </a:cubicBezTo>
                            <a:cubicBezTo>
                              <a:pt x="440" y="13"/>
                              <a:pt x="442" y="13"/>
                              <a:pt x="443" y="9"/>
                            </a:cubicBezTo>
                            <a:cubicBezTo>
                              <a:pt x="443" y="5"/>
                              <a:pt x="441" y="7"/>
                              <a:pt x="437" y="6"/>
                            </a:cubicBezTo>
                            <a:cubicBezTo>
                              <a:pt x="433" y="6"/>
                              <a:pt x="434" y="11"/>
                              <a:pt x="432" y="16"/>
                            </a:cubicBezTo>
                            <a:cubicBezTo>
                              <a:pt x="431" y="21"/>
                              <a:pt x="430" y="20"/>
                              <a:pt x="426" y="23"/>
                            </a:cubicBezTo>
                            <a:cubicBezTo>
                              <a:pt x="421" y="25"/>
                              <a:pt x="422" y="27"/>
                              <a:pt x="419" y="34"/>
                            </a:cubicBezTo>
                            <a:cubicBezTo>
                              <a:pt x="416" y="41"/>
                              <a:pt x="415" y="41"/>
                              <a:pt x="410" y="45"/>
                            </a:cubicBezTo>
                            <a:cubicBezTo>
                              <a:pt x="404" y="48"/>
                              <a:pt x="403" y="50"/>
                              <a:pt x="400" y="54"/>
                            </a:cubicBezTo>
                            <a:cubicBezTo>
                              <a:pt x="397" y="59"/>
                              <a:pt x="398" y="59"/>
                              <a:pt x="393" y="64"/>
                            </a:cubicBezTo>
                            <a:cubicBezTo>
                              <a:pt x="388" y="69"/>
                              <a:pt x="390" y="69"/>
                              <a:pt x="387" y="77"/>
                            </a:cubicBezTo>
                            <a:cubicBezTo>
                              <a:pt x="385" y="85"/>
                              <a:pt x="389" y="84"/>
                              <a:pt x="385" y="89"/>
                            </a:cubicBezTo>
                            <a:cubicBezTo>
                              <a:pt x="380" y="95"/>
                              <a:pt x="381" y="94"/>
                              <a:pt x="373" y="91"/>
                            </a:cubicBezTo>
                            <a:cubicBezTo>
                              <a:pt x="366" y="89"/>
                              <a:pt x="367" y="91"/>
                              <a:pt x="365" y="91"/>
                            </a:cubicBezTo>
                            <a:cubicBezTo>
                              <a:pt x="362" y="91"/>
                              <a:pt x="359" y="94"/>
                              <a:pt x="357" y="98"/>
                            </a:cubicBezTo>
                            <a:cubicBezTo>
                              <a:pt x="356" y="102"/>
                              <a:pt x="358" y="103"/>
                              <a:pt x="360" y="107"/>
                            </a:cubicBezTo>
                            <a:cubicBezTo>
                              <a:pt x="361" y="112"/>
                              <a:pt x="359" y="121"/>
                              <a:pt x="357" y="125"/>
                            </a:cubicBezTo>
                            <a:cubicBezTo>
                              <a:pt x="356" y="126"/>
                              <a:pt x="353" y="126"/>
                              <a:pt x="350" y="126"/>
                            </a:cubicBezTo>
                            <a:cubicBezTo>
                              <a:pt x="352" y="134"/>
                              <a:pt x="354" y="145"/>
                              <a:pt x="354" y="149"/>
                            </a:cubicBezTo>
                            <a:cubicBezTo>
                              <a:pt x="353" y="153"/>
                              <a:pt x="352" y="157"/>
                              <a:pt x="349" y="160"/>
                            </a:cubicBezTo>
                            <a:cubicBezTo>
                              <a:pt x="346" y="164"/>
                              <a:pt x="342" y="165"/>
                              <a:pt x="336" y="164"/>
                            </a:cubicBezTo>
                            <a:cubicBezTo>
                              <a:pt x="333" y="163"/>
                              <a:pt x="330" y="162"/>
                              <a:pt x="328" y="161"/>
                            </a:cubicBezTo>
                            <a:cubicBezTo>
                              <a:pt x="326" y="160"/>
                              <a:pt x="325" y="160"/>
                              <a:pt x="323" y="161"/>
                            </a:cubicBezTo>
                            <a:cubicBezTo>
                              <a:pt x="322" y="162"/>
                              <a:pt x="322" y="164"/>
                              <a:pt x="322" y="167"/>
                            </a:cubicBezTo>
                            <a:cubicBezTo>
                              <a:pt x="322" y="169"/>
                              <a:pt x="322" y="172"/>
                              <a:pt x="322" y="174"/>
                            </a:cubicBezTo>
                            <a:cubicBezTo>
                              <a:pt x="322" y="175"/>
                              <a:pt x="321" y="177"/>
                              <a:pt x="320" y="178"/>
                            </a:cubicBezTo>
                            <a:cubicBezTo>
                              <a:pt x="319" y="180"/>
                              <a:pt x="316" y="181"/>
                              <a:pt x="313" y="182"/>
                            </a:cubicBezTo>
                            <a:cubicBezTo>
                              <a:pt x="311" y="182"/>
                              <a:pt x="308" y="182"/>
                              <a:pt x="305" y="182"/>
                            </a:cubicBezTo>
                            <a:cubicBezTo>
                              <a:pt x="302" y="181"/>
                              <a:pt x="299" y="179"/>
                              <a:pt x="296" y="177"/>
                            </a:cubicBezTo>
                            <a:cubicBezTo>
                              <a:pt x="290" y="172"/>
                              <a:pt x="282" y="162"/>
                              <a:pt x="276" y="154"/>
                            </a:cubicBezTo>
                            <a:cubicBezTo>
                              <a:pt x="275" y="152"/>
                              <a:pt x="275" y="152"/>
                              <a:pt x="275" y="152"/>
                            </a:cubicBezTo>
                            <a:cubicBezTo>
                              <a:pt x="269" y="154"/>
                              <a:pt x="269" y="156"/>
                              <a:pt x="264" y="161"/>
                            </a:cubicBezTo>
                            <a:cubicBezTo>
                              <a:pt x="258" y="168"/>
                              <a:pt x="245" y="184"/>
                              <a:pt x="238" y="194"/>
                            </a:cubicBezTo>
                            <a:cubicBezTo>
                              <a:pt x="231" y="204"/>
                              <a:pt x="227" y="211"/>
                              <a:pt x="219" y="221"/>
                            </a:cubicBezTo>
                            <a:cubicBezTo>
                              <a:pt x="210" y="231"/>
                              <a:pt x="210" y="232"/>
                              <a:pt x="203" y="237"/>
                            </a:cubicBezTo>
                            <a:cubicBezTo>
                              <a:pt x="196" y="241"/>
                              <a:pt x="196" y="240"/>
                              <a:pt x="183" y="246"/>
                            </a:cubicBezTo>
                            <a:cubicBezTo>
                              <a:pt x="170" y="252"/>
                              <a:pt x="171" y="247"/>
                              <a:pt x="159" y="249"/>
                            </a:cubicBezTo>
                            <a:cubicBezTo>
                              <a:pt x="147" y="251"/>
                              <a:pt x="150" y="253"/>
                              <a:pt x="144" y="256"/>
                            </a:cubicBezTo>
                            <a:cubicBezTo>
                              <a:pt x="138" y="258"/>
                              <a:pt x="134" y="258"/>
                              <a:pt x="129" y="259"/>
                            </a:cubicBezTo>
                            <a:cubicBezTo>
                              <a:pt x="125" y="260"/>
                              <a:pt x="121" y="262"/>
                              <a:pt x="119" y="267"/>
                            </a:cubicBezTo>
                            <a:cubicBezTo>
                              <a:pt x="116" y="271"/>
                              <a:pt x="117" y="272"/>
                              <a:pt x="117" y="278"/>
                            </a:cubicBezTo>
                            <a:cubicBezTo>
                              <a:pt x="116" y="284"/>
                              <a:pt x="114" y="282"/>
                              <a:pt x="111" y="285"/>
                            </a:cubicBezTo>
                            <a:cubicBezTo>
                              <a:pt x="108" y="287"/>
                              <a:pt x="108" y="284"/>
                              <a:pt x="105" y="284"/>
                            </a:cubicBezTo>
                            <a:cubicBezTo>
                              <a:pt x="101" y="284"/>
                              <a:pt x="102" y="288"/>
                              <a:pt x="103" y="290"/>
                            </a:cubicBezTo>
                            <a:cubicBezTo>
                              <a:pt x="104" y="293"/>
                              <a:pt x="107" y="296"/>
                              <a:pt x="107" y="300"/>
                            </a:cubicBezTo>
                            <a:cubicBezTo>
                              <a:pt x="106" y="304"/>
                              <a:pt x="102" y="307"/>
                              <a:pt x="99" y="309"/>
                            </a:cubicBezTo>
                            <a:cubicBezTo>
                              <a:pt x="97" y="311"/>
                              <a:pt x="94" y="316"/>
                              <a:pt x="94" y="320"/>
                            </a:cubicBezTo>
                            <a:cubicBezTo>
                              <a:pt x="94" y="324"/>
                              <a:pt x="97" y="325"/>
                              <a:pt x="100" y="329"/>
                            </a:cubicBezTo>
                            <a:cubicBezTo>
                              <a:pt x="104" y="333"/>
                              <a:pt x="101" y="332"/>
                              <a:pt x="98" y="333"/>
                            </a:cubicBezTo>
                            <a:cubicBezTo>
                              <a:pt x="95" y="335"/>
                              <a:pt x="95" y="335"/>
                              <a:pt x="94" y="339"/>
                            </a:cubicBezTo>
                            <a:cubicBezTo>
                              <a:pt x="92" y="342"/>
                              <a:pt x="97" y="343"/>
                              <a:pt x="100" y="344"/>
                            </a:cubicBezTo>
                            <a:cubicBezTo>
                              <a:pt x="103" y="345"/>
                              <a:pt x="103" y="348"/>
                              <a:pt x="102" y="350"/>
                            </a:cubicBezTo>
                            <a:cubicBezTo>
                              <a:pt x="101" y="352"/>
                              <a:pt x="93" y="352"/>
                              <a:pt x="88" y="351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520" name="Freeform 29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290184" y="4286938"/>
                        <a:ext cx="42862" cy="36909"/>
                      </a:xfrm>
                      <a:custGeom>
                        <a:avLst/>
                        <a:gdLst>
                          <a:gd name="T0" fmla="*/ 7 w 152"/>
                          <a:gd name="T1" fmla="*/ 102 h 130"/>
                          <a:gd name="T2" fmla="*/ 26 w 152"/>
                          <a:gd name="T3" fmla="*/ 112 h 130"/>
                          <a:gd name="T4" fmla="*/ 47 w 152"/>
                          <a:gd name="T5" fmla="*/ 117 h 130"/>
                          <a:gd name="T6" fmla="*/ 65 w 152"/>
                          <a:gd name="T7" fmla="*/ 126 h 130"/>
                          <a:gd name="T8" fmla="*/ 74 w 152"/>
                          <a:gd name="T9" fmla="*/ 112 h 130"/>
                          <a:gd name="T10" fmla="*/ 88 w 152"/>
                          <a:gd name="T11" fmla="*/ 107 h 130"/>
                          <a:gd name="T12" fmla="*/ 104 w 152"/>
                          <a:gd name="T13" fmla="*/ 95 h 130"/>
                          <a:gd name="T14" fmla="*/ 118 w 152"/>
                          <a:gd name="T15" fmla="*/ 86 h 130"/>
                          <a:gd name="T16" fmla="*/ 124 w 152"/>
                          <a:gd name="T17" fmla="*/ 74 h 130"/>
                          <a:gd name="T18" fmla="*/ 122 w 152"/>
                          <a:gd name="T19" fmla="*/ 51 h 130"/>
                          <a:gd name="T20" fmla="*/ 134 w 152"/>
                          <a:gd name="T21" fmla="*/ 36 h 130"/>
                          <a:gd name="T22" fmla="*/ 148 w 152"/>
                          <a:gd name="T23" fmla="*/ 31 h 130"/>
                          <a:gd name="T24" fmla="*/ 147 w 152"/>
                          <a:gd name="T25" fmla="*/ 12 h 130"/>
                          <a:gd name="T26" fmla="*/ 135 w 152"/>
                          <a:gd name="T27" fmla="*/ 2 h 130"/>
                          <a:gd name="T28" fmla="*/ 127 w 152"/>
                          <a:gd name="T29" fmla="*/ 12 h 130"/>
                          <a:gd name="T30" fmla="*/ 109 w 152"/>
                          <a:gd name="T31" fmla="*/ 9 h 130"/>
                          <a:gd name="T32" fmla="*/ 95 w 152"/>
                          <a:gd name="T33" fmla="*/ 11 h 130"/>
                          <a:gd name="T34" fmla="*/ 84 w 152"/>
                          <a:gd name="T35" fmla="*/ 14 h 130"/>
                          <a:gd name="T36" fmla="*/ 73 w 152"/>
                          <a:gd name="T37" fmla="*/ 9 h 130"/>
                          <a:gd name="T38" fmla="*/ 62 w 152"/>
                          <a:gd name="T39" fmla="*/ 18 h 130"/>
                          <a:gd name="T40" fmla="*/ 48 w 152"/>
                          <a:gd name="T41" fmla="*/ 17 h 130"/>
                          <a:gd name="T42" fmla="*/ 41 w 152"/>
                          <a:gd name="T43" fmla="*/ 34 h 130"/>
                          <a:gd name="T44" fmla="*/ 28 w 152"/>
                          <a:gd name="T45" fmla="*/ 39 h 130"/>
                          <a:gd name="T46" fmla="*/ 7 w 152"/>
                          <a:gd name="T47" fmla="*/ 49 h 130"/>
                          <a:gd name="T48" fmla="*/ 5 w 152"/>
                          <a:gd name="T49" fmla="*/ 63 h 130"/>
                          <a:gd name="T50" fmla="*/ 4 w 152"/>
                          <a:gd name="T51" fmla="*/ 86 h 130"/>
                          <a:gd name="T52" fmla="*/ 7 w 152"/>
                          <a:gd name="T53" fmla="*/ 102 h 13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</a:cxnLst>
                        <a:rect l="0" t="0" r="r" b="b"/>
                        <a:pathLst>
                          <a:path w="152" h="130">
                            <a:moveTo>
                              <a:pt x="7" y="102"/>
                            </a:moveTo>
                            <a:cubicBezTo>
                              <a:pt x="14" y="106"/>
                              <a:pt x="18" y="111"/>
                              <a:pt x="26" y="112"/>
                            </a:cubicBezTo>
                            <a:cubicBezTo>
                              <a:pt x="35" y="112"/>
                              <a:pt x="37" y="108"/>
                              <a:pt x="47" y="117"/>
                            </a:cubicBezTo>
                            <a:cubicBezTo>
                              <a:pt x="57" y="126"/>
                              <a:pt x="59" y="130"/>
                              <a:pt x="65" y="126"/>
                            </a:cubicBezTo>
                            <a:cubicBezTo>
                              <a:pt x="71" y="123"/>
                              <a:pt x="71" y="116"/>
                              <a:pt x="74" y="112"/>
                            </a:cubicBezTo>
                            <a:cubicBezTo>
                              <a:pt x="78" y="108"/>
                              <a:pt x="80" y="111"/>
                              <a:pt x="88" y="107"/>
                            </a:cubicBezTo>
                            <a:cubicBezTo>
                              <a:pt x="95" y="104"/>
                              <a:pt x="100" y="102"/>
                              <a:pt x="104" y="95"/>
                            </a:cubicBezTo>
                            <a:cubicBezTo>
                              <a:pt x="108" y="88"/>
                              <a:pt x="112" y="90"/>
                              <a:pt x="118" y="86"/>
                            </a:cubicBezTo>
                            <a:cubicBezTo>
                              <a:pt x="123" y="82"/>
                              <a:pt x="125" y="81"/>
                              <a:pt x="124" y="74"/>
                            </a:cubicBezTo>
                            <a:cubicBezTo>
                              <a:pt x="122" y="66"/>
                              <a:pt x="120" y="57"/>
                              <a:pt x="122" y="51"/>
                            </a:cubicBezTo>
                            <a:cubicBezTo>
                              <a:pt x="124" y="45"/>
                              <a:pt x="128" y="38"/>
                              <a:pt x="134" y="36"/>
                            </a:cubicBezTo>
                            <a:cubicBezTo>
                              <a:pt x="139" y="35"/>
                              <a:pt x="146" y="40"/>
                              <a:pt x="148" y="31"/>
                            </a:cubicBezTo>
                            <a:cubicBezTo>
                              <a:pt x="150" y="22"/>
                              <a:pt x="152" y="17"/>
                              <a:pt x="147" y="12"/>
                            </a:cubicBezTo>
                            <a:cubicBezTo>
                              <a:pt x="142" y="8"/>
                              <a:pt x="139" y="0"/>
                              <a:pt x="135" y="2"/>
                            </a:cubicBezTo>
                            <a:cubicBezTo>
                              <a:pt x="131" y="3"/>
                              <a:pt x="130" y="9"/>
                              <a:pt x="127" y="12"/>
                            </a:cubicBezTo>
                            <a:cubicBezTo>
                              <a:pt x="123" y="15"/>
                              <a:pt x="116" y="13"/>
                              <a:pt x="109" y="9"/>
                            </a:cubicBezTo>
                            <a:cubicBezTo>
                              <a:pt x="103" y="6"/>
                              <a:pt x="99" y="7"/>
                              <a:pt x="95" y="11"/>
                            </a:cubicBezTo>
                            <a:cubicBezTo>
                              <a:pt x="91" y="14"/>
                              <a:pt x="88" y="17"/>
                              <a:pt x="84" y="14"/>
                            </a:cubicBezTo>
                            <a:cubicBezTo>
                              <a:pt x="80" y="12"/>
                              <a:pt x="76" y="5"/>
                              <a:pt x="73" y="9"/>
                            </a:cubicBezTo>
                            <a:cubicBezTo>
                              <a:pt x="69" y="12"/>
                              <a:pt x="65" y="17"/>
                              <a:pt x="62" y="18"/>
                            </a:cubicBezTo>
                            <a:cubicBezTo>
                              <a:pt x="59" y="19"/>
                              <a:pt x="54" y="14"/>
                              <a:pt x="48" y="17"/>
                            </a:cubicBezTo>
                            <a:cubicBezTo>
                              <a:pt x="43" y="20"/>
                              <a:pt x="45" y="31"/>
                              <a:pt x="41" y="34"/>
                            </a:cubicBezTo>
                            <a:cubicBezTo>
                              <a:pt x="38" y="36"/>
                              <a:pt x="35" y="36"/>
                              <a:pt x="28" y="39"/>
                            </a:cubicBezTo>
                            <a:cubicBezTo>
                              <a:pt x="20" y="42"/>
                              <a:pt x="8" y="44"/>
                              <a:pt x="7" y="49"/>
                            </a:cubicBezTo>
                            <a:cubicBezTo>
                              <a:pt x="6" y="55"/>
                              <a:pt x="3" y="51"/>
                              <a:pt x="5" y="63"/>
                            </a:cubicBezTo>
                            <a:cubicBezTo>
                              <a:pt x="7" y="75"/>
                              <a:pt x="5" y="77"/>
                              <a:pt x="4" y="86"/>
                            </a:cubicBezTo>
                            <a:cubicBezTo>
                              <a:pt x="2" y="95"/>
                              <a:pt x="0" y="98"/>
                              <a:pt x="7" y="102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521" name="Freeform 29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634275" y="4696513"/>
                        <a:ext cx="51197" cy="21431"/>
                      </a:xfrm>
                      <a:custGeom>
                        <a:avLst/>
                        <a:gdLst>
                          <a:gd name="T0" fmla="*/ 131 w 177"/>
                          <a:gd name="T1" fmla="*/ 47 h 72"/>
                          <a:gd name="T2" fmla="*/ 144 w 177"/>
                          <a:gd name="T3" fmla="*/ 52 h 72"/>
                          <a:gd name="T4" fmla="*/ 159 w 177"/>
                          <a:gd name="T5" fmla="*/ 62 h 72"/>
                          <a:gd name="T6" fmla="*/ 173 w 177"/>
                          <a:gd name="T7" fmla="*/ 71 h 72"/>
                          <a:gd name="T8" fmla="*/ 175 w 177"/>
                          <a:gd name="T9" fmla="*/ 58 h 72"/>
                          <a:gd name="T10" fmla="*/ 171 w 177"/>
                          <a:gd name="T11" fmla="*/ 46 h 72"/>
                          <a:gd name="T12" fmla="*/ 161 w 177"/>
                          <a:gd name="T13" fmla="*/ 42 h 72"/>
                          <a:gd name="T14" fmla="*/ 158 w 177"/>
                          <a:gd name="T15" fmla="*/ 28 h 72"/>
                          <a:gd name="T16" fmla="*/ 150 w 177"/>
                          <a:gd name="T17" fmla="*/ 18 h 72"/>
                          <a:gd name="T18" fmla="*/ 133 w 177"/>
                          <a:gd name="T19" fmla="*/ 16 h 72"/>
                          <a:gd name="T20" fmla="*/ 115 w 177"/>
                          <a:gd name="T21" fmla="*/ 13 h 72"/>
                          <a:gd name="T22" fmla="*/ 98 w 177"/>
                          <a:gd name="T23" fmla="*/ 4 h 72"/>
                          <a:gd name="T24" fmla="*/ 78 w 177"/>
                          <a:gd name="T25" fmla="*/ 8 h 72"/>
                          <a:gd name="T26" fmla="*/ 70 w 177"/>
                          <a:gd name="T27" fmla="*/ 11 h 72"/>
                          <a:gd name="T28" fmla="*/ 65 w 177"/>
                          <a:gd name="T29" fmla="*/ 5 h 72"/>
                          <a:gd name="T30" fmla="*/ 51 w 177"/>
                          <a:gd name="T31" fmla="*/ 4 h 72"/>
                          <a:gd name="T32" fmla="*/ 31 w 177"/>
                          <a:gd name="T33" fmla="*/ 11 h 72"/>
                          <a:gd name="T34" fmla="*/ 11 w 177"/>
                          <a:gd name="T35" fmla="*/ 10 h 72"/>
                          <a:gd name="T36" fmla="*/ 5 w 177"/>
                          <a:gd name="T37" fmla="*/ 21 h 72"/>
                          <a:gd name="T38" fmla="*/ 12 w 177"/>
                          <a:gd name="T39" fmla="*/ 34 h 72"/>
                          <a:gd name="T40" fmla="*/ 27 w 177"/>
                          <a:gd name="T41" fmla="*/ 40 h 72"/>
                          <a:gd name="T42" fmla="*/ 44 w 177"/>
                          <a:gd name="T43" fmla="*/ 36 h 72"/>
                          <a:gd name="T44" fmla="*/ 57 w 177"/>
                          <a:gd name="T45" fmla="*/ 38 h 72"/>
                          <a:gd name="T46" fmla="*/ 79 w 177"/>
                          <a:gd name="T47" fmla="*/ 39 h 72"/>
                          <a:gd name="T48" fmla="*/ 100 w 177"/>
                          <a:gd name="T49" fmla="*/ 37 h 72"/>
                          <a:gd name="T50" fmla="*/ 114 w 177"/>
                          <a:gd name="T51" fmla="*/ 37 h 72"/>
                          <a:gd name="T52" fmla="*/ 131 w 177"/>
                          <a:gd name="T53" fmla="*/ 47 h 7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</a:cxnLst>
                        <a:rect l="0" t="0" r="r" b="b"/>
                        <a:pathLst>
                          <a:path w="177" h="72">
                            <a:moveTo>
                              <a:pt x="131" y="47"/>
                            </a:moveTo>
                            <a:cubicBezTo>
                              <a:pt x="136" y="51"/>
                              <a:pt x="139" y="51"/>
                              <a:pt x="144" y="52"/>
                            </a:cubicBezTo>
                            <a:cubicBezTo>
                              <a:pt x="150" y="52"/>
                              <a:pt x="156" y="58"/>
                              <a:pt x="159" y="62"/>
                            </a:cubicBezTo>
                            <a:cubicBezTo>
                              <a:pt x="161" y="67"/>
                              <a:pt x="169" y="70"/>
                              <a:pt x="173" y="71"/>
                            </a:cubicBezTo>
                            <a:cubicBezTo>
                              <a:pt x="177" y="72"/>
                              <a:pt x="175" y="67"/>
                              <a:pt x="175" y="58"/>
                            </a:cubicBezTo>
                            <a:cubicBezTo>
                              <a:pt x="174" y="49"/>
                              <a:pt x="175" y="50"/>
                              <a:pt x="171" y="46"/>
                            </a:cubicBezTo>
                            <a:cubicBezTo>
                              <a:pt x="167" y="42"/>
                              <a:pt x="165" y="44"/>
                              <a:pt x="161" y="42"/>
                            </a:cubicBezTo>
                            <a:cubicBezTo>
                              <a:pt x="157" y="41"/>
                              <a:pt x="160" y="33"/>
                              <a:pt x="158" y="28"/>
                            </a:cubicBezTo>
                            <a:cubicBezTo>
                              <a:pt x="156" y="22"/>
                              <a:pt x="155" y="22"/>
                              <a:pt x="150" y="18"/>
                            </a:cubicBezTo>
                            <a:cubicBezTo>
                              <a:pt x="145" y="15"/>
                              <a:pt x="141" y="16"/>
                              <a:pt x="133" y="16"/>
                            </a:cubicBezTo>
                            <a:cubicBezTo>
                              <a:pt x="126" y="16"/>
                              <a:pt x="124" y="16"/>
                              <a:pt x="115" y="13"/>
                            </a:cubicBezTo>
                            <a:cubicBezTo>
                              <a:pt x="106" y="10"/>
                              <a:pt x="106" y="8"/>
                              <a:pt x="98" y="4"/>
                            </a:cubicBezTo>
                            <a:cubicBezTo>
                              <a:pt x="90" y="1"/>
                              <a:pt x="89" y="5"/>
                              <a:pt x="78" y="8"/>
                            </a:cubicBezTo>
                            <a:cubicBezTo>
                              <a:pt x="75" y="9"/>
                              <a:pt x="70" y="11"/>
                              <a:pt x="70" y="11"/>
                            </a:cubicBezTo>
                            <a:cubicBezTo>
                              <a:pt x="70" y="11"/>
                              <a:pt x="68" y="9"/>
                              <a:pt x="65" y="5"/>
                            </a:cubicBezTo>
                            <a:cubicBezTo>
                              <a:pt x="62" y="0"/>
                              <a:pt x="59" y="4"/>
                              <a:pt x="51" y="4"/>
                            </a:cubicBezTo>
                            <a:cubicBezTo>
                              <a:pt x="43" y="4"/>
                              <a:pt x="43" y="8"/>
                              <a:pt x="31" y="11"/>
                            </a:cubicBezTo>
                            <a:cubicBezTo>
                              <a:pt x="19" y="14"/>
                              <a:pt x="22" y="10"/>
                              <a:pt x="11" y="10"/>
                            </a:cubicBezTo>
                            <a:cubicBezTo>
                              <a:pt x="0" y="10"/>
                              <a:pt x="6" y="15"/>
                              <a:pt x="5" y="21"/>
                            </a:cubicBezTo>
                            <a:cubicBezTo>
                              <a:pt x="4" y="27"/>
                              <a:pt x="10" y="30"/>
                              <a:pt x="12" y="34"/>
                            </a:cubicBezTo>
                            <a:cubicBezTo>
                              <a:pt x="15" y="38"/>
                              <a:pt x="20" y="40"/>
                              <a:pt x="27" y="40"/>
                            </a:cubicBezTo>
                            <a:cubicBezTo>
                              <a:pt x="33" y="40"/>
                              <a:pt x="36" y="38"/>
                              <a:pt x="44" y="36"/>
                            </a:cubicBezTo>
                            <a:cubicBezTo>
                              <a:pt x="52" y="33"/>
                              <a:pt x="54" y="37"/>
                              <a:pt x="57" y="38"/>
                            </a:cubicBezTo>
                            <a:cubicBezTo>
                              <a:pt x="60" y="39"/>
                              <a:pt x="73" y="39"/>
                              <a:pt x="79" y="39"/>
                            </a:cubicBezTo>
                            <a:cubicBezTo>
                              <a:pt x="84" y="38"/>
                              <a:pt x="95" y="37"/>
                              <a:pt x="100" y="37"/>
                            </a:cubicBezTo>
                            <a:cubicBezTo>
                              <a:pt x="104" y="37"/>
                              <a:pt x="111" y="37"/>
                              <a:pt x="114" y="37"/>
                            </a:cubicBezTo>
                            <a:cubicBezTo>
                              <a:pt x="118" y="37"/>
                              <a:pt x="126" y="42"/>
                              <a:pt x="131" y="47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522" name="Freeform 334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6000863" y="4403619"/>
                        <a:ext cx="27384" cy="123825"/>
                      </a:xfrm>
                      <a:custGeom>
                        <a:avLst/>
                        <a:gdLst>
                          <a:gd name="T0" fmla="*/ 7 w 94"/>
                          <a:gd name="T1" fmla="*/ 179 h 430"/>
                          <a:gd name="T2" fmla="*/ 1 w 94"/>
                          <a:gd name="T3" fmla="*/ 189 h 430"/>
                          <a:gd name="T4" fmla="*/ 5 w 94"/>
                          <a:gd name="T5" fmla="*/ 201 h 430"/>
                          <a:gd name="T6" fmla="*/ 13 w 94"/>
                          <a:gd name="T7" fmla="*/ 188 h 430"/>
                          <a:gd name="T8" fmla="*/ 7 w 94"/>
                          <a:gd name="T9" fmla="*/ 179 h 430"/>
                          <a:gd name="T10" fmla="*/ 26 w 94"/>
                          <a:gd name="T11" fmla="*/ 137 h 430"/>
                          <a:gd name="T12" fmla="*/ 24 w 94"/>
                          <a:gd name="T13" fmla="*/ 123 h 430"/>
                          <a:gd name="T14" fmla="*/ 26 w 94"/>
                          <a:gd name="T15" fmla="*/ 111 h 430"/>
                          <a:gd name="T16" fmla="*/ 28 w 94"/>
                          <a:gd name="T17" fmla="*/ 102 h 430"/>
                          <a:gd name="T18" fmla="*/ 17 w 94"/>
                          <a:gd name="T19" fmla="*/ 103 h 430"/>
                          <a:gd name="T20" fmla="*/ 12 w 94"/>
                          <a:gd name="T21" fmla="*/ 111 h 430"/>
                          <a:gd name="T22" fmla="*/ 16 w 94"/>
                          <a:gd name="T23" fmla="*/ 126 h 430"/>
                          <a:gd name="T24" fmla="*/ 19 w 94"/>
                          <a:gd name="T25" fmla="*/ 136 h 430"/>
                          <a:gd name="T26" fmla="*/ 20 w 94"/>
                          <a:gd name="T27" fmla="*/ 147 h 430"/>
                          <a:gd name="T28" fmla="*/ 26 w 94"/>
                          <a:gd name="T29" fmla="*/ 137 h 430"/>
                          <a:gd name="T30" fmla="*/ 94 w 94"/>
                          <a:gd name="T31" fmla="*/ 410 h 430"/>
                          <a:gd name="T32" fmla="*/ 88 w 94"/>
                          <a:gd name="T33" fmla="*/ 410 h 430"/>
                          <a:gd name="T34" fmla="*/ 85 w 94"/>
                          <a:gd name="T35" fmla="*/ 423 h 430"/>
                          <a:gd name="T36" fmla="*/ 92 w 94"/>
                          <a:gd name="T37" fmla="*/ 430 h 430"/>
                          <a:gd name="T38" fmla="*/ 93 w 94"/>
                          <a:gd name="T39" fmla="*/ 419 h 430"/>
                          <a:gd name="T40" fmla="*/ 94 w 94"/>
                          <a:gd name="T41" fmla="*/ 410 h 430"/>
                          <a:gd name="T42" fmla="*/ 88 w 94"/>
                          <a:gd name="T43" fmla="*/ 398 h 430"/>
                          <a:gd name="T44" fmla="*/ 83 w 94"/>
                          <a:gd name="T45" fmla="*/ 394 h 430"/>
                          <a:gd name="T46" fmla="*/ 79 w 94"/>
                          <a:gd name="T47" fmla="*/ 400 h 430"/>
                          <a:gd name="T48" fmla="*/ 88 w 94"/>
                          <a:gd name="T49" fmla="*/ 398 h 430"/>
                          <a:gd name="T50" fmla="*/ 48 w 94"/>
                          <a:gd name="T51" fmla="*/ 336 h 430"/>
                          <a:gd name="T52" fmla="*/ 48 w 94"/>
                          <a:gd name="T53" fmla="*/ 341 h 430"/>
                          <a:gd name="T54" fmla="*/ 55 w 94"/>
                          <a:gd name="T55" fmla="*/ 343 h 430"/>
                          <a:gd name="T56" fmla="*/ 48 w 94"/>
                          <a:gd name="T57" fmla="*/ 336 h 430"/>
                          <a:gd name="T58" fmla="*/ 26 w 94"/>
                          <a:gd name="T59" fmla="*/ 279 h 430"/>
                          <a:gd name="T60" fmla="*/ 22 w 94"/>
                          <a:gd name="T61" fmla="*/ 286 h 430"/>
                          <a:gd name="T62" fmla="*/ 29 w 94"/>
                          <a:gd name="T63" fmla="*/ 284 h 430"/>
                          <a:gd name="T64" fmla="*/ 26 w 94"/>
                          <a:gd name="T65" fmla="*/ 279 h 430"/>
                          <a:gd name="T66" fmla="*/ 29 w 94"/>
                          <a:gd name="T67" fmla="*/ 53 h 430"/>
                          <a:gd name="T68" fmla="*/ 29 w 94"/>
                          <a:gd name="T69" fmla="*/ 61 h 430"/>
                          <a:gd name="T70" fmla="*/ 31 w 94"/>
                          <a:gd name="T71" fmla="*/ 70 h 430"/>
                          <a:gd name="T72" fmla="*/ 28 w 94"/>
                          <a:gd name="T73" fmla="*/ 81 h 430"/>
                          <a:gd name="T74" fmla="*/ 30 w 94"/>
                          <a:gd name="T75" fmla="*/ 91 h 430"/>
                          <a:gd name="T76" fmla="*/ 36 w 94"/>
                          <a:gd name="T77" fmla="*/ 82 h 430"/>
                          <a:gd name="T78" fmla="*/ 41 w 94"/>
                          <a:gd name="T79" fmla="*/ 69 h 430"/>
                          <a:gd name="T80" fmla="*/ 37 w 94"/>
                          <a:gd name="T81" fmla="*/ 58 h 430"/>
                          <a:gd name="T82" fmla="*/ 29 w 94"/>
                          <a:gd name="T83" fmla="*/ 53 h 430"/>
                          <a:gd name="T84" fmla="*/ 49 w 94"/>
                          <a:gd name="T85" fmla="*/ 17 h 430"/>
                          <a:gd name="T86" fmla="*/ 41 w 94"/>
                          <a:gd name="T87" fmla="*/ 14 h 430"/>
                          <a:gd name="T88" fmla="*/ 38 w 94"/>
                          <a:gd name="T89" fmla="*/ 28 h 430"/>
                          <a:gd name="T90" fmla="*/ 35 w 94"/>
                          <a:gd name="T91" fmla="*/ 37 h 430"/>
                          <a:gd name="T92" fmla="*/ 40 w 94"/>
                          <a:gd name="T93" fmla="*/ 42 h 430"/>
                          <a:gd name="T94" fmla="*/ 46 w 94"/>
                          <a:gd name="T95" fmla="*/ 34 h 430"/>
                          <a:gd name="T96" fmla="*/ 46 w 94"/>
                          <a:gd name="T97" fmla="*/ 27 h 430"/>
                          <a:gd name="T98" fmla="*/ 49 w 94"/>
                          <a:gd name="T99" fmla="*/ 17 h 430"/>
                          <a:gd name="T100" fmla="*/ 71 w 94"/>
                          <a:gd name="T101" fmla="*/ 346 h 430"/>
                          <a:gd name="T102" fmla="*/ 64 w 94"/>
                          <a:gd name="T103" fmla="*/ 355 h 430"/>
                          <a:gd name="T104" fmla="*/ 60 w 94"/>
                          <a:gd name="T105" fmla="*/ 362 h 430"/>
                          <a:gd name="T106" fmla="*/ 68 w 94"/>
                          <a:gd name="T107" fmla="*/ 367 h 430"/>
                          <a:gd name="T108" fmla="*/ 70 w 94"/>
                          <a:gd name="T109" fmla="*/ 358 h 430"/>
                          <a:gd name="T110" fmla="*/ 76 w 94"/>
                          <a:gd name="T111" fmla="*/ 349 h 430"/>
                          <a:gd name="T112" fmla="*/ 71 w 94"/>
                          <a:gd name="T113" fmla="*/ 346 h 430"/>
                          <a:gd name="T114" fmla="*/ 84 w 94"/>
                          <a:gd name="T115" fmla="*/ 331 h 430"/>
                          <a:gd name="T116" fmla="*/ 78 w 94"/>
                          <a:gd name="T117" fmla="*/ 324 h 430"/>
                          <a:gd name="T118" fmla="*/ 77 w 94"/>
                          <a:gd name="T119" fmla="*/ 332 h 430"/>
                          <a:gd name="T120" fmla="*/ 84 w 94"/>
                          <a:gd name="T121" fmla="*/ 331 h 43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  <a:cxn ang="0">
                            <a:pos x="T94" y="T95"/>
                          </a:cxn>
                          <a:cxn ang="0">
                            <a:pos x="T96" y="T97"/>
                          </a:cxn>
                          <a:cxn ang="0">
                            <a:pos x="T98" y="T99"/>
                          </a:cxn>
                          <a:cxn ang="0">
                            <a:pos x="T100" y="T101"/>
                          </a:cxn>
                          <a:cxn ang="0">
                            <a:pos x="T102" y="T103"/>
                          </a:cxn>
                          <a:cxn ang="0">
                            <a:pos x="T104" y="T105"/>
                          </a:cxn>
                          <a:cxn ang="0">
                            <a:pos x="T106" y="T107"/>
                          </a:cxn>
                          <a:cxn ang="0">
                            <a:pos x="T108" y="T109"/>
                          </a:cxn>
                          <a:cxn ang="0">
                            <a:pos x="T110" y="T111"/>
                          </a:cxn>
                          <a:cxn ang="0">
                            <a:pos x="T112" y="T113"/>
                          </a:cxn>
                          <a:cxn ang="0">
                            <a:pos x="T114" y="T115"/>
                          </a:cxn>
                          <a:cxn ang="0">
                            <a:pos x="T116" y="T117"/>
                          </a:cxn>
                          <a:cxn ang="0">
                            <a:pos x="T118" y="T119"/>
                          </a:cxn>
                          <a:cxn ang="0">
                            <a:pos x="T120" y="T121"/>
                          </a:cxn>
                        </a:cxnLst>
                        <a:rect l="0" t="0" r="r" b="b"/>
                        <a:pathLst>
                          <a:path w="94" h="430">
                            <a:moveTo>
                              <a:pt x="7" y="179"/>
                            </a:moveTo>
                            <a:cubicBezTo>
                              <a:pt x="4" y="180"/>
                              <a:pt x="1" y="184"/>
                              <a:pt x="1" y="189"/>
                            </a:cubicBezTo>
                            <a:cubicBezTo>
                              <a:pt x="1" y="195"/>
                              <a:pt x="0" y="200"/>
                              <a:pt x="5" y="201"/>
                            </a:cubicBezTo>
                            <a:cubicBezTo>
                              <a:pt x="10" y="201"/>
                              <a:pt x="13" y="193"/>
                              <a:pt x="13" y="188"/>
                            </a:cubicBezTo>
                            <a:cubicBezTo>
                              <a:pt x="14" y="184"/>
                              <a:pt x="14" y="175"/>
                              <a:pt x="7" y="179"/>
                            </a:cubicBezTo>
                            <a:close/>
                            <a:moveTo>
                              <a:pt x="26" y="137"/>
                            </a:moveTo>
                            <a:cubicBezTo>
                              <a:pt x="25" y="132"/>
                              <a:pt x="24" y="127"/>
                              <a:pt x="24" y="123"/>
                            </a:cubicBezTo>
                            <a:cubicBezTo>
                              <a:pt x="24" y="119"/>
                              <a:pt x="24" y="114"/>
                              <a:pt x="26" y="111"/>
                            </a:cubicBezTo>
                            <a:cubicBezTo>
                              <a:pt x="28" y="109"/>
                              <a:pt x="29" y="108"/>
                              <a:pt x="28" y="102"/>
                            </a:cubicBezTo>
                            <a:cubicBezTo>
                              <a:pt x="26" y="97"/>
                              <a:pt x="18" y="92"/>
                              <a:pt x="17" y="103"/>
                            </a:cubicBezTo>
                            <a:cubicBezTo>
                              <a:pt x="17" y="108"/>
                              <a:pt x="15" y="107"/>
                              <a:pt x="12" y="111"/>
                            </a:cubicBezTo>
                            <a:cubicBezTo>
                              <a:pt x="10" y="115"/>
                              <a:pt x="13" y="120"/>
                              <a:pt x="16" y="126"/>
                            </a:cubicBezTo>
                            <a:cubicBezTo>
                              <a:pt x="19" y="132"/>
                              <a:pt x="19" y="132"/>
                              <a:pt x="19" y="136"/>
                            </a:cubicBezTo>
                            <a:cubicBezTo>
                              <a:pt x="20" y="140"/>
                              <a:pt x="16" y="147"/>
                              <a:pt x="20" y="147"/>
                            </a:cubicBezTo>
                            <a:cubicBezTo>
                              <a:pt x="24" y="146"/>
                              <a:pt x="26" y="141"/>
                              <a:pt x="26" y="137"/>
                            </a:cubicBezTo>
                            <a:close/>
                            <a:moveTo>
                              <a:pt x="94" y="410"/>
                            </a:moveTo>
                            <a:cubicBezTo>
                              <a:pt x="93" y="406"/>
                              <a:pt x="90" y="410"/>
                              <a:pt x="88" y="410"/>
                            </a:cubicBezTo>
                            <a:cubicBezTo>
                              <a:pt x="82" y="412"/>
                              <a:pt x="84" y="419"/>
                              <a:pt x="85" y="423"/>
                            </a:cubicBezTo>
                            <a:cubicBezTo>
                              <a:pt x="86" y="427"/>
                              <a:pt x="89" y="430"/>
                              <a:pt x="92" y="430"/>
                            </a:cubicBezTo>
                            <a:cubicBezTo>
                              <a:pt x="94" y="429"/>
                              <a:pt x="92" y="425"/>
                              <a:pt x="93" y="419"/>
                            </a:cubicBezTo>
                            <a:cubicBezTo>
                              <a:pt x="94" y="413"/>
                              <a:pt x="94" y="415"/>
                              <a:pt x="94" y="410"/>
                            </a:cubicBezTo>
                            <a:close/>
                            <a:moveTo>
                              <a:pt x="88" y="398"/>
                            </a:moveTo>
                            <a:cubicBezTo>
                              <a:pt x="88" y="396"/>
                              <a:pt x="85" y="390"/>
                              <a:pt x="83" y="394"/>
                            </a:cubicBezTo>
                            <a:cubicBezTo>
                              <a:pt x="81" y="397"/>
                              <a:pt x="78" y="398"/>
                              <a:pt x="79" y="400"/>
                            </a:cubicBezTo>
                            <a:cubicBezTo>
                              <a:pt x="81" y="402"/>
                              <a:pt x="88" y="400"/>
                              <a:pt x="88" y="398"/>
                            </a:cubicBezTo>
                            <a:close/>
                            <a:moveTo>
                              <a:pt x="48" y="336"/>
                            </a:moveTo>
                            <a:cubicBezTo>
                              <a:pt x="47" y="339"/>
                              <a:pt x="46" y="337"/>
                              <a:pt x="48" y="341"/>
                            </a:cubicBezTo>
                            <a:cubicBezTo>
                              <a:pt x="50" y="345"/>
                              <a:pt x="54" y="345"/>
                              <a:pt x="55" y="343"/>
                            </a:cubicBezTo>
                            <a:cubicBezTo>
                              <a:pt x="55" y="341"/>
                              <a:pt x="50" y="332"/>
                              <a:pt x="48" y="336"/>
                            </a:cubicBezTo>
                            <a:close/>
                            <a:moveTo>
                              <a:pt x="26" y="279"/>
                            </a:moveTo>
                            <a:cubicBezTo>
                              <a:pt x="24" y="281"/>
                              <a:pt x="21" y="283"/>
                              <a:pt x="22" y="286"/>
                            </a:cubicBezTo>
                            <a:cubicBezTo>
                              <a:pt x="24" y="288"/>
                              <a:pt x="26" y="287"/>
                              <a:pt x="29" y="284"/>
                            </a:cubicBezTo>
                            <a:cubicBezTo>
                              <a:pt x="31" y="281"/>
                              <a:pt x="30" y="276"/>
                              <a:pt x="26" y="279"/>
                            </a:cubicBezTo>
                            <a:close/>
                            <a:moveTo>
                              <a:pt x="29" y="53"/>
                            </a:moveTo>
                            <a:cubicBezTo>
                              <a:pt x="28" y="57"/>
                              <a:pt x="27" y="57"/>
                              <a:pt x="29" y="61"/>
                            </a:cubicBezTo>
                            <a:cubicBezTo>
                              <a:pt x="32" y="66"/>
                              <a:pt x="32" y="65"/>
                              <a:pt x="31" y="70"/>
                            </a:cubicBezTo>
                            <a:cubicBezTo>
                              <a:pt x="30" y="75"/>
                              <a:pt x="27" y="78"/>
                              <a:pt x="28" y="81"/>
                            </a:cubicBezTo>
                            <a:cubicBezTo>
                              <a:pt x="28" y="84"/>
                              <a:pt x="27" y="90"/>
                              <a:pt x="30" y="91"/>
                            </a:cubicBezTo>
                            <a:cubicBezTo>
                              <a:pt x="33" y="91"/>
                              <a:pt x="35" y="90"/>
                              <a:pt x="36" y="82"/>
                            </a:cubicBezTo>
                            <a:cubicBezTo>
                              <a:pt x="38" y="75"/>
                              <a:pt x="41" y="75"/>
                              <a:pt x="41" y="69"/>
                            </a:cubicBezTo>
                            <a:cubicBezTo>
                              <a:pt x="41" y="64"/>
                              <a:pt x="40" y="64"/>
                              <a:pt x="37" y="58"/>
                            </a:cubicBezTo>
                            <a:cubicBezTo>
                              <a:pt x="35" y="53"/>
                              <a:pt x="31" y="46"/>
                              <a:pt x="29" y="53"/>
                            </a:cubicBezTo>
                            <a:close/>
                            <a:moveTo>
                              <a:pt x="49" y="17"/>
                            </a:moveTo>
                            <a:cubicBezTo>
                              <a:pt x="48" y="15"/>
                              <a:pt x="40" y="0"/>
                              <a:pt x="41" y="14"/>
                            </a:cubicBezTo>
                            <a:cubicBezTo>
                              <a:pt x="41" y="21"/>
                              <a:pt x="39" y="25"/>
                              <a:pt x="38" y="28"/>
                            </a:cubicBezTo>
                            <a:cubicBezTo>
                              <a:pt x="36" y="31"/>
                              <a:pt x="34" y="33"/>
                              <a:pt x="35" y="37"/>
                            </a:cubicBezTo>
                            <a:cubicBezTo>
                              <a:pt x="35" y="42"/>
                              <a:pt x="38" y="44"/>
                              <a:pt x="40" y="42"/>
                            </a:cubicBezTo>
                            <a:cubicBezTo>
                              <a:pt x="42" y="40"/>
                              <a:pt x="46" y="37"/>
                              <a:pt x="46" y="34"/>
                            </a:cubicBezTo>
                            <a:cubicBezTo>
                              <a:pt x="46" y="31"/>
                              <a:pt x="44" y="30"/>
                              <a:pt x="46" y="27"/>
                            </a:cubicBezTo>
                            <a:cubicBezTo>
                              <a:pt x="48" y="23"/>
                              <a:pt x="49" y="19"/>
                              <a:pt x="49" y="17"/>
                            </a:cubicBezTo>
                            <a:close/>
                            <a:moveTo>
                              <a:pt x="71" y="346"/>
                            </a:moveTo>
                            <a:cubicBezTo>
                              <a:pt x="69" y="350"/>
                              <a:pt x="67" y="352"/>
                              <a:pt x="64" y="355"/>
                            </a:cubicBezTo>
                            <a:cubicBezTo>
                              <a:pt x="61" y="357"/>
                              <a:pt x="56" y="357"/>
                              <a:pt x="60" y="362"/>
                            </a:cubicBezTo>
                            <a:cubicBezTo>
                              <a:pt x="64" y="367"/>
                              <a:pt x="66" y="370"/>
                              <a:pt x="68" y="367"/>
                            </a:cubicBezTo>
                            <a:cubicBezTo>
                              <a:pt x="69" y="364"/>
                              <a:pt x="67" y="363"/>
                              <a:pt x="70" y="358"/>
                            </a:cubicBezTo>
                            <a:cubicBezTo>
                              <a:pt x="72" y="353"/>
                              <a:pt x="76" y="352"/>
                              <a:pt x="76" y="349"/>
                            </a:cubicBezTo>
                            <a:cubicBezTo>
                              <a:pt x="76" y="345"/>
                              <a:pt x="72" y="342"/>
                              <a:pt x="71" y="346"/>
                            </a:cubicBezTo>
                            <a:close/>
                            <a:moveTo>
                              <a:pt x="84" y="331"/>
                            </a:moveTo>
                            <a:cubicBezTo>
                              <a:pt x="84" y="327"/>
                              <a:pt x="82" y="321"/>
                              <a:pt x="78" y="324"/>
                            </a:cubicBezTo>
                            <a:cubicBezTo>
                              <a:pt x="75" y="328"/>
                              <a:pt x="75" y="330"/>
                              <a:pt x="77" y="332"/>
                            </a:cubicBezTo>
                            <a:cubicBezTo>
                              <a:pt x="80" y="333"/>
                              <a:pt x="84" y="334"/>
                              <a:pt x="84" y="331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grpSp>
                    <p:nvGrpSpPr>
                      <p:cNvPr id="523" name="Gruppieren 522"/>
                      <p:cNvGrpSpPr/>
                      <p:nvPr/>
                    </p:nvGrpSpPr>
                    <p:grpSpPr>
                      <a:xfrm>
                        <a:off x="5446031" y="3596376"/>
                        <a:ext cx="2131219" cy="1946672"/>
                        <a:chOff x="5446031" y="3596376"/>
                        <a:chExt cx="2131219" cy="1946672"/>
                      </a:xfrm>
                      <a:grpFill/>
                    </p:grpSpPr>
                    <p:sp>
                      <p:nvSpPr>
                        <p:cNvPr id="524" name="Freeform 154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525928" y="4475057"/>
                          <a:ext cx="83344" cy="75009"/>
                        </a:xfrm>
                        <a:custGeom>
                          <a:avLst/>
                          <a:gdLst>
                            <a:gd name="T0" fmla="*/ 218 w 290"/>
                            <a:gd name="T1" fmla="*/ 3 h 259"/>
                            <a:gd name="T2" fmla="*/ 224 w 290"/>
                            <a:gd name="T3" fmla="*/ 36 h 259"/>
                            <a:gd name="T4" fmla="*/ 202 w 290"/>
                            <a:gd name="T5" fmla="*/ 45 h 259"/>
                            <a:gd name="T6" fmla="*/ 182 w 290"/>
                            <a:gd name="T7" fmla="*/ 43 h 259"/>
                            <a:gd name="T8" fmla="*/ 176 w 290"/>
                            <a:gd name="T9" fmla="*/ 42 h 259"/>
                            <a:gd name="T10" fmla="*/ 175 w 290"/>
                            <a:gd name="T11" fmla="*/ 75 h 259"/>
                            <a:gd name="T12" fmla="*/ 148 w 290"/>
                            <a:gd name="T13" fmla="*/ 80 h 259"/>
                            <a:gd name="T14" fmla="*/ 122 w 290"/>
                            <a:gd name="T15" fmla="*/ 106 h 259"/>
                            <a:gd name="T16" fmla="*/ 113 w 290"/>
                            <a:gd name="T17" fmla="*/ 99 h 259"/>
                            <a:gd name="T18" fmla="*/ 117 w 290"/>
                            <a:gd name="T19" fmla="*/ 81 h 259"/>
                            <a:gd name="T20" fmla="*/ 100 w 290"/>
                            <a:gd name="T21" fmla="*/ 71 h 259"/>
                            <a:gd name="T22" fmla="*/ 80 w 290"/>
                            <a:gd name="T23" fmla="*/ 72 h 259"/>
                            <a:gd name="T24" fmla="*/ 63 w 290"/>
                            <a:gd name="T25" fmla="*/ 96 h 259"/>
                            <a:gd name="T26" fmla="*/ 34 w 290"/>
                            <a:gd name="T27" fmla="*/ 110 h 259"/>
                            <a:gd name="T28" fmla="*/ 15 w 290"/>
                            <a:gd name="T29" fmla="*/ 125 h 259"/>
                            <a:gd name="T30" fmla="*/ 9 w 290"/>
                            <a:gd name="T31" fmla="*/ 147 h 259"/>
                            <a:gd name="T32" fmla="*/ 10 w 290"/>
                            <a:gd name="T33" fmla="*/ 172 h 259"/>
                            <a:gd name="T34" fmla="*/ 23 w 290"/>
                            <a:gd name="T35" fmla="*/ 155 h 259"/>
                            <a:gd name="T36" fmla="*/ 36 w 290"/>
                            <a:gd name="T37" fmla="*/ 129 h 259"/>
                            <a:gd name="T38" fmla="*/ 49 w 290"/>
                            <a:gd name="T39" fmla="*/ 127 h 259"/>
                            <a:gd name="T40" fmla="*/ 59 w 290"/>
                            <a:gd name="T41" fmla="*/ 140 h 259"/>
                            <a:gd name="T42" fmla="*/ 70 w 290"/>
                            <a:gd name="T43" fmla="*/ 132 h 259"/>
                            <a:gd name="T44" fmla="*/ 81 w 290"/>
                            <a:gd name="T45" fmla="*/ 135 h 259"/>
                            <a:gd name="T46" fmla="*/ 93 w 290"/>
                            <a:gd name="T47" fmla="*/ 144 h 259"/>
                            <a:gd name="T48" fmla="*/ 109 w 290"/>
                            <a:gd name="T49" fmla="*/ 121 h 259"/>
                            <a:gd name="T50" fmla="*/ 133 w 290"/>
                            <a:gd name="T51" fmla="*/ 141 h 259"/>
                            <a:gd name="T52" fmla="*/ 132 w 290"/>
                            <a:gd name="T53" fmla="*/ 163 h 259"/>
                            <a:gd name="T54" fmla="*/ 136 w 290"/>
                            <a:gd name="T55" fmla="*/ 207 h 259"/>
                            <a:gd name="T56" fmla="*/ 180 w 290"/>
                            <a:gd name="T57" fmla="*/ 232 h 259"/>
                            <a:gd name="T58" fmla="*/ 197 w 290"/>
                            <a:gd name="T59" fmla="*/ 227 h 259"/>
                            <a:gd name="T60" fmla="*/ 204 w 290"/>
                            <a:gd name="T61" fmla="*/ 244 h 259"/>
                            <a:gd name="T62" fmla="*/ 221 w 290"/>
                            <a:gd name="T63" fmla="*/ 245 h 259"/>
                            <a:gd name="T64" fmla="*/ 230 w 290"/>
                            <a:gd name="T65" fmla="*/ 218 h 259"/>
                            <a:gd name="T66" fmla="*/ 217 w 290"/>
                            <a:gd name="T67" fmla="*/ 193 h 259"/>
                            <a:gd name="T68" fmla="*/ 227 w 290"/>
                            <a:gd name="T69" fmla="*/ 165 h 259"/>
                            <a:gd name="T70" fmla="*/ 234 w 290"/>
                            <a:gd name="T71" fmla="*/ 159 h 259"/>
                            <a:gd name="T72" fmla="*/ 251 w 290"/>
                            <a:gd name="T73" fmla="*/ 173 h 259"/>
                            <a:gd name="T74" fmla="*/ 263 w 290"/>
                            <a:gd name="T75" fmla="*/ 194 h 259"/>
                            <a:gd name="T76" fmla="*/ 281 w 290"/>
                            <a:gd name="T77" fmla="*/ 170 h 259"/>
                            <a:gd name="T78" fmla="*/ 287 w 290"/>
                            <a:gd name="T79" fmla="*/ 124 h 259"/>
                            <a:gd name="T80" fmla="*/ 282 w 290"/>
                            <a:gd name="T81" fmla="*/ 98 h 259"/>
                            <a:gd name="T82" fmla="*/ 275 w 290"/>
                            <a:gd name="T83" fmla="*/ 82 h 259"/>
                            <a:gd name="T84" fmla="*/ 261 w 290"/>
                            <a:gd name="T85" fmla="*/ 63 h 259"/>
                            <a:gd name="T86" fmla="*/ 270 w 290"/>
                            <a:gd name="T87" fmla="*/ 38 h 259"/>
                            <a:gd name="T88" fmla="*/ 251 w 290"/>
                            <a:gd name="T89" fmla="*/ 25 h 25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</a:cxnLst>
                          <a:rect l="0" t="0" r="r" b="b"/>
                          <a:pathLst>
                            <a:path w="290" h="259">
                              <a:moveTo>
                                <a:pt x="242" y="15"/>
                              </a:moveTo>
                              <a:cubicBezTo>
                                <a:pt x="238" y="8"/>
                                <a:pt x="234" y="9"/>
                                <a:pt x="230" y="5"/>
                              </a:cubicBezTo>
                              <a:cubicBezTo>
                                <a:pt x="225" y="2"/>
                                <a:pt x="220" y="0"/>
                                <a:pt x="218" y="3"/>
                              </a:cubicBezTo>
                              <a:cubicBezTo>
                                <a:pt x="217" y="6"/>
                                <a:pt x="221" y="8"/>
                                <a:pt x="220" y="13"/>
                              </a:cubicBezTo>
                              <a:cubicBezTo>
                                <a:pt x="220" y="18"/>
                                <a:pt x="219" y="18"/>
                                <a:pt x="219" y="25"/>
                              </a:cubicBezTo>
                              <a:cubicBezTo>
                                <a:pt x="220" y="31"/>
                                <a:pt x="223" y="33"/>
                                <a:pt x="224" y="36"/>
                              </a:cubicBezTo>
                              <a:cubicBezTo>
                                <a:pt x="226" y="40"/>
                                <a:pt x="222" y="44"/>
                                <a:pt x="219" y="44"/>
                              </a:cubicBezTo>
                              <a:cubicBezTo>
                                <a:pt x="217" y="45"/>
                                <a:pt x="213" y="43"/>
                                <a:pt x="208" y="41"/>
                              </a:cubicBezTo>
                              <a:cubicBezTo>
                                <a:pt x="203" y="40"/>
                                <a:pt x="202" y="41"/>
                                <a:pt x="202" y="45"/>
                              </a:cubicBezTo>
                              <a:cubicBezTo>
                                <a:pt x="201" y="49"/>
                                <a:pt x="202" y="51"/>
                                <a:pt x="199" y="53"/>
                              </a:cubicBezTo>
                              <a:cubicBezTo>
                                <a:pt x="197" y="56"/>
                                <a:pt x="193" y="53"/>
                                <a:pt x="189" y="50"/>
                              </a:cubicBezTo>
                              <a:cubicBezTo>
                                <a:pt x="185" y="48"/>
                                <a:pt x="185" y="47"/>
                                <a:pt x="182" y="43"/>
                              </a:cubicBezTo>
                              <a:cubicBezTo>
                                <a:pt x="179" y="40"/>
                                <a:pt x="180" y="39"/>
                                <a:pt x="178" y="34"/>
                              </a:cubicBezTo>
                              <a:cubicBezTo>
                                <a:pt x="177" y="30"/>
                                <a:pt x="175" y="32"/>
                                <a:pt x="172" y="34"/>
                              </a:cubicBezTo>
                              <a:cubicBezTo>
                                <a:pt x="169" y="37"/>
                                <a:pt x="174" y="39"/>
                                <a:pt x="176" y="42"/>
                              </a:cubicBezTo>
                              <a:cubicBezTo>
                                <a:pt x="178" y="45"/>
                                <a:pt x="178" y="46"/>
                                <a:pt x="179" y="51"/>
                              </a:cubicBezTo>
                              <a:cubicBezTo>
                                <a:pt x="180" y="56"/>
                                <a:pt x="177" y="55"/>
                                <a:pt x="177" y="63"/>
                              </a:cubicBezTo>
                              <a:cubicBezTo>
                                <a:pt x="177" y="71"/>
                                <a:pt x="176" y="71"/>
                                <a:pt x="175" y="75"/>
                              </a:cubicBezTo>
                              <a:cubicBezTo>
                                <a:pt x="174" y="79"/>
                                <a:pt x="170" y="76"/>
                                <a:pt x="167" y="73"/>
                              </a:cubicBezTo>
                              <a:cubicBezTo>
                                <a:pt x="164" y="71"/>
                                <a:pt x="160" y="69"/>
                                <a:pt x="155" y="71"/>
                              </a:cubicBezTo>
                              <a:cubicBezTo>
                                <a:pt x="150" y="72"/>
                                <a:pt x="152" y="75"/>
                                <a:pt x="148" y="80"/>
                              </a:cubicBezTo>
                              <a:cubicBezTo>
                                <a:pt x="144" y="86"/>
                                <a:pt x="141" y="85"/>
                                <a:pt x="139" y="89"/>
                              </a:cubicBezTo>
                              <a:cubicBezTo>
                                <a:pt x="136" y="92"/>
                                <a:pt x="134" y="93"/>
                                <a:pt x="132" y="96"/>
                              </a:cubicBezTo>
                              <a:cubicBezTo>
                                <a:pt x="130" y="100"/>
                                <a:pt x="126" y="102"/>
                                <a:pt x="122" y="106"/>
                              </a:cubicBezTo>
                              <a:cubicBezTo>
                                <a:pt x="118" y="111"/>
                                <a:pt x="116" y="110"/>
                                <a:pt x="113" y="110"/>
                              </a:cubicBezTo>
                              <a:cubicBezTo>
                                <a:pt x="109" y="110"/>
                                <a:pt x="110" y="109"/>
                                <a:pt x="108" y="107"/>
                              </a:cubicBezTo>
                              <a:cubicBezTo>
                                <a:pt x="107" y="104"/>
                                <a:pt x="110" y="101"/>
                                <a:pt x="113" y="99"/>
                              </a:cubicBezTo>
                              <a:cubicBezTo>
                                <a:pt x="116" y="97"/>
                                <a:pt x="117" y="97"/>
                                <a:pt x="119" y="95"/>
                              </a:cubicBezTo>
                              <a:cubicBezTo>
                                <a:pt x="122" y="93"/>
                                <a:pt x="121" y="92"/>
                                <a:pt x="119" y="88"/>
                              </a:cubicBezTo>
                              <a:cubicBezTo>
                                <a:pt x="118" y="84"/>
                                <a:pt x="118" y="85"/>
                                <a:pt x="117" y="81"/>
                              </a:cubicBezTo>
                              <a:cubicBezTo>
                                <a:pt x="117" y="77"/>
                                <a:pt x="117" y="78"/>
                                <a:pt x="114" y="74"/>
                              </a:cubicBezTo>
                              <a:cubicBezTo>
                                <a:pt x="111" y="71"/>
                                <a:pt x="111" y="73"/>
                                <a:pt x="107" y="72"/>
                              </a:cubicBezTo>
                              <a:cubicBezTo>
                                <a:pt x="103" y="71"/>
                                <a:pt x="101" y="72"/>
                                <a:pt x="100" y="71"/>
                              </a:cubicBezTo>
                              <a:cubicBezTo>
                                <a:pt x="99" y="70"/>
                                <a:pt x="96" y="65"/>
                                <a:pt x="92" y="64"/>
                              </a:cubicBezTo>
                              <a:cubicBezTo>
                                <a:pt x="88" y="62"/>
                                <a:pt x="88" y="64"/>
                                <a:pt x="84" y="67"/>
                              </a:cubicBezTo>
                              <a:cubicBezTo>
                                <a:pt x="81" y="70"/>
                                <a:pt x="83" y="70"/>
                                <a:pt x="80" y="72"/>
                              </a:cubicBezTo>
                              <a:cubicBezTo>
                                <a:pt x="77" y="74"/>
                                <a:pt x="76" y="74"/>
                                <a:pt x="73" y="77"/>
                              </a:cubicBezTo>
                              <a:cubicBezTo>
                                <a:pt x="69" y="80"/>
                                <a:pt x="70" y="82"/>
                                <a:pt x="68" y="85"/>
                              </a:cubicBezTo>
                              <a:cubicBezTo>
                                <a:pt x="67" y="89"/>
                                <a:pt x="65" y="92"/>
                                <a:pt x="63" y="96"/>
                              </a:cubicBezTo>
                              <a:cubicBezTo>
                                <a:pt x="62" y="99"/>
                                <a:pt x="59" y="102"/>
                                <a:pt x="51" y="103"/>
                              </a:cubicBezTo>
                              <a:cubicBezTo>
                                <a:pt x="43" y="104"/>
                                <a:pt x="46" y="106"/>
                                <a:pt x="43" y="106"/>
                              </a:cubicBezTo>
                              <a:cubicBezTo>
                                <a:pt x="39" y="106"/>
                                <a:pt x="38" y="108"/>
                                <a:pt x="34" y="110"/>
                              </a:cubicBezTo>
                              <a:cubicBezTo>
                                <a:pt x="30" y="112"/>
                                <a:pt x="28" y="113"/>
                                <a:pt x="25" y="113"/>
                              </a:cubicBezTo>
                              <a:cubicBezTo>
                                <a:pt x="21" y="113"/>
                                <a:pt x="21" y="115"/>
                                <a:pt x="18" y="117"/>
                              </a:cubicBezTo>
                              <a:cubicBezTo>
                                <a:pt x="15" y="119"/>
                                <a:pt x="16" y="121"/>
                                <a:pt x="15" y="125"/>
                              </a:cubicBezTo>
                              <a:cubicBezTo>
                                <a:pt x="15" y="129"/>
                                <a:pt x="14" y="127"/>
                                <a:pt x="12" y="131"/>
                              </a:cubicBezTo>
                              <a:cubicBezTo>
                                <a:pt x="9" y="134"/>
                                <a:pt x="10" y="135"/>
                                <a:pt x="9" y="139"/>
                              </a:cubicBezTo>
                              <a:cubicBezTo>
                                <a:pt x="7" y="143"/>
                                <a:pt x="9" y="142"/>
                                <a:pt x="9" y="147"/>
                              </a:cubicBezTo>
                              <a:cubicBezTo>
                                <a:pt x="8" y="151"/>
                                <a:pt x="7" y="149"/>
                                <a:pt x="4" y="154"/>
                              </a:cubicBezTo>
                              <a:cubicBezTo>
                                <a:pt x="0" y="159"/>
                                <a:pt x="4" y="159"/>
                                <a:pt x="4" y="164"/>
                              </a:cubicBezTo>
                              <a:cubicBezTo>
                                <a:pt x="4" y="168"/>
                                <a:pt x="7" y="169"/>
                                <a:pt x="10" y="172"/>
                              </a:cubicBezTo>
                              <a:cubicBezTo>
                                <a:pt x="12" y="175"/>
                                <a:pt x="12" y="173"/>
                                <a:pt x="14" y="170"/>
                              </a:cubicBezTo>
                              <a:cubicBezTo>
                                <a:pt x="16" y="166"/>
                                <a:pt x="17" y="163"/>
                                <a:pt x="18" y="161"/>
                              </a:cubicBezTo>
                              <a:cubicBezTo>
                                <a:pt x="19" y="158"/>
                                <a:pt x="22" y="157"/>
                                <a:pt x="23" y="155"/>
                              </a:cubicBezTo>
                              <a:cubicBezTo>
                                <a:pt x="24" y="152"/>
                                <a:pt x="25" y="152"/>
                                <a:pt x="25" y="149"/>
                              </a:cubicBezTo>
                              <a:cubicBezTo>
                                <a:pt x="26" y="146"/>
                                <a:pt x="31" y="141"/>
                                <a:pt x="34" y="136"/>
                              </a:cubicBezTo>
                              <a:cubicBezTo>
                                <a:pt x="37" y="132"/>
                                <a:pt x="37" y="133"/>
                                <a:pt x="36" y="129"/>
                              </a:cubicBezTo>
                              <a:cubicBezTo>
                                <a:pt x="35" y="124"/>
                                <a:pt x="38" y="125"/>
                                <a:pt x="40" y="123"/>
                              </a:cubicBezTo>
                              <a:cubicBezTo>
                                <a:pt x="42" y="121"/>
                                <a:pt x="43" y="124"/>
                                <a:pt x="45" y="124"/>
                              </a:cubicBezTo>
                              <a:cubicBezTo>
                                <a:pt x="47" y="125"/>
                                <a:pt x="47" y="126"/>
                                <a:pt x="49" y="127"/>
                              </a:cubicBezTo>
                              <a:cubicBezTo>
                                <a:pt x="52" y="128"/>
                                <a:pt x="53" y="128"/>
                                <a:pt x="56" y="130"/>
                              </a:cubicBezTo>
                              <a:cubicBezTo>
                                <a:pt x="59" y="133"/>
                                <a:pt x="57" y="134"/>
                                <a:pt x="57" y="136"/>
                              </a:cubicBezTo>
                              <a:cubicBezTo>
                                <a:pt x="56" y="139"/>
                                <a:pt x="58" y="139"/>
                                <a:pt x="59" y="140"/>
                              </a:cubicBezTo>
                              <a:cubicBezTo>
                                <a:pt x="61" y="140"/>
                                <a:pt x="62" y="139"/>
                                <a:pt x="62" y="138"/>
                              </a:cubicBezTo>
                              <a:cubicBezTo>
                                <a:pt x="63" y="136"/>
                                <a:pt x="64" y="135"/>
                                <a:pt x="65" y="134"/>
                              </a:cubicBezTo>
                              <a:cubicBezTo>
                                <a:pt x="66" y="134"/>
                                <a:pt x="69" y="133"/>
                                <a:pt x="70" y="132"/>
                              </a:cubicBezTo>
                              <a:cubicBezTo>
                                <a:pt x="71" y="130"/>
                                <a:pt x="71" y="129"/>
                                <a:pt x="74" y="126"/>
                              </a:cubicBezTo>
                              <a:cubicBezTo>
                                <a:pt x="76" y="124"/>
                                <a:pt x="77" y="127"/>
                                <a:pt x="79" y="129"/>
                              </a:cubicBezTo>
                              <a:cubicBezTo>
                                <a:pt x="80" y="131"/>
                                <a:pt x="80" y="133"/>
                                <a:pt x="81" y="135"/>
                              </a:cubicBezTo>
                              <a:cubicBezTo>
                                <a:pt x="82" y="137"/>
                                <a:pt x="85" y="137"/>
                                <a:pt x="87" y="139"/>
                              </a:cubicBezTo>
                              <a:cubicBezTo>
                                <a:pt x="88" y="141"/>
                                <a:pt x="87" y="142"/>
                                <a:pt x="87" y="145"/>
                              </a:cubicBezTo>
                              <a:cubicBezTo>
                                <a:pt x="88" y="148"/>
                                <a:pt x="93" y="146"/>
                                <a:pt x="93" y="144"/>
                              </a:cubicBezTo>
                              <a:cubicBezTo>
                                <a:pt x="94" y="141"/>
                                <a:pt x="97" y="136"/>
                                <a:pt x="95" y="130"/>
                              </a:cubicBezTo>
                              <a:cubicBezTo>
                                <a:pt x="94" y="123"/>
                                <a:pt x="97" y="123"/>
                                <a:pt x="100" y="121"/>
                              </a:cubicBezTo>
                              <a:cubicBezTo>
                                <a:pt x="103" y="118"/>
                                <a:pt x="105" y="121"/>
                                <a:pt x="109" y="121"/>
                              </a:cubicBezTo>
                              <a:cubicBezTo>
                                <a:pt x="114" y="121"/>
                                <a:pt x="113" y="122"/>
                                <a:pt x="118" y="125"/>
                              </a:cubicBezTo>
                              <a:cubicBezTo>
                                <a:pt x="123" y="128"/>
                                <a:pt x="122" y="128"/>
                                <a:pt x="124" y="134"/>
                              </a:cubicBezTo>
                              <a:cubicBezTo>
                                <a:pt x="127" y="139"/>
                                <a:pt x="128" y="138"/>
                                <a:pt x="133" y="141"/>
                              </a:cubicBezTo>
                              <a:cubicBezTo>
                                <a:pt x="139" y="145"/>
                                <a:pt x="141" y="145"/>
                                <a:pt x="145" y="148"/>
                              </a:cubicBezTo>
                              <a:cubicBezTo>
                                <a:pt x="148" y="151"/>
                                <a:pt x="147" y="153"/>
                                <a:pt x="144" y="157"/>
                              </a:cubicBezTo>
                              <a:cubicBezTo>
                                <a:pt x="141" y="161"/>
                                <a:pt x="136" y="159"/>
                                <a:pt x="132" y="163"/>
                              </a:cubicBezTo>
                              <a:cubicBezTo>
                                <a:pt x="128" y="166"/>
                                <a:pt x="128" y="169"/>
                                <a:pt x="129" y="175"/>
                              </a:cubicBezTo>
                              <a:cubicBezTo>
                                <a:pt x="130" y="182"/>
                                <a:pt x="131" y="179"/>
                                <a:pt x="134" y="186"/>
                              </a:cubicBezTo>
                              <a:cubicBezTo>
                                <a:pt x="136" y="194"/>
                                <a:pt x="134" y="198"/>
                                <a:pt x="136" y="207"/>
                              </a:cubicBezTo>
                              <a:cubicBezTo>
                                <a:pt x="139" y="216"/>
                                <a:pt x="141" y="212"/>
                                <a:pt x="145" y="218"/>
                              </a:cubicBezTo>
                              <a:cubicBezTo>
                                <a:pt x="150" y="224"/>
                                <a:pt x="151" y="224"/>
                                <a:pt x="157" y="227"/>
                              </a:cubicBezTo>
                              <a:cubicBezTo>
                                <a:pt x="163" y="230"/>
                                <a:pt x="168" y="230"/>
                                <a:pt x="180" y="232"/>
                              </a:cubicBezTo>
                              <a:cubicBezTo>
                                <a:pt x="192" y="234"/>
                                <a:pt x="186" y="235"/>
                                <a:pt x="190" y="238"/>
                              </a:cubicBezTo>
                              <a:cubicBezTo>
                                <a:pt x="194" y="241"/>
                                <a:pt x="195" y="238"/>
                                <a:pt x="195" y="235"/>
                              </a:cubicBezTo>
                              <a:cubicBezTo>
                                <a:pt x="195" y="232"/>
                                <a:pt x="197" y="230"/>
                                <a:pt x="197" y="227"/>
                              </a:cubicBezTo>
                              <a:cubicBezTo>
                                <a:pt x="198" y="224"/>
                                <a:pt x="203" y="225"/>
                                <a:pt x="206" y="227"/>
                              </a:cubicBezTo>
                              <a:cubicBezTo>
                                <a:pt x="210" y="229"/>
                                <a:pt x="207" y="233"/>
                                <a:pt x="205" y="236"/>
                              </a:cubicBezTo>
                              <a:cubicBezTo>
                                <a:pt x="203" y="239"/>
                                <a:pt x="203" y="241"/>
                                <a:pt x="204" y="244"/>
                              </a:cubicBezTo>
                              <a:cubicBezTo>
                                <a:pt x="205" y="247"/>
                                <a:pt x="208" y="248"/>
                                <a:pt x="210" y="254"/>
                              </a:cubicBezTo>
                              <a:cubicBezTo>
                                <a:pt x="212" y="259"/>
                                <a:pt x="214" y="258"/>
                                <a:pt x="216" y="255"/>
                              </a:cubicBezTo>
                              <a:cubicBezTo>
                                <a:pt x="219" y="252"/>
                                <a:pt x="219" y="251"/>
                                <a:pt x="221" y="245"/>
                              </a:cubicBezTo>
                              <a:cubicBezTo>
                                <a:pt x="223" y="239"/>
                                <a:pt x="227" y="239"/>
                                <a:pt x="232" y="237"/>
                              </a:cubicBezTo>
                              <a:cubicBezTo>
                                <a:pt x="237" y="234"/>
                                <a:pt x="236" y="232"/>
                                <a:pt x="235" y="226"/>
                              </a:cubicBezTo>
                              <a:cubicBezTo>
                                <a:pt x="233" y="221"/>
                                <a:pt x="233" y="223"/>
                                <a:pt x="230" y="218"/>
                              </a:cubicBezTo>
                              <a:cubicBezTo>
                                <a:pt x="227" y="213"/>
                                <a:pt x="230" y="216"/>
                                <a:pt x="230" y="210"/>
                              </a:cubicBezTo>
                              <a:cubicBezTo>
                                <a:pt x="231" y="203"/>
                                <a:pt x="228" y="204"/>
                                <a:pt x="224" y="200"/>
                              </a:cubicBezTo>
                              <a:cubicBezTo>
                                <a:pt x="220" y="196"/>
                                <a:pt x="220" y="198"/>
                                <a:pt x="217" y="193"/>
                              </a:cubicBezTo>
                              <a:cubicBezTo>
                                <a:pt x="214" y="188"/>
                                <a:pt x="216" y="190"/>
                                <a:pt x="216" y="186"/>
                              </a:cubicBezTo>
                              <a:cubicBezTo>
                                <a:pt x="216" y="182"/>
                                <a:pt x="222" y="181"/>
                                <a:pt x="223" y="176"/>
                              </a:cubicBezTo>
                              <a:cubicBezTo>
                                <a:pt x="224" y="172"/>
                                <a:pt x="224" y="168"/>
                                <a:pt x="227" y="165"/>
                              </a:cubicBezTo>
                              <a:cubicBezTo>
                                <a:pt x="229" y="162"/>
                                <a:pt x="232" y="166"/>
                                <a:pt x="235" y="169"/>
                              </a:cubicBezTo>
                              <a:cubicBezTo>
                                <a:pt x="238" y="171"/>
                                <a:pt x="239" y="170"/>
                                <a:pt x="239" y="168"/>
                              </a:cubicBezTo>
                              <a:cubicBezTo>
                                <a:pt x="239" y="166"/>
                                <a:pt x="236" y="164"/>
                                <a:pt x="234" y="159"/>
                              </a:cubicBezTo>
                              <a:cubicBezTo>
                                <a:pt x="231" y="154"/>
                                <a:pt x="235" y="152"/>
                                <a:pt x="239" y="151"/>
                              </a:cubicBezTo>
                              <a:cubicBezTo>
                                <a:pt x="244" y="151"/>
                                <a:pt x="245" y="156"/>
                                <a:pt x="249" y="161"/>
                              </a:cubicBezTo>
                              <a:cubicBezTo>
                                <a:pt x="253" y="167"/>
                                <a:pt x="251" y="168"/>
                                <a:pt x="251" y="173"/>
                              </a:cubicBezTo>
                              <a:cubicBezTo>
                                <a:pt x="252" y="178"/>
                                <a:pt x="256" y="184"/>
                                <a:pt x="258" y="189"/>
                              </a:cubicBezTo>
                              <a:cubicBezTo>
                                <a:pt x="260" y="195"/>
                                <a:pt x="259" y="201"/>
                                <a:pt x="260" y="204"/>
                              </a:cubicBezTo>
                              <a:cubicBezTo>
                                <a:pt x="261" y="206"/>
                                <a:pt x="264" y="200"/>
                                <a:pt x="263" y="194"/>
                              </a:cubicBezTo>
                              <a:cubicBezTo>
                                <a:pt x="261" y="188"/>
                                <a:pt x="262" y="184"/>
                                <a:pt x="263" y="180"/>
                              </a:cubicBezTo>
                              <a:cubicBezTo>
                                <a:pt x="264" y="176"/>
                                <a:pt x="268" y="178"/>
                                <a:pt x="272" y="178"/>
                              </a:cubicBezTo>
                              <a:cubicBezTo>
                                <a:pt x="275" y="178"/>
                                <a:pt x="278" y="173"/>
                                <a:pt x="281" y="170"/>
                              </a:cubicBezTo>
                              <a:cubicBezTo>
                                <a:pt x="285" y="166"/>
                                <a:pt x="289" y="162"/>
                                <a:pt x="289" y="157"/>
                              </a:cubicBezTo>
                              <a:cubicBezTo>
                                <a:pt x="290" y="152"/>
                                <a:pt x="288" y="148"/>
                                <a:pt x="288" y="140"/>
                              </a:cubicBezTo>
                              <a:cubicBezTo>
                                <a:pt x="288" y="132"/>
                                <a:pt x="289" y="129"/>
                                <a:pt x="287" y="124"/>
                              </a:cubicBezTo>
                              <a:cubicBezTo>
                                <a:pt x="285" y="118"/>
                                <a:pt x="279" y="117"/>
                                <a:pt x="277" y="114"/>
                              </a:cubicBezTo>
                              <a:cubicBezTo>
                                <a:pt x="274" y="110"/>
                                <a:pt x="277" y="110"/>
                                <a:pt x="279" y="107"/>
                              </a:cubicBezTo>
                              <a:cubicBezTo>
                                <a:pt x="280" y="105"/>
                                <a:pt x="282" y="101"/>
                                <a:pt x="282" y="98"/>
                              </a:cubicBezTo>
                              <a:cubicBezTo>
                                <a:pt x="281" y="95"/>
                                <a:pt x="280" y="95"/>
                                <a:pt x="277" y="95"/>
                              </a:cubicBezTo>
                              <a:cubicBezTo>
                                <a:pt x="274" y="94"/>
                                <a:pt x="272" y="93"/>
                                <a:pt x="272" y="91"/>
                              </a:cubicBezTo>
                              <a:cubicBezTo>
                                <a:pt x="272" y="88"/>
                                <a:pt x="275" y="85"/>
                                <a:pt x="275" y="82"/>
                              </a:cubicBezTo>
                              <a:cubicBezTo>
                                <a:pt x="276" y="79"/>
                                <a:pt x="274" y="74"/>
                                <a:pt x="268" y="74"/>
                              </a:cubicBezTo>
                              <a:cubicBezTo>
                                <a:pt x="263" y="74"/>
                                <a:pt x="262" y="74"/>
                                <a:pt x="259" y="72"/>
                              </a:cubicBezTo>
                              <a:cubicBezTo>
                                <a:pt x="257" y="70"/>
                                <a:pt x="259" y="67"/>
                                <a:pt x="261" y="63"/>
                              </a:cubicBezTo>
                              <a:cubicBezTo>
                                <a:pt x="263" y="59"/>
                                <a:pt x="266" y="61"/>
                                <a:pt x="268" y="59"/>
                              </a:cubicBezTo>
                              <a:cubicBezTo>
                                <a:pt x="270" y="58"/>
                                <a:pt x="273" y="55"/>
                                <a:pt x="273" y="52"/>
                              </a:cubicBezTo>
                              <a:cubicBezTo>
                                <a:pt x="273" y="49"/>
                                <a:pt x="271" y="43"/>
                                <a:pt x="270" y="38"/>
                              </a:cubicBezTo>
                              <a:cubicBezTo>
                                <a:pt x="269" y="34"/>
                                <a:pt x="269" y="32"/>
                                <a:pt x="267" y="29"/>
                              </a:cubicBezTo>
                              <a:cubicBezTo>
                                <a:pt x="266" y="27"/>
                                <a:pt x="263" y="27"/>
                                <a:pt x="260" y="28"/>
                              </a:cubicBezTo>
                              <a:cubicBezTo>
                                <a:pt x="256" y="29"/>
                                <a:pt x="255" y="28"/>
                                <a:pt x="251" y="25"/>
                              </a:cubicBezTo>
                              <a:cubicBezTo>
                                <a:pt x="246" y="22"/>
                                <a:pt x="246" y="21"/>
                                <a:pt x="242" y="15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525" name="Freeform 172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580697" y="4796525"/>
                          <a:ext cx="42862" cy="20241"/>
                        </a:xfrm>
                        <a:custGeom>
                          <a:avLst/>
                          <a:gdLst>
                            <a:gd name="T0" fmla="*/ 34 w 147"/>
                            <a:gd name="T1" fmla="*/ 61 h 70"/>
                            <a:gd name="T2" fmla="*/ 66 w 147"/>
                            <a:gd name="T3" fmla="*/ 46 h 70"/>
                            <a:gd name="T4" fmla="*/ 100 w 147"/>
                            <a:gd name="T5" fmla="*/ 32 h 70"/>
                            <a:gd name="T6" fmla="*/ 141 w 147"/>
                            <a:gd name="T7" fmla="*/ 12 h 70"/>
                            <a:gd name="T8" fmla="*/ 107 w 147"/>
                            <a:gd name="T9" fmla="*/ 6 h 70"/>
                            <a:gd name="T10" fmla="*/ 61 w 147"/>
                            <a:gd name="T11" fmla="*/ 15 h 70"/>
                            <a:gd name="T12" fmla="*/ 7 w 147"/>
                            <a:gd name="T13" fmla="*/ 24 h 70"/>
                            <a:gd name="T14" fmla="*/ 0 w 147"/>
                            <a:gd name="T15" fmla="*/ 37 h 70"/>
                            <a:gd name="T16" fmla="*/ 6 w 147"/>
                            <a:gd name="T17" fmla="*/ 40 h 70"/>
                            <a:gd name="T18" fmla="*/ 17 w 147"/>
                            <a:gd name="T19" fmla="*/ 70 h 70"/>
                            <a:gd name="T20" fmla="*/ 34 w 147"/>
                            <a:gd name="T21" fmla="*/ 61 h 7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</a:cxnLst>
                          <a:rect l="0" t="0" r="r" b="b"/>
                          <a:pathLst>
                            <a:path w="147" h="70">
                              <a:moveTo>
                                <a:pt x="34" y="61"/>
                              </a:moveTo>
                              <a:cubicBezTo>
                                <a:pt x="46" y="57"/>
                                <a:pt x="48" y="54"/>
                                <a:pt x="66" y="46"/>
                              </a:cubicBezTo>
                              <a:cubicBezTo>
                                <a:pt x="84" y="38"/>
                                <a:pt x="74" y="37"/>
                                <a:pt x="100" y="32"/>
                              </a:cubicBezTo>
                              <a:cubicBezTo>
                                <a:pt x="127" y="26"/>
                                <a:pt x="147" y="18"/>
                                <a:pt x="141" y="12"/>
                              </a:cubicBezTo>
                              <a:cubicBezTo>
                                <a:pt x="135" y="7"/>
                                <a:pt x="126" y="0"/>
                                <a:pt x="107" y="6"/>
                              </a:cubicBezTo>
                              <a:cubicBezTo>
                                <a:pt x="88" y="12"/>
                                <a:pt x="77" y="16"/>
                                <a:pt x="61" y="15"/>
                              </a:cubicBezTo>
                              <a:cubicBezTo>
                                <a:pt x="46" y="15"/>
                                <a:pt x="17" y="15"/>
                                <a:pt x="7" y="24"/>
                              </a:cubicBezTo>
                              <a:cubicBezTo>
                                <a:pt x="2" y="32"/>
                                <a:pt x="6" y="33"/>
                                <a:pt x="0" y="37"/>
                              </a:cubicBezTo>
                              <a:cubicBezTo>
                                <a:pt x="1" y="38"/>
                                <a:pt x="3" y="39"/>
                                <a:pt x="6" y="40"/>
                              </a:cubicBezTo>
                              <a:cubicBezTo>
                                <a:pt x="12" y="44"/>
                                <a:pt x="15" y="57"/>
                                <a:pt x="17" y="70"/>
                              </a:cubicBezTo>
                              <a:cubicBezTo>
                                <a:pt x="22" y="67"/>
                                <a:pt x="27" y="64"/>
                                <a:pt x="34" y="61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526" name="Freeform 275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177075" y="4228597"/>
                          <a:ext cx="127397" cy="238125"/>
                        </a:xfrm>
                        <a:custGeom>
                          <a:avLst/>
                          <a:gdLst>
                            <a:gd name="T0" fmla="*/ 421 w 445"/>
                            <a:gd name="T1" fmla="*/ 746 h 828"/>
                            <a:gd name="T2" fmla="*/ 430 w 445"/>
                            <a:gd name="T3" fmla="*/ 702 h 828"/>
                            <a:gd name="T4" fmla="*/ 445 w 445"/>
                            <a:gd name="T5" fmla="*/ 656 h 828"/>
                            <a:gd name="T6" fmla="*/ 436 w 445"/>
                            <a:gd name="T7" fmla="*/ 593 h 828"/>
                            <a:gd name="T8" fmla="*/ 411 w 445"/>
                            <a:gd name="T9" fmla="*/ 508 h 828"/>
                            <a:gd name="T10" fmla="*/ 358 w 445"/>
                            <a:gd name="T11" fmla="*/ 448 h 828"/>
                            <a:gd name="T12" fmla="*/ 286 w 445"/>
                            <a:gd name="T13" fmla="*/ 388 h 828"/>
                            <a:gd name="T14" fmla="*/ 258 w 445"/>
                            <a:gd name="T15" fmla="*/ 343 h 828"/>
                            <a:gd name="T16" fmla="*/ 214 w 445"/>
                            <a:gd name="T17" fmla="*/ 292 h 828"/>
                            <a:gd name="T18" fmla="*/ 219 w 445"/>
                            <a:gd name="T19" fmla="*/ 249 h 828"/>
                            <a:gd name="T20" fmla="*/ 261 w 445"/>
                            <a:gd name="T21" fmla="*/ 191 h 828"/>
                            <a:gd name="T22" fmla="*/ 277 w 445"/>
                            <a:gd name="T23" fmla="*/ 161 h 828"/>
                            <a:gd name="T24" fmla="*/ 279 w 445"/>
                            <a:gd name="T25" fmla="*/ 144 h 828"/>
                            <a:gd name="T26" fmla="*/ 319 w 445"/>
                            <a:gd name="T27" fmla="*/ 129 h 828"/>
                            <a:gd name="T28" fmla="*/ 327 w 445"/>
                            <a:gd name="T29" fmla="*/ 108 h 828"/>
                            <a:gd name="T30" fmla="*/ 291 w 445"/>
                            <a:gd name="T31" fmla="*/ 89 h 828"/>
                            <a:gd name="T32" fmla="*/ 264 w 445"/>
                            <a:gd name="T33" fmla="*/ 51 h 828"/>
                            <a:gd name="T34" fmla="*/ 273 w 445"/>
                            <a:gd name="T35" fmla="*/ 27 h 828"/>
                            <a:gd name="T36" fmla="*/ 209 w 445"/>
                            <a:gd name="T37" fmla="*/ 16 h 828"/>
                            <a:gd name="T38" fmla="*/ 172 w 445"/>
                            <a:gd name="T39" fmla="*/ 10 h 828"/>
                            <a:gd name="T40" fmla="*/ 124 w 445"/>
                            <a:gd name="T41" fmla="*/ 36 h 828"/>
                            <a:gd name="T42" fmla="*/ 86 w 445"/>
                            <a:gd name="T43" fmla="*/ 40 h 828"/>
                            <a:gd name="T44" fmla="*/ 71 w 445"/>
                            <a:gd name="T45" fmla="*/ 39 h 828"/>
                            <a:gd name="T46" fmla="*/ 46 w 445"/>
                            <a:gd name="T47" fmla="*/ 53 h 828"/>
                            <a:gd name="T48" fmla="*/ 17 w 445"/>
                            <a:gd name="T49" fmla="*/ 39 h 828"/>
                            <a:gd name="T50" fmla="*/ 0 w 445"/>
                            <a:gd name="T51" fmla="*/ 54 h 828"/>
                            <a:gd name="T52" fmla="*/ 13 w 445"/>
                            <a:gd name="T53" fmla="*/ 69 h 828"/>
                            <a:gd name="T54" fmla="*/ 36 w 445"/>
                            <a:gd name="T55" fmla="*/ 99 h 828"/>
                            <a:gd name="T56" fmla="*/ 47 w 445"/>
                            <a:gd name="T57" fmla="*/ 129 h 828"/>
                            <a:gd name="T58" fmla="*/ 90 w 445"/>
                            <a:gd name="T59" fmla="*/ 161 h 828"/>
                            <a:gd name="T60" fmla="*/ 137 w 445"/>
                            <a:gd name="T61" fmla="*/ 156 h 828"/>
                            <a:gd name="T62" fmla="*/ 154 w 445"/>
                            <a:gd name="T63" fmla="*/ 185 h 828"/>
                            <a:gd name="T64" fmla="*/ 172 w 445"/>
                            <a:gd name="T65" fmla="*/ 205 h 828"/>
                            <a:gd name="T66" fmla="*/ 144 w 445"/>
                            <a:gd name="T67" fmla="*/ 240 h 828"/>
                            <a:gd name="T68" fmla="*/ 115 w 445"/>
                            <a:gd name="T69" fmla="*/ 249 h 828"/>
                            <a:gd name="T70" fmla="*/ 138 w 445"/>
                            <a:gd name="T71" fmla="*/ 272 h 828"/>
                            <a:gd name="T72" fmla="*/ 186 w 445"/>
                            <a:gd name="T73" fmla="*/ 313 h 828"/>
                            <a:gd name="T74" fmla="*/ 217 w 445"/>
                            <a:gd name="T75" fmla="*/ 345 h 828"/>
                            <a:gd name="T76" fmla="*/ 254 w 445"/>
                            <a:gd name="T77" fmla="*/ 383 h 828"/>
                            <a:gd name="T78" fmla="*/ 283 w 445"/>
                            <a:gd name="T79" fmla="*/ 430 h 828"/>
                            <a:gd name="T80" fmla="*/ 314 w 445"/>
                            <a:gd name="T81" fmla="*/ 447 h 828"/>
                            <a:gd name="T82" fmla="*/ 309 w 445"/>
                            <a:gd name="T83" fmla="*/ 480 h 828"/>
                            <a:gd name="T84" fmla="*/ 337 w 445"/>
                            <a:gd name="T85" fmla="*/ 514 h 828"/>
                            <a:gd name="T86" fmla="*/ 326 w 445"/>
                            <a:gd name="T87" fmla="*/ 549 h 828"/>
                            <a:gd name="T88" fmla="*/ 326 w 445"/>
                            <a:gd name="T89" fmla="*/ 585 h 828"/>
                            <a:gd name="T90" fmla="*/ 320 w 445"/>
                            <a:gd name="T91" fmla="*/ 685 h 828"/>
                            <a:gd name="T92" fmla="*/ 263 w 445"/>
                            <a:gd name="T93" fmla="*/ 734 h 828"/>
                            <a:gd name="T94" fmla="*/ 230 w 445"/>
                            <a:gd name="T95" fmla="*/ 750 h 828"/>
                            <a:gd name="T96" fmla="*/ 211 w 445"/>
                            <a:gd name="T97" fmla="*/ 787 h 828"/>
                            <a:gd name="T98" fmla="*/ 221 w 445"/>
                            <a:gd name="T99" fmla="*/ 817 h 828"/>
                            <a:gd name="T100" fmla="*/ 274 w 445"/>
                            <a:gd name="T101" fmla="*/ 821 h 828"/>
                            <a:gd name="T102" fmla="*/ 303 w 445"/>
                            <a:gd name="T103" fmla="*/ 821 h 828"/>
                            <a:gd name="T104" fmla="*/ 386 w 445"/>
                            <a:gd name="T105" fmla="*/ 775 h 82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</a:cxnLst>
                          <a:rect l="0" t="0" r="r" b="b"/>
                          <a:pathLst>
                            <a:path w="445" h="828">
                              <a:moveTo>
                                <a:pt x="386" y="775"/>
                              </a:moveTo>
                              <a:cubicBezTo>
                                <a:pt x="390" y="771"/>
                                <a:pt x="400" y="764"/>
                                <a:pt x="404" y="763"/>
                              </a:cubicBezTo>
                              <a:cubicBezTo>
                                <a:pt x="407" y="762"/>
                                <a:pt x="414" y="758"/>
                                <a:pt x="416" y="756"/>
                              </a:cubicBezTo>
                              <a:cubicBezTo>
                                <a:pt x="418" y="754"/>
                                <a:pt x="419" y="749"/>
                                <a:pt x="421" y="746"/>
                              </a:cubicBezTo>
                              <a:cubicBezTo>
                                <a:pt x="423" y="743"/>
                                <a:pt x="428" y="739"/>
                                <a:pt x="429" y="735"/>
                              </a:cubicBezTo>
                              <a:cubicBezTo>
                                <a:pt x="430" y="731"/>
                                <a:pt x="427" y="730"/>
                                <a:pt x="425" y="727"/>
                              </a:cubicBezTo>
                              <a:cubicBezTo>
                                <a:pt x="423" y="724"/>
                                <a:pt x="426" y="718"/>
                                <a:pt x="427" y="715"/>
                              </a:cubicBezTo>
                              <a:cubicBezTo>
                                <a:pt x="428" y="711"/>
                                <a:pt x="432" y="707"/>
                                <a:pt x="430" y="702"/>
                              </a:cubicBezTo>
                              <a:cubicBezTo>
                                <a:pt x="428" y="697"/>
                                <a:pt x="430" y="692"/>
                                <a:pt x="432" y="689"/>
                              </a:cubicBezTo>
                              <a:cubicBezTo>
                                <a:pt x="433" y="685"/>
                                <a:pt x="435" y="684"/>
                                <a:pt x="434" y="680"/>
                              </a:cubicBezTo>
                              <a:cubicBezTo>
                                <a:pt x="433" y="677"/>
                                <a:pt x="436" y="672"/>
                                <a:pt x="438" y="668"/>
                              </a:cubicBezTo>
                              <a:cubicBezTo>
                                <a:pt x="440" y="664"/>
                                <a:pt x="445" y="661"/>
                                <a:pt x="445" y="656"/>
                              </a:cubicBezTo>
                              <a:cubicBezTo>
                                <a:pt x="445" y="650"/>
                                <a:pt x="444" y="644"/>
                                <a:pt x="443" y="640"/>
                              </a:cubicBezTo>
                              <a:cubicBezTo>
                                <a:pt x="441" y="635"/>
                                <a:pt x="436" y="627"/>
                                <a:pt x="435" y="621"/>
                              </a:cubicBezTo>
                              <a:cubicBezTo>
                                <a:pt x="433" y="615"/>
                                <a:pt x="436" y="612"/>
                                <a:pt x="437" y="605"/>
                              </a:cubicBezTo>
                              <a:cubicBezTo>
                                <a:pt x="438" y="599"/>
                                <a:pt x="437" y="597"/>
                                <a:pt x="436" y="593"/>
                              </a:cubicBezTo>
                              <a:cubicBezTo>
                                <a:pt x="434" y="588"/>
                                <a:pt x="431" y="579"/>
                                <a:pt x="429" y="572"/>
                              </a:cubicBezTo>
                              <a:cubicBezTo>
                                <a:pt x="426" y="565"/>
                                <a:pt x="424" y="559"/>
                                <a:pt x="421" y="553"/>
                              </a:cubicBezTo>
                              <a:cubicBezTo>
                                <a:pt x="419" y="547"/>
                                <a:pt x="416" y="533"/>
                                <a:pt x="416" y="528"/>
                              </a:cubicBezTo>
                              <a:cubicBezTo>
                                <a:pt x="415" y="523"/>
                                <a:pt x="413" y="513"/>
                                <a:pt x="411" y="508"/>
                              </a:cubicBezTo>
                              <a:cubicBezTo>
                                <a:pt x="408" y="502"/>
                                <a:pt x="404" y="499"/>
                                <a:pt x="400" y="494"/>
                              </a:cubicBezTo>
                              <a:cubicBezTo>
                                <a:pt x="395" y="490"/>
                                <a:pt x="387" y="484"/>
                                <a:pt x="381" y="478"/>
                              </a:cubicBezTo>
                              <a:cubicBezTo>
                                <a:pt x="375" y="472"/>
                                <a:pt x="372" y="467"/>
                                <a:pt x="370" y="461"/>
                              </a:cubicBezTo>
                              <a:cubicBezTo>
                                <a:pt x="367" y="456"/>
                                <a:pt x="366" y="452"/>
                                <a:pt x="358" y="448"/>
                              </a:cubicBezTo>
                              <a:cubicBezTo>
                                <a:pt x="350" y="443"/>
                                <a:pt x="342" y="440"/>
                                <a:pt x="335" y="435"/>
                              </a:cubicBezTo>
                              <a:cubicBezTo>
                                <a:pt x="327" y="429"/>
                                <a:pt x="318" y="422"/>
                                <a:pt x="311" y="417"/>
                              </a:cubicBezTo>
                              <a:cubicBezTo>
                                <a:pt x="305" y="413"/>
                                <a:pt x="302" y="407"/>
                                <a:pt x="297" y="401"/>
                              </a:cubicBezTo>
                              <a:cubicBezTo>
                                <a:pt x="292" y="396"/>
                                <a:pt x="292" y="394"/>
                                <a:pt x="286" y="388"/>
                              </a:cubicBezTo>
                              <a:cubicBezTo>
                                <a:pt x="280" y="382"/>
                                <a:pt x="277" y="379"/>
                                <a:pt x="269" y="374"/>
                              </a:cubicBezTo>
                              <a:cubicBezTo>
                                <a:pt x="261" y="368"/>
                                <a:pt x="256" y="367"/>
                                <a:pt x="251" y="362"/>
                              </a:cubicBezTo>
                              <a:cubicBezTo>
                                <a:pt x="246" y="357"/>
                                <a:pt x="249" y="356"/>
                                <a:pt x="252" y="352"/>
                              </a:cubicBezTo>
                              <a:cubicBezTo>
                                <a:pt x="254" y="349"/>
                                <a:pt x="258" y="349"/>
                                <a:pt x="258" y="343"/>
                              </a:cubicBezTo>
                              <a:cubicBezTo>
                                <a:pt x="259" y="337"/>
                                <a:pt x="257" y="337"/>
                                <a:pt x="255" y="332"/>
                              </a:cubicBezTo>
                              <a:cubicBezTo>
                                <a:pt x="252" y="326"/>
                                <a:pt x="245" y="322"/>
                                <a:pt x="239" y="318"/>
                              </a:cubicBezTo>
                              <a:cubicBezTo>
                                <a:pt x="233" y="315"/>
                                <a:pt x="227" y="308"/>
                                <a:pt x="224" y="304"/>
                              </a:cubicBezTo>
                              <a:cubicBezTo>
                                <a:pt x="221" y="301"/>
                                <a:pt x="217" y="295"/>
                                <a:pt x="214" y="292"/>
                              </a:cubicBezTo>
                              <a:cubicBezTo>
                                <a:pt x="211" y="290"/>
                                <a:pt x="210" y="283"/>
                                <a:pt x="209" y="280"/>
                              </a:cubicBezTo>
                              <a:cubicBezTo>
                                <a:pt x="208" y="277"/>
                                <a:pt x="210" y="272"/>
                                <a:pt x="212" y="269"/>
                              </a:cubicBezTo>
                              <a:cubicBezTo>
                                <a:pt x="214" y="266"/>
                                <a:pt x="216" y="262"/>
                                <a:pt x="218" y="258"/>
                              </a:cubicBezTo>
                              <a:cubicBezTo>
                                <a:pt x="219" y="254"/>
                                <a:pt x="219" y="251"/>
                                <a:pt x="219" y="249"/>
                              </a:cubicBezTo>
                              <a:cubicBezTo>
                                <a:pt x="218" y="246"/>
                                <a:pt x="217" y="240"/>
                                <a:pt x="217" y="236"/>
                              </a:cubicBezTo>
                              <a:cubicBezTo>
                                <a:pt x="217" y="231"/>
                                <a:pt x="221" y="224"/>
                                <a:pt x="225" y="218"/>
                              </a:cubicBezTo>
                              <a:cubicBezTo>
                                <a:pt x="229" y="213"/>
                                <a:pt x="235" y="209"/>
                                <a:pt x="242" y="204"/>
                              </a:cubicBezTo>
                              <a:cubicBezTo>
                                <a:pt x="250" y="199"/>
                                <a:pt x="257" y="194"/>
                                <a:pt x="261" y="191"/>
                              </a:cubicBezTo>
                              <a:cubicBezTo>
                                <a:pt x="265" y="187"/>
                                <a:pt x="268" y="179"/>
                                <a:pt x="268" y="178"/>
                              </a:cubicBezTo>
                              <a:cubicBezTo>
                                <a:pt x="268" y="177"/>
                                <a:pt x="268" y="174"/>
                                <a:pt x="268" y="171"/>
                              </a:cubicBezTo>
                              <a:cubicBezTo>
                                <a:pt x="268" y="168"/>
                                <a:pt x="270" y="166"/>
                                <a:pt x="272" y="164"/>
                              </a:cubicBezTo>
                              <a:cubicBezTo>
                                <a:pt x="275" y="163"/>
                                <a:pt x="276" y="162"/>
                                <a:pt x="277" y="161"/>
                              </a:cubicBezTo>
                              <a:cubicBezTo>
                                <a:pt x="278" y="159"/>
                                <a:pt x="277" y="157"/>
                                <a:pt x="276" y="154"/>
                              </a:cubicBezTo>
                              <a:cubicBezTo>
                                <a:pt x="275" y="151"/>
                                <a:pt x="274" y="151"/>
                                <a:pt x="273" y="150"/>
                              </a:cubicBezTo>
                              <a:cubicBezTo>
                                <a:pt x="272" y="149"/>
                                <a:pt x="270" y="145"/>
                                <a:pt x="272" y="144"/>
                              </a:cubicBezTo>
                              <a:cubicBezTo>
                                <a:pt x="273" y="142"/>
                                <a:pt x="277" y="143"/>
                                <a:pt x="279" y="144"/>
                              </a:cubicBezTo>
                              <a:cubicBezTo>
                                <a:pt x="281" y="146"/>
                                <a:pt x="287" y="150"/>
                                <a:pt x="290" y="150"/>
                              </a:cubicBezTo>
                              <a:cubicBezTo>
                                <a:pt x="293" y="151"/>
                                <a:pt x="295" y="149"/>
                                <a:pt x="300" y="149"/>
                              </a:cubicBezTo>
                              <a:cubicBezTo>
                                <a:pt x="306" y="148"/>
                                <a:pt x="312" y="145"/>
                                <a:pt x="312" y="143"/>
                              </a:cubicBezTo>
                              <a:cubicBezTo>
                                <a:pt x="313" y="141"/>
                                <a:pt x="316" y="133"/>
                                <a:pt x="319" y="129"/>
                              </a:cubicBezTo>
                              <a:cubicBezTo>
                                <a:pt x="322" y="126"/>
                                <a:pt x="330" y="125"/>
                                <a:pt x="332" y="120"/>
                              </a:cubicBezTo>
                              <a:cubicBezTo>
                                <a:pt x="335" y="116"/>
                                <a:pt x="340" y="114"/>
                                <a:pt x="344" y="112"/>
                              </a:cubicBezTo>
                              <a:cubicBezTo>
                                <a:pt x="342" y="111"/>
                                <a:pt x="341" y="111"/>
                                <a:pt x="340" y="110"/>
                              </a:cubicBezTo>
                              <a:cubicBezTo>
                                <a:pt x="333" y="109"/>
                                <a:pt x="329" y="108"/>
                                <a:pt x="327" y="108"/>
                              </a:cubicBezTo>
                              <a:cubicBezTo>
                                <a:pt x="323" y="108"/>
                                <a:pt x="319" y="108"/>
                                <a:pt x="312" y="105"/>
                              </a:cubicBezTo>
                              <a:cubicBezTo>
                                <a:pt x="302" y="101"/>
                                <a:pt x="301" y="97"/>
                                <a:pt x="299" y="93"/>
                              </a:cubicBezTo>
                              <a:cubicBezTo>
                                <a:pt x="299" y="92"/>
                                <a:pt x="298" y="91"/>
                                <a:pt x="297" y="91"/>
                              </a:cubicBezTo>
                              <a:cubicBezTo>
                                <a:pt x="296" y="90"/>
                                <a:pt x="294" y="89"/>
                                <a:pt x="291" y="89"/>
                              </a:cubicBezTo>
                              <a:cubicBezTo>
                                <a:pt x="288" y="88"/>
                                <a:pt x="283" y="88"/>
                                <a:pt x="278" y="85"/>
                              </a:cubicBezTo>
                              <a:cubicBezTo>
                                <a:pt x="269" y="82"/>
                                <a:pt x="270" y="79"/>
                                <a:pt x="270" y="74"/>
                              </a:cubicBezTo>
                              <a:cubicBezTo>
                                <a:pt x="270" y="72"/>
                                <a:pt x="271" y="70"/>
                                <a:pt x="269" y="65"/>
                              </a:cubicBezTo>
                              <a:cubicBezTo>
                                <a:pt x="266" y="59"/>
                                <a:pt x="265" y="55"/>
                                <a:pt x="264" y="51"/>
                              </a:cubicBezTo>
                              <a:cubicBezTo>
                                <a:pt x="264" y="51"/>
                                <a:pt x="264" y="51"/>
                                <a:pt x="264" y="51"/>
                              </a:cubicBezTo>
                              <a:cubicBezTo>
                                <a:pt x="264" y="47"/>
                                <a:pt x="265" y="44"/>
                                <a:pt x="267" y="40"/>
                              </a:cubicBezTo>
                              <a:cubicBezTo>
                                <a:pt x="269" y="37"/>
                                <a:pt x="271" y="34"/>
                                <a:pt x="272" y="31"/>
                              </a:cubicBezTo>
                              <a:cubicBezTo>
                                <a:pt x="273" y="29"/>
                                <a:pt x="273" y="28"/>
                                <a:pt x="273" y="27"/>
                              </a:cubicBezTo>
                              <a:cubicBezTo>
                                <a:pt x="271" y="25"/>
                                <a:pt x="267" y="25"/>
                                <a:pt x="258" y="25"/>
                              </a:cubicBezTo>
                              <a:cubicBezTo>
                                <a:pt x="255" y="25"/>
                                <a:pt x="252" y="25"/>
                                <a:pt x="251" y="25"/>
                              </a:cubicBezTo>
                              <a:cubicBezTo>
                                <a:pt x="248" y="25"/>
                                <a:pt x="247" y="25"/>
                                <a:pt x="245" y="25"/>
                              </a:cubicBezTo>
                              <a:cubicBezTo>
                                <a:pt x="232" y="26"/>
                                <a:pt x="223" y="26"/>
                                <a:pt x="209" y="16"/>
                              </a:cubicBezTo>
                              <a:cubicBezTo>
                                <a:pt x="203" y="12"/>
                                <a:pt x="199" y="8"/>
                                <a:pt x="197" y="5"/>
                              </a:cubicBezTo>
                              <a:cubicBezTo>
                                <a:pt x="193" y="2"/>
                                <a:pt x="191" y="0"/>
                                <a:pt x="188" y="0"/>
                              </a:cubicBezTo>
                              <a:cubicBezTo>
                                <a:pt x="183" y="0"/>
                                <a:pt x="181" y="3"/>
                                <a:pt x="177" y="6"/>
                              </a:cubicBezTo>
                              <a:cubicBezTo>
                                <a:pt x="175" y="7"/>
                                <a:pt x="174" y="8"/>
                                <a:pt x="172" y="10"/>
                              </a:cubicBezTo>
                              <a:cubicBezTo>
                                <a:pt x="170" y="11"/>
                                <a:pt x="167" y="14"/>
                                <a:pt x="164" y="17"/>
                              </a:cubicBezTo>
                              <a:cubicBezTo>
                                <a:pt x="156" y="25"/>
                                <a:pt x="145" y="35"/>
                                <a:pt x="139" y="36"/>
                              </a:cubicBezTo>
                              <a:cubicBezTo>
                                <a:pt x="136" y="36"/>
                                <a:pt x="134" y="36"/>
                                <a:pt x="132" y="35"/>
                              </a:cubicBezTo>
                              <a:cubicBezTo>
                                <a:pt x="130" y="35"/>
                                <a:pt x="128" y="35"/>
                                <a:pt x="124" y="36"/>
                              </a:cubicBezTo>
                              <a:cubicBezTo>
                                <a:pt x="121" y="37"/>
                                <a:pt x="119" y="40"/>
                                <a:pt x="116" y="42"/>
                              </a:cubicBezTo>
                              <a:cubicBezTo>
                                <a:pt x="111" y="47"/>
                                <a:pt x="107" y="52"/>
                                <a:pt x="101" y="46"/>
                              </a:cubicBezTo>
                              <a:cubicBezTo>
                                <a:pt x="96" y="42"/>
                                <a:pt x="92" y="41"/>
                                <a:pt x="89" y="41"/>
                              </a:cubicBezTo>
                              <a:cubicBezTo>
                                <a:pt x="88" y="41"/>
                                <a:pt x="87" y="41"/>
                                <a:pt x="86" y="40"/>
                              </a:cubicBezTo>
                              <a:cubicBezTo>
                                <a:pt x="85" y="40"/>
                                <a:pt x="85" y="41"/>
                                <a:pt x="85" y="41"/>
                              </a:cubicBezTo>
                              <a:cubicBezTo>
                                <a:pt x="83" y="42"/>
                                <a:pt x="82" y="43"/>
                                <a:pt x="78" y="43"/>
                              </a:cubicBezTo>
                              <a:cubicBezTo>
                                <a:pt x="78" y="43"/>
                                <a:pt x="78" y="43"/>
                                <a:pt x="78" y="43"/>
                              </a:cubicBezTo>
                              <a:cubicBezTo>
                                <a:pt x="75" y="43"/>
                                <a:pt x="73" y="41"/>
                                <a:pt x="71" y="39"/>
                              </a:cubicBezTo>
                              <a:cubicBezTo>
                                <a:pt x="70" y="38"/>
                                <a:pt x="69" y="37"/>
                                <a:pt x="68" y="37"/>
                              </a:cubicBezTo>
                              <a:cubicBezTo>
                                <a:pt x="68" y="37"/>
                                <a:pt x="68" y="37"/>
                                <a:pt x="68" y="37"/>
                              </a:cubicBezTo>
                              <a:cubicBezTo>
                                <a:pt x="68" y="37"/>
                                <a:pt x="65" y="40"/>
                                <a:pt x="63" y="43"/>
                              </a:cubicBezTo>
                              <a:cubicBezTo>
                                <a:pt x="58" y="48"/>
                                <a:pt x="53" y="54"/>
                                <a:pt x="46" y="53"/>
                              </a:cubicBezTo>
                              <a:cubicBezTo>
                                <a:pt x="40" y="53"/>
                                <a:pt x="35" y="49"/>
                                <a:pt x="29" y="45"/>
                              </a:cubicBezTo>
                              <a:cubicBezTo>
                                <a:pt x="29" y="45"/>
                                <a:pt x="29" y="45"/>
                                <a:pt x="29" y="45"/>
                              </a:cubicBezTo>
                              <a:cubicBezTo>
                                <a:pt x="27" y="44"/>
                                <a:pt x="25" y="42"/>
                                <a:pt x="23" y="41"/>
                              </a:cubicBezTo>
                              <a:cubicBezTo>
                                <a:pt x="20" y="40"/>
                                <a:pt x="18" y="39"/>
                                <a:pt x="17" y="39"/>
                              </a:cubicBezTo>
                              <a:cubicBezTo>
                                <a:pt x="17" y="39"/>
                                <a:pt x="17" y="39"/>
                                <a:pt x="17" y="39"/>
                              </a:cubicBezTo>
                              <a:cubicBezTo>
                                <a:pt x="15" y="39"/>
                                <a:pt x="14" y="39"/>
                                <a:pt x="12" y="41"/>
                              </a:cubicBezTo>
                              <a:cubicBezTo>
                                <a:pt x="11" y="42"/>
                                <a:pt x="9" y="44"/>
                                <a:pt x="8" y="46"/>
                              </a:cubicBezTo>
                              <a:cubicBezTo>
                                <a:pt x="5" y="49"/>
                                <a:pt x="3" y="52"/>
                                <a:pt x="0" y="54"/>
                              </a:cubicBezTo>
                              <a:cubicBezTo>
                                <a:pt x="4" y="58"/>
                                <a:pt x="10" y="66"/>
                                <a:pt x="13" y="69"/>
                              </a:cubicBezTo>
                              <a:cubicBezTo>
                                <a:pt x="13" y="69"/>
                                <a:pt x="13" y="69"/>
                                <a:pt x="13" y="69"/>
                              </a:cubicBezTo>
                              <a:cubicBezTo>
                                <a:pt x="13" y="69"/>
                                <a:pt x="13" y="69"/>
                                <a:pt x="13" y="69"/>
                              </a:cubicBezTo>
                              <a:cubicBezTo>
                                <a:pt x="13" y="69"/>
                                <a:pt x="13" y="69"/>
                                <a:pt x="13" y="69"/>
                              </a:cubicBezTo>
                              <a:cubicBezTo>
                                <a:pt x="16" y="73"/>
                                <a:pt x="19" y="76"/>
                                <a:pt x="22" y="80"/>
                              </a:cubicBezTo>
                              <a:cubicBezTo>
                                <a:pt x="23" y="82"/>
                                <a:pt x="24" y="84"/>
                                <a:pt x="24" y="86"/>
                              </a:cubicBezTo>
                              <a:cubicBezTo>
                                <a:pt x="25" y="88"/>
                                <a:pt x="25" y="90"/>
                                <a:pt x="29" y="95"/>
                              </a:cubicBezTo>
                              <a:cubicBezTo>
                                <a:pt x="32" y="100"/>
                                <a:pt x="34" y="99"/>
                                <a:pt x="36" y="99"/>
                              </a:cubicBezTo>
                              <a:cubicBezTo>
                                <a:pt x="38" y="98"/>
                                <a:pt x="39" y="98"/>
                                <a:pt x="41" y="99"/>
                              </a:cubicBezTo>
                              <a:cubicBezTo>
                                <a:pt x="44" y="100"/>
                                <a:pt x="46" y="102"/>
                                <a:pt x="47" y="106"/>
                              </a:cubicBezTo>
                              <a:cubicBezTo>
                                <a:pt x="48" y="109"/>
                                <a:pt x="48" y="113"/>
                                <a:pt x="47" y="118"/>
                              </a:cubicBezTo>
                              <a:cubicBezTo>
                                <a:pt x="46" y="123"/>
                                <a:pt x="46" y="126"/>
                                <a:pt x="47" y="129"/>
                              </a:cubicBezTo>
                              <a:cubicBezTo>
                                <a:pt x="47" y="131"/>
                                <a:pt x="48" y="134"/>
                                <a:pt x="51" y="136"/>
                              </a:cubicBezTo>
                              <a:cubicBezTo>
                                <a:pt x="53" y="140"/>
                                <a:pt x="58" y="144"/>
                                <a:pt x="62" y="148"/>
                              </a:cubicBezTo>
                              <a:cubicBezTo>
                                <a:pt x="66" y="152"/>
                                <a:pt x="70" y="155"/>
                                <a:pt x="73" y="157"/>
                              </a:cubicBezTo>
                              <a:cubicBezTo>
                                <a:pt x="76" y="159"/>
                                <a:pt x="83" y="160"/>
                                <a:pt x="90" y="161"/>
                              </a:cubicBezTo>
                              <a:cubicBezTo>
                                <a:pt x="95" y="161"/>
                                <a:pt x="99" y="161"/>
                                <a:pt x="101" y="160"/>
                              </a:cubicBezTo>
                              <a:cubicBezTo>
                                <a:pt x="103" y="158"/>
                                <a:pt x="104" y="157"/>
                                <a:pt x="106" y="156"/>
                              </a:cubicBezTo>
                              <a:cubicBezTo>
                                <a:pt x="110" y="151"/>
                                <a:pt x="114" y="147"/>
                                <a:pt x="121" y="148"/>
                              </a:cubicBezTo>
                              <a:cubicBezTo>
                                <a:pt x="126" y="149"/>
                                <a:pt x="132" y="152"/>
                                <a:pt x="137" y="156"/>
                              </a:cubicBezTo>
                              <a:cubicBezTo>
                                <a:pt x="142" y="160"/>
                                <a:pt x="146" y="165"/>
                                <a:pt x="147" y="169"/>
                              </a:cubicBezTo>
                              <a:cubicBezTo>
                                <a:pt x="149" y="173"/>
                                <a:pt x="148" y="175"/>
                                <a:pt x="148" y="177"/>
                              </a:cubicBezTo>
                              <a:cubicBezTo>
                                <a:pt x="148" y="178"/>
                                <a:pt x="148" y="180"/>
                                <a:pt x="149" y="182"/>
                              </a:cubicBezTo>
                              <a:cubicBezTo>
                                <a:pt x="150" y="184"/>
                                <a:pt x="152" y="185"/>
                                <a:pt x="154" y="185"/>
                              </a:cubicBezTo>
                              <a:cubicBezTo>
                                <a:pt x="154" y="185"/>
                                <a:pt x="154" y="185"/>
                                <a:pt x="154" y="185"/>
                              </a:cubicBezTo>
                              <a:cubicBezTo>
                                <a:pt x="156" y="186"/>
                                <a:pt x="159" y="187"/>
                                <a:pt x="162" y="190"/>
                              </a:cubicBezTo>
                              <a:cubicBezTo>
                                <a:pt x="163" y="190"/>
                                <a:pt x="164" y="191"/>
                                <a:pt x="165" y="192"/>
                              </a:cubicBezTo>
                              <a:cubicBezTo>
                                <a:pt x="167" y="195"/>
                                <a:pt x="170" y="200"/>
                                <a:pt x="172" y="205"/>
                              </a:cubicBezTo>
                              <a:cubicBezTo>
                                <a:pt x="174" y="210"/>
                                <a:pt x="174" y="215"/>
                                <a:pt x="170" y="219"/>
                              </a:cubicBezTo>
                              <a:cubicBezTo>
                                <a:pt x="170" y="219"/>
                                <a:pt x="170" y="220"/>
                                <a:pt x="169" y="220"/>
                              </a:cubicBezTo>
                              <a:cubicBezTo>
                                <a:pt x="168" y="221"/>
                                <a:pt x="166" y="223"/>
                                <a:pt x="163" y="226"/>
                              </a:cubicBezTo>
                              <a:cubicBezTo>
                                <a:pt x="158" y="231"/>
                                <a:pt x="151" y="238"/>
                                <a:pt x="144" y="240"/>
                              </a:cubicBezTo>
                              <a:cubicBezTo>
                                <a:pt x="138" y="241"/>
                                <a:pt x="132" y="240"/>
                                <a:pt x="127" y="239"/>
                              </a:cubicBezTo>
                              <a:cubicBezTo>
                                <a:pt x="123" y="239"/>
                                <a:pt x="119" y="239"/>
                                <a:pt x="118" y="239"/>
                              </a:cubicBezTo>
                              <a:cubicBezTo>
                                <a:pt x="117" y="240"/>
                                <a:pt x="117" y="241"/>
                                <a:pt x="117" y="243"/>
                              </a:cubicBezTo>
                              <a:cubicBezTo>
                                <a:pt x="117" y="245"/>
                                <a:pt x="116" y="247"/>
                                <a:pt x="115" y="249"/>
                              </a:cubicBezTo>
                              <a:cubicBezTo>
                                <a:pt x="115" y="250"/>
                                <a:pt x="115" y="251"/>
                                <a:pt x="114" y="252"/>
                              </a:cubicBezTo>
                              <a:cubicBezTo>
                                <a:pt x="113" y="255"/>
                                <a:pt x="113" y="256"/>
                                <a:pt x="116" y="260"/>
                              </a:cubicBezTo>
                              <a:cubicBezTo>
                                <a:pt x="119" y="265"/>
                                <a:pt x="127" y="268"/>
                                <a:pt x="134" y="270"/>
                              </a:cubicBezTo>
                              <a:cubicBezTo>
                                <a:pt x="135" y="271"/>
                                <a:pt x="137" y="272"/>
                                <a:pt x="138" y="272"/>
                              </a:cubicBezTo>
                              <a:cubicBezTo>
                                <a:pt x="143" y="274"/>
                                <a:pt x="153" y="279"/>
                                <a:pt x="161" y="283"/>
                              </a:cubicBezTo>
                              <a:cubicBezTo>
                                <a:pt x="167" y="286"/>
                                <a:pt x="173" y="289"/>
                                <a:pt x="175" y="291"/>
                              </a:cubicBezTo>
                              <a:cubicBezTo>
                                <a:pt x="178" y="293"/>
                                <a:pt x="180" y="296"/>
                                <a:pt x="182" y="299"/>
                              </a:cubicBezTo>
                              <a:cubicBezTo>
                                <a:pt x="184" y="303"/>
                                <a:pt x="186" y="307"/>
                                <a:pt x="186" y="313"/>
                              </a:cubicBezTo>
                              <a:cubicBezTo>
                                <a:pt x="186" y="318"/>
                                <a:pt x="187" y="319"/>
                                <a:pt x="190" y="321"/>
                              </a:cubicBezTo>
                              <a:cubicBezTo>
                                <a:pt x="192" y="322"/>
                                <a:pt x="194" y="323"/>
                                <a:pt x="197" y="325"/>
                              </a:cubicBezTo>
                              <a:cubicBezTo>
                                <a:pt x="198" y="326"/>
                                <a:pt x="200" y="328"/>
                                <a:pt x="201" y="329"/>
                              </a:cubicBezTo>
                              <a:cubicBezTo>
                                <a:pt x="207" y="334"/>
                                <a:pt x="212" y="337"/>
                                <a:pt x="217" y="345"/>
                              </a:cubicBezTo>
                              <a:cubicBezTo>
                                <a:pt x="217" y="345"/>
                                <a:pt x="217" y="345"/>
                                <a:pt x="217" y="345"/>
                              </a:cubicBezTo>
                              <a:cubicBezTo>
                                <a:pt x="219" y="347"/>
                                <a:pt x="219" y="347"/>
                                <a:pt x="219" y="347"/>
                              </a:cubicBezTo>
                              <a:cubicBezTo>
                                <a:pt x="224" y="355"/>
                                <a:pt x="231" y="365"/>
                                <a:pt x="242" y="374"/>
                              </a:cubicBezTo>
                              <a:cubicBezTo>
                                <a:pt x="247" y="378"/>
                                <a:pt x="251" y="380"/>
                                <a:pt x="254" y="383"/>
                              </a:cubicBezTo>
                              <a:cubicBezTo>
                                <a:pt x="260" y="387"/>
                                <a:pt x="265" y="390"/>
                                <a:pt x="271" y="398"/>
                              </a:cubicBezTo>
                              <a:cubicBezTo>
                                <a:pt x="277" y="407"/>
                                <a:pt x="277" y="414"/>
                                <a:pt x="277" y="421"/>
                              </a:cubicBezTo>
                              <a:cubicBezTo>
                                <a:pt x="277" y="424"/>
                                <a:pt x="277" y="426"/>
                                <a:pt x="278" y="429"/>
                              </a:cubicBezTo>
                              <a:cubicBezTo>
                                <a:pt x="278" y="431"/>
                                <a:pt x="281" y="431"/>
                                <a:pt x="283" y="430"/>
                              </a:cubicBezTo>
                              <a:cubicBezTo>
                                <a:pt x="287" y="430"/>
                                <a:pt x="290" y="430"/>
                                <a:pt x="292" y="432"/>
                              </a:cubicBezTo>
                              <a:cubicBezTo>
                                <a:pt x="293" y="433"/>
                                <a:pt x="294" y="434"/>
                                <a:pt x="295" y="435"/>
                              </a:cubicBezTo>
                              <a:cubicBezTo>
                                <a:pt x="299" y="438"/>
                                <a:pt x="303" y="442"/>
                                <a:pt x="310" y="445"/>
                              </a:cubicBezTo>
                              <a:cubicBezTo>
                                <a:pt x="311" y="446"/>
                                <a:pt x="313" y="446"/>
                                <a:pt x="314" y="447"/>
                              </a:cubicBezTo>
                              <a:cubicBezTo>
                                <a:pt x="314" y="447"/>
                                <a:pt x="314" y="447"/>
                                <a:pt x="314" y="447"/>
                              </a:cubicBezTo>
                              <a:cubicBezTo>
                                <a:pt x="321" y="450"/>
                                <a:pt x="322" y="450"/>
                                <a:pt x="325" y="461"/>
                              </a:cubicBezTo>
                              <a:cubicBezTo>
                                <a:pt x="328" y="471"/>
                                <a:pt x="320" y="474"/>
                                <a:pt x="314" y="478"/>
                              </a:cubicBezTo>
                              <a:cubicBezTo>
                                <a:pt x="312" y="479"/>
                                <a:pt x="310" y="480"/>
                                <a:pt x="309" y="480"/>
                              </a:cubicBezTo>
                              <a:cubicBezTo>
                                <a:pt x="309" y="481"/>
                                <a:pt x="311" y="482"/>
                                <a:pt x="312" y="484"/>
                              </a:cubicBezTo>
                              <a:cubicBezTo>
                                <a:pt x="316" y="488"/>
                                <a:pt x="321" y="491"/>
                                <a:pt x="324" y="493"/>
                              </a:cubicBezTo>
                              <a:cubicBezTo>
                                <a:pt x="327" y="494"/>
                                <a:pt x="330" y="498"/>
                                <a:pt x="333" y="502"/>
                              </a:cubicBezTo>
                              <a:cubicBezTo>
                                <a:pt x="335" y="506"/>
                                <a:pt x="337" y="510"/>
                                <a:pt x="337" y="514"/>
                              </a:cubicBezTo>
                              <a:cubicBezTo>
                                <a:pt x="337" y="520"/>
                                <a:pt x="335" y="522"/>
                                <a:pt x="333" y="525"/>
                              </a:cubicBezTo>
                              <a:cubicBezTo>
                                <a:pt x="332" y="527"/>
                                <a:pt x="330" y="530"/>
                                <a:pt x="329" y="535"/>
                              </a:cubicBezTo>
                              <a:cubicBezTo>
                                <a:pt x="329" y="539"/>
                                <a:pt x="329" y="539"/>
                                <a:pt x="329" y="539"/>
                              </a:cubicBezTo>
                              <a:cubicBezTo>
                                <a:pt x="328" y="544"/>
                                <a:pt x="327" y="546"/>
                                <a:pt x="326" y="549"/>
                              </a:cubicBezTo>
                              <a:cubicBezTo>
                                <a:pt x="328" y="550"/>
                                <a:pt x="329" y="552"/>
                                <a:pt x="330" y="554"/>
                              </a:cubicBezTo>
                              <a:cubicBezTo>
                                <a:pt x="332" y="557"/>
                                <a:pt x="334" y="561"/>
                                <a:pt x="334" y="565"/>
                              </a:cubicBezTo>
                              <a:cubicBezTo>
                                <a:pt x="334" y="569"/>
                                <a:pt x="332" y="572"/>
                                <a:pt x="330" y="575"/>
                              </a:cubicBezTo>
                              <a:cubicBezTo>
                                <a:pt x="329" y="578"/>
                                <a:pt x="327" y="581"/>
                                <a:pt x="326" y="585"/>
                              </a:cubicBezTo>
                              <a:cubicBezTo>
                                <a:pt x="323" y="594"/>
                                <a:pt x="331" y="612"/>
                                <a:pt x="337" y="626"/>
                              </a:cubicBezTo>
                              <a:cubicBezTo>
                                <a:pt x="337" y="627"/>
                                <a:pt x="337" y="627"/>
                                <a:pt x="337" y="627"/>
                              </a:cubicBezTo>
                              <a:cubicBezTo>
                                <a:pt x="344" y="642"/>
                                <a:pt x="337" y="655"/>
                                <a:pt x="325" y="677"/>
                              </a:cubicBezTo>
                              <a:cubicBezTo>
                                <a:pt x="323" y="680"/>
                                <a:pt x="322" y="683"/>
                                <a:pt x="320" y="685"/>
                              </a:cubicBezTo>
                              <a:cubicBezTo>
                                <a:pt x="308" y="708"/>
                                <a:pt x="294" y="712"/>
                                <a:pt x="283" y="715"/>
                              </a:cubicBezTo>
                              <a:cubicBezTo>
                                <a:pt x="281" y="716"/>
                                <a:pt x="279" y="717"/>
                                <a:pt x="277" y="717"/>
                              </a:cubicBezTo>
                              <a:cubicBezTo>
                                <a:pt x="269" y="721"/>
                                <a:pt x="267" y="724"/>
                                <a:pt x="263" y="732"/>
                              </a:cubicBezTo>
                              <a:cubicBezTo>
                                <a:pt x="263" y="734"/>
                                <a:pt x="263" y="734"/>
                                <a:pt x="263" y="734"/>
                              </a:cubicBezTo>
                              <a:cubicBezTo>
                                <a:pt x="257" y="744"/>
                                <a:pt x="252" y="742"/>
                                <a:pt x="245" y="740"/>
                              </a:cubicBezTo>
                              <a:cubicBezTo>
                                <a:pt x="243" y="740"/>
                                <a:pt x="241" y="739"/>
                                <a:pt x="238" y="739"/>
                              </a:cubicBezTo>
                              <a:cubicBezTo>
                                <a:pt x="234" y="738"/>
                                <a:pt x="232" y="739"/>
                                <a:pt x="231" y="740"/>
                              </a:cubicBezTo>
                              <a:cubicBezTo>
                                <a:pt x="230" y="741"/>
                                <a:pt x="230" y="745"/>
                                <a:pt x="230" y="750"/>
                              </a:cubicBezTo>
                              <a:cubicBezTo>
                                <a:pt x="231" y="756"/>
                                <a:pt x="232" y="759"/>
                                <a:pt x="234" y="762"/>
                              </a:cubicBezTo>
                              <a:cubicBezTo>
                                <a:pt x="234" y="762"/>
                                <a:pt x="234" y="762"/>
                                <a:pt x="234" y="762"/>
                              </a:cubicBezTo>
                              <a:cubicBezTo>
                                <a:pt x="236" y="767"/>
                                <a:pt x="237" y="770"/>
                                <a:pt x="236" y="777"/>
                              </a:cubicBezTo>
                              <a:cubicBezTo>
                                <a:pt x="233" y="787"/>
                                <a:pt x="219" y="787"/>
                                <a:pt x="211" y="787"/>
                              </a:cubicBezTo>
                              <a:cubicBezTo>
                                <a:pt x="209" y="787"/>
                                <a:pt x="207" y="787"/>
                                <a:pt x="206" y="787"/>
                              </a:cubicBezTo>
                              <a:cubicBezTo>
                                <a:pt x="206" y="787"/>
                                <a:pt x="203" y="788"/>
                                <a:pt x="199" y="791"/>
                              </a:cubicBezTo>
                              <a:cubicBezTo>
                                <a:pt x="201" y="794"/>
                                <a:pt x="202" y="798"/>
                                <a:pt x="204" y="801"/>
                              </a:cubicBezTo>
                              <a:cubicBezTo>
                                <a:pt x="208" y="809"/>
                                <a:pt x="215" y="812"/>
                                <a:pt x="221" y="817"/>
                              </a:cubicBezTo>
                              <a:cubicBezTo>
                                <a:pt x="228" y="822"/>
                                <a:pt x="230" y="821"/>
                                <a:pt x="235" y="822"/>
                              </a:cubicBezTo>
                              <a:cubicBezTo>
                                <a:pt x="239" y="823"/>
                                <a:pt x="248" y="823"/>
                                <a:pt x="256" y="826"/>
                              </a:cubicBezTo>
                              <a:cubicBezTo>
                                <a:pt x="263" y="828"/>
                                <a:pt x="267" y="827"/>
                                <a:pt x="273" y="827"/>
                              </a:cubicBezTo>
                              <a:cubicBezTo>
                                <a:pt x="278" y="826"/>
                                <a:pt x="276" y="825"/>
                                <a:pt x="274" y="821"/>
                              </a:cubicBezTo>
                              <a:cubicBezTo>
                                <a:pt x="272" y="817"/>
                                <a:pt x="273" y="811"/>
                                <a:pt x="276" y="808"/>
                              </a:cubicBezTo>
                              <a:cubicBezTo>
                                <a:pt x="279" y="806"/>
                                <a:pt x="284" y="811"/>
                                <a:pt x="289" y="809"/>
                              </a:cubicBezTo>
                              <a:cubicBezTo>
                                <a:pt x="294" y="806"/>
                                <a:pt x="296" y="805"/>
                                <a:pt x="298" y="808"/>
                              </a:cubicBezTo>
                              <a:cubicBezTo>
                                <a:pt x="300" y="810"/>
                                <a:pt x="300" y="818"/>
                                <a:pt x="303" y="821"/>
                              </a:cubicBezTo>
                              <a:cubicBezTo>
                                <a:pt x="306" y="824"/>
                                <a:pt x="312" y="817"/>
                                <a:pt x="318" y="814"/>
                              </a:cubicBezTo>
                              <a:cubicBezTo>
                                <a:pt x="323" y="811"/>
                                <a:pt x="324" y="809"/>
                                <a:pt x="333" y="803"/>
                              </a:cubicBezTo>
                              <a:cubicBezTo>
                                <a:pt x="341" y="797"/>
                                <a:pt x="353" y="792"/>
                                <a:pt x="365" y="788"/>
                              </a:cubicBezTo>
                              <a:cubicBezTo>
                                <a:pt x="377" y="784"/>
                                <a:pt x="382" y="779"/>
                                <a:pt x="386" y="775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527" name="Freeform 276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6092541" y="4282175"/>
                          <a:ext cx="142875" cy="344091"/>
                        </a:xfrm>
                        <a:custGeom>
                          <a:avLst/>
                          <a:gdLst>
                            <a:gd name="T0" fmla="*/ 368 w 497"/>
                            <a:gd name="T1" fmla="*/ 1080 h 1200"/>
                            <a:gd name="T2" fmla="*/ 313 w 497"/>
                            <a:gd name="T3" fmla="*/ 904 h 1200"/>
                            <a:gd name="T4" fmla="*/ 214 w 497"/>
                            <a:gd name="T5" fmla="*/ 845 h 1200"/>
                            <a:gd name="T6" fmla="*/ 170 w 497"/>
                            <a:gd name="T7" fmla="*/ 796 h 1200"/>
                            <a:gd name="T8" fmla="*/ 158 w 497"/>
                            <a:gd name="T9" fmla="*/ 743 h 1200"/>
                            <a:gd name="T10" fmla="*/ 113 w 497"/>
                            <a:gd name="T11" fmla="*/ 686 h 1200"/>
                            <a:gd name="T12" fmla="*/ 134 w 497"/>
                            <a:gd name="T13" fmla="*/ 586 h 1200"/>
                            <a:gd name="T14" fmla="*/ 162 w 497"/>
                            <a:gd name="T15" fmla="*/ 465 h 1200"/>
                            <a:gd name="T16" fmla="*/ 199 w 497"/>
                            <a:gd name="T17" fmla="*/ 435 h 1200"/>
                            <a:gd name="T18" fmla="*/ 225 w 497"/>
                            <a:gd name="T19" fmla="*/ 491 h 1200"/>
                            <a:gd name="T20" fmla="*/ 302 w 497"/>
                            <a:gd name="T21" fmla="*/ 514 h 1200"/>
                            <a:gd name="T22" fmla="*/ 324 w 497"/>
                            <a:gd name="T23" fmla="*/ 508 h 1200"/>
                            <a:gd name="T24" fmla="*/ 310 w 497"/>
                            <a:gd name="T25" fmla="*/ 465 h 1200"/>
                            <a:gd name="T26" fmla="*/ 320 w 497"/>
                            <a:gd name="T27" fmla="*/ 413 h 1200"/>
                            <a:gd name="T28" fmla="*/ 450 w 497"/>
                            <a:gd name="T29" fmla="*/ 377 h 1200"/>
                            <a:gd name="T30" fmla="*/ 492 w 497"/>
                            <a:gd name="T31" fmla="*/ 337 h 1200"/>
                            <a:gd name="T32" fmla="*/ 471 w 497"/>
                            <a:gd name="T33" fmla="*/ 266 h 1200"/>
                            <a:gd name="T34" fmla="*/ 448 w 497"/>
                            <a:gd name="T35" fmla="*/ 206 h 1200"/>
                            <a:gd name="T36" fmla="*/ 417 w 497"/>
                            <a:gd name="T37" fmla="*/ 155 h 1200"/>
                            <a:gd name="T38" fmla="*/ 335 w 497"/>
                            <a:gd name="T39" fmla="*/ 157 h 1200"/>
                            <a:gd name="T40" fmla="*/ 282 w 497"/>
                            <a:gd name="T41" fmla="*/ 147 h 1200"/>
                            <a:gd name="T42" fmla="*/ 214 w 497"/>
                            <a:gd name="T43" fmla="*/ 179 h 1200"/>
                            <a:gd name="T44" fmla="*/ 224 w 497"/>
                            <a:gd name="T45" fmla="*/ 126 h 1200"/>
                            <a:gd name="T46" fmla="*/ 232 w 497"/>
                            <a:gd name="T47" fmla="*/ 66 h 1200"/>
                            <a:gd name="T48" fmla="*/ 182 w 497"/>
                            <a:gd name="T49" fmla="*/ 45 h 1200"/>
                            <a:gd name="T50" fmla="*/ 175 w 497"/>
                            <a:gd name="T51" fmla="*/ 4 h 1200"/>
                            <a:gd name="T52" fmla="*/ 150 w 497"/>
                            <a:gd name="T53" fmla="*/ 1 h 1200"/>
                            <a:gd name="T54" fmla="*/ 131 w 497"/>
                            <a:gd name="T55" fmla="*/ 8 h 1200"/>
                            <a:gd name="T56" fmla="*/ 96 w 497"/>
                            <a:gd name="T57" fmla="*/ 40 h 1200"/>
                            <a:gd name="T58" fmla="*/ 38 w 497"/>
                            <a:gd name="T59" fmla="*/ 43 h 1200"/>
                            <a:gd name="T60" fmla="*/ 25 w 497"/>
                            <a:gd name="T61" fmla="*/ 82 h 1200"/>
                            <a:gd name="T62" fmla="*/ 0 w 497"/>
                            <a:gd name="T63" fmla="*/ 121 h 1200"/>
                            <a:gd name="T64" fmla="*/ 22 w 497"/>
                            <a:gd name="T65" fmla="*/ 161 h 1200"/>
                            <a:gd name="T66" fmla="*/ 55 w 497"/>
                            <a:gd name="T67" fmla="*/ 207 h 1200"/>
                            <a:gd name="T68" fmla="*/ 88 w 497"/>
                            <a:gd name="T69" fmla="*/ 250 h 1200"/>
                            <a:gd name="T70" fmla="*/ 80 w 497"/>
                            <a:gd name="T71" fmla="*/ 278 h 1200"/>
                            <a:gd name="T72" fmla="*/ 62 w 497"/>
                            <a:gd name="T73" fmla="*/ 329 h 1200"/>
                            <a:gd name="T74" fmla="*/ 58 w 497"/>
                            <a:gd name="T75" fmla="*/ 359 h 1200"/>
                            <a:gd name="T76" fmla="*/ 111 w 497"/>
                            <a:gd name="T77" fmla="*/ 431 h 1200"/>
                            <a:gd name="T78" fmla="*/ 121 w 497"/>
                            <a:gd name="T79" fmla="*/ 490 h 1200"/>
                            <a:gd name="T80" fmla="*/ 114 w 497"/>
                            <a:gd name="T81" fmla="*/ 584 h 1200"/>
                            <a:gd name="T82" fmla="*/ 84 w 497"/>
                            <a:gd name="T83" fmla="*/ 636 h 1200"/>
                            <a:gd name="T84" fmla="*/ 50 w 497"/>
                            <a:gd name="T85" fmla="*/ 713 h 1200"/>
                            <a:gd name="T86" fmla="*/ 79 w 497"/>
                            <a:gd name="T87" fmla="*/ 760 h 1200"/>
                            <a:gd name="T88" fmla="*/ 131 w 497"/>
                            <a:gd name="T89" fmla="*/ 828 h 1200"/>
                            <a:gd name="T90" fmla="*/ 171 w 497"/>
                            <a:gd name="T91" fmla="*/ 895 h 1200"/>
                            <a:gd name="T92" fmla="*/ 198 w 497"/>
                            <a:gd name="T93" fmla="*/ 996 h 1200"/>
                            <a:gd name="T94" fmla="*/ 234 w 497"/>
                            <a:gd name="T95" fmla="*/ 1072 h 1200"/>
                            <a:gd name="T96" fmla="*/ 340 w 497"/>
                            <a:gd name="T97" fmla="*/ 1167 h 1200"/>
                            <a:gd name="T98" fmla="*/ 420 w 497"/>
                            <a:gd name="T99" fmla="*/ 1196 h 1200"/>
                            <a:gd name="T100" fmla="*/ 52 w 497"/>
                            <a:gd name="T101" fmla="*/ 779 h 1200"/>
                            <a:gd name="T102" fmla="*/ 133 w 497"/>
                            <a:gd name="T103" fmla="*/ 883 h 120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</a:cxnLst>
                          <a:rect l="0" t="0" r="r" b="b"/>
                          <a:pathLst>
                            <a:path w="497" h="1200">
                              <a:moveTo>
                                <a:pt x="420" y="1196"/>
                              </a:moveTo>
                              <a:cubicBezTo>
                                <a:pt x="425" y="1195"/>
                                <a:pt x="422" y="1186"/>
                                <a:pt x="420" y="1179"/>
                              </a:cubicBezTo>
                              <a:cubicBezTo>
                                <a:pt x="419" y="1172"/>
                                <a:pt x="417" y="1167"/>
                                <a:pt x="405" y="1148"/>
                              </a:cubicBezTo>
                              <a:cubicBezTo>
                                <a:pt x="392" y="1129"/>
                                <a:pt x="388" y="1121"/>
                                <a:pt x="382" y="1111"/>
                              </a:cubicBezTo>
                              <a:cubicBezTo>
                                <a:pt x="376" y="1101"/>
                                <a:pt x="368" y="1093"/>
                                <a:pt x="368" y="1080"/>
                              </a:cubicBezTo>
                              <a:cubicBezTo>
                                <a:pt x="368" y="1067"/>
                                <a:pt x="370" y="1056"/>
                                <a:pt x="370" y="1038"/>
                              </a:cubicBezTo>
                              <a:cubicBezTo>
                                <a:pt x="370" y="1021"/>
                                <a:pt x="370" y="1008"/>
                                <a:pt x="370" y="994"/>
                              </a:cubicBezTo>
                              <a:cubicBezTo>
                                <a:pt x="370" y="980"/>
                                <a:pt x="361" y="960"/>
                                <a:pt x="356" y="952"/>
                              </a:cubicBezTo>
                              <a:cubicBezTo>
                                <a:pt x="351" y="944"/>
                                <a:pt x="342" y="937"/>
                                <a:pt x="328" y="926"/>
                              </a:cubicBezTo>
                              <a:cubicBezTo>
                                <a:pt x="315" y="914"/>
                                <a:pt x="319" y="915"/>
                                <a:pt x="313" y="904"/>
                              </a:cubicBezTo>
                              <a:cubicBezTo>
                                <a:pt x="307" y="893"/>
                                <a:pt x="289" y="888"/>
                                <a:pt x="284" y="886"/>
                              </a:cubicBezTo>
                              <a:cubicBezTo>
                                <a:pt x="280" y="884"/>
                                <a:pt x="268" y="873"/>
                                <a:pt x="261" y="863"/>
                              </a:cubicBezTo>
                              <a:cubicBezTo>
                                <a:pt x="253" y="853"/>
                                <a:pt x="248" y="851"/>
                                <a:pt x="243" y="849"/>
                              </a:cubicBezTo>
                              <a:cubicBezTo>
                                <a:pt x="238" y="846"/>
                                <a:pt x="231" y="851"/>
                                <a:pt x="225" y="851"/>
                              </a:cubicBezTo>
                              <a:cubicBezTo>
                                <a:pt x="218" y="852"/>
                                <a:pt x="217" y="849"/>
                                <a:pt x="214" y="845"/>
                              </a:cubicBezTo>
                              <a:cubicBezTo>
                                <a:pt x="211" y="841"/>
                                <a:pt x="202" y="835"/>
                                <a:pt x="196" y="832"/>
                              </a:cubicBezTo>
                              <a:cubicBezTo>
                                <a:pt x="190" y="830"/>
                                <a:pt x="186" y="832"/>
                                <a:pt x="182" y="831"/>
                              </a:cubicBezTo>
                              <a:cubicBezTo>
                                <a:pt x="178" y="831"/>
                                <a:pt x="180" y="828"/>
                                <a:pt x="174" y="824"/>
                              </a:cubicBezTo>
                              <a:cubicBezTo>
                                <a:pt x="169" y="820"/>
                                <a:pt x="167" y="812"/>
                                <a:pt x="166" y="807"/>
                              </a:cubicBezTo>
                              <a:cubicBezTo>
                                <a:pt x="165" y="802"/>
                                <a:pt x="167" y="798"/>
                                <a:pt x="170" y="796"/>
                              </a:cubicBezTo>
                              <a:cubicBezTo>
                                <a:pt x="172" y="794"/>
                                <a:pt x="175" y="801"/>
                                <a:pt x="177" y="805"/>
                              </a:cubicBezTo>
                              <a:cubicBezTo>
                                <a:pt x="179" y="809"/>
                                <a:pt x="183" y="809"/>
                                <a:pt x="183" y="805"/>
                              </a:cubicBezTo>
                              <a:cubicBezTo>
                                <a:pt x="182" y="801"/>
                                <a:pt x="181" y="797"/>
                                <a:pt x="179" y="791"/>
                              </a:cubicBezTo>
                              <a:cubicBezTo>
                                <a:pt x="178" y="785"/>
                                <a:pt x="175" y="780"/>
                                <a:pt x="171" y="770"/>
                              </a:cubicBezTo>
                              <a:cubicBezTo>
                                <a:pt x="167" y="761"/>
                                <a:pt x="166" y="755"/>
                                <a:pt x="158" y="743"/>
                              </a:cubicBezTo>
                              <a:cubicBezTo>
                                <a:pt x="151" y="730"/>
                                <a:pt x="151" y="727"/>
                                <a:pt x="147" y="716"/>
                              </a:cubicBezTo>
                              <a:cubicBezTo>
                                <a:pt x="144" y="706"/>
                                <a:pt x="141" y="699"/>
                                <a:pt x="135" y="699"/>
                              </a:cubicBezTo>
                              <a:cubicBezTo>
                                <a:pt x="130" y="699"/>
                                <a:pt x="127" y="704"/>
                                <a:pt x="121" y="706"/>
                              </a:cubicBezTo>
                              <a:cubicBezTo>
                                <a:pt x="116" y="708"/>
                                <a:pt x="113" y="704"/>
                                <a:pt x="112" y="700"/>
                              </a:cubicBezTo>
                              <a:cubicBezTo>
                                <a:pt x="112" y="696"/>
                                <a:pt x="114" y="694"/>
                                <a:pt x="113" y="686"/>
                              </a:cubicBezTo>
                              <a:cubicBezTo>
                                <a:pt x="112" y="679"/>
                                <a:pt x="109" y="677"/>
                                <a:pt x="106" y="671"/>
                              </a:cubicBezTo>
                              <a:cubicBezTo>
                                <a:pt x="102" y="666"/>
                                <a:pt x="104" y="664"/>
                                <a:pt x="105" y="653"/>
                              </a:cubicBezTo>
                              <a:cubicBezTo>
                                <a:pt x="106" y="643"/>
                                <a:pt x="107" y="636"/>
                                <a:pt x="106" y="631"/>
                              </a:cubicBezTo>
                              <a:cubicBezTo>
                                <a:pt x="106" y="626"/>
                                <a:pt x="110" y="620"/>
                                <a:pt x="114" y="616"/>
                              </a:cubicBezTo>
                              <a:cubicBezTo>
                                <a:pt x="117" y="612"/>
                                <a:pt x="129" y="595"/>
                                <a:pt x="134" y="586"/>
                              </a:cubicBezTo>
                              <a:cubicBezTo>
                                <a:pt x="138" y="577"/>
                                <a:pt x="143" y="562"/>
                                <a:pt x="144" y="553"/>
                              </a:cubicBezTo>
                              <a:cubicBezTo>
                                <a:pt x="145" y="544"/>
                                <a:pt x="151" y="537"/>
                                <a:pt x="155" y="529"/>
                              </a:cubicBezTo>
                              <a:cubicBezTo>
                                <a:pt x="160" y="522"/>
                                <a:pt x="161" y="520"/>
                                <a:pt x="160" y="514"/>
                              </a:cubicBezTo>
                              <a:cubicBezTo>
                                <a:pt x="159" y="508"/>
                                <a:pt x="153" y="493"/>
                                <a:pt x="156" y="486"/>
                              </a:cubicBezTo>
                              <a:cubicBezTo>
                                <a:pt x="159" y="479"/>
                                <a:pt x="163" y="470"/>
                                <a:pt x="162" y="465"/>
                              </a:cubicBezTo>
                              <a:cubicBezTo>
                                <a:pt x="162" y="460"/>
                                <a:pt x="159" y="459"/>
                                <a:pt x="155" y="453"/>
                              </a:cubicBezTo>
                              <a:cubicBezTo>
                                <a:pt x="151" y="446"/>
                                <a:pt x="154" y="445"/>
                                <a:pt x="154" y="445"/>
                              </a:cubicBezTo>
                              <a:cubicBezTo>
                                <a:pt x="154" y="445"/>
                                <a:pt x="170" y="438"/>
                                <a:pt x="176" y="437"/>
                              </a:cubicBezTo>
                              <a:cubicBezTo>
                                <a:pt x="181" y="436"/>
                                <a:pt x="180" y="434"/>
                                <a:pt x="184" y="432"/>
                              </a:cubicBezTo>
                              <a:cubicBezTo>
                                <a:pt x="188" y="430"/>
                                <a:pt x="198" y="431"/>
                                <a:pt x="199" y="435"/>
                              </a:cubicBezTo>
                              <a:cubicBezTo>
                                <a:pt x="201" y="439"/>
                                <a:pt x="207" y="438"/>
                                <a:pt x="214" y="441"/>
                              </a:cubicBezTo>
                              <a:cubicBezTo>
                                <a:pt x="220" y="443"/>
                                <a:pt x="218" y="448"/>
                                <a:pt x="214" y="452"/>
                              </a:cubicBezTo>
                              <a:cubicBezTo>
                                <a:pt x="210" y="457"/>
                                <a:pt x="211" y="459"/>
                                <a:pt x="210" y="465"/>
                              </a:cubicBezTo>
                              <a:cubicBezTo>
                                <a:pt x="209" y="470"/>
                                <a:pt x="206" y="474"/>
                                <a:pt x="208" y="481"/>
                              </a:cubicBezTo>
                              <a:cubicBezTo>
                                <a:pt x="209" y="489"/>
                                <a:pt x="218" y="491"/>
                                <a:pt x="225" y="491"/>
                              </a:cubicBezTo>
                              <a:cubicBezTo>
                                <a:pt x="232" y="491"/>
                                <a:pt x="240" y="492"/>
                                <a:pt x="248" y="488"/>
                              </a:cubicBezTo>
                              <a:cubicBezTo>
                                <a:pt x="257" y="484"/>
                                <a:pt x="259" y="488"/>
                                <a:pt x="268" y="490"/>
                              </a:cubicBezTo>
                              <a:cubicBezTo>
                                <a:pt x="278" y="492"/>
                                <a:pt x="279" y="497"/>
                                <a:pt x="282" y="502"/>
                              </a:cubicBezTo>
                              <a:cubicBezTo>
                                <a:pt x="285" y="508"/>
                                <a:pt x="290" y="510"/>
                                <a:pt x="295" y="511"/>
                              </a:cubicBezTo>
                              <a:cubicBezTo>
                                <a:pt x="301" y="511"/>
                                <a:pt x="300" y="508"/>
                                <a:pt x="302" y="514"/>
                              </a:cubicBezTo>
                              <a:cubicBezTo>
                                <a:pt x="304" y="519"/>
                                <a:pt x="302" y="521"/>
                                <a:pt x="304" y="525"/>
                              </a:cubicBezTo>
                              <a:cubicBezTo>
                                <a:pt x="305" y="528"/>
                                <a:pt x="311" y="525"/>
                                <a:pt x="317" y="524"/>
                              </a:cubicBezTo>
                              <a:cubicBezTo>
                                <a:pt x="320" y="524"/>
                                <a:pt x="323" y="524"/>
                                <a:pt x="326" y="526"/>
                              </a:cubicBezTo>
                              <a:cubicBezTo>
                                <a:pt x="326" y="525"/>
                                <a:pt x="326" y="525"/>
                                <a:pt x="326" y="524"/>
                              </a:cubicBezTo>
                              <a:cubicBezTo>
                                <a:pt x="326" y="517"/>
                                <a:pt x="325" y="511"/>
                                <a:pt x="324" y="508"/>
                              </a:cubicBezTo>
                              <a:cubicBezTo>
                                <a:pt x="324" y="508"/>
                                <a:pt x="324" y="508"/>
                                <a:pt x="324" y="508"/>
                              </a:cubicBezTo>
                              <a:cubicBezTo>
                                <a:pt x="323" y="507"/>
                                <a:pt x="322" y="505"/>
                                <a:pt x="320" y="504"/>
                              </a:cubicBezTo>
                              <a:cubicBezTo>
                                <a:pt x="316" y="500"/>
                                <a:pt x="312" y="497"/>
                                <a:pt x="311" y="488"/>
                              </a:cubicBezTo>
                              <a:cubicBezTo>
                                <a:pt x="311" y="482"/>
                                <a:pt x="311" y="479"/>
                                <a:pt x="311" y="476"/>
                              </a:cubicBezTo>
                              <a:cubicBezTo>
                                <a:pt x="311" y="473"/>
                                <a:pt x="312" y="470"/>
                                <a:pt x="310" y="465"/>
                              </a:cubicBezTo>
                              <a:cubicBezTo>
                                <a:pt x="308" y="461"/>
                                <a:pt x="306" y="459"/>
                                <a:pt x="304" y="457"/>
                              </a:cubicBezTo>
                              <a:cubicBezTo>
                                <a:pt x="301" y="452"/>
                                <a:pt x="298" y="449"/>
                                <a:pt x="300" y="443"/>
                              </a:cubicBezTo>
                              <a:cubicBezTo>
                                <a:pt x="301" y="439"/>
                                <a:pt x="303" y="435"/>
                                <a:pt x="305" y="431"/>
                              </a:cubicBezTo>
                              <a:cubicBezTo>
                                <a:pt x="308" y="427"/>
                                <a:pt x="311" y="424"/>
                                <a:pt x="315" y="420"/>
                              </a:cubicBezTo>
                              <a:cubicBezTo>
                                <a:pt x="318" y="418"/>
                                <a:pt x="319" y="415"/>
                                <a:pt x="320" y="413"/>
                              </a:cubicBezTo>
                              <a:cubicBezTo>
                                <a:pt x="323" y="407"/>
                                <a:pt x="327" y="401"/>
                                <a:pt x="337" y="393"/>
                              </a:cubicBezTo>
                              <a:cubicBezTo>
                                <a:pt x="346" y="386"/>
                                <a:pt x="353" y="382"/>
                                <a:pt x="361" y="379"/>
                              </a:cubicBezTo>
                              <a:cubicBezTo>
                                <a:pt x="369" y="377"/>
                                <a:pt x="378" y="376"/>
                                <a:pt x="390" y="376"/>
                              </a:cubicBezTo>
                              <a:cubicBezTo>
                                <a:pt x="402" y="376"/>
                                <a:pt x="413" y="376"/>
                                <a:pt x="424" y="377"/>
                              </a:cubicBezTo>
                              <a:cubicBezTo>
                                <a:pt x="432" y="377"/>
                                <a:pt x="441" y="377"/>
                                <a:pt x="450" y="377"/>
                              </a:cubicBezTo>
                              <a:cubicBezTo>
                                <a:pt x="463" y="377"/>
                                <a:pt x="468" y="381"/>
                                <a:pt x="472" y="384"/>
                              </a:cubicBezTo>
                              <a:cubicBezTo>
                                <a:pt x="473" y="385"/>
                                <a:pt x="474" y="386"/>
                                <a:pt x="475" y="386"/>
                              </a:cubicBezTo>
                              <a:cubicBezTo>
                                <a:pt x="480" y="381"/>
                                <a:pt x="493" y="368"/>
                                <a:pt x="493" y="364"/>
                              </a:cubicBezTo>
                              <a:cubicBezTo>
                                <a:pt x="493" y="363"/>
                                <a:pt x="493" y="361"/>
                                <a:pt x="493" y="359"/>
                              </a:cubicBezTo>
                              <a:cubicBezTo>
                                <a:pt x="493" y="353"/>
                                <a:pt x="493" y="345"/>
                                <a:pt x="492" y="337"/>
                              </a:cubicBezTo>
                              <a:cubicBezTo>
                                <a:pt x="492" y="331"/>
                                <a:pt x="493" y="326"/>
                                <a:pt x="494" y="320"/>
                              </a:cubicBezTo>
                              <a:cubicBezTo>
                                <a:pt x="496" y="315"/>
                                <a:pt x="497" y="309"/>
                                <a:pt x="496" y="303"/>
                              </a:cubicBezTo>
                              <a:cubicBezTo>
                                <a:pt x="494" y="293"/>
                                <a:pt x="492" y="289"/>
                                <a:pt x="489" y="284"/>
                              </a:cubicBezTo>
                              <a:cubicBezTo>
                                <a:pt x="488" y="283"/>
                                <a:pt x="488" y="282"/>
                                <a:pt x="487" y="281"/>
                              </a:cubicBezTo>
                              <a:cubicBezTo>
                                <a:pt x="485" y="277"/>
                                <a:pt x="478" y="272"/>
                                <a:pt x="471" y="266"/>
                              </a:cubicBezTo>
                              <a:cubicBezTo>
                                <a:pt x="468" y="264"/>
                                <a:pt x="464" y="261"/>
                                <a:pt x="461" y="258"/>
                              </a:cubicBezTo>
                              <a:cubicBezTo>
                                <a:pt x="457" y="254"/>
                                <a:pt x="454" y="251"/>
                                <a:pt x="452" y="247"/>
                              </a:cubicBezTo>
                              <a:cubicBezTo>
                                <a:pt x="449" y="244"/>
                                <a:pt x="448" y="240"/>
                                <a:pt x="448" y="235"/>
                              </a:cubicBezTo>
                              <a:cubicBezTo>
                                <a:pt x="447" y="228"/>
                                <a:pt x="447" y="223"/>
                                <a:pt x="448" y="216"/>
                              </a:cubicBezTo>
                              <a:cubicBezTo>
                                <a:pt x="448" y="213"/>
                                <a:pt x="448" y="209"/>
                                <a:pt x="448" y="206"/>
                              </a:cubicBezTo>
                              <a:cubicBezTo>
                                <a:pt x="448" y="202"/>
                                <a:pt x="449" y="199"/>
                                <a:pt x="449" y="197"/>
                              </a:cubicBezTo>
                              <a:cubicBezTo>
                                <a:pt x="449" y="194"/>
                                <a:pt x="449" y="192"/>
                                <a:pt x="448" y="190"/>
                              </a:cubicBezTo>
                              <a:cubicBezTo>
                                <a:pt x="446" y="188"/>
                                <a:pt x="442" y="185"/>
                                <a:pt x="438" y="180"/>
                              </a:cubicBezTo>
                              <a:cubicBezTo>
                                <a:pt x="433" y="176"/>
                                <a:pt x="428" y="170"/>
                                <a:pt x="424" y="166"/>
                              </a:cubicBezTo>
                              <a:cubicBezTo>
                                <a:pt x="421" y="163"/>
                                <a:pt x="419" y="159"/>
                                <a:pt x="417" y="155"/>
                              </a:cubicBezTo>
                              <a:cubicBezTo>
                                <a:pt x="412" y="148"/>
                                <a:pt x="406" y="139"/>
                                <a:pt x="398" y="135"/>
                              </a:cubicBezTo>
                              <a:cubicBezTo>
                                <a:pt x="393" y="132"/>
                                <a:pt x="385" y="130"/>
                                <a:pt x="379" y="130"/>
                              </a:cubicBezTo>
                              <a:cubicBezTo>
                                <a:pt x="372" y="130"/>
                                <a:pt x="366" y="130"/>
                                <a:pt x="364" y="132"/>
                              </a:cubicBezTo>
                              <a:cubicBezTo>
                                <a:pt x="361" y="135"/>
                                <a:pt x="355" y="140"/>
                                <a:pt x="350" y="145"/>
                              </a:cubicBezTo>
                              <a:cubicBezTo>
                                <a:pt x="344" y="150"/>
                                <a:pt x="338" y="155"/>
                                <a:pt x="335" y="157"/>
                              </a:cubicBezTo>
                              <a:cubicBezTo>
                                <a:pt x="335" y="157"/>
                                <a:pt x="335" y="157"/>
                                <a:pt x="335" y="157"/>
                              </a:cubicBezTo>
                              <a:cubicBezTo>
                                <a:pt x="334" y="157"/>
                                <a:pt x="333" y="158"/>
                                <a:pt x="333" y="159"/>
                              </a:cubicBezTo>
                              <a:cubicBezTo>
                                <a:pt x="329" y="162"/>
                                <a:pt x="325" y="165"/>
                                <a:pt x="312" y="161"/>
                              </a:cubicBezTo>
                              <a:cubicBezTo>
                                <a:pt x="305" y="159"/>
                                <a:pt x="299" y="155"/>
                                <a:pt x="294" y="152"/>
                              </a:cubicBezTo>
                              <a:cubicBezTo>
                                <a:pt x="288" y="149"/>
                                <a:pt x="284" y="146"/>
                                <a:pt x="282" y="147"/>
                              </a:cubicBezTo>
                              <a:cubicBezTo>
                                <a:pt x="280" y="147"/>
                                <a:pt x="276" y="151"/>
                                <a:pt x="271" y="155"/>
                              </a:cubicBezTo>
                              <a:cubicBezTo>
                                <a:pt x="265" y="160"/>
                                <a:pt x="257" y="167"/>
                                <a:pt x="251" y="173"/>
                              </a:cubicBezTo>
                              <a:cubicBezTo>
                                <a:pt x="245" y="179"/>
                                <a:pt x="241" y="183"/>
                                <a:pt x="236" y="185"/>
                              </a:cubicBezTo>
                              <a:cubicBezTo>
                                <a:pt x="231" y="187"/>
                                <a:pt x="227" y="187"/>
                                <a:pt x="223" y="186"/>
                              </a:cubicBezTo>
                              <a:cubicBezTo>
                                <a:pt x="218" y="185"/>
                                <a:pt x="215" y="182"/>
                                <a:pt x="214" y="179"/>
                              </a:cubicBezTo>
                              <a:cubicBezTo>
                                <a:pt x="213" y="176"/>
                                <a:pt x="214" y="172"/>
                                <a:pt x="214" y="169"/>
                              </a:cubicBezTo>
                              <a:cubicBezTo>
                                <a:pt x="215" y="165"/>
                                <a:pt x="217" y="159"/>
                                <a:pt x="219" y="154"/>
                              </a:cubicBezTo>
                              <a:cubicBezTo>
                                <a:pt x="221" y="149"/>
                                <a:pt x="224" y="144"/>
                                <a:pt x="227" y="142"/>
                              </a:cubicBezTo>
                              <a:cubicBezTo>
                                <a:pt x="228" y="141"/>
                                <a:pt x="227" y="139"/>
                                <a:pt x="226" y="136"/>
                              </a:cubicBezTo>
                              <a:cubicBezTo>
                                <a:pt x="225" y="133"/>
                                <a:pt x="225" y="130"/>
                                <a:pt x="224" y="126"/>
                              </a:cubicBezTo>
                              <a:cubicBezTo>
                                <a:pt x="223" y="118"/>
                                <a:pt x="226" y="113"/>
                                <a:pt x="229" y="106"/>
                              </a:cubicBezTo>
                              <a:cubicBezTo>
                                <a:pt x="230" y="104"/>
                                <a:pt x="232" y="102"/>
                                <a:pt x="233" y="100"/>
                              </a:cubicBezTo>
                              <a:cubicBezTo>
                                <a:pt x="234" y="97"/>
                                <a:pt x="234" y="92"/>
                                <a:pt x="234" y="86"/>
                              </a:cubicBezTo>
                              <a:cubicBezTo>
                                <a:pt x="234" y="78"/>
                                <a:pt x="233" y="69"/>
                                <a:pt x="232" y="66"/>
                              </a:cubicBezTo>
                              <a:cubicBezTo>
                                <a:pt x="232" y="66"/>
                                <a:pt x="232" y="66"/>
                                <a:pt x="232" y="66"/>
                              </a:cubicBezTo>
                              <a:cubicBezTo>
                                <a:pt x="231" y="64"/>
                                <a:pt x="229" y="61"/>
                                <a:pt x="226" y="60"/>
                              </a:cubicBezTo>
                              <a:cubicBezTo>
                                <a:pt x="224" y="59"/>
                                <a:pt x="221" y="58"/>
                                <a:pt x="218" y="59"/>
                              </a:cubicBezTo>
                              <a:cubicBezTo>
                                <a:pt x="213" y="60"/>
                                <a:pt x="207" y="61"/>
                                <a:pt x="202" y="60"/>
                              </a:cubicBezTo>
                              <a:cubicBezTo>
                                <a:pt x="197" y="59"/>
                                <a:pt x="192" y="57"/>
                                <a:pt x="188" y="54"/>
                              </a:cubicBezTo>
                              <a:cubicBezTo>
                                <a:pt x="185" y="51"/>
                                <a:pt x="183" y="48"/>
                                <a:pt x="182" y="45"/>
                              </a:cubicBezTo>
                              <a:cubicBezTo>
                                <a:pt x="181" y="42"/>
                                <a:pt x="181" y="39"/>
                                <a:pt x="181" y="35"/>
                              </a:cubicBezTo>
                              <a:cubicBezTo>
                                <a:pt x="182" y="32"/>
                                <a:pt x="182" y="30"/>
                                <a:pt x="183" y="27"/>
                              </a:cubicBezTo>
                              <a:cubicBezTo>
                                <a:pt x="185" y="22"/>
                                <a:pt x="186" y="17"/>
                                <a:pt x="185" y="14"/>
                              </a:cubicBezTo>
                              <a:cubicBezTo>
                                <a:pt x="183" y="9"/>
                                <a:pt x="180" y="7"/>
                                <a:pt x="176" y="5"/>
                              </a:cubicBezTo>
                              <a:cubicBezTo>
                                <a:pt x="175" y="4"/>
                                <a:pt x="175" y="4"/>
                                <a:pt x="175" y="4"/>
                              </a:cubicBezTo>
                              <a:cubicBezTo>
                                <a:pt x="175" y="4"/>
                                <a:pt x="175" y="4"/>
                                <a:pt x="175" y="4"/>
                              </a:cubicBezTo>
                              <a:cubicBezTo>
                                <a:pt x="172" y="3"/>
                                <a:pt x="170" y="2"/>
                                <a:pt x="168" y="1"/>
                              </a:cubicBezTo>
                              <a:cubicBezTo>
                                <a:pt x="167" y="1"/>
                                <a:pt x="166" y="1"/>
                                <a:pt x="165" y="0"/>
                              </a:cubicBezTo>
                              <a:cubicBezTo>
                                <a:pt x="165" y="1"/>
                                <a:pt x="164" y="2"/>
                                <a:pt x="162" y="2"/>
                              </a:cubicBezTo>
                              <a:cubicBezTo>
                                <a:pt x="156" y="5"/>
                                <a:pt x="153" y="3"/>
                                <a:pt x="150" y="1"/>
                              </a:cubicBezTo>
                              <a:cubicBezTo>
                                <a:pt x="150" y="1"/>
                                <a:pt x="150" y="1"/>
                                <a:pt x="149" y="1"/>
                              </a:cubicBezTo>
                              <a:cubicBezTo>
                                <a:pt x="148" y="1"/>
                                <a:pt x="144" y="2"/>
                                <a:pt x="137" y="5"/>
                              </a:cubicBezTo>
                              <a:cubicBezTo>
                                <a:pt x="135" y="5"/>
                                <a:pt x="135" y="5"/>
                                <a:pt x="135" y="5"/>
                              </a:cubicBezTo>
                              <a:cubicBezTo>
                                <a:pt x="135" y="5"/>
                                <a:pt x="135" y="5"/>
                                <a:pt x="135" y="5"/>
                              </a:cubicBezTo>
                              <a:cubicBezTo>
                                <a:pt x="131" y="6"/>
                                <a:pt x="131" y="7"/>
                                <a:pt x="131" y="8"/>
                              </a:cubicBezTo>
                              <a:cubicBezTo>
                                <a:pt x="130" y="10"/>
                                <a:pt x="129" y="12"/>
                                <a:pt x="126" y="15"/>
                              </a:cubicBezTo>
                              <a:cubicBezTo>
                                <a:pt x="122" y="20"/>
                                <a:pt x="117" y="19"/>
                                <a:pt x="112" y="19"/>
                              </a:cubicBezTo>
                              <a:cubicBezTo>
                                <a:pt x="110" y="18"/>
                                <a:pt x="108" y="18"/>
                                <a:pt x="107" y="19"/>
                              </a:cubicBezTo>
                              <a:cubicBezTo>
                                <a:pt x="105" y="20"/>
                                <a:pt x="103" y="24"/>
                                <a:pt x="102" y="28"/>
                              </a:cubicBezTo>
                              <a:cubicBezTo>
                                <a:pt x="100" y="32"/>
                                <a:pt x="99" y="36"/>
                                <a:pt x="96" y="40"/>
                              </a:cubicBezTo>
                              <a:cubicBezTo>
                                <a:pt x="93" y="43"/>
                                <a:pt x="89" y="46"/>
                                <a:pt x="84" y="47"/>
                              </a:cubicBezTo>
                              <a:cubicBezTo>
                                <a:pt x="80" y="49"/>
                                <a:pt x="74" y="50"/>
                                <a:pt x="65" y="49"/>
                              </a:cubicBezTo>
                              <a:cubicBezTo>
                                <a:pt x="53" y="49"/>
                                <a:pt x="48" y="45"/>
                                <a:pt x="44" y="42"/>
                              </a:cubicBezTo>
                              <a:cubicBezTo>
                                <a:pt x="43" y="41"/>
                                <a:pt x="42" y="40"/>
                                <a:pt x="42" y="40"/>
                              </a:cubicBezTo>
                              <a:cubicBezTo>
                                <a:pt x="40" y="41"/>
                                <a:pt x="39" y="41"/>
                                <a:pt x="38" y="43"/>
                              </a:cubicBezTo>
                              <a:cubicBezTo>
                                <a:pt x="36" y="45"/>
                                <a:pt x="34" y="47"/>
                                <a:pt x="32" y="51"/>
                              </a:cubicBezTo>
                              <a:cubicBezTo>
                                <a:pt x="30" y="54"/>
                                <a:pt x="30" y="57"/>
                                <a:pt x="30" y="61"/>
                              </a:cubicBezTo>
                              <a:cubicBezTo>
                                <a:pt x="30" y="65"/>
                                <a:pt x="30" y="69"/>
                                <a:pt x="28" y="73"/>
                              </a:cubicBezTo>
                              <a:cubicBezTo>
                                <a:pt x="28" y="73"/>
                                <a:pt x="28" y="73"/>
                                <a:pt x="28" y="73"/>
                              </a:cubicBezTo>
                              <a:cubicBezTo>
                                <a:pt x="27" y="77"/>
                                <a:pt x="26" y="79"/>
                                <a:pt x="25" y="82"/>
                              </a:cubicBezTo>
                              <a:cubicBezTo>
                                <a:pt x="24" y="86"/>
                                <a:pt x="23" y="89"/>
                                <a:pt x="23" y="94"/>
                              </a:cubicBezTo>
                              <a:cubicBezTo>
                                <a:pt x="23" y="96"/>
                                <a:pt x="23" y="99"/>
                                <a:pt x="23" y="102"/>
                              </a:cubicBezTo>
                              <a:cubicBezTo>
                                <a:pt x="24" y="109"/>
                                <a:pt x="25" y="115"/>
                                <a:pt x="16" y="118"/>
                              </a:cubicBezTo>
                              <a:cubicBezTo>
                                <a:pt x="12" y="120"/>
                                <a:pt x="8" y="120"/>
                                <a:pt x="5" y="120"/>
                              </a:cubicBezTo>
                              <a:cubicBezTo>
                                <a:pt x="3" y="120"/>
                                <a:pt x="1" y="120"/>
                                <a:pt x="0" y="121"/>
                              </a:cubicBezTo>
                              <a:cubicBezTo>
                                <a:pt x="0" y="122"/>
                                <a:pt x="0" y="122"/>
                                <a:pt x="0" y="122"/>
                              </a:cubicBezTo>
                              <a:cubicBezTo>
                                <a:pt x="1" y="124"/>
                                <a:pt x="3" y="127"/>
                                <a:pt x="8" y="131"/>
                              </a:cubicBezTo>
                              <a:cubicBezTo>
                                <a:pt x="20" y="142"/>
                                <a:pt x="20" y="144"/>
                                <a:pt x="21" y="151"/>
                              </a:cubicBezTo>
                              <a:cubicBezTo>
                                <a:pt x="21" y="152"/>
                                <a:pt x="21" y="152"/>
                                <a:pt x="21" y="152"/>
                              </a:cubicBezTo>
                              <a:cubicBezTo>
                                <a:pt x="21" y="155"/>
                                <a:pt x="21" y="158"/>
                                <a:pt x="22" y="161"/>
                              </a:cubicBezTo>
                              <a:cubicBezTo>
                                <a:pt x="23" y="163"/>
                                <a:pt x="23" y="165"/>
                                <a:pt x="24" y="166"/>
                              </a:cubicBezTo>
                              <a:cubicBezTo>
                                <a:pt x="25" y="167"/>
                                <a:pt x="31" y="175"/>
                                <a:pt x="37" y="184"/>
                              </a:cubicBezTo>
                              <a:cubicBezTo>
                                <a:pt x="44" y="194"/>
                                <a:pt x="52" y="205"/>
                                <a:pt x="53" y="206"/>
                              </a:cubicBezTo>
                              <a:cubicBezTo>
                                <a:pt x="53" y="206"/>
                                <a:pt x="53" y="206"/>
                                <a:pt x="53" y="206"/>
                              </a:cubicBezTo>
                              <a:cubicBezTo>
                                <a:pt x="55" y="207"/>
                                <a:pt x="55" y="207"/>
                                <a:pt x="55" y="207"/>
                              </a:cubicBezTo>
                              <a:cubicBezTo>
                                <a:pt x="59" y="211"/>
                                <a:pt x="69" y="219"/>
                                <a:pt x="72" y="222"/>
                              </a:cubicBezTo>
                              <a:cubicBezTo>
                                <a:pt x="74" y="225"/>
                                <a:pt x="75" y="231"/>
                                <a:pt x="76" y="237"/>
                              </a:cubicBezTo>
                              <a:cubicBezTo>
                                <a:pt x="77" y="241"/>
                                <a:pt x="78" y="245"/>
                                <a:pt x="79" y="247"/>
                              </a:cubicBezTo>
                              <a:cubicBezTo>
                                <a:pt x="79" y="248"/>
                                <a:pt x="80" y="248"/>
                                <a:pt x="81" y="248"/>
                              </a:cubicBezTo>
                              <a:cubicBezTo>
                                <a:pt x="83" y="248"/>
                                <a:pt x="86" y="248"/>
                                <a:pt x="88" y="250"/>
                              </a:cubicBezTo>
                              <a:cubicBezTo>
                                <a:pt x="94" y="253"/>
                                <a:pt x="94" y="257"/>
                                <a:pt x="93" y="262"/>
                              </a:cubicBezTo>
                              <a:cubicBezTo>
                                <a:pt x="93" y="263"/>
                                <a:pt x="93" y="264"/>
                                <a:pt x="92" y="264"/>
                              </a:cubicBezTo>
                              <a:cubicBezTo>
                                <a:pt x="92" y="268"/>
                                <a:pt x="91" y="270"/>
                                <a:pt x="89" y="273"/>
                              </a:cubicBezTo>
                              <a:cubicBezTo>
                                <a:pt x="87" y="274"/>
                                <a:pt x="84" y="276"/>
                                <a:pt x="82" y="277"/>
                              </a:cubicBezTo>
                              <a:cubicBezTo>
                                <a:pt x="80" y="278"/>
                                <a:pt x="80" y="278"/>
                                <a:pt x="80" y="278"/>
                              </a:cubicBezTo>
                              <a:cubicBezTo>
                                <a:pt x="77" y="279"/>
                                <a:pt x="74" y="280"/>
                                <a:pt x="74" y="283"/>
                              </a:cubicBezTo>
                              <a:cubicBezTo>
                                <a:pt x="73" y="285"/>
                                <a:pt x="74" y="289"/>
                                <a:pt x="74" y="293"/>
                              </a:cubicBezTo>
                              <a:cubicBezTo>
                                <a:pt x="74" y="299"/>
                                <a:pt x="75" y="305"/>
                                <a:pt x="74" y="311"/>
                              </a:cubicBezTo>
                              <a:cubicBezTo>
                                <a:pt x="73" y="312"/>
                                <a:pt x="73" y="314"/>
                                <a:pt x="73" y="315"/>
                              </a:cubicBezTo>
                              <a:cubicBezTo>
                                <a:pt x="71" y="322"/>
                                <a:pt x="71" y="326"/>
                                <a:pt x="62" y="329"/>
                              </a:cubicBezTo>
                              <a:cubicBezTo>
                                <a:pt x="62" y="329"/>
                                <a:pt x="62" y="329"/>
                                <a:pt x="62" y="329"/>
                              </a:cubicBezTo>
                              <a:cubicBezTo>
                                <a:pt x="60" y="330"/>
                                <a:pt x="60" y="330"/>
                                <a:pt x="60" y="330"/>
                              </a:cubicBezTo>
                              <a:cubicBezTo>
                                <a:pt x="60" y="330"/>
                                <a:pt x="60" y="330"/>
                                <a:pt x="60" y="330"/>
                              </a:cubicBezTo>
                              <a:cubicBezTo>
                                <a:pt x="54" y="332"/>
                                <a:pt x="51" y="332"/>
                                <a:pt x="51" y="337"/>
                              </a:cubicBezTo>
                              <a:cubicBezTo>
                                <a:pt x="50" y="342"/>
                                <a:pt x="55" y="352"/>
                                <a:pt x="58" y="359"/>
                              </a:cubicBezTo>
                              <a:cubicBezTo>
                                <a:pt x="59" y="360"/>
                                <a:pt x="59" y="360"/>
                                <a:pt x="59" y="360"/>
                              </a:cubicBezTo>
                              <a:cubicBezTo>
                                <a:pt x="59" y="360"/>
                                <a:pt x="59" y="360"/>
                                <a:pt x="59" y="360"/>
                              </a:cubicBezTo>
                              <a:cubicBezTo>
                                <a:pt x="61" y="365"/>
                                <a:pt x="81" y="387"/>
                                <a:pt x="94" y="402"/>
                              </a:cubicBezTo>
                              <a:cubicBezTo>
                                <a:pt x="98" y="407"/>
                                <a:pt x="101" y="411"/>
                                <a:pt x="104" y="414"/>
                              </a:cubicBezTo>
                              <a:cubicBezTo>
                                <a:pt x="111" y="422"/>
                                <a:pt x="111" y="425"/>
                                <a:pt x="111" y="431"/>
                              </a:cubicBezTo>
                              <a:cubicBezTo>
                                <a:pt x="111" y="433"/>
                                <a:pt x="111" y="435"/>
                                <a:pt x="111" y="439"/>
                              </a:cubicBezTo>
                              <a:cubicBezTo>
                                <a:pt x="112" y="447"/>
                                <a:pt x="111" y="450"/>
                                <a:pt x="110" y="454"/>
                              </a:cubicBezTo>
                              <a:cubicBezTo>
                                <a:pt x="109" y="457"/>
                                <a:pt x="108" y="460"/>
                                <a:pt x="108" y="466"/>
                              </a:cubicBezTo>
                              <a:cubicBezTo>
                                <a:pt x="108" y="474"/>
                                <a:pt x="110" y="477"/>
                                <a:pt x="114" y="481"/>
                              </a:cubicBezTo>
                              <a:cubicBezTo>
                                <a:pt x="116" y="483"/>
                                <a:pt x="119" y="486"/>
                                <a:pt x="121" y="490"/>
                              </a:cubicBezTo>
                              <a:cubicBezTo>
                                <a:pt x="126" y="498"/>
                                <a:pt x="127" y="501"/>
                                <a:pt x="128" y="506"/>
                              </a:cubicBezTo>
                              <a:cubicBezTo>
                                <a:pt x="129" y="508"/>
                                <a:pt x="129" y="511"/>
                                <a:pt x="131" y="515"/>
                              </a:cubicBezTo>
                              <a:cubicBezTo>
                                <a:pt x="133" y="521"/>
                                <a:pt x="134" y="526"/>
                                <a:pt x="135" y="532"/>
                              </a:cubicBezTo>
                              <a:cubicBezTo>
                                <a:pt x="136" y="538"/>
                                <a:pt x="136" y="544"/>
                                <a:pt x="135" y="550"/>
                              </a:cubicBezTo>
                              <a:cubicBezTo>
                                <a:pt x="134" y="560"/>
                                <a:pt x="122" y="574"/>
                                <a:pt x="114" y="584"/>
                              </a:cubicBezTo>
                              <a:cubicBezTo>
                                <a:pt x="113" y="586"/>
                                <a:pt x="111" y="587"/>
                                <a:pt x="110" y="589"/>
                              </a:cubicBezTo>
                              <a:cubicBezTo>
                                <a:pt x="107" y="593"/>
                                <a:pt x="104" y="596"/>
                                <a:pt x="101" y="600"/>
                              </a:cubicBezTo>
                              <a:cubicBezTo>
                                <a:pt x="97" y="604"/>
                                <a:pt x="94" y="608"/>
                                <a:pt x="90" y="613"/>
                              </a:cubicBezTo>
                              <a:cubicBezTo>
                                <a:pt x="86" y="619"/>
                                <a:pt x="86" y="622"/>
                                <a:pt x="85" y="626"/>
                              </a:cubicBezTo>
                              <a:cubicBezTo>
                                <a:pt x="85" y="629"/>
                                <a:pt x="85" y="632"/>
                                <a:pt x="84" y="636"/>
                              </a:cubicBezTo>
                              <a:cubicBezTo>
                                <a:pt x="82" y="641"/>
                                <a:pt x="75" y="650"/>
                                <a:pt x="70" y="656"/>
                              </a:cubicBezTo>
                              <a:cubicBezTo>
                                <a:pt x="71" y="659"/>
                                <a:pt x="71" y="662"/>
                                <a:pt x="70" y="663"/>
                              </a:cubicBezTo>
                              <a:cubicBezTo>
                                <a:pt x="68" y="668"/>
                                <a:pt x="64" y="673"/>
                                <a:pt x="61" y="681"/>
                              </a:cubicBezTo>
                              <a:cubicBezTo>
                                <a:pt x="59" y="688"/>
                                <a:pt x="58" y="694"/>
                                <a:pt x="55" y="699"/>
                              </a:cubicBezTo>
                              <a:cubicBezTo>
                                <a:pt x="53" y="703"/>
                                <a:pt x="51" y="707"/>
                                <a:pt x="50" y="713"/>
                              </a:cubicBezTo>
                              <a:cubicBezTo>
                                <a:pt x="50" y="720"/>
                                <a:pt x="50" y="722"/>
                                <a:pt x="47" y="728"/>
                              </a:cubicBezTo>
                              <a:cubicBezTo>
                                <a:pt x="44" y="734"/>
                                <a:pt x="45" y="741"/>
                                <a:pt x="46" y="749"/>
                              </a:cubicBezTo>
                              <a:cubicBezTo>
                                <a:pt x="46" y="758"/>
                                <a:pt x="46" y="764"/>
                                <a:pt x="50" y="766"/>
                              </a:cubicBezTo>
                              <a:cubicBezTo>
                                <a:pt x="55" y="769"/>
                                <a:pt x="56" y="762"/>
                                <a:pt x="60" y="759"/>
                              </a:cubicBezTo>
                              <a:cubicBezTo>
                                <a:pt x="65" y="756"/>
                                <a:pt x="70" y="756"/>
                                <a:pt x="79" y="760"/>
                              </a:cubicBezTo>
                              <a:cubicBezTo>
                                <a:pt x="88" y="765"/>
                                <a:pt x="87" y="767"/>
                                <a:pt x="95" y="779"/>
                              </a:cubicBezTo>
                              <a:cubicBezTo>
                                <a:pt x="104" y="790"/>
                                <a:pt x="100" y="797"/>
                                <a:pt x="102" y="801"/>
                              </a:cubicBezTo>
                              <a:cubicBezTo>
                                <a:pt x="104" y="804"/>
                                <a:pt x="115" y="804"/>
                                <a:pt x="117" y="807"/>
                              </a:cubicBezTo>
                              <a:cubicBezTo>
                                <a:pt x="119" y="810"/>
                                <a:pt x="118" y="815"/>
                                <a:pt x="121" y="819"/>
                              </a:cubicBezTo>
                              <a:cubicBezTo>
                                <a:pt x="124" y="823"/>
                                <a:pt x="131" y="823"/>
                                <a:pt x="131" y="828"/>
                              </a:cubicBezTo>
                              <a:cubicBezTo>
                                <a:pt x="131" y="833"/>
                                <a:pt x="138" y="834"/>
                                <a:pt x="141" y="839"/>
                              </a:cubicBezTo>
                              <a:cubicBezTo>
                                <a:pt x="145" y="844"/>
                                <a:pt x="142" y="847"/>
                                <a:pt x="143" y="853"/>
                              </a:cubicBezTo>
                              <a:cubicBezTo>
                                <a:pt x="144" y="859"/>
                                <a:pt x="146" y="861"/>
                                <a:pt x="151" y="865"/>
                              </a:cubicBezTo>
                              <a:cubicBezTo>
                                <a:pt x="156" y="869"/>
                                <a:pt x="155" y="870"/>
                                <a:pt x="159" y="876"/>
                              </a:cubicBezTo>
                              <a:cubicBezTo>
                                <a:pt x="163" y="882"/>
                                <a:pt x="162" y="887"/>
                                <a:pt x="171" y="895"/>
                              </a:cubicBezTo>
                              <a:cubicBezTo>
                                <a:pt x="179" y="902"/>
                                <a:pt x="178" y="905"/>
                                <a:pt x="178" y="913"/>
                              </a:cubicBezTo>
                              <a:cubicBezTo>
                                <a:pt x="178" y="920"/>
                                <a:pt x="176" y="937"/>
                                <a:pt x="175" y="942"/>
                              </a:cubicBezTo>
                              <a:cubicBezTo>
                                <a:pt x="174" y="946"/>
                                <a:pt x="175" y="946"/>
                                <a:pt x="179" y="952"/>
                              </a:cubicBezTo>
                              <a:cubicBezTo>
                                <a:pt x="184" y="959"/>
                                <a:pt x="179" y="959"/>
                                <a:pt x="182" y="966"/>
                              </a:cubicBezTo>
                              <a:cubicBezTo>
                                <a:pt x="185" y="974"/>
                                <a:pt x="200" y="989"/>
                                <a:pt x="198" y="996"/>
                              </a:cubicBezTo>
                              <a:cubicBezTo>
                                <a:pt x="196" y="1002"/>
                                <a:pt x="195" y="1006"/>
                                <a:pt x="196" y="1013"/>
                              </a:cubicBezTo>
                              <a:cubicBezTo>
                                <a:pt x="196" y="1020"/>
                                <a:pt x="202" y="1020"/>
                                <a:pt x="204" y="1024"/>
                              </a:cubicBezTo>
                              <a:cubicBezTo>
                                <a:pt x="207" y="1028"/>
                                <a:pt x="203" y="1029"/>
                                <a:pt x="203" y="1035"/>
                              </a:cubicBezTo>
                              <a:cubicBezTo>
                                <a:pt x="204" y="1040"/>
                                <a:pt x="210" y="1044"/>
                                <a:pt x="218" y="1049"/>
                              </a:cubicBezTo>
                              <a:cubicBezTo>
                                <a:pt x="226" y="1054"/>
                                <a:pt x="229" y="1065"/>
                                <a:pt x="234" y="1072"/>
                              </a:cubicBezTo>
                              <a:cubicBezTo>
                                <a:pt x="238" y="1080"/>
                                <a:pt x="236" y="1089"/>
                                <a:pt x="237" y="1095"/>
                              </a:cubicBezTo>
                              <a:cubicBezTo>
                                <a:pt x="238" y="1100"/>
                                <a:pt x="250" y="1109"/>
                                <a:pt x="257" y="1113"/>
                              </a:cubicBezTo>
                              <a:cubicBezTo>
                                <a:pt x="265" y="1118"/>
                                <a:pt x="269" y="1121"/>
                                <a:pt x="278" y="1126"/>
                              </a:cubicBezTo>
                              <a:cubicBezTo>
                                <a:pt x="288" y="1131"/>
                                <a:pt x="297" y="1134"/>
                                <a:pt x="308" y="1141"/>
                              </a:cubicBezTo>
                              <a:cubicBezTo>
                                <a:pt x="319" y="1147"/>
                                <a:pt x="332" y="1161"/>
                                <a:pt x="340" y="1167"/>
                              </a:cubicBezTo>
                              <a:cubicBezTo>
                                <a:pt x="348" y="1173"/>
                                <a:pt x="357" y="1179"/>
                                <a:pt x="365" y="1186"/>
                              </a:cubicBezTo>
                              <a:cubicBezTo>
                                <a:pt x="372" y="1193"/>
                                <a:pt x="373" y="1193"/>
                                <a:pt x="377" y="1196"/>
                              </a:cubicBezTo>
                              <a:cubicBezTo>
                                <a:pt x="381" y="1199"/>
                                <a:pt x="385" y="1199"/>
                                <a:pt x="392" y="1200"/>
                              </a:cubicBezTo>
                              <a:cubicBezTo>
                                <a:pt x="399" y="1200"/>
                                <a:pt x="403" y="1199"/>
                                <a:pt x="409" y="1196"/>
                              </a:cubicBezTo>
                              <a:cubicBezTo>
                                <a:pt x="415" y="1194"/>
                                <a:pt x="414" y="1196"/>
                                <a:pt x="420" y="1196"/>
                              </a:cubicBezTo>
                              <a:close/>
                              <a:moveTo>
                                <a:pt x="156" y="675"/>
                              </a:moveTo>
                              <a:cubicBezTo>
                                <a:pt x="153" y="681"/>
                                <a:pt x="153" y="682"/>
                                <a:pt x="154" y="687"/>
                              </a:cubicBezTo>
                              <a:cubicBezTo>
                                <a:pt x="156" y="691"/>
                                <a:pt x="160" y="692"/>
                                <a:pt x="162" y="685"/>
                              </a:cubicBezTo>
                              <a:cubicBezTo>
                                <a:pt x="163" y="679"/>
                                <a:pt x="162" y="669"/>
                                <a:pt x="156" y="675"/>
                              </a:cubicBezTo>
                              <a:close/>
                              <a:moveTo>
                                <a:pt x="52" y="779"/>
                              </a:moveTo>
                              <a:cubicBezTo>
                                <a:pt x="52" y="784"/>
                                <a:pt x="48" y="788"/>
                                <a:pt x="51" y="792"/>
                              </a:cubicBezTo>
                              <a:cubicBezTo>
                                <a:pt x="54" y="795"/>
                                <a:pt x="63" y="792"/>
                                <a:pt x="61" y="789"/>
                              </a:cubicBezTo>
                              <a:cubicBezTo>
                                <a:pt x="60" y="786"/>
                                <a:pt x="55" y="774"/>
                                <a:pt x="52" y="779"/>
                              </a:cubicBezTo>
                              <a:close/>
                              <a:moveTo>
                                <a:pt x="135" y="872"/>
                              </a:moveTo>
                              <a:cubicBezTo>
                                <a:pt x="133" y="877"/>
                                <a:pt x="128" y="875"/>
                                <a:pt x="133" y="883"/>
                              </a:cubicBezTo>
                              <a:cubicBezTo>
                                <a:pt x="138" y="891"/>
                                <a:pt x="139" y="896"/>
                                <a:pt x="143" y="894"/>
                              </a:cubicBezTo>
                              <a:cubicBezTo>
                                <a:pt x="146" y="891"/>
                                <a:pt x="146" y="886"/>
                                <a:pt x="144" y="880"/>
                              </a:cubicBezTo>
                              <a:cubicBezTo>
                                <a:pt x="142" y="874"/>
                                <a:pt x="138" y="868"/>
                                <a:pt x="135" y="872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528" name="Freeform 300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6236606" y="4561972"/>
                          <a:ext cx="236934" cy="160734"/>
                        </a:xfrm>
                        <a:custGeom>
                          <a:avLst/>
                          <a:gdLst>
                            <a:gd name="T0" fmla="*/ 723 w 826"/>
                            <a:gd name="T1" fmla="*/ 358 h 559"/>
                            <a:gd name="T2" fmla="*/ 734 w 826"/>
                            <a:gd name="T3" fmla="*/ 326 h 559"/>
                            <a:gd name="T4" fmla="*/ 750 w 826"/>
                            <a:gd name="T5" fmla="*/ 254 h 559"/>
                            <a:gd name="T6" fmla="*/ 774 w 826"/>
                            <a:gd name="T7" fmla="*/ 241 h 559"/>
                            <a:gd name="T8" fmla="*/ 813 w 826"/>
                            <a:gd name="T9" fmla="*/ 226 h 559"/>
                            <a:gd name="T10" fmla="*/ 755 w 826"/>
                            <a:gd name="T11" fmla="*/ 173 h 559"/>
                            <a:gd name="T12" fmla="*/ 743 w 826"/>
                            <a:gd name="T13" fmla="*/ 122 h 559"/>
                            <a:gd name="T14" fmla="*/ 723 w 826"/>
                            <a:gd name="T15" fmla="*/ 86 h 559"/>
                            <a:gd name="T16" fmla="*/ 738 w 826"/>
                            <a:gd name="T17" fmla="*/ 66 h 559"/>
                            <a:gd name="T18" fmla="*/ 739 w 826"/>
                            <a:gd name="T19" fmla="*/ 45 h 559"/>
                            <a:gd name="T20" fmla="*/ 658 w 826"/>
                            <a:gd name="T21" fmla="*/ 33 h 559"/>
                            <a:gd name="T22" fmla="*/ 623 w 826"/>
                            <a:gd name="T23" fmla="*/ 57 h 559"/>
                            <a:gd name="T24" fmla="*/ 614 w 826"/>
                            <a:gd name="T25" fmla="*/ 114 h 559"/>
                            <a:gd name="T26" fmla="*/ 595 w 826"/>
                            <a:gd name="T27" fmla="*/ 145 h 559"/>
                            <a:gd name="T28" fmla="*/ 577 w 826"/>
                            <a:gd name="T29" fmla="*/ 181 h 559"/>
                            <a:gd name="T30" fmla="*/ 553 w 826"/>
                            <a:gd name="T31" fmla="*/ 217 h 559"/>
                            <a:gd name="T32" fmla="*/ 507 w 826"/>
                            <a:gd name="T33" fmla="*/ 226 h 559"/>
                            <a:gd name="T34" fmla="*/ 450 w 826"/>
                            <a:gd name="T35" fmla="*/ 212 h 559"/>
                            <a:gd name="T36" fmla="*/ 402 w 826"/>
                            <a:gd name="T37" fmla="*/ 237 h 559"/>
                            <a:gd name="T38" fmla="*/ 340 w 826"/>
                            <a:gd name="T39" fmla="*/ 242 h 559"/>
                            <a:gd name="T40" fmla="*/ 246 w 826"/>
                            <a:gd name="T41" fmla="*/ 191 h 559"/>
                            <a:gd name="T42" fmla="*/ 231 w 826"/>
                            <a:gd name="T43" fmla="*/ 195 h 559"/>
                            <a:gd name="T44" fmla="*/ 228 w 826"/>
                            <a:gd name="T45" fmla="*/ 220 h 559"/>
                            <a:gd name="T46" fmla="*/ 212 w 826"/>
                            <a:gd name="T47" fmla="*/ 243 h 559"/>
                            <a:gd name="T48" fmla="*/ 211 w 826"/>
                            <a:gd name="T49" fmla="*/ 279 h 559"/>
                            <a:gd name="T50" fmla="*/ 223 w 826"/>
                            <a:gd name="T51" fmla="*/ 318 h 559"/>
                            <a:gd name="T52" fmla="*/ 231 w 826"/>
                            <a:gd name="T53" fmla="*/ 350 h 559"/>
                            <a:gd name="T54" fmla="*/ 265 w 826"/>
                            <a:gd name="T55" fmla="*/ 360 h 559"/>
                            <a:gd name="T56" fmla="*/ 273 w 826"/>
                            <a:gd name="T57" fmla="*/ 416 h 559"/>
                            <a:gd name="T58" fmla="*/ 287 w 826"/>
                            <a:gd name="T59" fmla="*/ 465 h 559"/>
                            <a:gd name="T60" fmla="*/ 332 w 826"/>
                            <a:gd name="T61" fmla="*/ 480 h 559"/>
                            <a:gd name="T62" fmla="*/ 365 w 826"/>
                            <a:gd name="T63" fmla="*/ 483 h 559"/>
                            <a:gd name="T64" fmla="*/ 389 w 826"/>
                            <a:gd name="T65" fmla="*/ 507 h 559"/>
                            <a:gd name="T66" fmla="*/ 442 w 826"/>
                            <a:gd name="T67" fmla="*/ 502 h 559"/>
                            <a:gd name="T68" fmla="*/ 490 w 826"/>
                            <a:gd name="T69" fmla="*/ 495 h 559"/>
                            <a:gd name="T70" fmla="*/ 531 w 826"/>
                            <a:gd name="T71" fmla="*/ 502 h 559"/>
                            <a:gd name="T72" fmla="*/ 563 w 826"/>
                            <a:gd name="T73" fmla="*/ 550 h 559"/>
                            <a:gd name="T74" fmla="*/ 632 w 826"/>
                            <a:gd name="T75" fmla="*/ 528 h 559"/>
                            <a:gd name="T76" fmla="*/ 658 w 826"/>
                            <a:gd name="T77" fmla="*/ 490 h 559"/>
                            <a:gd name="T78" fmla="*/ 667 w 826"/>
                            <a:gd name="T79" fmla="*/ 468 h 559"/>
                            <a:gd name="T80" fmla="*/ 679 w 826"/>
                            <a:gd name="T81" fmla="*/ 439 h 559"/>
                            <a:gd name="T82" fmla="*/ 669 w 826"/>
                            <a:gd name="T83" fmla="*/ 423 h 559"/>
                            <a:gd name="T84" fmla="*/ 683 w 826"/>
                            <a:gd name="T85" fmla="*/ 390 h 559"/>
                            <a:gd name="T86" fmla="*/ 6 w 826"/>
                            <a:gd name="T87" fmla="*/ 126 h 559"/>
                            <a:gd name="T88" fmla="*/ 207 w 826"/>
                            <a:gd name="T89" fmla="*/ 126 h 559"/>
                            <a:gd name="T90" fmla="*/ 144 w 826"/>
                            <a:gd name="T91" fmla="*/ 3 h 559"/>
                            <a:gd name="T92" fmla="*/ 168 w 826"/>
                            <a:gd name="T93" fmla="*/ 51 h 559"/>
                            <a:gd name="T94" fmla="*/ 174 w 826"/>
                            <a:gd name="T95" fmla="*/ 67 h 559"/>
                            <a:gd name="T96" fmla="*/ 666 w 826"/>
                            <a:gd name="T97" fmla="*/ 519 h 559"/>
                            <a:gd name="T98" fmla="*/ 651 w 826"/>
                            <a:gd name="T99" fmla="*/ 552 h 55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</a:cxnLst>
                          <a:rect l="0" t="0" r="r" b="b"/>
                          <a:pathLst>
                            <a:path w="826" h="559">
                              <a:moveTo>
                                <a:pt x="696" y="370"/>
                              </a:moveTo>
                              <a:cubicBezTo>
                                <a:pt x="703" y="370"/>
                                <a:pt x="698" y="375"/>
                                <a:pt x="704" y="374"/>
                              </a:cubicBezTo>
                              <a:cubicBezTo>
                                <a:pt x="710" y="374"/>
                                <a:pt x="717" y="369"/>
                                <a:pt x="719" y="368"/>
                              </a:cubicBezTo>
                              <a:cubicBezTo>
                                <a:pt x="721" y="367"/>
                                <a:pt x="723" y="364"/>
                                <a:pt x="723" y="358"/>
                              </a:cubicBezTo>
                              <a:cubicBezTo>
                                <a:pt x="724" y="351"/>
                                <a:pt x="727" y="351"/>
                                <a:pt x="730" y="350"/>
                              </a:cubicBezTo>
                              <a:cubicBezTo>
                                <a:pt x="734" y="350"/>
                                <a:pt x="738" y="349"/>
                                <a:pt x="738" y="343"/>
                              </a:cubicBezTo>
                              <a:cubicBezTo>
                                <a:pt x="739" y="337"/>
                                <a:pt x="745" y="334"/>
                                <a:pt x="742" y="329"/>
                              </a:cubicBezTo>
                              <a:cubicBezTo>
                                <a:pt x="739" y="325"/>
                                <a:pt x="738" y="329"/>
                                <a:pt x="734" y="326"/>
                              </a:cubicBezTo>
                              <a:cubicBezTo>
                                <a:pt x="730" y="323"/>
                                <a:pt x="734" y="324"/>
                                <a:pt x="736" y="311"/>
                              </a:cubicBezTo>
                              <a:cubicBezTo>
                                <a:pt x="738" y="298"/>
                                <a:pt x="736" y="303"/>
                                <a:pt x="736" y="293"/>
                              </a:cubicBezTo>
                              <a:cubicBezTo>
                                <a:pt x="736" y="283"/>
                                <a:pt x="738" y="279"/>
                                <a:pt x="745" y="272"/>
                              </a:cubicBezTo>
                              <a:cubicBezTo>
                                <a:pt x="752" y="265"/>
                                <a:pt x="749" y="260"/>
                                <a:pt x="750" y="254"/>
                              </a:cubicBezTo>
                              <a:cubicBezTo>
                                <a:pt x="752" y="249"/>
                                <a:pt x="759" y="252"/>
                                <a:pt x="764" y="250"/>
                              </a:cubicBezTo>
                              <a:cubicBezTo>
                                <a:pt x="769" y="248"/>
                                <a:pt x="766" y="245"/>
                                <a:pt x="764" y="238"/>
                              </a:cubicBezTo>
                              <a:cubicBezTo>
                                <a:pt x="761" y="231"/>
                                <a:pt x="761" y="232"/>
                                <a:pt x="763" y="231"/>
                              </a:cubicBezTo>
                              <a:cubicBezTo>
                                <a:pt x="765" y="230"/>
                                <a:pt x="772" y="235"/>
                                <a:pt x="774" y="241"/>
                              </a:cubicBezTo>
                              <a:cubicBezTo>
                                <a:pt x="777" y="246"/>
                                <a:pt x="783" y="245"/>
                                <a:pt x="787" y="247"/>
                              </a:cubicBezTo>
                              <a:cubicBezTo>
                                <a:pt x="792" y="248"/>
                                <a:pt x="805" y="250"/>
                                <a:pt x="811" y="250"/>
                              </a:cubicBezTo>
                              <a:cubicBezTo>
                                <a:pt x="818" y="250"/>
                                <a:pt x="826" y="248"/>
                                <a:pt x="824" y="239"/>
                              </a:cubicBezTo>
                              <a:cubicBezTo>
                                <a:pt x="823" y="230"/>
                                <a:pt x="819" y="237"/>
                                <a:pt x="813" y="226"/>
                              </a:cubicBezTo>
                              <a:cubicBezTo>
                                <a:pt x="806" y="214"/>
                                <a:pt x="805" y="220"/>
                                <a:pt x="796" y="216"/>
                              </a:cubicBezTo>
                              <a:cubicBezTo>
                                <a:pt x="787" y="211"/>
                                <a:pt x="789" y="210"/>
                                <a:pt x="785" y="200"/>
                              </a:cubicBezTo>
                              <a:cubicBezTo>
                                <a:pt x="781" y="189"/>
                                <a:pt x="776" y="192"/>
                                <a:pt x="765" y="187"/>
                              </a:cubicBezTo>
                              <a:cubicBezTo>
                                <a:pt x="754" y="181"/>
                                <a:pt x="755" y="179"/>
                                <a:pt x="755" y="173"/>
                              </a:cubicBezTo>
                              <a:cubicBezTo>
                                <a:pt x="756" y="167"/>
                                <a:pt x="762" y="169"/>
                                <a:pt x="766" y="162"/>
                              </a:cubicBezTo>
                              <a:cubicBezTo>
                                <a:pt x="771" y="155"/>
                                <a:pt x="773" y="154"/>
                                <a:pt x="765" y="147"/>
                              </a:cubicBezTo>
                              <a:cubicBezTo>
                                <a:pt x="757" y="139"/>
                                <a:pt x="758" y="139"/>
                                <a:pt x="750" y="132"/>
                              </a:cubicBezTo>
                              <a:cubicBezTo>
                                <a:pt x="743" y="125"/>
                                <a:pt x="746" y="129"/>
                                <a:pt x="743" y="122"/>
                              </a:cubicBezTo>
                              <a:cubicBezTo>
                                <a:pt x="740" y="115"/>
                                <a:pt x="745" y="116"/>
                                <a:pt x="744" y="108"/>
                              </a:cubicBezTo>
                              <a:cubicBezTo>
                                <a:pt x="743" y="100"/>
                                <a:pt x="739" y="109"/>
                                <a:pt x="731" y="105"/>
                              </a:cubicBezTo>
                              <a:cubicBezTo>
                                <a:pt x="724" y="101"/>
                                <a:pt x="726" y="101"/>
                                <a:pt x="727" y="95"/>
                              </a:cubicBezTo>
                              <a:cubicBezTo>
                                <a:pt x="729" y="89"/>
                                <a:pt x="729" y="89"/>
                                <a:pt x="723" y="86"/>
                              </a:cubicBezTo>
                              <a:cubicBezTo>
                                <a:pt x="717" y="83"/>
                                <a:pt x="711" y="85"/>
                                <a:pt x="710" y="80"/>
                              </a:cubicBezTo>
                              <a:cubicBezTo>
                                <a:pt x="708" y="75"/>
                                <a:pt x="717" y="76"/>
                                <a:pt x="723" y="76"/>
                              </a:cubicBezTo>
                              <a:cubicBezTo>
                                <a:pt x="729" y="76"/>
                                <a:pt x="732" y="77"/>
                                <a:pt x="736" y="76"/>
                              </a:cubicBezTo>
                              <a:cubicBezTo>
                                <a:pt x="741" y="74"/>
                                <a:pt x="736" y="69"/>
                                <a:pt x="738" y="66"/>
                              </a:cubicBezTo>
                              <a:cubicBezTo>
                                <a:pt x="740" y="63"/>
                                <a:pt x="746" y="69"/>
                                <a:pt x="750" y="70"/>
                              </a:cubicBezTo>
                              <a:cubicBezTo>
                                <a:pt x="754" y="71"/>
                                <a:pt x="754" y="65"/>
                                <a:pt x="751" y="63"/>
                              </a:cubicBezTo>
                              <a:cubicBezTo>
                                <a:pt x="749" y="60"/>
                                <a:pt x="743" y="56"/>
                                <a:pt x="739" y="50"/>
                              </a:cubicBezTo>
                              <a:cubicBezTo>
                                <a:pt x="737" y="47"/>
                                <a:pt x="738" y="45"/>
                                <a:pt x="739" y="45"/>
                              </a:cubicBezTo>
                              <a:cubicBezTo>
                                <a:pt x="731" y="42"/>
                                <a:pt x="723" y="40"/>
                                <a:pt x="718" y="40"/>
                              </a:cubicBezTo>
                              <a:cubicBezTo>
                                <a:pt x="713" y="39"/>
                                <a:pt x="710" y="39"/>
                                <a:pt x="706" y="39"/>
                              </a:cubicBezTo>
                              <a:cubicBezTo>
                                <a:pt x="698" y="38"/>
                                <a:pt x="691" y="38"/>
                                <a:pt x="680" y="35"/>
                              </a:cubicBezTo>
                              <a:cubicBezTo>
                                <a:pt x="672" y="32"/>
                                <a:pt x="665" y="32"/>
                                <a:pt x="658" y="33"/>
                              </a:cubicBezTo>
                              <a:cubicBezTo>
                                <a:pt x="651" y="34"/>
                                <a:pt x="645" y="35"/>
                                <a:pt x="638" y="38"/>
                              </a:cubicBezTo>
                              <a:cubicBezTo>
                                <a:pt x="629" y="41"/>
                                <a:pt x="626" y="48"/>
                                <a:pt x="624" y="53"/>
                              </a:cubicBezTo>
                              <a:cubicBezTo>
                                <a:pt x="624" y="53"/>
                                <a:pt x="624" y="53"/>
                                <a:pt x="624" y="53"/>
                              </a:cubicBezTo>
                              <a:cubicBezTo>
                                <a:pt x="624" y="55"/>
                                <a:pt x="623" y="56"/>
                                <a:pt x="623" y="57"/>
                              </a:cubicBezTo>
                              <a:cubicBezTo>
                                <a:pt x="622" y="59"/>
                                <a:pt x="622" y="63"/>
                                <a:pt x="623" y="69"/>
                              </a:cubicBezTo>
                              <a:cubicBezTo>
                                <a:pt x="624" y="73"/>
                                <a:pt x="625" y="79"/>
                                <a:pt x="624" y="84"/>
                              </a:cubicBezTo>
                              <a:cubicBezTo>
                                <a:pt x="624" y="90"/>
                                <a:pt x="623" y="95"/>
                                <a:pt x="622" y="100"/>
                              </a:cubicBezTo>
                              <a:cubicBezTo>
                                <a:pt x="620" y="106"/>
                                <a:pt x="617" y="110"/>
                                <a:pt x="614" y="114"/>
                              </a:cubicBezTo>
                              <a:cubicBezTo>
                                <a:pt x="610" y="118"/>
                                <a:pt x="607" y="119"/>
                                <a:pt x="603" y="121"/>
                              </a:cubicBezTo>
                              <a:cubicBezTo>
                                <a:pt x="600" y="122"/>
                                <a:pt x="597" y="124"/>
                                <a:pt x="595" y="127"/>
                              </a:cubicBezTo>
                              <a:cubicBezTo>
                                <a:pt x="593" y="131"/>
                                <a:pt x="593" y="134"/>
                                <a:pt x="594" y="139"/>
                              </a:cubicBezTo>
                              <a:cubicBezTo>
                                <a:pt x="595" y="141"/>
                                <a:pt x="595" y="143"/>
                                <a:pt x="595" y="145"/>
                              </a:cubicBezTo>
                              <a:cubicBezTo>
                                <a:pt x="597" y="155"/>
                                <a:pt x="591" y="156"/>
                                <a:pt x="585" y="159"/>
                              </a:cubicBezTo>
                              <a:cubicBezTo>
                                <a:pt x="582" y="159"/>
                                <a:pt x="580" y="160"/>
                                <a:pt x="578" y="162"/>
                              </a:cubicBezTo>
                              <a:cubicBezTo>
                                <a:pt x="575" y="165"/>
                                <a:pt x="576" y="170"/>
                                <a:pt x="577" y="174"/>
                              </a:cubicBezTo>
                              <a:cubicBezTo>
                                <a:pt x="577" y="177"/>
                                <a:pt x="577" y="179"/>
                                <a:pt x="577" y="181"/>
                              </a:cubicBezTo>
                              <a:cubicBezTo>
                                <a:pt x="577" y="186"/>
                                <a:pt x="575" y="189"/>
                                <a:pt x="572" y="192"/>
                              </a:cubicBezTo>
                              <a:cubicBezTo>
                                <a:pt x="571" y="194"/>
                                <a:pt x="569" y="196"/>
                                <a:pt x="568" y="198"/>
                              </a:cubicBezTo>
                              <a:cubicBezTo>
                                <a:pt x="567" y="200"/>
                                <a:pt x="566" y="202"/>
                                <a:pt x="565" y="204"/>
                              </a:cubicBezTo>
                              <a:cubicBezTo>
                                <a:pt x="562" y="209"/>
                                <a:pt x="561" y="213"/>
                                <a:pt x="553" y="217"/>
                              </a:cubicBezTo>
                              <a:cubicBezTo>
                                <a:pt x="547" y="221"/>
                                <a:pt x="543" y="220"/>
                                <a:pt x="538" y="219"/>
                              </a:cubicBezTo>
                              <a:cubicBezTo>
                                <a:pt x="536" y="219"/>
                                <a:pt x="532" y="218"/>
                                <a:pt x="527" y="219"/>
                              </a:cubicBezTo>
                              <a:cubicBezTo>
                                <a:pt x="518" y="219"/>
                                <a:pt x="515" y="221"/>
                                <a:pt x="512" y="223"/>
                              </a:cubicBezTo>
                              <a:cubicBezTo>
                                <a:pt x="511" y="224"/>
                                <a:pt x="509" y="225"/>
                                <a:pt x="507" y="226"/>
                              </a:cubicBezTo>
                              <a:cubicBezTo>
                                <a:pt x="504" y="227"/>
                                <a:pt x="500" y="229"/>
                                <a:pt x="496" y="229"/>
                              </a:cubicBezTo>
                              <a:cubicBezTo>
                                <a:pt x="491" y="230"/>
                                <a:pt x="486" y="229"/>
                                <a:pt x="480" y="226"/>
                              </a:cubicBezTo>
                              <a:cubicBezTo>
                                <a:pt x="477" y="225"/>
                                <a:pt x="475" y="223"/>
                                <a:pt x="472" y="221"/>
                              </a:cubicBezTo>
                              <a:cubicBezTo>
                                <a:pt x="464" y="217"/>
                                <a:pt x="455" y="212"/>
                                <a:pt x="450" y="212"/>
                              </a:cubicBezTo>
                              <a:cubicBezTo>
                                <a:pt x="445" y="212"/>
                                <a:pt x="437" y="212"/>
                                <a:pt x="429" y="212"/>
                              </a:cubicBezTo>
                              <a:cubicBezTo>
                                <a:pt x="422" y="213"/>
                                <a:pt x="415" y="214"/>
                                <a:pt x="411" y="217"/>
                              </a:cubicBezTo>
                              <a:cubicBezTo>
                                <a:pt x="408" y="219"/>
                                <a:pt x="407" y="223"/>
                                <a:pt x="407" y="226"/>
                              </a:cubicBezTo>
                              <a:cubicBezTo>
                                <a:pt x="406" y="229"/>
                                <a:pt x="405" y="233"/>
                                <a:pt x="402" y="237"/>
                              </a:cubicBezTo>
                              <a:cubicBezTo>
                                <a:pt x="399" y="241"/>
                                <a:pt x="394" y="243"/>
                                <a:pt x="389" y="244"/>
                              </a:cubicBezTo>
                              <a:cubicBezTo>
                                <a:pt x="383" y="245"/>
                                <a:pt x="377" y="244"/>
                                <a:pt x="369" y="242"/>
                              </a:cubicBezTo>
                              <a:cubicBezTo>
                                <a:pt x="363" y="241"/>
                                <a:pt x="358" y="240"/>
                                <a:pt x="354" y="240"/>
                              </a:cubicBezTo>
                              <a:cubicBezTo>
                                <a:pt x="350" y="240"/>
                                <a:pt x="346" y="241"/>
                                <a:pt x="340" y="242"/>
                              </a:cubicBezTo>
                              <a:cubicBezTo>
                                <a:pt x="337" y="242"/>
                                <a:pt x="334" y="243"/>
                                <a:pt x="331" y="244"/>
                              </a:cubicBezTo>
                              <a:cubicBezTo>
                                <a:pt x="321" y="247"/>
                                <a:pt x="311" y="250"/>
                                <a:pt x="300" y="247"/>
                              </a:cubicBezTo>
                              <a:cubicBezTo>
                                <a:pt x="292" y="244"/>
                                <a:pt x="280" y="234"/>
                                <a:pt x="269" y="223"/>
                              </a:cubicBezTo>
                              <a:cubicBezTo>
                                <a:pt x="257" y="210"/>
                                <a:pt x="246" y="196"/>
                                <a:pt x="246" y="191"/>
                              </a:cubicBezTo>
                              <a:cubicBezTo>
                                <a:pt x="246" y="187"/>
                                <a:pt x="247" y="184"/>
                                <a:pt x="248" y="180"/>
                              </a:cubicBezTo>
                              <a:cubicBezTo>
                                <a:pt x="247" y="180"/>
                                <a:pt x="246" y="180"/>
                                <a:pt x="244" y="180"/>
                              </a:cubicBezTo>
                              <a:cubicBezTo>
                                <a:pt x="240" y="180"/>
                                <a:pt x="240" y="184"/>
                                <a:pt x="236" y="186"/>
                              </a:cubicBezTo>
                              <a:cubicBezTo>
                                <a:pt x="233" y="189"/>
                                <a:pt x="233" y="192"/>
                                <a:pt x="231" y="195"/>
                              </a:cubicBezTo>
                              <a:cubicBezTo>
                                <a:pt x="228" y="198"/>
                                <a:pt x="225" y="201"/>
                                <a:pt x="221" y="204"/>
                              </a:cubicBezTo>
                              <a:cubicBezTo>
                                <a:pt x="218" y="206"/>
                                <a:pt x="220" y="208"/>
                                <a:pt x="222" y="210"/>
                              </a:cubicBezTo>
                              <a:cubicBezTo>
                                <a:pt x="223" y="213"/>
                                <a:pt x="226" y="212"/>
                                <a:pt x="228" y="214"/>
                              </a:cubicBezTo>
                              <a:cubicBezTo>
                                <a:pt x="231" y="216"/>
                                <a:pt x="229" y="216"/>
                                <a:pt x="228" y="220"/>
                              </a:cubicBezTo>
                              <a:cubicBezTo>
                                <a:pt x="227" y="224"/>
                                <a:pt x="225" y="224"/>
                                <a:pt x="220" y="226"/>
                              </a:cubicBezTo>
                              <a:cubicBezTo>
                                <a:pt x="216" y="228"/>
                                <a:pt x="217" y="227"/>
                                <a:pt x="213" y="228"/>
                              </a:cubicBezTo>
                              <a:cubicBezTo>
                                <a:pt x="209" y="229"/>
                                <a:pt x="211" y="231"/>
                                <a:pt x="211" y="233"/>
                              </a:cubicBezTo>
                              <a:cubicBezTo>
                                <a:pt x="211" y="236"/>
                                <a:pt x="212" y="239"/>
                                <a:pt x="212" y="243"/>
                              </a:cubicBezTo>
                              <a:cubicBezTo>
                                <a:pt x="212" y="248"/>
                                <a:pt x="210" y="246"/>
                                <a:pt x="206" y="249"/>
                              </a:cubicBezTo>
                              <a:cubicBezTo>
                                <a:pt x="203" y="252"/>
                                <a:pt x="205" y="253"/>
                                <a:pt x="205" y="259"/>
                              </a:cubicBezTo>
                              <a:cubicBezTo>
                                <a:pt x="206" y="264"/>
                                <a:pt x="208" y="263"/>
                                <a:pt x="211" y="269"/>
                              </a:cubicBezTo>
                              <a:cubicBezTo>
                                <a:pt x="215" y="275"/>
                                <a:pt x="211" y="276"/>
                                <a:pt x="211" y="279"/>
                              </a:cubicBezTo>
                              <a:cubicBezTo>
                                <a:pt x="211" y="282"/>
                                <a:pt x="214" y="284"/>
                                <a:pt x="218" y="287"/>
                              </a:cubicBezTo>
                              <a:cubicBezTo>
                                <a:pt x="223" y="289"/>
                                <a:pt x="226" y="293"/>
                                <a:pt x="228" y="296"/>
                              </a:cubicBezTo>
                              <a:cubicBezTo>
                                <a:pt x="229" y="300"/>
                                <a:pt x="226" y="300"/>
                                <a:pt x="226" y="306"/>
                              </a:cubicBezTo>
                              <a:cubicBezTo>
                                <a:pt x="226" y="311"/>
                                <a:pt x="226" y="313"/>
                                <a:pt x="223" y="318"/>
                              </a:cubicBezTo>
                              <a:cubicBezTo>
                                <a:pt x="221" y="324"/>
                                <a:pt x="221" y="320"/>
                                <a:pt x="217" y="321"/>
                              </a:cubicBezTo>
                              <a:cubicBezTo>
                                <a:pt x="214" y="323"/>
                                <a:pt x="217" y="324"/>
                                <a:pt x="218" y="329"/>
                              </a:cubicBezTo>
                              <a:cubicBezTo>
                                <a:pt x="220" y="333"/>
                                <a:pt x="222" y="332"/>
                                <a:pt x="227" y="337"/>
                              </a:cubicBezTo>
                              <a:cubicBezTo>
                                <a:pt x="232" y="342"/>
                                <a:pt x="229" y="344"/>
                                <a:pt x="231" y="350"/>
                              </a:cubicBezTo>
                              <a:cubicBezTo>
                                <a:pt x="233" y="356"/>
                                <a:pt x="235" y="352"/>
                                <a:pt x="239" y="354"/>
                              </a:cubicBezTo>
                              <a:cubicBezTo>
                                <a:pt x="243" y="356"/>
                                <a:pt x="245" y="358"/>
                                <a:pt x="250" y="358"/>
                              </a:cubicBezTo>
                              <a:cubicBezTo>
                                <a:pt x="256" y="357"/>
                                <a:pt x="254" y="355"/>
                                <a:pt x="259" y="354"/>
                              </a:cubicBezTo>
                              <a:cubicBezTo>
                                <a:pt x="264" y="353"/>
                                <a:pt x="264" y="357"/>
                                <a:pt x="265" y="360"/>
                              </a:cubicBezTo>
                              <a:cubicBezTo>
                                <a:pt x="267" y="364"/>
                                <a:pt x="266" y="365"/>
                                <a:pt x="272" y="372"/>
                              </a:cubicBezTo>
                              <a:cubicBezTo>
                                <a:pt x="278" y="378"/>
                                <a:pt x="275" y="376"/>
                                <a:pt x="277" y="382"/>
                              </a:cubicBezTo>
                              <a:cubicBezTo>
                                <a:pt x="278" y="388"/>
                                <a:pt x="277" y="396"/>
                                <a:pt x="273" y="402"/>
                              </a:cubicBezTo>
                              <a:cubicBezTo>
                                <a:pt x="269" y="407"/>
                                <a:pt x="272" y="408"/>
                                <a:pt x="273" y="416"/>
                              </a:cubicBezTo>
                              <a:cubicBezTo>
                                <a:pt x="273" y="424"/>
                                <a:pt x="277" y="421"/>
                                <a:pt x="282" y="424"/>
                              </a:cubicBezTo>
                              <a:cubicBezTo>
                                <a:pt x="286" y="428"/>
                                <a:pt x="288" y="432"/>
                                <a:pt x="290" y="441"/>
                              </a:cubicBezTo>
                              <a:cubicBezTo>
                                <a:pt x="292" y="449"/>
                                <a:pt x="290" y="447"/>
                                <a:pt x="287" y="456"/>
                              </a:cubicBezTo>
                              <a:cubicBezTo>
                                <a:pt x="283" y="464"/>
                                <a:pt x="284" y="461"/>
                                <a:pt x="287" y="465"/>
                              </a:cubicBezTo>
                              <a:cubicBezTo>
                                <a:pt x="290" y="469"/>
                                <a:pt x="290" y="473"/>
                                <a:pt x="291" y="479"/>
                              </a:cubicBezTo>
                              <a:cubicBezTo>
                                <a:pt x="292" y="486"/>
                                <a:pt x="294" y="485"/>
                                <a:pt x="299" y="487"/>
                              </a:cubicBezTo>
                              <a:cubicBezTo>
                                <a:pt x="304" y="490"/>
                                <a:pt x="315" y="486"/>
                                <a:pt x="318" y="483"/>
                              </a:cubicBezTo>
                              <a:cubicBezTo>
                                <a:pt x="321" y="480"/>
                                <a:pt x="329" y="479"/>
                                <a:pt x="332" y="480"/>
                              </a:cubicBezTo>
                              <a:cubicBezTo>
                                <a:pt x="335" y="480"/>
                                <a:pt x="331" y="483"/>
                                <a:pt x="330" y="487"/>
                              </a:cubicBezTo>
                              <a:cubicBezTo>
                                <a:pt x="328" y="490"/>
                                <a:pt x="333" y="489"/>
                                <a:pt x="339" y="488"/>
                              </a:cubicBezTo>
                              <a:cubicBezTo>
                                <a:pt x="344" y="487"/>
                                <a:pt x="347" y="485"/>
                                <a:pt x="354" y="481"/>
                              </a:cubicBezTo>
                              <a:cubicBezTo>
                                <a:pt x="361" y="477"/>
                                <a:pt x="357" y="481"/>
                                <a:pt x="365" y="483"/>
                              </a:cubicBezTo>
                              <a:cubicBezTo>
                                <a:pt x="373" y="484"/>
                                <a:pt x="372" y="483"/>
                                <a:pt x="375" y="476"/>
                              </a:cubicBezTo>
                              <a:cubicBezTo>
                                <a:pt x="378" y="469"/>
                                <a:pt x="381" y="470"/>
                                <a:pt x="385" y="476"/>
                              </a:cubicBezTo>
                              <a:cubicBezTo>
                                <a:pt x="389" y="481"/>
                                <a:pt x="386" y="483"/>
                                <a:pt x="387" y="489"/>
                              </a:cubicBezTo>
                              <a:cubicBezTo>
                                <a:pt x="389" y="495"/>
                                <a:pt x="387" y="497"/>
                                <a:pt x="389" y="507"/>
                              </a:cubicBezTo>
                              <a:cubicBezTo>
                                <a:pt x="392" y="517"/>
                                <a:pt x="389" y="514"/>
                                <a:pt x="394" y="516"/>
                              </a:cubicBezTo>
                              <a:cubicBezTo>
                                <a:pt x="400" y="518"/>
                                <a:pt x="406" y="510"/>
                                <a:pt x="410" y="506"/>
                              </a:cubicBezTo>
                              <a:cubicBezTo>
                                <a:pt x="415" y="503"/>
                                <a:pt x="416" y="504"/>
                                <a:pt x="422" y="502"/>
                              </a:cubicBezTo>
                              <a:cubicBezTo>
                                <a:pt x="427" y="501"/>
                                <a:pt x="430" y="503"/>
                                <a:pt x="442" y="502"/>
                              </a:cubicBezTo>
                              <a:cubicBezTo>
                                <a:pt x="454" y="501"/>
                                <a:pt x="450" y="498"/>
                                <a:pt x="454" y="492"/>
                              </a:cubicBezTo>
                              <a:cubicBezTo>
                                <a:pt x="457" y="486"/>
                                <a:pt x="459" y="484"/>
                                <a:pt x="464" y="483"/>
                              </a:cubicBezTo>
                              <a:cubicBezTo>
                                <a:pt x="469" y="482"/>
                                <a:pt x="472" y="488"/>
                                <a:pt x="475" y="492"/>
                              </a:cubicBezTo>
                              <a:cubicBezTo>
                                <a:pt x="479" y="496"/>
                                <a:pt x="479" y="495"/>
                                <a:pt x="490" y="495"/>
                              </a:cubicBezTo>
                              <a:cubicBezTo>
                                <a:pt x="500" y="495"/>
                                <a:pt x="499" y="497"/>
                                <a:pt x="501" y="502"/>
                              </a:cubicBezTo>
                              <a:cubicBezTo>
                                <a:pt x="503" y="508"/>
                                <a:pt x="505" y="509"/>
                                <a:pt x="510" y="510"/>
                              </a:cubicBezTo>
                              <a:cubicBezTo>
                                <a:pt x="515" y="510"/>
                                <a:pt x="517" y="509"/>
                                <a:pt x="522" y="504"/>
                              </a:cubicBezTo>
                              <a:cubicBezTo>
                                <a:pt x="527" y="500"/>
                                <a:pt x="529" y="500"/>
                                <a:pt x="531" y="502"/>
                              </a:cubicBezTo>
                              <a:cubicBezTo>
                                <a:pt x="532" y="504"/>
                                <a:pt x="538" y="508"/>
                                <a:pt x="541" y="506"/>
                              </a:cubicBezTo>
                              <a:cubicBezTo>
                                <a:pt x="544" y="504"/>
                                <a:pt x="547" y="505"/>
                                <a:pt x="553" y="510"/>
                              </a:cubicBezTo>
                              <a:cubicBezTo>
                                <a:pt x="558" y="514"/>
                                <a:pt x="556" y="515"/>
                                <a:pt x="555" y="528"/>
                              </a:cubicBezTo>
                              <a:cubicBezTo>
                                <a:pt x="555" y="541"/>
                                <a:pt x="560" y="541"/>
                                <a:pt x="563" y="550"/>
                              </a:cubicBezTo>
                              <a:cubicBezTo>
                                <a:pt x="565" y="559"/>
                                <a:pt x="564" y="558"/>
                                <a:pt x="571" y="554"/>
                              </a:cubicBezTo>
                              <a:cubicBezTo>
                                <a:pt x="579" y="549"/>
                                <a:pt x="588" y="549"/>
                                <a:pt x="596" y="545"/>
                              </a:cubicBezTo>
                              <a:cubicBezTo>
                                <a:pt x="604" y="541"/>
                                <a:pt x="613" y="542"/>
                                <a:pt x="616" y="537"/>
                              </a:cubicBezTo>
                              <a:cubicBezTo>
                                <a:pt x="620" y="531"/>
                                <a:pt x="625" y="530"/>
                                <a:pt x="632" y="528"/>
                              </a:cubicBezTo>
                              <a:cubicBezTo>
                                <a:pt x="639" y="525"/>
                                <a:pt x="642" y="525"/>
                                <a:pt x="643" y="521"/>
                              </a:cubicBezTo>
                              <a:cubicBezTo>
                                <a:pt x="643" y="518"/>
                                <a:pt x="644" y="516"/>
                                <a:pt x="644" y="509"/>
                              </a:cubicBezTo>
                              <a:cubicBezTo>
                                <a:pt x="644" y="501"/>
                                <a:pt x="650" y="503"/>
                                <a:pt x="656" y="497"/>
                              </a:cubicBezTo>
                              <a:cubicBezTo>
                                <a:pt x="662" y="492"/>
                                <a:pt x="660" y="493"/>
                                <a:pt x="658" y="490"/>
                              </a:cubicBezTo>
                              <a:cubicBezTo>
                                <a:pt x="655" y="487"/>
                                <a:pt x="652" y="484"/>
                                <a:pt x="651" y="478"/>
                              </a:cubicBezTo>
                              <a:cubicBezTo>
                                <a:pt x="650" y="472"/>
                                <a:pt x="650" y="473"/>
                                <a:pt x="655" y="473"/>
                              </a:cubicBezTo>
                              <a:cubicBezTo>
                                <a:pt x="661" y="474"/>
                                <a:pt x="662" y="478"/>
                                <a:pt x="666" y="476"/>
                              </a:cubicBezTo>
                              <a:cubicBezTo>
                                <a:pt x="669" y="474"/>
                                <a:pt x="668" y="472"/>
                                <a:pt x="667" y="468"/>
                              </a:cubicBezTo>
                              <a:cubicBezTo>
                                <a:pt x="667" y="464"/>
                                <a:pt x="665" y="464"/>
                                <a:pt x="662" y="460"/>
                              </a:cubicBezTo>
                              <a:cubicBezTo>
                                <a:pt x="660" y="456"/>
                                <a:pt x="663" y="454"/>
                                <a:pt x="666" y="451"/>
                              </a:cubicBezTo>
                              <a:cubicBezTo>
                                <a:pt x="669" y="448"/>
                                <a:pt x="674" y="448"/>
                                <a:pt x="678" y="445"/>
                              </a:cubicBezTo>
                              <a:cubicBezTo>
                                <a:pt x="683" y="442"/>
                                <a:pt x="681" y="443"/>
                                <a:pt x="679" y="439"/>
                              </a:cubicBezTo>
                              <a:cubicBezTo>
                                <a:pt x="676" y="436"/>
                                <a:pt x="673" y="437"/>
                                <a:pt x="670" y="438"/>
                              </a:cubicBezTo>
                              <a:cubicBezTo>
                                <a:pt x="666" y="438"/>
                                <a:pt x="665" y="437"/>
                                <a:pt x="662" y="434"/>
                              </a:cubicBezTo>
                              <a:cubicBezTo>
                                <a:pt x="659" y="430"/>
                                <a:pt x="662" y="430"/>
                                <a:pt x="664" y="427"/>
                              </a:cubicBezTo>
                              <a:cubicBezTo>
                                <a:pt x="666" y="425"/>
                                <a:pt x="668" y="426"/>
                                <a:pt x="669" y="423"/>
                              </a:cubicBezTo>
                              <a:cubicBezTo>
                                <a:pt x="671" y="420"/>
                                <a:pt x="671" y="415"/>
                                <a:pt x="670" y="412"/>
                              </a:cubicBezTo>
                              <a:cubicBezTo>
                                <a:pt x="668" y="409"/>
                                <a:pt x="665" y="412"/>
                                <a:pt x="662" y="410"/>
                              </a:cubicBezTo>
                              <a:cubicBezTo>
                                <a:pt x="659" y="407"/>
                                <a:pt x="661" y="405"/>
                                <a:pt x="668" y="401"/>
                              </a:cubicBezTo>
                              <a:cubicBezTo>
                                <a:pt x="675" y="397"/>
                                <a:pt x="676" y="395"/>
                                <a:pt x="683" y="390"/>
                              </a:cubicBezTo>
                              <a:cubicBezTo>
                                <a:pt x="690" y="386"/>
                                <a:pt x="691" y="387"/>
                                <a:pt x="691" y="382"/>
                              </a:cubicBezTo>
                              <a:cubicBezTo>
                                <a:pt x="691" y="377"/>
                                <a:pt x="689" y="370"/>
                                <a:pt x="696" y="370"/>
                              </a:cubicBezTo>
                              <a:close/>
                              <a:moveTo>
                                <a:pt x="6" y="114"/>
                              </a:moveTo>
                              <a:cubicBezTo>
                                <a:pt x="5" y="119"/>
                                <a:pt x="0" y="123"/>
                                <a:pt x="6" y="126"/>
                              </a:cubicBezTo>
                              <a:cubicBezTo>
                                <a:pt x="12" y="130"/>
                                <a:pt x="15" y="127"/>
                                <a:pt x="18" y="121"/>
                              </a:cubicBezTo>
                              <a:cubicBezTo>
                                <a:pt x="21" y="116"/>
                                <a:pt x="15" y="102"/>
                                <a:pt x="6" y="114"/>
                              </a:cubicBezTo>
                              <a:close/>
                              <a:moveTo>
                                <a:pt x="193" y="126"/>
                              </a:moveTo>
                              <a:cubicBezTo>
                                <a:pt x="198" y="128"/>
                                <a:pt x="204" y="130"/>
                                <a:pt x="207" y="126"/>
                              </a:cubicBezTo>
                              <a:cubicBezTo>
                                <a:pt x="210" y="122"/>
                                <a:pt x="205" y="108"/>
                                <a:pt x="198" y="115"/>
                              </a:cubicBezTo>
                              <a:cubicBezTo>
                                <a:pt x="194" y="121"/>
                                <a:pt x="187" y="123"/>
                                <a:pt x="193" y="126"/>
                              </a:cubicBezTo>
                              <a:close/>
                              <a:moveTo>
                                <a:pt x="155" y="10"/>
                              </a:moveTo>
                              <a:cubicBezTo>
                                <a:pt x="155" y="7"/>
                                <a:pt x="146" y="0"/>
                                <a:pt x="144" y="3"/>
                              </a:cubicBezTo>
                              <a:cubicBezTo>
                                <a:pt x="143" y="10"/>
                                <a:pt x="138" y="13"/>
                                <a:pt x="143" y="13"/>
                              </a:cubicBezTo>
                              <a:cubicBezTo>
                                <a:pt x="148" y="14"/>
                                <a:pt x="155" y="13"/>
                                <a:pt x="155" y="10"/>
                              </a:cubicBezTo>
                              <a:close/>
                              <a:moveTo>
                                <a:pt x="174" y="67"/>
                              </a:moveTo>
                              <a:cubicBezTo>
                                <a:pt x="168" y="57"/>
                                <a:pt x="169" y="57"/>
                                <a:pt x="168" y="51"/>
                              </a:cubicBezTo>
                              <a:cubicBezTo>
                                <a:pt x="167" y="45"/>
                                <a:pt x="159" y="38"/>
                                <a:pt x="155" y="45"/>
                              </a:cubicBezTo>
                              <a:cubicBezTo>
                                <a:pt x="151" y="53"/>
                                <a:pt x="150" y="58"/>
                                <a:pt x="156" y="60"/>
                              </a:cubicBezTo>
                              <a:cubicBezTo>
                                <a:pt x="162" y="62"/>
                                <a:pt x="161" y="70"/>
                                <a:pt x="166" y="70"/>
                              </a:cubicBezTo>
                              <a:cubicBezTo>
                                <a:pt x="170" y="71"/>
                                <a:pt x="179" y="76"/>
                                <a:pt x="174" y="67"/>
                              </a:cubicBezTo>
                              <a:close/>
                              <a:moveTo>
                                <a:pt x="651" y="552"/>
                              </a:moveTo>
                              <a:cubicBezTo>
                                <a:pt x="656" y="552"/>
                                <a:pt x="657" y="555"/>
                                <a:pt x="659" y="545"/>
                              </a:cubicBezTo>
                              <a:cubicBezTo>
                                <a:pt x="661" y="535"/>
                                <a:pt x="667" y="537"/>
                                <a:pt x="667" y="530"/>
                              </a:cubicBezTo>
                              <a:cubicBezTo>
                                <a:pt x="668" y="523"/>
                                <a:pt x="669" y="521"/>
                                <a:pt x="666" y="519"/>
                              </a:cubicBezTo>
                              <a:cubicBezTo>
                                <a:pt x="664" y="517"/>
                                <a:pt x="660" y="513"/>
                                <a:pt x="655" y="516"/>
                              </a:cubicBezTo>
                              <a:cubicBezTo>
                                <a:pt x="652" y="519"/>
                                <a:pt x="649" y="521"/>
                                <a:pt x="650" y="528"/>
                              </a:cubicBezTo>
                              <a:cubicBezTo>
                                <a:pt x="651" y="535"/>
                                <a:pt x="653" y="534"/>
                                <a:pt x="652" y="542"/>
                              </a:cubicBezTo>
                              <a:cubicBezTo>
                                <a:pt x="651" y="550"/>
                                <a:pt x="646" y="553"/>
                                <a:pt x="651" y="552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529" name="Freeform 310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6060394" y="4595310"/>
                          <a:ext cx="335756" cy="209550"/>
                        </a:xfrm>
                        <a:custGeom>
                          <a:avLst/>
                          <a:gdLst>
                            <a:gd name="T0" fmla="*/ 1151 w 1169"/>
                            <a:gd name="T1" fmla="*/ 725 h 730"/>
                            <a:gd name="T2" fmla="*/ 1154 w 1169"/>
                            <a:gd name="T3" fmla="*/ 707 h 730"/>
                            <a:gd name="T4" fmla="*/ 1162 w 1169"/>
                            <a:gd name="T5" fmla="*/ 671 h 730"/>
                            <a:gd name="T6" fmla="*/ 1121 w 1169"/>
                            <a:gd name="T7" fmla="*/ 660 h 730"/>
                            <a:gd name="T8" fmla="*/ 1073 w 1169"/>
                            <a:gd name="T9" fmla="*/ 663 h 730"/>
                            <a:gd name="T10" fmla="*/ 1059 w 1169"/>
                            <a:gd name="T11" fmla="*/ 639 h 730"/>
                            <a:gd name="T12" fmla="*/ 1044 w 1169"/>
                            <a:gd name="T13" fmla="*/ 614 h 730"/>
                            <a:gd name="T14" fmla="*/ 1006 w 1169"/>
                            <a:gd name="T15" fmla="*/ 611 h 730"/>
                            <a:gd name="T16" fmla="*/ 964 w 1169"/>
                            <a:gd name="T17" fmla="*/ 604 h 730"/>
                            <a:gd name="T18" fmla="*/ 936 w 1169"/>
                            <a:gd name="T19" fmla="*/ 585 h 730"/>
                            <a:gd name="T20" fmla="*/ 910 w 1169"/>
                            <a:gd name="T21" fmla="*/ 617 h 730"/>
                            <a:gd name="T22" fmla="*/ 864 w 1169"/>
                            <a:gd name="T23" fmla="*/ 611 h 730"/>
                            <a:gd name="T24" fmla="*/ 807 w 1169"/>
                            <a:gd name="T25" fmla="*/ 609 h 730"/>
                            <a:gd name="T26" fmla="*/ 789 w 1169"/>
                            <a:gd name="T27" fmla="*/ 583 h 730"/>
                            <a:gd name="T28" fmla="*/ 747 w 1169"/>
                            <a:gd name="T29" fmla="*/ 573 h 730"/>
                            <a:gd name="T30" fmla="*/ 718 w 1169"/>
                            <a:gd name="T31" fmla="*/ 563 h 730"/>
                            <a:gd name="T32" fmla="*/ 685 w 1169"/>
                            <a:gd name="T33" fmla="*/ 561 h 730"/>
                            <a:gd name="T34" fmla="*/ 654 w 1169"/>
                            <a:gd name="T35" fmla="*/ 556 h 730"/>
                            <a:gd name="T36" fmla="*/ 627 w 1169"/>
                            <a:gd name="T37" fmla="*/ 574 h 730"/>
                            <a:gd name="T38" fmla="*/ 607 w 1169"/>
                            <a:gd name="T39" fmla="*/ 598 h 730"/>
                            <a:gd name="T40" fmla="*/ 607 w 1169"/>
                            <a:gd name="T41" fmla="*/ 606 h 730"/>
                            <a:gd name="T42" fmla="*/ 659 w 1169"/>
                            <a:gd name="T43" fmla="*/ 620 h 730"/>
                            <a:gd name="T44" fmla="*/ 665 w 1169"/>
                            <a:gd name="T45" fmla="*/ 642 h 730"/>
                            <a:gd name="T46" fmla="*/ 704 w 1169"/>
                            <a:gd name="T47" fmla="*/ 651 h 730"/>
                            <a:gd name="T48" fmla="*/ 777 w 1169"/>
                            <a:gd name="T49" fmla="*/ 669 h 730"/>
                            <a:gd name="T50" fmla="*/ 835 w 1169"/>
                            <a:gd name="T51" fmla="*/ 662 h 730"/>
                            <a:gd name="T52" fmla="*/ 924 w 1169"/>
                            <a:gd name="T53" fmla="*/ 692 h 730"/>
                            <a:gd name="T54" fmla="*/ 974 w 1169"/>
                            <a:gd name="T55" fmla="*/ 703 h 730"/>
                            <a:gd name="T56" fmla="*/ 1028 w 1169"/>
                            <a:gd name="T57" fmla="*/ 703 h 730"/>
                            <a:gd name="T58" fmla="*/ 1093 w 1169"/>
                            <a:gd name="T59" fmla="*/ 704 h 730"/>
                            <a:gd name="T60" fmla="*/ 590 w 1169"/>
                            <a:gd name="T61" fmla="*/ 591 h 730"/>
                            <a:gd name="T62" fmla="*/ 588 w 1169"/>
                            <a:gd name="T63" fmla="*/ 598 h 730"/>
                            <a:gd name="T64" fmla="*/ 268 w 1169"/>
                            <a:gd name="T65" fmla="*/ 346 h 730"/>
                            <a:gd name="T66" fmla="*/ 274 w 1169"/>
                            <a:gd name="T67" fmla="*/ 360 h 730"/>
                            <a:gd name="T68" fmla="*/ 268 w 1169"/>
                            <a:gd name="T69" fmla="*/ 346 h 730"/>
                            <a:gd name="T70" fmla="*/ 241 w 1169"/>
                            <a:gd name="T71" fmla="*/ 318 h 730"/>
                            <a:gd name="T72" fmla="*/ 254 w 1169"/>
                            <a:gd name="T73" fmla="*/ 329 h 730"/>
                            <a:gd name="T74" fmla="*/ 251 w 1169"/>
                            <a:gd name="T75" fmla="*/ 321 h 730"/>
                            <a:gd name="T76" fmla="*/ 291 w 1169"/>
                            <a:gd name="T77" fmla="*/ 375 h 730"/>
                            <a:gd name="T78" fmla="*/ 297 w 1169"/>
                            <a:gd name="T79" fmla="*/ 375 h 730"/>
                            <a:gd name="T80" fmla="*/ 414 w 1169"/>
                            <a:gd name="T81" fmla="*/ 518 h 730"/>
                            <a:gd name="T82" fmla="*/ 405 w 1169"/>
                            <a:gd name="T83" fmla="*/ 525 h 730"/>
                            <a:gd name="T84" fmla="*/ 414 w 1169"/>
                            <a:gd name="T85" fmla="*/ 518 h 730"/>
                            <a:gd name="T86" fmla="*/ 204 w 1169"/>
                            <a:gd name="T87" fmla="*/ 249 h 730"/>
                            <a:gd name="T88" fmla="*/ 185 w 1169"/>
                            <a:gd name="T89" fmla="*/ 269 h 730"/>
                            <a:gd name="T90" fmla="*/ 202 w 1169"/>
                            <a:gd name="T91" fmla="*/ 292 h 730"/>
                            <a:gd name="T92" fmla="*/ 220 w 1169"/>
                            <a:gd name="T93" fmla="*/ 283 h 730"/>
                            <a:gd name="T94" fmla="*/ 175 w 1169"/>
                            <a:gd name="T95" fmla="*/ 204 h 730"/>
                            <a:gd name="T96" fmla="*/ 163 w 1169"/>
                            <a:gd name="T97" fmla="*/ 213 h 730"/>
                            <a:gd name="T98" fmla="*/ 169 w 1169"/>
                            <a:gd name="T99" fmla="*/ 219 h 730"/>
                            <a:gd name="T100" fmla="*/ 175 w 1169"/>
                            <a:gd name="T101" fmla="*/ 204 h 730"/>
                            <a:gd name="T102" fmla="*/ 111 w 1169"/>
                            <a:gd name="T103" fmla="*/ 100 h 730"/>
                            <a:gd name="T104" fmla="*/ 91 w 1169"/>
                            <a:gd name="T105" fmla="*/ 102 h 730"/>
                            <a:gd name="T106" fmla="*/ 111 w 1169"/>
                            <a:gd name="T107" fmla="*/ 125 h 730"/>
                            <a:gd name="T108" fmla="*/ 129 w 1169"/>
                            <a:gd name="T109" fmla="*/ 149 h 730"/>
                            <a:gd name="T110" fmla="*/ 135 w 1169"/>
                            <a:gd name="T111" fmla="*/ 126 h 730"/>
                            <a:gd name="T112" fmla="*/ 104 w 1169"/>
                            <a:gd name="T113" fmla="*/ 59 h 730"/>
                            <a:gd name="T114" fmla="*/ 95 w 1169"/>
                            <a:gd name="T115" fmla="*/ 48 h 730"/>
                            <a:gd name="T116" fmla="*/ 104 w 1169"/>
                            <a:gd name="T117" fmla="*/ 59 h 730"/>
                            <a:gd name="T118" fmla="*/ 6 w 1169"/>
                            <a:gd name="T119" fmla="*/ 7 h 730"/>
                            <a:gd name="T120" fmla="*/ 24 w 1169"/>
                            <a:gd name="T121" fmla="*/ 30 h 730"/>
                            <a:gd name="T122" fmla="*/ 46 w 1169"/>
                            <a:gd name="T123" fmla="*/ 33 h 73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  <a:cxn ang="0">
                              <a:pos x="T116" y="T117"/>
                            </a:cxn>
                            <a:cxn ang="0">
                              <a:pos x="T118" y="T119"/>
                            </a:cxn>
                            <a:cxn ang="0">
                              <a:pos x="T120" y="T121"/>
                            </a:cxn>
                            <a:cxn ang="0">
                              <a:pos x="T122" y="T123"/>
                            </a:cxn>
                          </a:cxnLst>
                          <a:rect l="0" t="0" r="r" b="b"/>
                          <a:pathLst>
                            <a:path w="1169" h="730">
                              <a:moveTo>
                                <a:pt x="1121" y="714"/>
                              </a:moveTo>
                              <a:cubicBezTo>
                                <a:pt x="1137" y="716"/>
                                <a:pt x="1139" y="720"/>
                                <a:pt x="1151" y="725"/>
                              </a:cubicBezTo>
                              <a:cubicBezTo>
                                <a:pt x="1162" y="730"/>
                                <a:pt x="1167" y="730"/>
                                <a:pt x="1168" y="724"/>
                              </a:cubicBezTo>
                              <a:cubicBezTo>
                                <a:pt x="1169" y="719"/>
                                <a:pt x="1160" y="714"/>
                                <a:pt x="1154" y="707"/>
                              </a:cubicBezTo>
                              <a:cubicBezTo>
                                <a:pt x="1148" y="701"/>
                                <a:pt x="1150" y="694"/>
                                <a:pt x="1152" y="687"/>
                              </a:cubicBezTo>
                              <a:cubicBezTo>
                                <a:pt x="1154" y="681"/>
                                <a:pt x="1160" y="678"/>
                                <a:pt x="1162" y="671"/>
                              </a:cubicBezTo>
                              <a:cubicBezTo>
                                <a:pt x="1163" y="664"/>
                                <a:pt x="1159" y="664"/>
                                <a:pt x="1152" y="661"/>
                              </a:cubicBezTo>
                              <a:cubicBezTo>
                                <a:pt x="1145" y="658"/>
                                <a:pt x="1134" y="657"/>
                                <a:pt x="1121" y="660"/>
                              </a:cubicBezTo>
                              <a:cubicBezTo>
                                <a:pt x="1109" y="664"/>
                                <a:pt x="1112" y="665"/>
                                <a:pt x="1100" y="667"/>
                              </a:cubicBezTo>
                              <a:cubicBezTo>
                                <a:pt x="1094" y="669"/>
                                <a:pt x="1081" y="665"/>
                                <a:pt x="1073" y="663"/>
                              </a:cubicBezTo>
                              <a:cubicBezTo>
                                <a:pt x="1064" y="660"/>
                                <a:pt x="1065" y="660"/>
                                <a:pt x="1062" y="651"/>
                              </a:cubicBezTo>
                              <a:cubicBezTo>
                                <a:pt x="1059" y="642"/>
                                <a:pt x="1063" y="643"/>
                                <a:pt x="1059" y="639"/>
                              </a:cubicBezTo>
                              <a:cubicBezTo>
                                <a:pt x="1054" y="636"/>
                                <a:pt x="1049" y="637"/>
                                <a:pt x="1047" y="629"/>
                              </a:cubicBezTo>
                              <a:cubicBezTo>
                                <a:pt x="1044" y="620"/>
                                <a:pt x="1048" y="620"/>
                                <a:pt x="1044" y="614"/>
                              </a:cubicBezTo>
                              <a:cubicBezTo>
                                <a:pt x="1039" y="607"/>
                                <a:pt x="1036" y="614"/>
                                <a:pt x="1024" y="616"/>
                              </a:cubicBezTo>
                              <a:cubicBezTo>
                                <a:pt x="1012" y="619"/>
                                <a:pt x="1013" y="616"/>
                                <a:pt x="1006" y="611"/>
                              </a:cubicBezTo>
                              <a:cubicBezTo>
                                <a:pt x="999" y="606"/>
                                <a:pt x="996" y="606"/>
                                <a:pt x="985" y="606"/>
                              </a:cubicBezTo>
                              <a:cubicBezTo>
                                <a:pt x="975" y="606"/>
                                <a:pt x="972" y="606"/>
                                <a:pt x="964" y="604"/>
                              </a:cubicBezTo>
                              <a:cubicBezTo>
                                <a:pt x="957" y="601"/>
                                <a:pt x="959" y="592"/>
                                <a:pt x="954" y="587"/>
                              </a:cubicBezTo>
                              <a:cubicBezTo>
                                <a:pt x="949" y="581"/>
                                <a:pt x="943" y="583"/>
                                <a:pt x="936" y="585"/>
                              </a:cubicBezTo>
                              <a:cubicBezTo>
                                <a:pt x="928" y="587"/>
                                <a:pt x="930" y="591"/>
                                <a:pt x="927" y="603"/>
                              </a:cubicBezTo>
                              <a:cubicBezTo>
                                <a:pt x="924" y="615"/>
                                <a:pt x="922" y="614"/>
                                <a:pt x="910" y="617"/>
                              </a:cubicBezTo>
                              <a:cubicBezTo>
                                <a:pt x="898" y="620"/>
                                <a:pt x="895" y="617"/>
                                <a:pt x="888" y="614"/>
                              </a:cubicBezTo>
                              <a:cubicBezTo>
                                <a:pt x="881" y="611"/>
                                <a:pt x="875" y="611"/>
                                <a:pt x="864" y="611"/>
                              </a:cubicBezTo>
                              <a:cubicBezTo>
                                <a:pt x="853" y="611"/>
                                <a:pt x="848" y="613"/>
                                <a:pt x="837" y="611"/>
                              </a:cubicBezTo>
                              <a:cubicBezTo>
                                <a:pt x="827" y="608"/>
                                <a:pt x="822" y="613"/>
                                <a:pt x="807" y="609"/>
                              </a:cubicBezTo>
                              <a:cubicBezTo>
                                <a:pt x="792" y="605"/>
                                <a:pt x="796" y="603"/>
                                <a:pt x="794" y="596"/>
                              </a:cubicBezTo>
                              <a:cubicBezTo>
                                <a:pt x="792" y="588"/>
                                <a:pt x="794" y="589"/>
                                <a:pt x="789" y="583"/>
                              </a:cubicBezTo>
                              <a:cubicBezTo>
                                <a:pt x="784" y="576"/>
                                <a:pt x="781" y="575"/>
                                <a:pt x="768" y="573"/>
                              </a:cubicBezTo>
                              <a:cubicBezTo>
                                <a:pt x="755" y="572"/>
                                <a:pt x="755" y="573"/>
                                <a:pt x="747" y="573"/>
                              </a:cubicBezTo>
                              <a:cubicBezTo>
                                <a:pt x="738" y="574"/>
                                <a:pt x="742" y="574"/>
                                <a:pt x="734" y="574"/>
                              </a:cubicBezTo>
                              <a:cubicBezTo>
                                <a:pt x="727" y="573"/>
                                <a:pt x="726" y="569"/>
                                <a:pt x="718" y="563"/>
                              </a:cubicBezTo>
                              <a:cubicBezTo>
                                <a:pt x="709" y="557"/>
                                <a:pt x="706" y="556"/>
                                <a:pt x="700" y="555"/>
                              </a:cubicBezTo>
                              <a:cubicBezTo>
                                <a:pt x="693" y="554"/>
                                <a:pt x="694" y="557"/>
                                <a:pt x="685" y="561"/>
                              </a:cubicBezTo>
                              <a:cubicBezTo>
                                <a:pt x="676" y="566"/>
                                <a:pt x="679" y="562"/>
                                <a:pt x="667" y="562"/>
                              </a:cubicBezTo>
                              <a:cubicBezTo>
                                <a:pt x="656" y="561"/>
                                <a:pt x="659" y="560"/>
                                <a:pt x="654" y="556"/>
                              </a:cubicBezTo>
                              <a:cubicBezTo>
                                <a:pt x="650" y="552"/>
                                <a:pt x="642" y="554"/>
                                <a:pt x="634" y="557"/>
                              </a:cubicBezTo>
                              <a:cubicBezTo>
                                <a:pt x="626" y="560"/>
                                <a:pt x="630" y="568"/>
                                <a:pt x="627" y="574"/>
                              </a:cubicBezTo>
                              <a:cubicBezTo>
                                <a:pt x="624" y="579"/>
                                <a:pt x="624" y="582"/>
                                <a:pt x="617" y="588"/>
                              </a:cubicBezTo>
                              <a:cubicBezTo>
                                <a:pt x="610" y="594"/>
                                <a:pt x="611" y="596"/>
                                <a:pt x="607" y="598"/>
                              </a:cubicBezTo>
                              <a:cubicBezTo>
                                <a:pt x="603" y="599"/>
                                <a:pt x="598" y="600"/>
                                <a:pt x="596" y="602"/>
                              </a:cubicBezTo>
                              <a:cubicBezTo>
                                <a:pt x="594" y="605"/>
                                <a:pt x="599" y="605"/>
                                <a:pt x="607" y="606"/>
                              </a:cubicBezTo>
                              <a:cubicBezTo>
                                <a:pt x="615" y="606"/>
                                <a:pt x="621" y="608"/>
                                <a:pt x="629" y="610"/>
                              </a:cubicBezTo>
                              <a:cubicBezTo>
                                <a:pt x="636" y="612"/>
                                <a:pt x="648" y="618"/>
                                <a:pt x="659" y="620"/>
                              </a:cubicBezTo>
                              <a:cubicBezTo>
                                <a:pt x="671" y="622"/>
                                <a:pt x="670" y="625"/>
                                <a:pt x="669" y="629"/>
                              </a:cubicBezTo>
                              <a:cubicBezTo>
                                <a:pt x="668" y="633"/>
                                <a:pt x="665" y="636"/>
                                <a:pt x="665" y="642"/>
                              </a:cubicBezTo>
                              <a:cubicBezTo>
                                <a:pt x="665" y="647"/>
                                <a:pt x="670" y="646"/>
                                <a:pt x="676" y="646"/>
                              </a:cubicBezTo>
                              <a:cubicBezTo>
                                <a:pt x="681" y="646"/>
                                <a:pt x="688" y="650"/>
                                <a:pt x="704" y="651"/>
                              </a:cubicBezTo>
                              <a:cubicBezTo>
                                <a:pt x="719" y="653"/>
                                <a:pt x="721" y="652"/>
                                <a:pt x="735" y="654"/>
                              </a:cubicBezTo>
                              <a:cubicBezTo>
                                <a:pt x="748" y="656"/>
                                <a:pt x="758" y="667"/>
                                <a:pt x="777" y="669"/>
                              </a:cubicBezTo>
                              <a:cubicBezTo>
                                <a:pt x="796" y="671"/>
                                <a:pt x="795" y="665"/>
                                <a:pt x="807" y="664"/>
                              </a:cubicBezTo>
                              <a:cubicBezTo>
                                <a:pt x="819" y="663"/>
                                <a:pt x="825" y="663"/>
                                <a:pt x="835" y="662"/>
                              </a:cubicBezTo>
                              <a:cubicBezTo>
                                <a:pt x="845" y="661"/>
                                <a:pt x="869" y="666"/>
                                <a:pt x="891" y="673"/>
                              </a:cubicBezTo>
                              <a:cubicBezTo>
                                <a:pt x="914" y="681"/>
                                <a:pt x="911" y="683"/>
                                <a:pt x="924" y="692"/>
                              </a:cubicBezTo>
                              <a:cubicBezTo>
                                <a:pt x="938" y="701"/>
                                <a:pt x="935" y="695"/>
                                <a:pt x="947" y="695"/>
                              </a:cubicBezTo>
                              <a:cubicBezTo>
                                <a:pt x="959" y="695"/>
                                <a:pt x="959" y="698"/>
                                <a:pt x="974" y="703"/>
                              </a:cubicBezTo>
                              <a:cubicBezTo>
                                <a:pt x="989" y="707"/>
                                <a:pt x="989" y="701"/>
                                <a:pt x="999" y="697"/>
                              </a:cubicBezTo>
                              <a:cubicBezTo>
                                <a:pt x="1009" y="694"/>
                                <a:pt x="1014" y="699"/>
                                <a:pt x="1028" y="703"/>
                              </a:cubicBezTo>
                              <a:cubicBezTo>
                                <a:pt x="1041" y="707"/>
                                <a:pt x="1045" y="706"/>
                                <a:pt x="1058" y="703"/>
                              </a:cubicBezTo>
                              <a:cubicBezTo>
                                <a:pt x="1072" y="699"/>
                                <a:pt x="1077" y="702"/>
                                <a:pt x="1093" y="704"/>
                              </a:cubicBezTo>
                              <a:cubicBezTo>
                                <a:pt x="1108" y="705"/>
                                <a:pt x="1104" y="711"/>
                                <a:pt x="1121" y="714"/>
                              </a:cubicBezTo>
                              <a:close/>
                              <a:moveTo>
                                <a:pt x="590" y="591"/>
                              </a:moveTo>
                              <a:cubicBezTo>
                                <a:pt x="586" y="593"/>
                                <a:pt x="577" y="591"/>
                                <a:pt x="579" y="596"/>
                              </a:cubicBezTo>
                              <a:cubicBezTo>
                                <a:pt x="580" y="600"/>
                                <a:pt x="583" y="600"/>
                                <a:pt x="588" y="598"/>
                              </a:cubicBezTo>
                              <a:cubicBezTo>
                                <a:pt x="593" y="596"/>
                                <a:pt x="597" y="591"/>
                                <a:pt x="590" y="591"/>
                              </a:cubicBezTo>
                              <a:close/>
                              <a:moveTo>
                                <a:pt x="268" y="346"/>
                              </a:moveTo>
                              <a:cubicBezTo>
                                <a:pt x="267" y="351"/>
                                <a:pt x="268" y="354"/>
                                <a:pt x="269" y="357"/>
                              </a:cubicBezTo>
                              <a:cubicBezTo>
                                <a:pt x="270" y="360"/>
                                <a:pt x="272" y="363"/>
                                <a:pt x="274" y="360"/>
                              </a:cubicBezTo>
                              <a:cubicBezTo>
                                <a:pt x="277" y="357"/>
                                <a:pt x="282" y="361"/>
                                <a:pt x="280" y="356"/>
                              </a:cubicBezTo>
                              <a:cubicBezTo>
                                <a:pt x="279" y="350"/>
                                <a:pt x="270" y="340"/>
                                <a:pt x="268" y="346"/>
                              </a:cubicBezTo>
                              <a:close/>
                              <a:moveTo>
                                <a:pt x="251" y="321"/>
                              </a:moveTo>
                              <a:cubicBezTo>
                                <a:pt x="250" y="317"/>
                                <a:pt x="243" y="312"/>
                                <a:pt x="241" y="318"/>
                              </a:cubicBezTo>
                              <a:cubicBezTo>
                                <a:pt x="240" y="322"/>
                                <a:pt x="239" y="323"/>
                                <a:pt x="243" y="326"/>
                              </a:cubicBezTo>
                              <a:cubicBezTo>
                                <a:pt x="247" y="328"/>
                                <a:pt x="251" y="327"/>
                                <a:pt x="254" y="329"/>
                              </a:cubicBezTo>
                              <a:cubicBezTo>
                                <a:pt x="256" y="332"/>
                                <a:pt x="258" y="334"/>
                                <a:pt x="257" y="329"/>
                              </a:cubicBezTo>
                              <a:cubicBezTo>
                                <a:pt x="256" y="325"/>
                                <a:pt x="252" y="325"/>
                                <a:pt x="251" y="321"/>
                              </a:cubicBezTo>
                              <a:close/>
                              <a:moveTo>
                                <a:pt x="289" y="368"/>
                              </a:moveTo>
                              <a:cubicBezTo>
                                <a:pt x="287" y="371"/>
                                <a:pt x="290" y="370"/>
                                <a:pt x="291" y="375"/>
                              </a:cubicBezTo>
                              <a:cubicBezTo>
                                <a:pt x="291" y="380"/>
                                <a:pt x="289" y="383"/>
                                <a:pt x="292" y="382"/>
                              </a:cubicBezTo>
                              <a:cubicBezTo>
                                <a:pt x="295" y="381"/>
                                <a:pt x="297" y="379"/>
                                <a:pt x="297" y="375"/>
                              </a:cubicBezTo>
                              <a:cubicBezTo>
                                <a:pt x="297" y="371"/>
                                <a:pt x="292" y="363"/>
                                <a:pt x="289" y="368"/>
                              </a:cubicBezTo>
                              <a:close/>
                              <a:moveTo>
                                <a:pt x="414" y="518"/>
                              </a:moveTo>
                              <a:cubicBezTo>
                                <a:pt x="411" y="516"/>
                                <a:pt x="402" y="509"/>
                                <a:pt x="400" y="515"/>
                              </a:cubicBezTo>
                              <a:cubicBezTo>
                                <a:pt x="400" y="521"/>
                                <a:pt x="401" y="521"/>
                                <a:pt x="405" y="525"/>
                              </a:cubicBezTo>
                              <a:cubicBezTo>
                                <a:pt x="410" y="528"/>
                                <a:pt x="415" y="532"/>
                                <a:pt x="416" y="527"/>
                              </a:cubicBezTo>
                              <a:cubicBezTo>
                                <a:pt x="417" y="522"/>
                                <a:pt x="417" y="520"/>
                                <a:pt x="414" y="518"/>
                              </a:cubicBezTo>
                              <a:close/>
                              <a:moveTo>
                                <a:pt x="213" y="266"/>
                              </a:moveTo>
                              <a:cubicBezTo>
                                <a:pt x="210" y="257"/>
                                <a:pt x="205" y="255"/>
                                <a:pt x="204" y="249"/>
                              </a:cubicBezTo>
                              <a:cubicBezTo>
                                <a:pt x="203" y="244"/>
                                <a:pt x="186" y="242"/>
                                <a:pt x="185" y="255"/>
                              </a:cubicBezTo>
                              <a:cubicBezTo>
                                <a:pt x="185" y="259"/>
                                <a:pt x="183" y="263"/>
                                <a:pt x="185" y="269"/>
                              </a:cubicBezTo>
                              <a:cubicBezTo>
                                <a:pt x="186" y="276"/>
                                <a:pt x="188" y="278"/>
                                <a:pt x="193" y="283"/>
                              </a:cubicBezTo>
                              <a:cubicBezTo>
                                <a:pt x="198" y="288"/>
                                <a:pt x="194" y="288"/>
                                <a:pt x="202" y="292"/>
                              </a:cubicBezTo>
                              <a:cubicBezTo>
                                <a:pt x="211" y="296"/>
                                <a:pt x="214" y="301"/>
                                <a:pt x="217" y="296"/>
                              </a:cubicBezTo>
                              <a:cubicBezTo>
                                <a:pt x="221" y="290"/>
                                <a:pt x="221" y="290"/>
                                <a:pt x="220" y="283"/>
                              </a:cubicBezTo>
                              <a:cubicBezTo>
                                <a:pt x="219" y="276"/>
                                <a:pt x="217" y="275"/>
                                <a:pt x="213" y="266"/>
                              </a:cubicBezTo>
                              <a:close/>
                              <a:moveTo>
                                <a:pt x="175" y="204"/>
                              </a:moveTo>
                              <a:cubicBezTo>
                                <a:pt x="171" y="202"/>
                                <a:pt x="166" y="198"/>
                                <a:pt x="166" y="203"/>
                              </a:cubicBezTo>
                              <a:cubicBezTo>
                                <a:pt x="166" y="209"/>
                                <a:pt x="165" y="211"/>
                                <a:pt x="163" y="213"/>
                              </a:cubicBezTo>
                              <a:cubicBezTo>
                                <a:pt x="160" y="215"/>
                                <a:pt x="157" y="217"/>
                                <a:pt x="160" y="218"/>
                              </a:cubicBezTo>
                              <a:cubicBezTo>
                                <a:pt x="163" y="219"/>
                                <a:pt x="166" y="224"/>
                                <a:pt x="169" y="219"/>
                              </a:cubicBezTo>
                              <a:cubicBezTo>
                                <a:pt x="172" y="214"/>
                                <a:pt x="176" y="216"/>
                                <a:pt x="176" y="212"/>
                              </a:cubicBezTo>
                              <a:cubicBezTo>
                                <a:pt x="176" y="208"/>
                                <a:pt x="179" y="207"/>
                                <a:pt x="175" y="204"/>
                              </a:cubicBezTo>
                              <a:close/>
                              <a:moveTo>
                                <a:pt x="124" y="111"/>
                              </a:moveTo>
                              <a:cubicBezTo>
                                <a:pt x="116" y="104"/>
                                <a:pt x="115" y="102"/>
                                <a:pt x="111" y="100"/>
                              </a:cubicBezTo>
                              <a:cubicBezTo>
                                <a:pt x="107" y="98"/>
                                <a:pt x="101" y="96"/>
                                <a:pt x="95" y="96"/>
                              </a:cubicBezTo>
                              <a:cubicBezTo>
                                <a:pt x="91" y="97"/>
                                <a:pt x="89" y="98"/>
                                <a:pt x="91" y="102"/>
                              </a:cubicBezTo>
                              <a:cubicBezTo>
                                <a:pt x="92" y="107"/>
                                <a:pt x="97" y="107"/>
                                <a:pt x="101" y="113"/>
                              </a:cubicBezTo>
                              <a:cubicBezTo>
                                <a:pt x="106" y="119"/>
                                <a:pt x="106" y="117"/>
                                <a:pt x="111" y="125"/>
                              </a:cubicBezTo>
                              <a:cubicBezTo>
                                <a:pt x="116" y="133"/>
                                <a:pt x="117" y="131"/>
                                <a:pt x="120" y="137"/>
                              </a:cubicBezTo>
                              <a:cubicBezTo>
                                <a:pt x="123" y="143"/>
                                <a:pt x="126" y="150"/>
                                <a:pt x="129" y="149"/>
                              </a:cubicBezTo>
                              <a:cubicBezTo>
                                <a:pt x="133" y="147"/>
                                <a:pt x="135" y="144"/>
                                <a:pt x="135" y="138"/>
                              </a:cubicBezTo>
                              <a:cubicBezTo>
                                <a:pt x="135" y="132"/>
                                <a:pt x="138" y="134"/>
                                <a:pt x="135" y="126"/>
                              </a:cubicBezTo>
                              <a:cubicBezTo>
                                <a:pt x="133" y="119"/>
                                <a:pt x="131" y="118"/>
                                <a:pt x="124" y="111"/>
                              </a:cubicBezTo>
                              <a:close/>
                              <a:moveTo>
                                <a:pt x="104" y="59"/>
                              </a:moveTo>
                              <a:cubicBezTo>
                                <a:pt x="105" y="56"/>
                                <a:pt x="106" y="54"/>
                                <a:pt x="105" y="51"/>
                              </a:cubicBezTo>
                              <a:cubicBezTo>
                                <a:pt x="104" y="47"/>
                                <a:pt x="97" y="42"/>
                                <a:pt x="95" y="48"/>
                              </a:cubicBezTo>
                              <a:cubicBezTo>
                                <a:pt x="93" y="51"/>
                                <a:pt x="93" y="51"/>
                                <a:pt x="97" y="54"/>
                              </a:cubicBezTo>
                              <a:cubicBezTo>
                                <a:pt x="100" y="57"/>
                                <a:pt x="103" y="62"/>
                                <a:pt x="104" y="59"/>
                              </a:cubicBezTo>
                              <a:close/>
                              <a:moveTo>
                                <a:pt x="31" y="18"/>
                              </a:moveTo>
                              <a:cubicBezTo>
                                <a:pt x="24" y="12"/>
                                <a:pt x="8" y="0"/>
                                <a:pt x="6" y="7"/>
                              </a:cubicBezTo>
                              <a:cubicBezTo>
                                <a:pt x="4" y="12"/>
                                <a:pt x="0" y="9"/>
                                <a:pt x="6" y="17"/>
                              </a:cubicBezTo>
                              <a:cubicBezTo>
                                <a:pt x="12" y="25"/>
                                <a:pt x="13" y="23"/>
                                <a:pt x="24" y="30"/>
                              </a:cubicBezTo>
                              <a:cubicBezTo>
                                <a:pt x="34" y="37"/>
                                <a:pt x="40" y="41"/>
                                <a:pt x="43" y="40"/>
                              </a:cubicBezTo>
                              <a:cubicBezTo>
                                <a:pt x="46" y="38"/>
                                <a:pt x="54" y="40"/>
                                <a:pt x="46" y="33"/>
                              </a:cubicBezTo>
                              <a:cubicBezTo>
                                <a:pt x="39" y="25"/>
                                <a:pt x="39" y="23"/>
                                <a:pt x="31" y="18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530" name="Freeform 324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927044" y="4169066"/>
                          <a:ext cx="78581" cy="97631"/>
                        </a:xfrm>
                        <a:custGeom>
                          <a:avLst/>
                          <a:gdLst>
                            <a:gd name="T0" fmla="*/ 268 w 273"/>
                            <a:gd name="T1" fmla="*/ 326 h 339"/>
                            <a:gd name="T2" fmla="*/ 273 w 273"/>
                            <a:gd name="T3" fmla="*/ 323 h 339"/>
                            <a:gd name="T4" fmla="*/ 271 w 273"/>
                            <a:gd name="T5" fmla="*/ 282 h 339"/>
                            <a:gd name="T6" fmla="*/ 265 w 273"/>
                            <a:gd name="T7" fmla="*/ 244 h 339"/>
                            <a:gd name="T8" fmla="*/ 254 w 273"/>
                            <a:gd name="T9" fmla="*/ 200 h 339"/>
                            <a:gd name="T10" fmla="*/ 247 w 273"/>
                            <a:gd name="T11" fmla="*/ 179 h 339"/>
                            <a:gd name="T12" fmla="*/ 241 w 273"/>
                            <a:gd name="T13" fmla="*/ 181 h 339"/>
                            <a:gd name="T14" fmla="*/ 233 w 273"/>
                            <a:gd name="T15" fmla="*/ 211 h 339"/>
                            <a:gd name="T16" fmla="*/ 203 w 273"/>
                            <a:gd name="T17" fmla="*/ 219 h 339"/>
                            <a:gd name="T18" fmla="*/ 184 w 273"/>
                            <a:gd name="T19" fmla="*/ 183 h 339"/>
                            <a:gd name="T20" fmla="*/ 196 w 273"/>
                            <a:gd name="T21" fmla="*/ 151 h 339"/>
                            <a:gd name="T22" fmla="*/ 216 w 273"/>
                            <a:gd name="T23" fmla="*/ 144 h 339"/>
                            <a:gd name="T24" fmla="*/ 228 w 273"/>
                            <a:gd name="T25" fmla="*/ 137 h 339"/>
                            <a:gd name="T26" fmla="*/ 245 w 273"/>
                            <a:gd name="T27" fmla="*/ 119 h 339"/>
                            <a:gd name="T28" fmla="*/ 256 w 273"/>
                            <a:gd name="T29" fmla="*/ 103 h 339"/>
                            <a:gd name="T30" fmla="*/ 257 w 273"/>
                            <a:gd name="T31" fmla="*/ 94 h 339"/>
                            <a:gd name="T32" fmla="*/ 254 w 273"/>
                            <a:gd name="T33" fmla="*/ 91 h 339"/>
                            <a:gd name="T34" fmla="*/ 213 w 273"/>
                            <a:gd name="T35" fmla="*/ 87 h 339"/>
                            <a:gd name="T36" fmla="*/ 186 w 273"/>
                            <a:gd name="T37" fmla="*/ 85 h 339"/>
                            <a:gd name="T38" fmla="*/ 134 w 273"/>
                            <a:gd name="T39" fmla="*/ 83 h 339"/>
                            <a:gd name="T40" fmla="*/ 101 w 273"/>
                            <a:gd name="T41" fmla="*/ 73 h 339"/>
                            <a:gd name="T42" fmla="*/ 100 w 273"/>
                            <a:gd name="T43" fmla="*/ 32 h 339"/>
                            <a:gd name="T44" fmla="*/ 99 w 273"/>
                            <a:gd name="T45" fmla="*/ 19 h 339"/>
                            <a:gd name="T46" fmla="*/ 97 w 273"/>
                            <a:gd name="T47" fmla="*/ 18 h 339"/>
                            <a:gd name="T48" fmla="*/ 82 w 273"/>
                            <a:gd name="T49" fmla="*/ 28 h 339"/>
                            <a:gd name="T50" fmla="*/ 61 w 273"/>
                            <a:gd name="T51" fmla="*/ 12 h 339"/>
                            <a:gd name="T52" fmla="*/ 58 w 273"/>
                            <a:gd name="T53" fmla="*/ 8 h 339"/>
                            <a:gd name="T54" fmla="*/ 55 w 273"/>
                            <a:gd name="T55" fmla="*/ 8 h 339"/>
                            <a:gd name="T56" fmla="*/ 54 w 273"/>
                            <a:gd name="T57" fmla="*/ 9 h 339"/>
                            <a:gd name="T58" fmla="*/ 25 w 273"/>
                            <a:gd name="T59" fmla="*/ 0 h 339"/>
                            <a:gd name="T60" fmla="*/ 13 w 273"/>
                            <a:gd name="T61" fmla="*/ 16 h 339"/>
                            <a:gd name="T62" fmla="*/ 6 w 273"/>
                            <a:gd name="T63" fmla="*/ 26 h 339"/>
                            <a:gd name="T64" fmla="*/ 6 w 273"/>
                            <a:gd name="T65" fmla="*/ 30 h 339"/>
                            <a:gd name="T66" fmla="*/ 10 w 273"/>
                            <a:gd name="T67" fmla="*/ 34 h 339"/>
                            <a:gd name="T68" fmla="*/ 23 w 273"/>
                            <a:gd name="T69" fmla="*/ 51 h 339"/>
                            <a:gd name="T70" fmla="*/ 38 w 273"/>
                            <a:gd name="T71" fmla="*/ 56 h 339"/>
                            <a:gd name="T72" fmla="*/ 56 w 273"/>
                            <a:gd name="T73" fmla="*/ 71 h 339"/>
                            <a:gd name="T74" fmla="*/ 48 w 273"/>
                            <a:gd name="T75" fmla="*/ 84 h 339"/>
                            <a:gd name="T76" fmla="*/ 25 w 273"/>
                            <a:gd name="T77" fmla="*/ 85 h 339"/>
                            <a:gd name="T78" fmla="*/ 7 w 273"/>
                            <a:gd name="T79" fmla="*/ 104 h 339"/>
                            <a:gd name="T80" fmla="*/ 10 w 273"/>
                            <a:gd name="T81" fmla="*/ 121 h 339"/>
                            <a:gd name="T82" fmla="*/ 29 w 273"/>
                            <a:gd name="T83" fmla="*/ 133 h 339"/>
                            <a:gd name="T84" fmla="*/ 40 w 273"/>
                            <a:gd name="T85" fmla="*/ 156 h 339"/>
                            <a:gd name="T86" fmla="*/ 35 w 273"/>
                            <a:gd name="T87" fmla="*/ 181 h 339"/>
                            <a:gd name="T88" fmla="*/ 51 w 273"/>
                            <a:gd name="T89" fmla="*/ 211 h 339"/>
                            <a:gd name="T90" fmla="*/ 55 w 273"/>
                            <a:gd name="T91" fmla="*/ 239 h 339"/>
                            <a:gd name="T92" fmla="*/ 64 w 273"/>
                            <a:gd name="T93" fmla="*/ 303 h 339"/>
                            <a:gd name="T94" fmla="*/ 72 w 273"/>
                            <a:gd name="T95" fmla="*/ 296 h 339"/>
                            <a:gd name="T96" fmla="*/ 91 w 273"/>
                            <a:gd name="T97" fmla="*/ 272 h 339"/>
                            <a:gd name="T98" fmla="*/ 110 w 273"/>
                            <a:gd name="T99" fmla="*/ 289 h 339"/>
                            <a:gd name="T100" fmla="*/ 122 w 273"/>
                            <a:gd name="T101" fmla="*/ 275 h 339"/>
                            <a:gd name="T102" fmla="*/ 140 w 273"/>
                            <a:gd name="T103" fmla="*/ 281 h 339"/>
                            <a:gd name="T104" fmla="*/ 160 w 273"/>
                            <a:gd name="T105" fmla="*/ 279 h 339"/>
                            <a:gd name="T106" fmla="*/ 155 w 273"/>
                            <a:gd name="T107" fmla="*/ 246 h 339"/>
                            <a:gd name="T108" fmla="*/ 145 w 273"/>
                            <a:gd name="T109" fmla="*/ 230 h 339"/>
                            <a:gd name="T110" fmla="*/ 146 w 273"/>
                            <a:gd name="T111" fmla="*/ 204 h 339"/>
                            <a:gd name="T112" fmla="*/ 141 w 273"/>
                            <a:gd name="T113" fmla="*/ 168 h 339"/>
                            <a:gd name="T114" fmla="*/ 160 w 273"/>
                            <a:gd name="T115" fmla="*/ 195 h 339"/>
                            <a:gd name="T116" fmla="*/ 164 w 273"/>
                            <a:gd name="T117" fmla="*/ 232 h 339"/>
                            <a:gd name="T118" fmla="*/ 205 w 273"/>
                            <a:gd name="T119" fmla="*/ 233 h 339"/>
                            <a:gd name="T120" fmla="*/ 221 w 273"/>
                            <a:gd name="T121" fmla="*/ 262 h 339"/>
                            <a:gd name="T122" fmla="*/ 231 w 273"/>
                            <a:gd name="T123" fmla="*/ 297 h 339"/>
                            <a:gd name="T124" fmla="*/ 244 w 273"/>
                            <a:gd name="T125" fmla="*/ 339 h 33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  <a:cxn ang="0">
                              <a:pos x="T116" y="T117"/>
                            </a:cxn>
                            <a:cxn ang="0">
                              <a:pos x="T118" y="T119"/>
                            </a:cxn>
                            <a:cxn ang="0">
                              <a:pos x="T120" y="T121"/>
                            </a:cxn>
                            <a:cxn ang="0">
                              <a:pos x="T122" y="T123"/>
                            </a:cxn>
                            <a:cxn ang="0">
                              <a:pos x="T124" y="T125"/>
                            </a:cxn>
                          </a:cxnLst>
                          <a:rect l="0" t="0" r="r" b="b"/>
                          <a:pathLst>
                            <a:path w="273" h="339">
                              <a:moveTo>
                                <a:pt x="256" y="325"/>
                              </a:moveTo>
                              <a:cubicBezTo>
                                <a:pt x="260" y="324"/>
                                <a:pt x="262" y="324"/>
                                <a:pt x="265" y="325"/>
                              </a:cubicBezTo>
                              <a:cubicBezTo>
                                <a:pt x="266" y="325"/>
                                <a:pt x="267" y="325"/>
                                <a:pt x="268" y="326"/>
                              </a:cubicBezTo>
                              <a:cubicBezTo>
                                <a:pt x="271" y="326"/>
                                <a:pt x="271" y="325"/>
                                <a:pt x="272" y="324"/>
                              </a:cubicBezTo>
                              <a:cubicBezTo>
                                <a:pt x="273" y="323"/>
                                <a:pt x="273" y="323"/>
                                <a:pt x="273" y="323"/>
                              </a:cubicBezTo>
                              <a:cubicBezTo>
                                <a:pt x="273" y="323"/>
                                <a:pt x="273" y="323"/>
                                <a:pt x="273" y="323"/>
                              </a:cubicBezTo>
                              <a:cubicBezTo>
                                <a:pt x="273" y="323"/>
                                <a:pt x="273" y="319"/>
                                <a:pt x="273" y="315"/>
                              </a:cubicBezTo>
                              <a:cubicBezTo>
                                <a:pt x="273" y="310"/>
                                <a:pt x="272" y="303"/>
                                <a:pt x="271" y="298"/>
                              </a:cubicBezTo>
                              <a:cubicBezTo>
                                <a:pt x="269" y="291"/>
                                <a:pt x="270" y="287"/>
                                <a:pt x="271" y="282"/>
                              </a:cubicBezTo>
                              <a:cubicBezTo>
                                <a:pt x="271" y="279"/>
                                <a:pt x="272" y="277"/>
                                <a:pt x="272" y="274"/>
                              </a:cubicBezTo>
                              <a:cubicBezTo>
                                <a:pt x="272" y="270"/>
                                <a:pt x="272" y="266"/>
                                <a:pt x="271" y="262"/>
                              </a:cubicBezTo>
                              <a:cubicBezTo>
                                <a:pt x="270" y="258"/>
                                <a:pt x="268" y="253"/>
                                <a:pt x="265" y="244"/>
                              </a:cubicBezTo>
                              <a:cubicBezTo>
                                <a:pt x="262" y="236"/>
                                <a:pt x="261" y="231"/>
                                <a:pt x="260" y="226"/>
                              </a:cubicBezTo>
                              <a:cubicBezTo>
                                <a:pt x="258" y="222"/>
                                <a:pt x="258" y="219"/>
                                <a:pt x="256" y="213"/>
                              </a:cubicBezTo>
                              <a:cubicBezTo>
                                <a:pt x="255" y="208"/>
                                <a:pt x="255" y="204"/>
                                <a:pt x="254" y="200"/>
                              </a:cubicBezTo>
                              <a:cubicBezTo>
                                <a:pt x="254" y="196"/>
                                <a:pt x="254" y="193"/>
                                <a:pt x="254" y="188"/>
                              </a:cubicBezTo>
                              <a:cubicBezTo>
                                <a:pt x="254" y="184"/>
                                <a:pt x="253" y="182"/>
                                <a:pt x="252" y="181"/>
                              </a:cubicBezTo>
                              <a:cubicBezTo>
                                <a:pt x="251" y="180"/>
                                <a:pt x="250" y="179"/>
                                <a:pt x="247" y="179"/>
                              </a:cubicBezTo>
                              <a:cubicBezTo>
                                <a:pt x="245" y="178"/>
                                <a:pt x="243" y="178"/>
                                <a:pt x="243" y="179"/>
                              </a:cubicBezTo>
                              <a:cubicBezTo>
                                <a:pt x="243" y="179"/>
                                <a:pt x="243" y="179"/>
                                <a:pt x="243" y="179"/>
                              </a:cubicBezTo>
                              <a:cubicBezTo>
                                <a:pt x="242" y="179"/>
                                <a:pt x="242" y="180"/>
                                <a:pt x="241" y="181"/>
                              </a:cubicBezTo>
                              <a:cubicBezTo>
                                <a:pt x="241" y="182"/>
                                <a:pt x="240" y="185"/>
                                <a:pt x="239" y="188"/>
                              </a:cubicBezTo>
                              <a:cubicBezTo>
                                <a:pt x="238" y="194"/>
                                <a:pt x="237" y="201"/>
                                <a:pt x="234" y="207"/>
                              </a:cubicBezTo>
                              <a:cubicBezTo>
                                <a:pt x="234" y="208"/>
                                <a:pt x="233" y="210"/>
                                <a:pt x="233" y="211"/>
                              </a:cubicBezTo>
                              <a:cubicBezTo>
                                <a:pt x="230" y="218"/>
                                <a:pt x="229" y="221"/>
                                <a:pt x="225" y="224"/>
                              </a:cubicBezTo>
                              <a:cubicBezTo>
                                <a:pt x="221" y="226"/>
                                <a:pt x="218" y="226"/>
                                <a:pt x="213" y="224"/>
                              </a:cubicBezTo>
                              <a:cubicBezTo>
                                <a:pt x="210" y="223"/>
                                <a:pt x="207" y="221"/>
                                <a:pt x="203" y="219"/>
                              </a:cubicBezTo>
                              <a:cubicBezTo>
                                <a:pt x="197" y="215"/>
                                <a:pt x="193" y="207"/>
                                <a:pt x="189" y="200"/>
                              </a:cubicBezTo>
                              <a:cubicBezTo>
                                <a:pt x="189" y="199"/>
                                <a:pt x="188" y="197"/>
                                <a:pt x="187" y="196"/>
                              </a:cubicBezTo>
                              <a:cubicBezTo>
                                <a:pt x="185" y="192"/>
                                <a:pt x="184" y="188"/>
                                <a:pt x="184" y="183"/>
                              </a:cubicBezTo>
                              <a:cubicBezTo>
                                <a:pt x="184" y="178"/>
                                <a:pt x="185" y="174"/>
                                <a:pt x="185" y="169"/>
                              </a:cubicBezTo>
                              <a:cubicBezTo>
                                <a:pt x="187" y="158"/>
                                <a:pt x="189" y="156"/>
                                <a:pt x="196" y="151"/>
                              </a:cubicBezTo>
                              <a:cubicBezTo>
                                <a:pt x="196" y="151"/>
                                <a:pt x="196" y="151"/>
                                <a:pt x="196" y="151"/>
                              </a:cubicBezTo>
                              <a:cubicBezTo>
                                <a:pt x="196" y="151"/>
                                <a:pt x="196" y="151"/>
                                <a:pt x="196" y="151"/>
                              </a:cubicBezTo>
                              <a:cubicBezTo>
                                <a:pt x="199" y="148"/>
                                <a:pt x="203" y="146"/>
                                <a:pt x="206" y="145"/>
                              </a:cubicBezTo>
                              <a:cubicBezTo>
                                <a:pt x="210" y="144"/>
                                <a:pt x="213" y="144"/>
                                <a:pt x="216" y="144"/>
                              </a:cubicBezTo>
                              <a:cubicBezTo>
                                <a:pt x="217" y="144"/>
                                <a:pt x="218" y="144"/>
                                <a:pt x="218" y="144"/>
                              </a:cubicBezTo>
                              <a:cubicBezTo>
                                <a:pt x="221" y="144"/>
                                <a:pt x="223" y="144"/>
                                <a:pt x="225" y="141"/>
                              </a:cubicBezTo>
                              <a:cubicBezTo>
                                <a:pt x="227" y="139"/>
                                <a:pt x="227" y="138"/>
                                <a:pt x="228" y="137"/>
                              </a:cubicBezTo>
                              <a:cubicBezTo>
                                <a:pt x="229" y="136"/>
                                <a:pt x="230" y="135"/>
                                <a:pt x="234" y="130"/>
                              </a:cubicBezTo>
                              <a:cubicBezTo>
                                <a:pt x="236" y="128"/>
                                <a:pt x="238" y="126"/>
                                <a:pt x="240" y="124"/>
                              </a:cubicBezTo>
                              <a:cubicBezTo>
                                <a:pt x="242" y="122"/>
                                <a:pt x="244" y="121"/>
                                <a:pt x="245" y="119"/>
                              </a:cubicBezTo>
                              <a:cubicBezTo>
                                <a:pt x="245" y="116"/>
                                <a:pt x="246" y="113"/>
                                <a:pt x="247" y="111"/>
                              </a:cubicBezTo>
                              <a:cubicBezTo>
                                <a:pt x="249" y="109"/>
                                <a:pt x="250" y="107"/>
                                <a:pt x="252" y="105"/>
                              </a:cubicBezTo>
                              <a:cubicBezTo>
                                <a:pt x="254" y="104"/>
                                <a:pt x="255" y="104"/>
                                <a:pt x="256" y="103"/>
                              </a:cubicBezTo>
                              <a:cubicBezTo>
                                <a:pt x="256" y="103"/>
                                <a:pt x="256" y="103"/>
                                <a:pt x="256" y="103"/>
                              </a:cubicBezTo>
                              <a:cubicBezTo>
                                <a:pt x="258" y="102"/>
                                <a:pt x="260" y="101"/>
                                <a:pt x="260" y="99"/>
                              </a:cubicBezTo>
                              <a:cubicBezTo>
                                <a:pt x="261" y="96"/>
                                <a:pt x="260" y="96"/>
                                <a:pt x="257" y="94"/>
                              </a:cubicBezTo>
                              <a:cubicBezTo>
                                <a:pt x="256" y="93"/>
                                <a:pt x="256" y="93"/>
                                <a:pt x="256" y="93"/>
                              </a:cubicBezTo>
                              <a:cubicBezTo>
                                <a:pt x="256" y="93"/>
                                <a:pt x="256" y="93"/>
                                <a:pt x="256" y="93"/>
                              </a:cubicBezTo>
                              <a:cubicBezTo>
                                <a:pt x="256" y="93"/>
                                <a:pt x="255" y="92"/>
                                <a:pt x="254" y="91"/>
                              </a:cubicBezTo>
                              <a:cubicBezTo>
                                <a:pt x="250" y="88"/>
                                <a:pt x="246" y="85"/>
                                <a:pt x="235" y="84"/>
                              </a:cubicBezTo>
                              <a:cubicBezTo>
                                <a:pt x="228" y="84"/>
                                <a:pt x="226" y="84"/>
                                <a:pt x="224" y="85"/>
                              </a:cubicBezTo>
                              <a:cubicBezTo>
                                <a:pt x="222" y="86"/>
                                <a:pt x="219" y="87"/>
                                <a:pt x="213" y="87"/>
                              </a:cubicBezTo>
                              <a:cubicBezTo>
                                <a:pt x="205" y="87"/>
                                <a:pt x="202" y="86"/>
                                <a:pt x="200" y="86"/>
                              </a:cubicBezTo>
                              <a:cubicBezTo>
                                <a:pt x="198" y="85"/>
                                <a:pt x="197" y="85"/>
                                <a:pt x="196" y="85"/>
                              </a:cubicBezTo>
                              <a:cubicBezTo>
                                <a:pt x="193" y="85"/>
                                <a:pt x="191" y="85"/>
                                <a:pt x="186" y="85"/>
                              </a:cubicBezTo>
                              <a:cubicBezTo>
                                <a:pt x="183" y="86"/>
                                <a:pt x="179" y="86"/>
                                <a:pt x="173" y="86"/>
                              </a:cubicBezTo>
                              <a:cubicBezTo>
                                <a:pt x="157" y="87"/>
                                <a:pt x="152" y="87"/>
                                <a:pt x="141" y="84"/>
                              </a:cubicBezTo>
                              <a:cubicBezTo>
                                <a:pt x="138" y="84"/>
                                <a:pt x="135" y="83"/>
                                <a:pt x="134" y="83"/>
                              </a:cubicBezTo>
                              <a:cubicBezTo>
                                <a:pt x="126" y="81"/>
                                <a:pt x="122" y="81"/>
                                <a:pt x="119" y="81"/>
                              </a:cubicBezTo>
                              <a:cubicBezTo>
                                <a:pt x="115" y="81"/>
                                <a:pt x="113" y="80"/>
                                <a:pt x="109" y="78"/>
                              </a:cubicBezTo>
                              <a:cubicBezTo>
                                <a:pt x="106" y="77"/>
                                <a:pt x="103" y="75"/>
                                <a:pt x="101" y="73"/>
                              </a:cubicBezTo>
                              <a:cubicBezTo>
                                <a:pt x="99" y="71"/>
                                <a:pt x="97" y="68"/>
                                <a:pt x="97" y="63"/>
                              </a:cubicBezTo>
                              <a:cubicBezTo>
                                <a:pt x="96" y="59"/>
                                <a:pt x="97" y="52"/>
                                <a:pt x="98" y="46"/>
                              </a:cubicBezTo>
                              <a:cubicBezTo>
                                <a:pt x="99" y="41"/>
                                <a:pt x="100" y="36"/>
                                <a:pt x="100" y="32"/>
                              </a:cubicBezTo>
                              <a:cubicBezTo>
                                <a:pt x="100" y="31"/>
                                <a:pt x="100" y="28"/>
                                <a:pt x="100" y="27"/>
                              </a:cubicBezTo>
                              <a:cubicBezTo>
                                <a:pt x="100" y="22"/>
                                <a:pt x="100" y="22"/>
                                <a:pt x="99" y="19"/>
                              </a:cubicBezTo>
                              <a:cubicBezTo>
                                <a:pt x="99" y="19"/>
                                <a:pt x="99" y="19"/>
                                <a:pt x="99" y="19"/>
                              </a:cubicBezTo>
                              <a:cubicBezTo>
                                <a:pt x="99" y="19"/>
                                <a:pt x="99" y="19"/>
                                <a:pt x="99" y="19"/>
                              </a:cubicBezTo>
                              <a:cubicBezTo>
                                <a:pt x="99" y="19"/>
                                <a:pt x="99" y="19"/>
                                <a:pt x="99" y="19"/>
                              </a:cubicBezTo>
                              <a:cubicBezTo>
                                <a:pt x="98" y="19"/>
                                <a:pt x="98" y="18"/>
                                <a:pt x="97" y="18"/>
                              </a:cubicBezTo>
                              <a:cubicBezTo>
                                <a:pt x="96" y="18"/>
                                <a:pt x="96" y="18"/>
                                <a:pt x="95" y="18"/>
                              </a:cubicBezTo>
                              <a:cubicBezTo>
                                <a:pt x="95" y="18"/>
                                <a:pt x="95" y="19"/>
                                <a:pt x="94" y="20"/>
                              </a:cubicBezTo>
                              <a:cubicBezTo>
                                <a:pt x="92" y="23"/>
                                <a:pt x="88" y="28"/>
                                <a:pt x="82" y="28"/>
                              </a:cubicBezTo>
                              <a:cubicBezTo>
                                <a:pt x="78" y="29"/>
                                <a:pt x="75" y="28"/>
                                <a:pt x="73" y="26"/>
                              </a:cubicBezTo>
                              <a:cubicBezTo>
                                <a:pt x="70" y="25"/>
                                <a:pt x="68" y="23"/>
                                <a:pt x="65" y="19"/>
                              </a:cubicBezTo>
                              <a:cubicBezTo>
                                <a:pt x="62" y="16"/>
                                <a:pt x="62" y="14"/>
                                <a:pt x="61" y="12"/>
                              </a:cubicBezTo>
                              <a:cubicBezTo>
                                <a:pt x="61" y="12"/>
                                <a:pt x="61" y="12"/>
                                <a:pt x="61" y="12"/>
                              </a:cubicBezTo>
                              <a:cubicBezTo>
                                <a:pt x="60" y="11"/>
                                <a:pt x="60" y="10"/>
                                <a:pt x="59" y="9"/>
                              </a:cubicBezTo>
                              <a:cubicBezTo>
                                <a:pt x="59" y="9"/>
                                <a:pt x="59" y="8"/>
                                <a:pt x="58" y="8"/>
                              </a:cubicBezTo>
                              <a:cubicBezTo>
                                <a:pt x="58" y="8"/>
                                <a:pt x="57" y="7"/>
                                <a:pt x="56" y="7"/>
                              </a:cubicBezTo>
                              <a:cubicBezTo>
                                <a:pt x="56" y="7"/>
                                <a:pt x="55" y="8"/>
                                <a:pt x="55" y="8"/>
                              </a:cubicBezTo>
                              <a:cubicBezTo>
                                <a:pt x="55" y="8"/>
                                <a:pt x="55" y="8"/>
                                <a:pt x="55" y="8"/>
                              </a:cubicBezTo>
                              <a:cubicBezTo>
                                <a:pt x="55" y="8"/>
                                <a:pt x="55" y="8"/>
                                <a:pt x="55" y="8"/>
                              </a:cubicBezTo>
                              <a:cubicBezTo>
                                <a:pt x="55" y="8"/>
                                <a:pt x="55" y="8"/>
                                <a:pt x="55" y="8"/>
                              </a:cubicBezTo>
                              <a:cubicBezTo>
                                <a:pt x="54" y="8"/>
                                <a:pt x="54" y="9"/>
                                <a:pt x="54" y="9"/>
                              </a:cubicBezTo>
                              <a:cubicBezTo>
                                <a:pt x="52" y="12"/>
                                <a:pt x="50" y="15"/>
                                <a:pt x="43" y="13"/>
                              </a:cubicBezTo>
                              <a:cubicBezTo>
                                <a:pt x="40" y="12"/>
                                <a:pt x="37" y="9"/>
                                <a:pt x="33" y="6"/>
                              </a:cubicBezTo>
                              <a:cubicBezTo>
                                <a:pt x="30" y="3"/>
                                <a:pt x="27" y="0"/>
                                <a:pt x="25" y="0"/>
                              </a:cubicBezTo>
                              <a:cubicBezTo>
                                <a:pt x="23" y="0"/>
                                <a:pt x="23" y="2"/>
                                <a:pt x="23" y="4"/>
                              </a:cubicBezTo>
                              <a:cubicBezTo>
                                <a:pt x="22" y="5"/>
                                <a:pt x="22" y="5"/>
                                <a:pt x="22" y="6"/>
                              </a:cubicBezTo>
                              <a:cubicBezTo>
                                <a:pt x="21" y="10"/>
                                <a:pt x="18" y="12"/>
                                <a:pt x="13" y="16"/>
                              </a:cubicBezTo>
                              <a:cubicBezTo>
                                <a:pt x="13" y="17"/>
                                <a:pt x="13" y="17"/>
                                <a:pt x="13" y="17"/>
                              </a:cubicBezTo>
                              <a:cubicBezTo>
                                <a:pt x="11" y="18"/>
                                <a:pt x="10" y="19"/>
                                <a:pt x="9" y="21"/>
                              </a:cubicBezTo>
                              <a:cubicBezTo>
                                <a:pt x="7" y="23"/>
                                <a:pt x="6" y="24"/>
                                <a:pt x="6" y="26"/>
                              </a:cubicBezTo>
                              <a:cubicBezTo>
                                <a:pt x="6" y="26"/>
                                <a:pt x="6" y="26"/>
                                <a:pt x="6" y="26"/>
                              </a:cubicBezTo>
                              <a:cubicBezTo>
                                <a:pt x="6" y="26"/>
                                <a:pt x="6" y="26"/>
                                <a:pt x="6" y="26"/>
                              </a:cubicBezTo>
                              <a:cubicBezTo>
                                <a:pt x="5" y="27"/>
                                <a:pt x="5" y="28"/>
                                <a:pt x="6" y="30"/>
                              </a:cubicBezTo>
                              <a:cubicBezTo>
                                <a:pt x="6" y="32"/>
                                <a:pt x="7" y="33"/>
                                <a:pt x="10" y="34"/>
                              </a:cubicBezTo>
                              <a:cubicBezTo>
                                <a:pt x="10" y="34"/>
                                <a:pt x="10" y="34"/>
                                <a:pt x="10" y="34"/>
                              </a:cubicBezTo>
                              <a:cubicBezTo>
                                <a:pt x="10" y="34"/>
                                <a:pt x="10" y="34"/>
                                <a:pt x="10" y="34"/>
                              </a:cubicBezTo>
                              <a:cubicBezTo>
                                <a:pt x="10" y="34"/>
                                <a:pt x="10" y="34"/>
                                <a:pt x="10" y="34"/>
                              </a:cubicBezTo>
                              <a:cubicBezTo>
                                <a:pt x="17" y="37"/>
                                <a:pt x="19" y="41"/>
                                <a:pt x="21" y="46"/>
                              </a:cubicBezTo>
                              <a:cubicBezTo>
                                <a:pt x="22" y="47"/>
                                <a:pt x="22" y="49"/>
                                <a:pt x="23" y="51"/>
                              </a:cubicBezTo>
                              <a:cubicBezTo>
                                <a:pt x="26" y="54"/>
                                <a:pt x="30" y="55"/>
                                <a:pt x="35" y="56"/>
                              </a:cubicBezTo>
                              <a:cubicBezTo>
                                <a:pt x="35" y="56"/>
                                <a:pt x="36" y="56"/>
                                <a:pt x="38" y="56"/>
                              </a:cubicBezTo>
                              <a:cubicBezTo>
                                <a:pt x="38" y="56"/>
                                <a:pt x="38" y="56"/>
                                <a:pt x="38" y="56"/>
                              </a:cubicBezTo>
                              <a:cubicBezTo>
                                <a:pt x="44" y="57"/>
                                <a:pt x="47" y="60"/>
                                <a:pt x="49" y="63"/>
                              </a:cubicBezTo>
                              <a:cubicBezTo>
                                <a:pt x="50" y="64"/>
                                <a:pt x="51" y="65"/>
                                <a:pt x="52" y="65"/>
                              </a:cubicBezTo>
                              <a:cubicBezTo>
                                <a:pt x="54" y="67"/>
                                <a:pt x="55" y="69"/>
                                <a:pt x="56" y="71"/>
                              </a:cubicBezTo>
                              <a:cubicBezTo>
                                <a:pt x="56" y="73"/>
                                <a:pt x="56" y="74"/>
                                <a:pt x="56" y="76"/>
                              </a:cubicBezTo>
                              <a:cubicBezTo>
                                <a:pt x="56" y="77"/>
                                <a:pt x="55" y="79"/>
                                <a:pt x="54" y="80"/>
                              </a:cubicBezTo>
                              <a:cubicBezTo>
                                <a:pt x="53" y="82"/>
                                <a:pt x="51" y="83"/>
                                <a:pt x="48" y="84"/>
                              </a:cubicBezTo>
                              <a:cubicBezTo>
                                <a:pt x="48" y="84"/>
                                <a:pt x="48" y="84"/>
                                <a:pt x="48" y="84"/>
                              </a:cubicBezTo>
                              <a:cubicBezTo>
                                <a:pt x="45" y="84"/>
                                <a:pt x="42" y="84"/>
                                <a:pt x="38" y="84"/>
                              </a:cubicBezTo>
                              <a:cubicBezTo>
                                <a:pt x="33" y="84"/>
                                <a:pt x="29" y="84"/>
                                <a:pt x="25" y="85"/>
                              </a:cubicBezTo>
                              <a:cubicBezTo>
                                <a:pt x="24" y="86"/>
                                <a:pt x="23" y="87"/>
                                <a:pt x="23" y="88"/>
                              </a:cubicBezTo>
                              <a:cubicBezTo>
                                <a:pt x="23" y="90"/>
                                <a:pt x="22" y="93"/>
                                <a:pt x="17" y="97"/>
                              </a:cubicBezTo>
                              <a:cubicBezTo>
                                <a:pt x="13" y="102"/>
                                <a:pt x="9" y="103"/>
                                <a:pt x="7" y="104"/>
                              </a:cubicBezTo>
                              <a:cubicBezTo>
                                <a:pt x="5" y="105"/>
                                <a:pt x="3" y="105"/>
                                <a:pt x="2" y="108"/>
                              </a:cubicBezTo>
                              <a:cubicBezTo>
                                <a:pt x="2" y="108"/>
                                <a:pt x="2" y="108"/>
                                <a:pt x="2" y="108"/>
                              </a:cubicBezTo>
                              <a:cubicBezTo>
                                <a:pt x="0" y="111"/>
                                <a:pt x="2" y="113"/>
                                <a:pt x="10" y="121"/>
                              </a:cubicBezTo>
                              <a:cubicBezTo>
                                <a:pt x="12" y="124"/>
                                <a:pt x="12" y="124"/>
                                <a:pt x="12" y="124"/>
                              </a:cubicBezTo>
                              <a:cubicBezTo>
                                <a:pt x="12" y="124"/>
                                <a:pt x="12" y="124"/>
                                <a:pt x="12" y="124"/>
                              </a:cubicBezTo>
                              <a:cubicBezTo>
                                <a:pt x="19" y="130"/>
                                <a:pt x="25" y="132"/>
                                <a:pt x="29" y="133"/>
                              </a:cubicBezTo>
                              <a:cubicBezTo>
                                <a:pt x="32" y="134"/>
                                <a:pt x="35" y="135"/>
                                <a:pt x="38" y="138"/>
                              </a:cubicBezTo>
                              <a:cubicBezTo>
                                <a:pt x="44" y="144"/>
                                <a:pt x="43" y="147"/>
                                <a:pt x="40" y="156"/>
                              </a:cubicBezTo>
                              <a:cubicBezTo>
                                <a:pt x="40" y="156"/>
                                <a:pt x="40" y="156"/>
                                <a:pt x="40" y="156"/>
                              </a:cubicBezTo>
                              <a:cubicBezTo>
                                <a:pt x="39" y="157"/>
                                <a:pt x="39" y="159"/>
                                <a:pt x="38" y="160"/>
                              </a:cubicBezTo>
                              <a:cubicBezTo>
                                <a:pt x="37" y="165"/>
                                <a:pt x="35" y="170"/>
                                <a:pt x="35" y="173"/>
                              </a:cubicBezTo>
                              <a:cubicBezTo>
                                <a:pt x="35" y="176"/>
                                <a:pt x="35" y="179"/>
                                <a:pt x="35" y="181"/>
                              </a:cubicBezTo>
                              <a:cubicBezTo>
                                <a:pt x="36" y="182"/>
                                <a:pt x="37" y="184"/>
                                <a:pt x="39" y="185"/>
                              </a:cubicBezTo>
                              <a:cubicBezTo>
                                <a:pt x="42" y="188"/>
                                <a:pt x="45" y="191"/>
                                <a:pt x="45" y="198"/>
                              </a:cubicBezTo>
                              <a:cubicBezTo>
                                <a:pt x="45" y="204"/>
                                <a:pt x="48" y="207"/>
                                <a:pt x="51" y="211"/>
                              </a:cubicBezTo>
                              <a:cubicBezTo>
                                <a:pt x="51" y="212"/>
                                <a:pt x="52" y="212"/>
                                <a:pt x="53" y="214"/>
                              </a:cubicBezTo>
                              <a:cubicBezTo>
                                <a:pt x="56" y="218"/>
                                <a:pt x="56" y="221"/>
                                <a:pt x="55" y="225"/>
                              </a:cubicBezTo>
                              <a:cubicBezTo>
                                <a:pt x="55" y="228"/>
                                <a:pt x="54" y="232"/>
                                <a:pt x="55" y="239"/>
                              </a:cubicBezTo>
                              <a:cubicBezTo>
                                <a:pt x="56" y="246"/>
                                <a:pt x="56" y="253"/>
                                <a:pt x="57" y="259"/>
                              </a:cubicBezTo>
                              <a:cubicBezTo>
                                <a:pt x="58" y="265"/>
                                <a:pt x="59" y="271"/>
                                <a:pt x="60" y="279"/>
                              </a:cubicBezTo>
                              <a:cubicBezTo>
                                <a:pt x="62" y="287"/>
                                <a:pt x="63" y="296"/>
                                <a:pt x="64" y="303"/>
                              </a:cubicBezTo>
                              <a:cubicBezTo>
                                <a:pt x="64" y="305"/>
                                <a:pt x="64" y="306"/>
                                <a:pt x="64" y="307"/>
                              </a:cubicBezTo>
                              <a:cubicBezTo>
                                <a:pt x="64" y="307"/>
                                <a:pt x="64" y="307"/>
                                <a:pt x="65" y="307"/>
                              </a:cubicBezTo>
                              <a:cubicBezTo>
                                <a:pt x="68" y="303"/>
                                <a:pt x="68" y="299"/>
                                <a:pt x="72" y="296"/>
                              </a:cubicBezTo>
                              <a:cubicBezTo>
                                <a:pt x="76" y="293"/>
                                <a:pt x="80" y="299"/>
                                <a:pt x="82" y="296"/>
                              </a:cubicBezTo>
                              <a:cubicBezTo>
                                <a:pt x="84" y="293"/>
                                <a:pt x="79" y="282"/>
                                <a:pt x="81" y="275"/>
                              </a:cubicBezTo>
                              <a:cubicBezTo>
                                <a:pt x="84" y="269"/>
                                <a:pt x="87" y="271"/>
                                <a:pt x="91" y="272"/>
                              </a:cubicBezTo>
                              <a:cubicBezTo>
                                <a:pt x="94" y="274"/>
                                <a:pt x="92" y="280"/>
                                <a:pt x="92" y="286"/>
                              </a:cubicBezTo>
                              <a:cubicBezTo>
                                <a:pt x="92" y="291"/>
                                <a:pt x="93" y="291"/>
                                <a:pt x="96" y="295"/>
                              </a:cubicBezTo>
                              <a:cubicBezTo>
                                <a:pt x="99" y="299"/>
                                <a:pt x="107" y="294"/>
                                <a:pt x="110" y="289"/>
                              </a:cubicBezTo>
                              <a:cubicBezTo>
                                <a:pt x="112" y="284"/>
                                <a:pt x="107" y="277"/>
                                <a:pt x="107" y="270"/>
                              </a:cubicBezTo>
                              <a:cubicBezTo>
                                <a:pt x="106" y="263"/>
                                <a:pt x="112" y="266"/>
                                <a:pt x="114" y="268"/>
                              </a:cubicBezTo>
                              <a:cubicBezTo>
                                <a:pt x="115" y="270"/>
                                <a:pt x="117" y="273"/>
                                <a:pt x="122" y="275"/>
                              </a:cubicBezTo>
                              <a:cubicBezTo>
                                <a:pt x="128" y="278"/>
                                <a:pt x="127" y="279"/>
                                <a:pt x="126" y="283"/>
                              </a:cubicBezTo>
                              <a:cubicBezTo>
                                <a:pt x="125" y="287"/>
                                <a:pt x="124" y="291"/>
                                <a:pt x="131" y="292"/>
                              </a:cubicBezTo>
                              <a:cubicBezTo>
                                <a:pt x="137" y="294"/>
                                <a:pt x="136" y="286"/>
                                <a:pt x="140" y="281"/>
                              </a:cubicBezTo>
                              <a:cubicBezTo>
                                <a:pt x="144" y="276"/>
                                <a:pt x="143" y="274"/>
                                <a:pt x="144" y="271"/>
                              </a:cubicBezTo>
                              <a:cubicBezTo>
                                <a:pt x="144" y="268"/>
                                <a:pt x="150" y="268"/>
                                <a:pt x="153" y="273"/>
                              </a:cubicBezTo>
                              <a:cubicBezTo>
                                <a:pt x="157" y="277"/>
                                <a:pt x="158" y="279"/>
                                <a:pt x="160" y="279"/>
                              </a:cubicBezTo>
                              <a:cubicBezTo>
                                <a:pt x="162" y="279"/>
                                <a:pt x="166" y="276"/>
                                <a:pt x="167" y="271"/>
                              </a:cubicBezTo>
                              <a:cubicBezTo>
                                <a:pt x="168" y="267"/>
                                <a:pt x="169" y="259"/>
                                <a:pt x="168" y="254"/>
                              </a:cubicBezTo>
                              <a:cubicBezTo>
                                <a:pt x="167" y="249"/>
                                <a:pt x="161" y="245"/>
                                <a:pt x="155" y="246"/>
                              </a:cubicBezTo>
                              <a:cubicBezTo>
                                <a:pt x="150" y="248"/>
                                <a:pt x="151" y="246"/>
                                <a:pt x="145" y="246"/>
                              </a:cubicBezTo>
                              <a:cubicBezTo>
                                <a:pt x="139" y="245"/>
                                <a:pt x="140" y="242"/>
                                <a:pt x="140" y="239"/>
                              </a:cubicBezTo>
                              <a:cubicBezTo>
                                <a:pt x="140" y="236"/>
                                <a:pt x="142" y="233"/>
                                <a:pt x="145" y="230"/>
                              </a:cubicBezTo>
                              <a:cubicBezTo>
                                <a:pt x="148" y="227"/>
                                <a:pt x="144" y="227"/>
                                <a:pt x="142" y="221"/>
                              </a:cubicBezTo>
                              <a:cubicBezTo>
                                <a:pt x="139" y="215"/>
                                <a:pt x="141" y="216"/>
                                <a:pt x="145" y="212"/>
                              </a:cubicBezTo>
                              <a:cubicBezTo>
                                <a:pt x="148" y="209"/>
                                <a:pt x="147" y="207"/>
                                <a:pt x="146" y="204"/>
                              </a:cubicBezTo>
                              <a:cubicBezTo>
                                <a:pt x="145" y="201"/>
                                <a:pt x="140" y="199"/>
                                <a:pt x="137" y="195"/>
                              </a:cubicBezTo>
                              <a:cubicBezTo>
                                <a:pt x="133" y="191"/>
                                <a:pt x="132" y="187"/>
                                <a:pt x="133" y="184"/>
                              </a:cubicBezTo>
                              <a:cubicBezTo>
                                <a:pt x="134" y="180"/>
                                <a:pt x="136" y="171"/>
                                <a:pt x="141" y="168"/>
                              </a:cubicBezTo>
                              <a:cubicBezTo>
                                <a:pt x="145" y="164"/>
                                <a:pt x="144" y="169"/>
                                <a:pt x="147" y="173"/>
                              </a:cubicBezTo>
                              <a:cubicBezTo>
                                <a:pt x="149" y="178"/>
                                <a:pt x="152" y="180"/>
                                <a:pt x="159" y="184"/>
                              </a:cubicBezTo>
                              <a:cubicBezTo>
                                <a:pt x="166" y="188"/>
                                <a:pt x="161" y="191"/>
                                <a:pt x="160" y="195"/>
                              </a:cubicBezTo>
                              <a:cubicBezTo>
                                <a:pt x="158" y="198"/>
                                <a:pt x="158" y="202"/>
                                <a:pt x="155" y="207"/>
                              </a:cubicBezTo>
                              <a:cubicBezTo>
                                <a:pt x="153" y="212"/>
                                <a:pt x="155" y="214"/>
                                <a:pt x="155" y="219"/>
                              </a:cubicBezTo>
                              <a:cubicBezTo>
                                <a:pt x="155" y="225"/>
                                <a:pt x="158" y="228"/>
                                <a:pt x="164" y="232"/>
                              </a:cubicBezTo>
                              <a:cubicBezTo>
                                <a:pt x="170" y="236"/>
                                <a:pt x="172" y="236"/>
                                <a:pt x="181" y="238"/>
                              </a:cubicBezTo>
                              <a:cubicBezTo>
                                <a:pt x="189" y="241"/>
                                <a:pt x="189" y="238"/>
                                <a:pt x="194" y="235"/>
                              </a:cubicBezTo>
                              <a:cubicBezTo>
                                <a:pt x="198" y="231"/>
                                <a:pt x="199" y="233"/>
                                <a:pt x="205" y="233"/>
                              </a:cubicBezTo>
                              <a:cubicBezTo>
                                <a:pt x="210" y="232"/>
                                <a:pt x="211" y="234"/>
                                <a:pt x="211" y="240"/>
                              </a:cubicBezTo>
                              <a:cubicBezTo>
                                <a:pt x="211" y="245"/>
                                <a:pt x="214" y="254"/>
                                <a:pt x="215" y="257"/>
                              </a:cubicBezTo>
                              <a:cubicBezTo>
                                <a:pt x="216" y="261"/>
                                <a:pt x="220" y="259"/>
                                <a:pt x="221" y="262"/>
                              </a:cubicBezTo>
                              <a:cubicBezTo>
                                <a:pt x="223" y="265"/>
                                <a:pt x="225" y="265"/>
                                <a:pt x="229" y="269"/>
                              </a:cubicBezTo>
                              <a:cubicBezTo>
                                <a:pt x="233" y="274"/>
                                <a:pt x="230" y="277"/>
                                <a:pt x="230" y="284"/>
                              </a:cubicBezTo>
                              <a:cubicBezTo>
                                <a:pt x="230" y="291"/>
                                <a:pt x="230" y="288"/>
                                <a:pt x="231" y="297"/>
                              </a:cubicBezTo>
                              <a:cubicBezTo>
                                <a:pt x="232" y="306"/>
                                <a:pt x="233" y="302"/>
                                <a:pt x="235" y="311"/>
                              </a:cubicBezTo>
                              <a:cubicBezTo>
                                <a:pt x="237" y="320"/>
                                <a:pt x="235" y="320"/>
                                <a:pt x="238" y="328"/>
                              </a:cubicBezTo>
                              <a:cubicBezTo>
                                <a:pt x="241" y="336"/>
                                <a:pt x="243" y="336"/>
                                <a:pt x="244" y="339"/>
                              </a:cubicBezTo>
                              <a:cubicBezTo>
                                <a:pt x="247" y="333"/>
                                <a:pt x="252" y="326"/>
                                <a:pt x="256" y="325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531" name="Freeform 326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775835" y="4473866"/>
                          <a:ext cx="40481" cy="70247"/>
                        </a:xfrm>
                        <a:custGeom>
                          <a:avLst/>
                          <a:gdLst>
                            <a:gd name="T0" fmla="*/ 123 w 139"/>
                            <a:gd name="T1" fmla="*/ 120 h 241"/>
                            <a:gd name="T2" fmla="*/ 115 w 139"/>
                            <a:gd name="T3" fmla="*/ 101 h 241"/>
                            <a:gd name="T4" fmla="*/ 93 w 139"/>
                            <a:gd name="T5" fmla="*/ 73 h 241"/>
                            <a:gd name="T6" fmla="*/ 83 w 139"/>
                            <a:gd name="T7" fmla="*/ 52 h 241"/>
                            <a:gd name="T8" fmla="*/ 62 w 139"/>
                            <a:gd name="T9" fmla="*/ 21 h 241"/>
                            <a:gd name="T10" fmla="*/ 57 w 139"/>
                            <a:gd name="T11" fmla="*/ 13 h 241"/>
                            <a:gd name="T12" fmla="*/ 46 w 139"/>
                            <a:gd name="T13" fmla="*/ 7 h 241"/>
                            <a:gd name="T14" fmla="*/ 38 w 139"/>
                            <a:gd name="T15" fmla="*/ 5 h 241"/>
                            <a:gd name="T16" fmla="*/ 31 w 139"/>
                            <a:gd name="T17" fmla="*/ 4 h 241"/>
                            <a:gd name="T18" fmla="*/ 35 w 139"/>
                            <a:gd name="T19" fmla="*/ 16 h 241"/>
                            <a:gd name="T20" fmla="*/ 28 w 139"/>
                            <a:gd name="T21" fmla="*/ 19 h 241"/>
                            <a:gd name="T22" fmla="*/ 28 w 139"/>
                            <a:gd name="T23" fmla="*/ 27 h 241"/>
                            <a:gd name="T24" fmla="*/ 20 w 139"/>
                            <a:gd name="T25" fmla="*/ 43 h 241"/>
                            <a:gd name="T26" fmla="*/ 11 w 139"/>
                            <a:gd name="T27" fmla="*/ 46 h 241"/>
                            <a:gd name="T28" fmla="*/ 16 w 139"/>
                            <a:gd name="T29" fmla="*/ 61 h 241"/>
                            <a:gd name="T30" fmla="*/ 15 w 139"/>
                            <a:gd name="T31" fmla="*/ 86 h 241"/>
                            <a:gd name="T32" fmla="*/ 6 w 139"/>
                            <a:gd name="T33" fmla="*/ 99 h 241"/>
                            <a:gd name="T34" fmla="*/ 6 w 139"/>
                            <a:gd name="T35" fmla="*/ 115 h 241"/>
                            <a:gd name="T36" fmla="*/ 12 w 139"/>
                            <a:gd name="T37" fmla="*/ 182 h 241"/>
                            <a:gd name="T38" fmla="*/ 21 w 139"/>
                            <a:gd name="T39" fmla="*/ 209 h 241"/>
                            <a:gd name="T40" fmla="*/ 42 w 139"/>
                            <a:gd name="T41" fmla="*/ 234 h 241"/>
                            <a:gd name="T42" fmla="*/ 71 w 139"/>
                            <a:gd name="T43" fmla="*/ 234 h 241"/>
                            <a:gd name="T44" fmla="*/ 91 w 139"/>
                            <a:gd name="T45" fmla="*/ 220 h 241"/>
                            <a:gd name="T46" fmla="*/ 119 w 139"/>
                            <a:gd name="T47" fmla="*/ 209 h 241"/>
                            <a:gd name="T48" fmla="*/ 132 w 139"/>
                            <a:gd name="T49" fmla="*/ 196 h 241"/>
                            <a:gd name="T50" fmla="*/ 135 w 139"/>
                            <a:gd name="T51" fmla="*/ 181 h 241"/>
                            <a:gd name="T52" fmla="*/ 139 w 139"/>
                            <a:gd name="T53" fmla="*/ 159 h 241"/>
                            <a:gd name="T54" fmla="*/ 132 w 139"/>
                            <a:gd name="T55" fmla="*/ 138 h 241"/>
                            <a:gd name="T56" fmla="*/ 123 w 139"/>
                            <a:gd name="T57" fmla="*/ 120 h 241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</a:cxnLst>
                          <a:rect l="0" t="0" r="r" b="b"/>
                          <a:pathLst>
                            <a:path w="139" h="241">
                              <a:moveTo>
                                <a:pt x="123" y="120"/>
                              </a:moveTo>
                              <a:cubicBezTo>
                                <a:pt x="118" y="111"/>
                                <a:pt x="120" y="110"/>
                                <a:pt x="115" y="101"/>
                              </a:cubicBezTo>
                              <a:cubicBezTo>
                                <a:pt x="111" y="93"/>
                                <a:pt x="103" y="87"/>
                                <a:pt x="93" y="73"/>
                              </a:cubicBezTo>
                              <a:cubicBezTo>
                                <a:pt x="83" y="58"/>
                                <a:pt x="87" y="62"/>
                                <a:pt x="83" y="52"/>
                              </a:cubicBezTo>
                              <a:cubicBezTo>
                                <a:pt x="78" y="33"/>
                                <a:pt x="67" y="25"/>
                                <a:pt x="62" y="21"/>
                              </a:cubicBezTo>
                              <a:cubicBezTo>
                                <a:pt x="57" y="16"/>
                                <a:pt x="59" y="18"/>
                                <a:pt x="57" y="13"/>
                              </a:cubicBezTo>
                              <a:cubicBezTo>
                                <a:pt x="55" y="8"/>
                                <a:pt x="51" y="8"/>
                                <a:pt x="46" y="7"/>
                              </a:cubicBezTo>
                              <a:cubicBezTo>
                                <a:pt x="42" y="5"/>
                                <a:pt x="40" y="9"/>
                                <a:pt x="38" y="5"/>
                              </a:cubicBezTo>
                              <a:cubicBezTo>
                                <a:pt x="36" y="1"/>
                                <a:pt x="32" y="0"/>
                                <a:pt x="31" y="4"/>
                              </a:cubicBezTo>
                              <a:cubicBezTo>
                                <a:pt x="29" y="7"/>
                                <a:pt x="36" y="11"/>
                                <a:pt x="35" y="16"/>
                              </a:cubicBezTo>
                              <a:cubicBezTo>
                                <a:pt x="35" y="22"/>
                                <a:pt x="31" y="18"/>
                                <a:pt x="28" y="19"/>
                              </a:cubicBezTo>
                              <a:cubicBezTo>
                                <a:pt x="25" y="19"/>
                                <a:pt x="27" y="22"/>
                                <a:pt x="28" y="27"/>
                              </a:cubicBezTo>
                              <a:cubicBezTo>
                                <a:pt x="29" y="33"/>
                                <a:pt x="24" y="36"/>
                                <a:pt x="20" y="43"/>
                              </a:cubicBezTo>
                              <a:cubicBezTo>
                                <a:pt x="15" y="49"/>
                                <a:pt x="15" y="45"/>
                                <a:pt x="11" y="46"/>
                              </a:cubicBezTo>
                              <a:cubicBezTo>
                                <a:pt x="7" y="48"/>
                                <a:pt x="13" y="53"/>
                                <a:pt x="16" y="61"/>
                              </a:cubicBezTo>
                              <a:cubicBezTo>
                                <a:pt x="19" y="69"/>
                                <a:pt x="16" y="74"/>
                                <a:pt x="15" y="86"/>
                              </a:cubicBezTo>
                              <a:cubicBezTo>
                                <a:pt x="14" y="99"/>
                                <a:pt x="12" y="92"/>
                                <a:pt x="6" y="99"/>
                              </a:cubicBezTo>
                              <a:cubicBezTo>
                                <a:pt x="0" y="106"/>
                                <a:pt x="4" y="105"/>
                                <a:pt x="6" y="115"/>
                              </a:cubicBezTo>
                              <a:cubicBezTo>
                                <a:pt x="7" y="126"/>
                                <a:pt x="9" y="168"/>
                                <a:pt x="12" y="182"/>
                              </a:cubicBezTo>
                              <a:cubicBezTo>
                                <a:pt x="15" y="197"/>
                                <a:pt x="16" y="199"/>
                                <a:pt x="21" y="209"/>
                              </a:cubicBezTo>
                              <a:cubicBezTo>
                                <a:pt x="26" y="219"/>
                                <a:pt x="33" y="227"/>
                                <a:pt x="42" y="234"/>
                              </a:cubicBezTo>
                              <a:cubicBezTo>
                                <a:pt x="51" y="241"/>
                                <a:pt x="62" y="238"/>
                                <a:pt x="71" y="234"/>
                              </a:cubicBezTo>
                              <a:cubicBezTo>
                                <a:pt x="80" y="231"/>
                                <a:pt x="85" y="226"/>
                                <a:pt x="91" y="220"/>
                              </a:cubicBezTo>
                              <a:cubicBezTo>
                                <a:pt x="98" y="214"/>
                                <a:pt x="109" y="215"/>
                                <a:pt x="119" y="209"/>
                              </a:cubicBezTo>
                              <a:cubicBezTo>
                                <a:pt x="129" y="204"/>
                                <a:pt x="130" y="203"/>
                                <a:pt x="132" y="196"/>
                              </a:cubicBezTo>
                              <a:cubicBezTo>
                                <a:pt x="134" y="190"/>
                                <a:pt x="134" y="187"/>
                                <a:pt x="135" y="181"/>
                              </a:cubicBezTo>
                              <a:cubicBezTo>
                                <a:pt x="137" y="174"/>
                                <a:pt x="139" y="169"/>
                                <a:pt x="139" y="159"/>
                              </a:cubicBezTo>
                              <a:cubicBezTo>
                                <a:pt x="139" y="149"/>
                                <a:pt x="137" y="147"/>
                                <a:pt x="132" y="138"/>
                              </a:cubicBezTo>
                              <a:cubicBezTo>
                                <a:pt x="126" y="128"/>
                                <a:pt x="127" y="129"/>
                                <a:pt x="123" y="120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532" name="Freeform 338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6047297" y="4541732"/>
                          <a:ext cx="263128" cy="213122"/>
                        </a:xfrm>
                        <a:custGeom>
                          <a:avLst/>
                          <a:gdLst>
                            <a:gd name="T0" fmla="*/ 660 w 916"/>
                            <a:gd name="T1" fmla="*/ 734 h 746"/>
                            <a:gd name="T2" fmla="*/ 676 w 916"/>
                            <a:gd name="T3" fmla="*/ 670 h 746"/>
                            <a:gd name="T4" fmla="*/ 673 w 916"/>
                            <a:gd name="T5" fmla="*/ 604 h 746"/>
                            <a:gd name="T6" fmla="*/ 677 w 916"/>
                            <a:gd name="T7" fmla="*/ 556 h 746"/>
                            <a:gd name="T8" fmla="*/ 625 w 916"/>
                            <a:gd name="T9" fmla="*/ 520 h 746"/>
                            <a:gd name="T10" fmla="*/ 593 w 916"/>
                            <a:gd name="T11" fmla="*/ 545 h 746"/>
                            <a:gd name="T12" fmla="*/ 607 w 916"/>
                            <a:gd name="T13" fmla="*/ 517 h 746"/>
                            <a:gd name="T14" fmla="*/ 594 w 916"/>
                            <a:gd name="T15" fmla="*/ 477 h 746"/>
                            <a:gd name="T16" fmla="*/ 530 w 916"/>
                            <a:gd name="T17" fmla="*/ 428 h 746"/>
                            <a:gd name="T18" fmla="*/ 544 w 916"/>
                            <a:gd name="T19" fmla="*/ 372 h 746"/>
                            <a:gd name="T20" fmla="*/ 479 w 916"/>
                            <a:gd name="T21" fmla="*/ 368 h 746"/>
                            <a:gd name="T22" fmla="*/ 496 w 916"/>
                            <a:gd name="T23" fmla="*/ 341 h 746"/>
                            <a:gd name="T24" fmla="*/ 439 w 916"/>
                            <a:gd name="T25" fmla="*/ 291 h 746"/>
                            <a:gd name="T26" fmla="*/ 369 w 916"/>
                            <a:gd name="T27" fmla="*/ 240 h 746"/>
                            <a:gd name="T28" fmla="*/ 339 w 916"/>
                            <a:gd name="T29" fmla="*/ 235 h 746"/>
                            <a:gd name="T30" fmla="*/ 285 w 916"/>
                            <a:gd name="T31" fmla="*/ 181 h 746"/>
                            <a:gd name="T32" fmla="*/ 215 w 916"/>
                            <a:gd name="T33" fmla="*/ 131 h 746"/>
                            <a:gd name="T34" fmla="*/ 186 w 916"/>
                            <a:gd name="T35" fmla="*/ 77 h 746"/>
                            <a:gd name="T36" fmla="*/ 127 w 916"/>
                            <a:gd name="T37" fmla="*/ 51 h 746"/>
                            <a:gd name="T38" fmla="*/ 21 w 916"/>
                            <a:gd name="T39" fmla="*/ 29 h 746"/>
                            <a:gd name="T40" fmla="*/ 96 w 916"/>
                            <a:gd name="T41" fmla="*/ 140 h 746"/>
                            <a:gd name="T42" fmla="*/ 175 w 916"/>
                            <a:gd name="T43" fmla="*/ 230 h 746"/>
                            <a:gd name="T44" fmla="*/ 240 w 916"/>
                            <a:gd name="T45" fmla="*/ 286 h 746"/>
                            <a:gd name="T46" fmla="*/ 290 w 916"/>
                            <a:gd name="T47" fmla="*/ 374 h 746"/>
                            <a:gd name="T48" fmla="*/ 348 w 916"/>
                            <a:gd name="T49" fmla="*/ 463 h 746"/>
                            <a:gd name="T50" fmla="*/ 430 w 916"/>
                            <a:gd name="T51" fmla="*/ 590 h 746"/>
                            <a:gd name="T52" fmla="*/ 511 w 916"/>
                            <a:gd name="T53" fmla="*/ 661 h 746"/>
                            <a:gd name="T54" fmla="*/ 588 w 916"/>
                            <a:gd name="T55" fmla="*/ 736 h 746"/>
                            <a:gd name="T56" fmla="*/ 616 w 916"/>
                            <a:gd name="T57" fmla="*/ 724 h 746"/>
                            <a:gd name="T58" fmla="*/ 5 w 916"/>
                            <a:gd name="T59" fmla="*/ 23 h 746"/>
                            <a:gd name="T60" fmla="*/ 25 w 916"/>
                            <a:gd name="T61" fmla="*/ 7 h 746"/>
                            <a:gd name="T62" fmla="*/ 580 w 916"/>
                            <a:gd name="T63" fmla="*/ 416 h 746"/>
                            <a:gd name="T64" fmla="*/ 576 w 916"/>
                            <a:gd name="T65" fmla="*/ 406 h 746"/>
                            <a:gd name="T66" fmla="*/ 591 w 916"/>
                            <a:gd name="T67" fmla="*/ 375 h 746"/>
                            <a:gd name="T68" fmla="*/ 856 w 916"/>
                            <a:gd name="T69" fmla="*/ 476 h 746"/>
                            <a:gd name="T70" fmla="*/ 557 w 916"/>
                            <a:gd name="T71" fmla="*/ 307 h 746"/>
                            <a:gd name="T72" fmla="*/ 492 w 916"/>
                            <a:gd name="T73" fmla="*/ 313 h 746"/>
                            <a:gd name="T74" fmla="*/ 520 w 916"/>
                            <a:gd name="T75" fmla="*/ 319 h 746"/>
                            <a:gd name="T76" fmla="*/ 735 w 916"/>
                            <a:gd name="T77" fmla="*/ 535 h 746"/>
                            <a:gd name="T78" fmla="*/ 694 w 916"/>
                            <a:gd name="T79" fmla="*/ 508 h 746"/>
                            <a:gd name="T80" fmla="*/ 671 w 916"/>
                            <a:gd name="T81" fmla="*/ 469 h 746"/>
                            <a:gd name="T82" fmla="*/ 658 w 916"/>
                            <a:gd name="T83" fmla="*/ 474 h 746"/>
                            <a:gd name="T84" fmla="*/ 635 w 916"/>
                            <a:gd name="T85" fmla="*/ 505 h 746"/>
                            <a:gd name="T86" fmla="*/ 677 w 916"/>
                            <a:gd name="T87" fmla="*/ 525 h 746"/>
                            <a:gd name="T88" fmla="*/ 709 w 916"/>
                            <a:gd name="T89" fmla="*/ 567 h 746"/>
                            <a:gd name="T90" fmla="*/ 735 w 916"/>
                            <a:gd name="T91" fmla="*/ 535 h 746"/>
                            <a:gd name="T92" fmla="*/ 551 w 916"/>
                            <a:gd name="T93" fmla="*/ 331 h 746"/>
                            <a:gd name="T94" fmla="*/ 898 w 916"/>
                            <a:gd name="T95" fmla="*/ 447 h 746"/>
                            <a:gd name="T96" fmla="*/ 777 w 916"/>
                            <a:gd name="T97" fmla="*/ 548 h 746"/>
                            <a:gd name="T98" fmla="*/ 799 w 916"/>
                            <a:gd name="T99" fmla="*/ 562 h 746"/>
                            <a:gd name="T100" fmla="*/ 824 w 916"/>
                            <a:gd name="T101" fmla="*/ 552 h 746"/>
                            <a:gd name="T102" fmla="*/ 786 w 916"/>
                            <a:gd name="T103" fmla="*/ 535 h 746"/>
                            <a:gd name="T104" fmla="*/ 590 w 916"/>
                            <a:gd name="T105" fmla="*/ 315 h 746"/>
                            <a:gd name="T106" fmla="*/ 584 w 916"/>
                            <a:gd name="T107" fmla="*/ 308 h 746"/>
                            <a:gd name="T108" fmla="*/ 461 w 916"/>
                            <a:gd name="T109" fmla="*/ 301 h 746"/>
                            <a:gd name="T110" fmla="*/ 400 w 916"/>
                            <a:gd name="T111" fmla="*/ 256 h 746"/>
                            <a:gd name="T112" fmla="*/ 415 w 916"/>
                            <a:gd name="T113" fmla="*/ 248 h 746"/>
                            <a:gd name="T114" fmla="*/ 475 w 916"/>
                            <a:gd name="T115" fmla="*/ 322 h 74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</a:cxnLst>
                          <a:rect l="0" t="0" r="r" b="b"/>
                          <a:pathLst>
                            <a:path w="916" h="746">
                              <a:moveTo>
                                <a:pt x="633" y="730"/>
                              </a:moveTo>
                              <a:cubicBezTo>
                                <a:pt x="637" y="729"/>
                                <a:pt x="638" y="724"/>
                                <a:pt x="641" y="716"/>
                              </a:cubicBezTo>
                              <a:cubicBezTo>
                                <a:pt x="644" y="707"/>
                                <a:pt x="648" y="717"/>
                                <a:pt x="653" y="720"/>
                              </a:cubicBezTo>
                              <a:cubicBezTo>
                                <a:pt x="657" y="724"/>
                                <a:pt x="658" y="730"/>
                                <a:pt x="660" y="734"/>
                              </a:cubicBezTo>
                              <a:cubicBezTo>
                                <a:pt x="663" y="738"/>
                                <a:pt x="666" y="738"/>
                                <a:pt x="669" y="733"/>
                              </a:cubicBezTo>
                              <a:cubicBezTo>
                                <a:pt x="673" y="728"/>
                                <a:pt x="674" y="723"/>
                                <a:pt x="674" y="713"/>
                              </a:cubicBezTo>
                              <a:cubicBezTo>
                                <a:pt x="673" y="703"/>
                                <a:pt x="674" y="707"/>
                                <a:pt x="674" y="692"/>
                              </a:cubicBezTo>
                              <a:cubicBezTo>
                                <a:pt x="674" y="677"/>
                                <a:pt x="677" y="677"/>
                                <a:pt x="676" y="670"/>
                              </a:cubicBezTo>
                              <a:cubicBezTo>
                                <a:pt x="676" y="662"/>
                                <a:pt x="678" y="656"/>
                                <a:pt x="673" y="644"/>
                              </a:cubicBezTo>
                              <a:cubicBezTo>
                                <a:pt x="668" y="631"/>
                                <a:pt x="672" y="635"/>
                                <a:pt x="674" y="629"/>
                              </a:cubicBezTo>
                              <a:cubicBezTo>
                                <a:pt x="676" y="623"/>
                                <a:pt x="678" y="622"/>
                                <a:pt x="679" y="615"/>
                              </a:cubicBezTo>
                              <a:cubicBezTo>
                                <a:pt x="680" y="607"/>
                                <a:pt x="676" y="609"/>
                                <a:pt x="673" y="604"/>
                              </a:cubicBezTo>
                              <a:cubicBezTo>
                                <a:pt x="670" y="599"/>
                                <a:pt x="671" y="596"/>
                                <a:pt x="674" y="595"/>
                              </a:cubicBezTo>
                              <a:cubicBezTo>
                                <a:pt x="676" y="593"/>
                                <a:pt x="677" y="588"/>
                                <a:pt x="682" y="582"/>
                              </a:cubicBezTo>
                              <a:cubicBezTo>
                                <a:pt x="687" y="577"/>
                                <a:pt x="688" y="576"/>
                                <a:pt x="686" y="569"/>
                              </a:cubicBezTo>
                              <a:cubicBezTo>
                                <a:pt x="684" y="561"/>
                                <a:pt x="683" y="564"/>
                                <a:pt x="677" y="556"/>
                              </a:cubicBezTo>
                              <a:cubicBezTo>
                                <a:pt x="671" y="549"/>
                                <a:pt x="670" y="551"/>
                                <a:pt x="665" y="542"/>
                              </a:cubicBezTo>
                              <a:cubicBezTo>
                                <a:pt x="660" y="533"/>
                                <a:pt x="662" y="536"/>
                                <a:pt x="659" y="531"/>
                              </a:cubicBezTo>
                              <a:cubicBezTo>
                                <a:pt x="656" y="526"/>
                                <a:pt x="652" y="526"/>
                                <a:pt x="643" y="523"/>
                              </a:cubicBezTo>
                              <a:cubicBezTo>
                                <a:pt x="633" y="520"/>
                                <a:pt x="631" y="523"/>
                                <a:pt x="625" y="520"/>
                              </a:cubicBezTo>
                              <a:cubicBezTo>
                                <a:pt x="619" y="516"/>
                                <a:pt x="615" y="520"/>
                                <a:pt x="612" y="522"/>
                              </a:cubicBezTo>
                              <a:cubicBezTo>
                                <a:pt x="609" y="524"/>
                                <a:pt x="609" y="528"/>
                                <a:pt x="607" y="531"/>
                              </a:cubicBezTo>
                              <a:cubicBezTo>
                                <a:pt x="606" y="534"/>
                                <a:pt x="603" y="540"/>
                                <a:pt x="601" y="546"/>
                              </a:cubicBezTo>
                              <a:cubicBezTo>
                                <a:pt x="598" y="551"/>
                                <a:pt x="595" y="548"/>
                                <a:pt x="593" y="545"/>
                              </a:cubicBezTo>
                              <a:cubicBezTo>
                                <a:pt x="591" y="542"/>
                                <a:pt x="595" y="540"/>
                                <a:pt x="598" y="537"/>
                              </a:cubicBezTo>
                              <a:cubicBezTo>
                                <a:pt x="600" y="533"/>
                                <a:pt x="603" y="533"/>
                                <a:pt x="601" y="530"/>
                              </a:cubicBezTo>
                              <a:cubicBezTo>
                                <a:pt x="599" y="527"/>
                                <a:pt x="596" y="526"/>
                                <a:pt x="596" y="522"/>
                              </a:cubicBezTo>
                              <a:cubicBezTo>
                                <a:pt x="597" y="518"/>
                                <a:pt x="603" y="520"/>
                                <a:pt x="607" y="517"/>
                              </a:cubicBezTo>
                              <a:cubicBezTo>
                                <a:pt x="612" y="514"/>
                                <a:pt x="612" y="513"/>
                                <a:pt x="609" y="509"/>
                              </a:cubicBezTo>
                              <a:cubicBezTo>
                                <a:pt x="606" y="505"/>
                                <a:pt x="604" y="507"/>
                                <a:pt x="595" y="501"/>
                              </a:cubicBezTo>
                              <a:cubicBezTo>
                                <a:pt x="587" y="496"/>
                                <a:pt x="591" y="496"/>
                                <a:pt x="592" y="492"/>
                              </a:cubicBezTo>
                              <a:cubicBezTo>
                                <a:pt x="592" y="487"/>
                                <a:pt x="596" y="484"/>
                                <a:pt x="594" y="477"/>
                              </a:cubicBezTo>
                              <a:cubicBezTo>
                                <a:pt x="592" y="469"/>
                                <a:pt x="591" y="469"/>
                                <a:pt x="591" y="461"/>
                              </a:cubicBezTo>
                              <a:cubicBezTo>
                                <a:pt x="590" y="454"/>
                                <a:pt x="586" y="447"/>
                                <a:pt x="579" y="444"/>
                              </a:cubicBezTo>
                              <a:cubicBezTo>
                                <a:pt x="573" y="441"/>
                                <a:pt x="566" y="441"/>
                                <a:pt x="551" y="438"/>
                              </a:cubicBezTo>
                              <a:cubicBezTo>
                                <a:pt x="536" y="434"/>
                                <a:pt x="539" y="435"/>
                                <a:pt x="530" y="428"/>
                              </a:cubicBezTo>
                              <a:cubicBezTo>
                                <a:pt x="522" y="421"/>
                                <a:pt x="524" y="420"/>
                                <a:pt x="524" y="413"/>
                              </a:cubicBezTo>
                              <a:cubicBezTo>
                                <a:pt x="524" y="405"/>
                                <a:pt x="523" y="405"/>
                                <a:pt x="521" y="398"/>
                              </a:cubicBezTo>
                              <a:cubicBezTo>
                                <a:pt x="520" y="391"/>
                                <a:pt x="522" y="389"/>
                                <a:pt x="525" y="385"/>
                              </a:cubicBezTo>
                              <a:cubicBezTo>
                                <a:pt x="527" y="382"/>
                                <a:pt x="540" y="381"/>
                                <a:pt x="544" y="372"/>
                              </a:cubicBezTo>
                              <a:cubicBezTo>
                                <a:pt x="548" y="364"/>
                                <a:pt x="536" y="362"/>
                                <a:pt x="532" y="357"/>
                              </a:cubicBezTo>
                              <a:cubicBezTo>
                                <a:pt x="528" y="352"/>
                                <a:pt x="526" y="350"/>
                                <a:pt x="518" y="348"/>
                              </a:cubicBezTo>
                              <a:cubicBezTo>
                                <a:pt x="510" y="347"/>
                                <a:pt x="506" y="351"/>
                                <a:pt x="501" y="360"/>
                              </a:cubicBezTo>
                              <a:cubicBezTo>
                                <a:pt x="495" y="368"/>
                                <a:pt x="489" y="367"/>
                                <a:pt x="479" y="368"/>
                              </a:cubicBezTo>
                              <a:cubicBezTo>
                                <a:pt x="470" y="369"/>
                                <a:pt x="469" y="368"/>
                                <a:pt x="464" y="365"/>
                              </a:cubicBezTo>
                              <a:cubicBezTo>
                                <a:pt x="460" y="362"/>
                                <a:pt x="465" y="358"/>
                                <a:pt x="465" y="358"/>
                              </a:cubicBezTo>
                              <a:cubicBezTo>
                                <a:pt x="465" y="358"/>
                                <a:pt x="479" y="358"/>
                                <a:pt x="485" y="356"/>
                              </a:cubicBezTo>
                              <a:cubicBezTo>
                                <a:pt x="490" y="354"/>
                                <a:pt x="494" y="348"/>
                                <a:pt x="496" y="341"/>
                              </a:cubicBezTo>
                              <a:cubicBezTo>
                                <a:pt x="497" y="333"/>
                                <a:pt x="494" y="338"/>
                                <a:pt x="482" y="331"/>
                              </a:cubicBezTo>
                              <a:cubicBezTo>
                                <a:pt x="470" y="323"/>
                                <a:pt x="471" y="330"/>
                                <a:pt x="458" y="324"/>
                              </a:cubicBezTo>
                              <a:cubicBezTo>
                                <a:pt x="445" y="318"/>
                                <a:pt x="448" y="322"/>
                                <a:pt x="447" y="313"/>
                              </a:cubicBezTo>
                              <a:cubicBezTo>
                                <a:pt x="445" y="304"/>
                                <a:pt x="446" y="303"/>
                                <a:pt x="439" y="291"/>
                              </a:cubicBezTo>
                              <a:cubicBezTo>
                                <a:pt x="432" y="278"/>
                                <a:pt x="430" y="285"/>
                                <a:pt x="419" y="278"/>
                              </a:cubicBezTo>
                              <a:cubicBezTo>
                                <a:pt x="409" y="271"/>
                                <a:pt x="404" y="278"/>
                                <a:pt x="395" y="270"/>
                              </a:cubicBezTo>
                              <a:cubicBezTo>
                                <a:pt x="386" y="262"/>
                                <a:pt x="390" y="266"/>
                                <a:pt x="386" y="253"/>
                              </a:cubicBezTo>
                              <a:cubicBezTo>
                                <a:pt x="382" y="241"/>
                                <a:pt x="378" y="243"/>
                                <a:pt x="369" y="240"/>
                              </a:cubicBezTo>
                              <a:cubicBezTo>
                                <a:pt x="360" y="237"/>
                                <a:pt x="367" y="248"/>
                                <a:pt x="370" y="256"/>
                              </a:cubicBezTo>
                              <a:cubicBezTo>
                                <a:pt x="373" y="264"/>
                                <a:pt x="373" y="263"/>
                                <a:pt x="368" y="265"/>
                              </a:cubicBezTo>
                              <a:cubicBezTo>
                                <a:pt x="364" y="267"/>
                                <a:pt x="362" y="260"/>
                                <a:pt x="353" y="249"/>
                              </a:cubicBezTo>
                              <a:cubicBezTo>
                                <a:pt x="343" y="237"/>
                                <a:pt x="344" y="244"/>
                                <a:pt x="339" y="235"/>
                              </a:cubicBezTo>
                              <a:cubicBezTo>
                                <a:pt x="333" y="226"/>
                                <a:pt x="335" y="225"/>
                                <a:pt x="328" y="221"/>
                              </a:cubicBezTo>
                              <a:cubicBezTo>
                                <a:pt x="321" y="218"/>
                                <a:pt x="320" y="221"/>
                                <a:pt x="311" y="217"/>
                              </a:cubicBezTo>
                              <a:cubicBezTo>
                                <a:pt x="303" y="213"/>
                                <a:pt x="305" y="199"/>
                                <a:pt x="303" y="194"/>
                              </a:cubicBezTo>
                              <a:cubicBezTo>
                                <a:pt x="300" y="189"/>
                                <a:pt x="295" y="186"/>
                                <a:pt x="285" y="181"/>
                              </a:cubicBezTo>
                              <a:cubicBezTo>
                                <a:pt x="276" y="175"/>
                                <a:pt x="278" y="173"/>
                                <a:pt x="270" y="164"/>
                              </a:cubicBezTo>
                              <a:cubicBezTo>
                                <a:pt x="263" y="154"/>
                                <a:pt x="256" y="157"/>
                                <a:pt x="243" y="149"/>
                              </a:cubicBezTo>
                              <a:cubicBezTo>
                                <a:pt x="229" y="141"/>
                                <a:pt x="236" y="143"/>
                                <a:pt x="231" y="135"/>
                              </a:cubicBezTo>
                              <a:cubicBezTo>
                                <a:pt x="226" y="126"/>
                                <a:pt x="222" y="132"/>
                                <a:pt x="215" y="131"/>
                              </a:cubicBezTo>
                              <a:cubicBezTo>
                                <a:pt x="207" y="130"/>
                                <a:pt x="207" y="127"/>
                                <a:pt x="206" y="119"/>
                              </a:cubicBezTo>
                              <a:cubicBezTo>
                                <a:pt x="204" y="111"/>
                                <a:pt x="205" y="110"/>
                                <a:pt x="198" y="101"/>
                              </a:cubicBezTo>
                              <a:cubicBezTo>
                                <a:pt x="191" y="93"/>
                                <a:pt x="192" y="97"/>
                                <a:pt x="190" y="91"/>
                              </a:cubicBezTo>
                              <a:cubicBezTo>
                                <a:pt x="187" y="85"/>
                                <a:pt x="191" y="84"/>
                                <a:pt x="186" y="77"/>
                              </a:cubicBezTo>
                              <a:cubicBezTo>
                                <a:pt x="181" y="69"/>
                                <a:pt x="178" y="73"/>
                                <a:pt x="174" y="66"/>
                              </a:cubicBezTo>
                              <a:cubicBezTo>
                                <a:pt x="170" y="59"/>
                                <a:pt x="168" y="57"/>
                                <a:pt x="161" y="54"/>
                              </a:cubicBezTo>
                              <a:cubicBezTo>
                                <a:pt x="153" y="51"/>
                                <a:pt x="151" y="60"/>
                                <a:pt x="141" y="60"/>
                              </a:cubicBezTo>
                              <a:cubicBezTo>
                                <a:pt x="131" y="60"/>
                                <a:pt x="136" y="56"/>
                                <a:pt x="127" y="51"/>
                              </a:cubicBezTo>
                              <a:cubicBezTo>
                                <a:pt x="117" y="45"/>
                                <a:pt x="114" y="52"/>
                                <a:pt x="104" y="53"/>
                              </a:cubicBezTo>
                              <a:cubicBezTo>
                                <a:pt x="95" y="54"/>
                                <a:pt x="97" y="56"/>
                                <a:pt x="85" y="57"/>
                              </a:cubicBezTo>
                              <a:cubicBezTo>
                                <a:pt x="73" y="57"/>
                                <a:pt x="78" y="52"/>
                                <a:pt x="62" y="39"/>
                              </a:cubicBezTo>
                              <a:cubicBezTo>
                                <a:pt x="50" y="23"/>
                                <a:pt x="27" y="22"/>
                                <a:pt x="21" y="29"/>
                              </a:cubicBezTo>
                              <a:cubicBezTo>
                                <a:pt x="16" y="37"/>
                                <a:pt x="21" y="49"/>
                                <a:pt x="24" y="58"/>
                              </a:cubicBezTo>
                              <a:cubicBezTo>
                                <a:pt x="26" y="67"/>
                                <a:pt x="37" y="74"/>
                                <a:pt x="41" y="87"/>
                              </a:cubicBezTo>
                              <a:cubicBezTo>
                                <a:pt x="45" y="99"/>
                                <a:pt x="57" y="101"/>
                                <a:pt x="71" y="113"/>
                              </a:cubicBezTo>
                              <a:cubicBezTo>
                                <a:pt x="85" y="124"/>
                                <a:pt x="83" y="124"/>
                                <a:pt x="96" y="140"/>
                              </a:cubicBezTo>
                              <a:cubicBezTo>
                                <a:pt x="108" y="156"/>
                                <a:pt x="108" y="150"/>
                                <a:pt x="119" y="156"/>
                              </a:cubicBezTo>
                              <a:cubicBezTo>
                                <a:pt x="129" y="163"/>
                                <a:pt x="139" y="170"/>
                                <a:pt x="147" y="178"/>
                              </a:cubicBezTo>
                              <a:cubicBezTo>
                                <a:pt x="154" y="186"/>
                                <a:pt x="161" y="192"/>
                                <a:pt x="170" y="204"/>
                              </a:cubicBezTo>
                              <a:cubicBezTo>
                                <a:pt x="179" y="216"/>
                                <a:pt x="174" y="220"/>
                                <a:pt x="175" y="230"/>
                              </a:cubicBezTo>
                              <a:cubicBezTo>
                                <a:pt x="175" y="241"/>
                                <a:pt x="182" y="238"/>
                                <a:pt x="194" y="240"/>
                              </a:cubicBezTo>
                              <a:cubicBezTo>
                                <a:pt x="206" y="242"/>
                                <a:pt x="206" y="248"/>
                                <a:pt x="217" y="254"/>
                              </a:cubicBezTo>
                              <a:cubicBezTo>
                                <a:pt x="228" y="260"/>
                                <a:pt x="232" y="261"/>
                                <a:pt x="238" y="268"/>
                              </a:cubicBezTo>
                              <a:cubicBezTo>
                                <a:pt x="244" y="274"/>
                                <a:pt x="240" y="278"/>
                                <a:pt x="240" y="286"/>
                              </a:cubicBezTo>
                              <a:cubicBezTo>
                                <a:pt x="240" y="294"/>
                                <a:pt x="242" y="296"/>
                                <a:pt x="248" y="304"/>
                              </a:cubicBezTo>
                              <a:cubicBezTo>
                                <a:pt x="255" y="312"/>
                                <a:pt x="254" y="324"/>
                                <a:pt x="254" y="333"/>
                              </a:cubicBezTo>
                              <a:cubicBezTo>
                                <a:pt x="254" y="342"/>
                                <a:pt x="257" y="350"/>
                                <a:pt x="266" y="357"/>
                              </a:cubicBezTo>
                              <a:cubicBezTo>
                                <a:pt x="275" y="364"/>
                                <a:pt x="284" y="366"/>
                                <a:pt x="290" y="374"/>
                              </a:cubicBezTo>
                              <a:cubicBezTo>
                                <a:pt x="297" y="382"/>
                                <a:pt x="306" y="393"/>
                                <a:pt x="310" y="401"/>
                              </a:cubicBezTo>
                              <a:cubicBezTo>
                                <a:pt x="315" y="410"/>
                                <a:pt x="328" y="418"/>
                                <a:pt x="335" y="427"/>
                              </a:cubicBezTo>
                              <a:cubicBezTo>
                                <a:pt x="342" y="436"/>
                                <a:pt x="339" y="437"/>
                                <a:pt x="339" y="447"/>
                              </a:cubicBezTo>
                              <a:cubicBezTo>
                                <a:pt x="339" y="457"/>
                                <a:pt x="342" y="453"/>
                                <a:pt x="348" y="463"/>
                              </a:cubicBezTo>
                              <a:cubicBezTo>
                                <a:pt x="354" y="473"/>
                                <a:pt x="366" y="491"/>
                                <a:pt x="368" y="502"/>
                              </a:cubicBezTo>
                              <a:cubicBezTo>
                                <a:pt x="370" y="513"/>
                                <a:pt x="370" y="515"/>
                                <a:pt x="374" y="525"/>
                              </a:cubicBezTo>
                              <a:cubicBezTo>
                                <a:pt x="379" y="535"/>
                                <a:pt x="383" y="539"/>
                                <a:pt x="391" y="551"/>
                              </a:cubicBezTo>
                              <a:cubicBezTo>
                                <a:pt x="399" y="564"/>
                                <a:pt x="422" y="581"/>
                                <a:pt x="430" y="590"/>
                              </a:cubicBezTo>
                              <a:cubicBezTo>
                                <a:pt x="439" y="599"/>
                                <a:pt x="445" y="598"/>
                                <a:pt x="450" y="603"/>
                              </a:cubicBezTo>
                              <a:cubicBezTo>
                                <a:pt x="455" y="609"/>
                                <a:pt x="454" y="613"/>
                                <a:pt x="454" y="621"/>
                              </a:cubicBezTo>
                              <a:cubicBezTo>
                                <a:pt x="454" y="629"/>
                                <a:pt x="464" y="634"/>
                                <a:pt x="476" y="643"/>
                              </a:cubicBezTo>
                              <a:cubicBezTo>
                                <a:pt x="487" y="652"/>
                                <a:pt x="497" y="656"/>
                                <a:pt x="511" y="661"/>
                              </a:cubicBezTo>
                              <a:cubicBezTo>
                                <a:pt x="524" y="667"/>
                                <a:pt x="524" y="671"/>
                                <a:pt x="532" y="679"/>
                              </a:cubicBezTo>
                              <a:cubicBezTo>
                                <a:pt x="539" y="688"/>
                                <a:pt x="546" y="692"/>
                                <a:pt x="555" y="701"/>
                              </a:cubicBezTo>
                              <a:cubicBezTo>
                                <a:pt x="564" y="709"/>
                                <a:pt x="568" y="708"/>
                                <a:pt x="576" y="716"/>
                              </a:cubicBezTo>
                              <a:cubicBezTo>
                                <a:pt x="583" y="724"/>
                                <a:pt x="584" y="726"/>
                                <a:pt x="588" y="736"/>
                              </a:cubicBezTo>
                              <a:cubicBezTo>
                                <a:pt x="592" y="746"/>
                                <a:pt x="597" y="745"/>
                                <a:pt x="598" y="738"/>
                              </a:cubicBezTo>
                              <a:cubicBezTo>
                                <a:pt x="599" y="731"/>
                                <a:pt x="595" y="729"/>
                                <a:pt x="594" y="720"/>
                              </a:cubicBezTo>
                              <a:cubicBezTo>
                                <a:pt x="593" y="711"/>
                                <a:pt x="599" y="716"/>
                                <a:pt x="602" y="718"/>
                              </a:cubicBezTo>
                              <a:cubicBezTo>
                                <a:pt x="604" y="720"/>
                                <a:pt x="610" y="720"/>
                                <a:pt x="616" y="724"/>
                              </a:cubicBezTo>
                              <a:cubicBezTo>
                                <a:pt x="622" y="728"/>
                                <a:pt x="629" y="730"/>
                                <a:pt x="633" y="730"/>
                              </a:cubicBezTo>
                              <a:close/>
                              <a:moveTo>
                                <a:pt x="7" y="16"/>
                              </a:moveTo>
                              <a:cubicBezTo>
                                <a:pt x="6" y="14"/>
                                <a:pt x="0" y="11"/>
                                <a:pt x="1" y="18"/>
                              </a:cubicBezTo>
                              <a:cubicBezTo>
                                <a:pt x="2" y="21"/>
                                <a:pt x="1" y="23"/>
                                <a:pt x="5" y="23"/>
                              </a:cubicBezTo>
                              <a:cubicBezTo>
                                <a:pt x="8" y="23"/>
                                <a:pt x="11" y="26"/>
                                <a:pt x="11" y="22"/>
                              </a:cubicBezTo>
                              <a:cubicBezTo>
                                <a:pt x="11" y="19"/>
                                <a:pt x="8" y="18"/>
                                <a:pt x="7" y="16"/>
                              </a:cubicBezTo>
                              <a:close/>
                              <a:moveTo>
                                <a:pt x="27" y="13"/>
                              </a:moveTo>
                              <a:cubicBezTo>
                                <a:pt x="27" y="10"/>
                                <a:pt x="27" y="8"/>
                                <a:pt x="25" y="7"/>
                              </a:cubicBezTo>
                              <a:cubicBezTo>
                                <a:pt x="23" y="6"/>
                                <a:pt x="15" y="0"/>
                                <a:pt x="14" y="5"/>
                              </a:cubicBezTo>
                              <a:cubicBezTo>
                                <a:pt x="13" y="9"/>
                                <a:pt x="15" y="11"/>
                                <a:pt x="19" y="12"/>
                              </a:cubicBezTo>
                              <a:cubicBezTo>
                                <a:pt x="22" y="14"/>
                                <a:pt x="26" y="16"/>
                                <a:pt x="27" y="13"/>
                              </a:cubicBezTo>
                              <a:close/>
                              <a:moveTo>
                                <a:pt x="580" y="416"/>
                              </a:moveTo>
                              <a:cubicBezTo>
                                <a:pt x="583" y="416"/>
                                <a:pt x="587" y="412"/>
                                <a:pt x="590" y="409"/>
                              </a:cubicBezTo>
                              <a:cubicBezTo>
                                <a:pt x="593" y="406"/>
                                <a:pt x="596" y="405"/>
                                <a:pt x="595" y="402"/>
                              </a:cubicBezTo>
                              <a:cubicBezTo>
                                <a:pt x="595" y="400"/>
                                <a:pt x="588" y="398"/>
                                <a:pt x="583" y="399"/>
                              </a:cubicBezTo>
                              <a:cubicBezTo>
                                <a:pt x="579" y="401"/>
                                <a:pt x="576" y="401"/>
                                <a:pt x="576" y="406"/>
                              </a:cubicBezTo>
                              <a:cubicBezTo>
                                <a:pt x="577" y="411"/>
                                <a:pt x="576" y="416"/>
                                <a:pt x="580" y="416"/>
                              </a:cubicBezTo>
                              <a:close/>
                              <a:moveTo>
                                <a:pt x="606" y="389"/>
                              </a:moveTo>
                              <a:cubicBezTo>
                                <a:pt x="607" y="384"/>
                                <a:pt x="603" y="385"/>
                                <a:pt x="602" y="381"/>
                              </a:cubicBezTo>
                              <a:cubicBezTo>
                                <a:pt x="600" y="377"/>
                                <a:pt x="590" y="368"/>
                                <a:pt x="591" y="375"/>
                              </a:cubicBezTo>
                              <a:cubicBezTo>
                                <a:pt x="590" y="381"/>
                                <a:pt x="587" y="381"/>
                                <a:pt x="590" y="384"/>
                              </a:cubicBezTo>
                              <a:cubicBezTo>
                                <a:pt x="594" y="387"/>
                                <a:pt x="593" y="387"/>
                                <a:pt x="598" y="388"/>
                              </a:cubicBezTo>
                              <a:cubicBezTo>
                                <a:pt x="603" y="388"/>
                                <a:pt x="605" y="393"/>
                                <a:pt x="606" y="389"/>
                              </a:cubicBezTo>
                              <a:close/>
                              <a:moveTo>
                                <a:pt x="856" y="476"/>
                              </a:moveTo>
                              <a:cubicBezTo>
                                <a:pt x="860" y="477"/>
                                <a:pt x="862" y="477"/>
                                <a:pt x="865" y="476"/>
                              </a:cubicBezTo>
                              <a:cubicBezTo>
                                <a:pt x="868" y="475"/>
                                <a:pt x="864" y="470"/>
                                <a:pt x="859" y="470"/>
                              </a:cubicBezTo>
                              <a:cubicBezTo>
                                <a:pt x="855" y="472"/>
                                <a:pt x="852" y="475"/>
                                <a:pt x="856" y="476"/>
                              </a:cubicBezTo>
                              <a:close/>
                              <a:moveTo>
                                <a:pt x="557" y="307"/>
                              </a:moveTo>
                              <a:cubicBezTo>
                                <a:pt x="555" y="310"/>
                                <a:pt x="553" y="312"/>
                                <a:pt x="557" y="313"/>
                              </a:cubicBezTo>
                              <a:cubicBezTo>
                                <a:pt x="561" y="314"/>
                                <a:pt x="566" y="317"/>
                                <a:pt x="566" y="313"/>
                              </a:cubicBezTo>
                              <a:cubicBezTo>
                                <a:pt x="567" y="310"/>
                                <a:pt x="562" y="304"/>
                                <a:pt x="557" y="307"/>
                              </a:cubicBezTo>
                              <a:close/>
                              <a:moveTo>
                                <a:pt x="492" y="313"/>
                              </a:moveTo>
                              <a:cubicBezTo>
                                <a:pt x="493" y="312"/>
                                <a:pt x="491" y="300"/>
                                <a:pt x="485" y="303"/>
                              </a:cubicBezTo>
                              <a:cubicBezTo>
                                <a:pt x="484" y="304"/>
                                <a:pt x="481" y="305"/>
                                <a:pt x="484" y="308"/>
                              </a:cubicBezTo>
                              <a:cubicBezTo>
                                <a:pt x="486" y="310"/>
                                <a:pt x="489" y="314"/>
                                <a:pt x="492" y="313"/>
                              </a:cubicBezTo>
                              <a:close/>
                              <a:moveTo>
                                <a:pt x="520" y="319"/>
                              </a:moveTo>
                              <a:cubicBezTo>
                                <a:pt x="519" y="323"/>
                                <a:pt x="520" y="323"/>
                                <a:pt x="521" y="328"/>
                              </a:cubicBezTo>
                              <a:cubicBezTo>
                                <a:pt x="523" y="333"/>
                                <a:pt x="525" y="334"/>
                                <a:pt x="527" y="331"/>
                              </a:cubicBezTo>
                              <a:cubicBezTo>
                                <a:pt x="529" y="328"/>
                                <a:pt x="525" y="316"/>
                                <a:pt x="520" y="319"/>
                              </a:cubicBezTo>
                              <a:close/>
                              <a:moveTo>
                                <a:pt x="735" y="535"/>
                              </a:moveTo>
                              <a:cubicBezTo>
                                <a:pt x="737" y="533"/>
                                <a:pt x="732" y="532"/>
                                <a:pt x="728" y="531"/>
                              </a:cubicBezTo>
                              <a:cubicBezTo>
                                <a:pt x="725" y="529"/>
                                <a:pt x="722" y="530"/>
                                <a:pt x="715" y="530"/>
                              </a:cubicBezTo>
                              <a:cubicBezTo>
                                <a:pt x="708" y="530"/>
                                <a:pt x="706" y="528"/>
                                <a:pt x="701" y="524"/>
                              </a:cubicBezTo>
                              <a:cubicBezTo>
                                <a:pt x="696" y="520"/>
                                <a:pt x="695" y="517"/>
                                <a:pt x="694" y="508"/>
                              </a:cubicBezTo>
                              <a:cubicBezTo>
                                <a:pt x="694" y="497"/>
                                <a:pt x="691" y="495"/>
                                <a:pt x="689" y="490"/>
                              </a:cubicBezTo>
                              <a:cubicBezTo>
                                <a:pt x="688" y="486"/>
                                <a:pt x="687" y="486"/>
                                <a:pt x="684" y="481"/>
                              </a:cubicBezTo>
                              <a:cubicBezTo>
                                <a:pt x="681" y="476"/>
                                <a:pt x="682" y="475"/>
                                <a:pt x="681" y="471"/>
                              </a:cubicBezTo>
                              <a:cubicBezTo>
                                <a:pt x="681" y="467"/>
                                <a:pt x="673" y="468"/>
                                <a:pt x="671" y="469"/>
                              </a:cubicBezTo>
                              <a:cubicBezTo>
                                <a:pt x="669" y="470"/>
                                <a:pt x="667" y="473"/>
                                <a:pt x="669" y="477"/>
                              </a:cubicBezTo>
                              <a:cubicBezTo>
                                <a:pt x="670" y="480"/>
                                <a:pt x="672" y="482"/>
                                <a:pt x="671" y="485"/>
                              </a:cubicBezTo>
                              <a:cubicBezTo>
                                <a:pt x="669" y="489"/>
                                <a:pt x="666" y="486"/>
                                <a:pt x="665" y="484"/>
                              </a:cubicBezTo>
                              <a:cubicBezTo>
                                <a:pt x="664" y="482"/>
                                <a:pt x="661" y="477"/>
                                <a:pt x="658" y="474"/>
                              </a:cubicBezTo>
                              <a:cubicBezTo>
                                <a:pt x="656" y="471"/>
                                <a:pt x="648" y="472"/>
                                <a:pt x="645" y="476"/>
                              </a:cubicBezTo>
                              <a:cubicBezTo>
                                <a:pt x="643" y="479"/>
                                <a:pt x="645" y="479"/>
                                <a:pt x="643" y="488"/>
                              </a:cubicBezTo>
                              <a:cubicBezTo>
                                <a:pt x="642" y="497"/>
                                <a:pt x="641" y="492"/>
                                <a:pt x="636" y="495"/>
                              </a:cubicBezTo>
                              <a:cubicBezTo>
                                <a:pt x="631" y="499"/>
                                <a:pt x="635" y="502"/>
                                <a:pt x="635" y="505"/>
                              </a:cubicBezTo>
                              <a:cubicBezTo>
                                <a:pt x="636" y="507"/>
                                <a:pt x="646" y="507"/>
                                <a:pt x="653" y="506"/>
                              </a:cubicBezTo>
                              <a:cubicBezTo>
                                <a:pt x="660" y="505"/>
                                <a:pt x="659" y="505"/>
                                <a:pt x="665" y="505"/>
                              </a:cubicBezTo>
                              <a:cubicBezTo>
                                <a:pt x="671" y="505"/>
                                <a:pt x="670" y="508"/>
                                <a:pt x="670" y="514"/>
                              </a:cubicBezTo>
                              <a:cubicBezTo>
                                <a:pt x="671" y="519"/>
                                <a:pt x="672" y="519"/>
                                <a:pt x="677" y="525"/>
                              </a:cubicBezTo>
                              <a:cubicBezTo>
                                <a:pt x="682" y="531"/>
                                <a:pt x="683" y="530"/>
                                <a:pt x="683" y="535"/>
                              </a:cubicBezTo>
                              <a:cubicBezTo>
                                <a:pt x="683" y="540"/>
                                <a:pt x="684" y="546"/>
                                <a:pt x="688" y="549"/>
                              </a:cubicBezTo>
                              <a:cubicBezTo>
                                <a:pt x="692" y="552"/>
                                <a:pt x="695" y="553"/>
                                <a:pt x="700" y="557"/>
                              </a:cubicBezTo>
                              <a:cubicBezTo>
                                <a:pt x="705" y="561"/>
                                <a:pt x="704" y="562"/>
                                <a:pt x="709" y="567"/>
                              </a:cubicBezTo>
                              <a:cubicBezTo>
                                <a:pt x="713" y="573"/>
                                <a:pt x="718" y="567"/>
                                <a:pt x="721" y="565"/>
                              </a:cubicBezTo>
                              <a:cubicBezTo>
                                <a:pt x="723" y="562"/>
                                <a:pt x="720" y="560"/>
                                <a:pt x="719" y="556"/>
                              </a:cubicBezTo>
                              <a:cubicBezTo>
                                <a:pt x="719" y="551"/>
                                <a:pt x="719" y="549"/>
                                <a:pt x="720" y="545"/>
                              </a:cubicBezTo>
                              <a:cubicBezTo>
                                <a:pt x="722" y="541"/>
                                <a:pt x="732" y="537"/>
                                <a:pt x="735" y="535"/>
                              </a:cubicBezTo>
                              <a:close/>
                              <a:moveTo>
                                <a:pt x="548" y="319"/>
                              </a:moveTo>
                              <a:cubicBezTo>
                                <a:pt x="547" y="321"/>
                                <a:pt x="543" y="321"/>
                                <a:pt x="542" y="323"/>
                              </a:cubicBezTo>
                              <a:cubicBezTo>
                                <a:pt x="540" y="326"/>
                                <a:pt x="540" y="329"/>
                                <a:pt x="543" y="330"/>
                              </a:cubicBezTo>
                              <a:cubicBezTo>
                                <a:pt x="545" y="331"/>
                                <a:pt x="551" y="334"/>
                                <a:pt x="551" y="331"/>
                              </a:cubicBezTo>
                              <a:cubicBezTo>
                                <a:pt x="551" y="327"/>
                                <a:pt x="551" y="325"/>
                                <a:pt x="552" y="323"/>
                              </a:cubicBezTo>
                              <a:cubicBezTo>
                                <a:pt x="554" y="321"/>
                                <a:pt x="553" y="317"/>
                                <a:pt x="548" y="319"/>
                              </a:cubicBezTo>
                              <a:close/>
                              <a:moveTo>
                                <a:pt x="899" y="441"/>
                              </a:moveTo>
                              <a:cubicBezTo>
                                <a:pt x="898" y="442"/>
                                <a:pt x="897" y="443"/>
                                <a:pt x="898" y="447"/>
                              </a:cubicBezTo>
                              <a:cubicBezTo>
                                <a:pt x="899" y="452"/>
                                <a:pt x="899" y="453"/>
                                <a:pt x="903" y="452"/>
                              </a:cubicBezTo>
                              <a:cubicBezTo>
                                <a:pt x="907" y="451"/>
                                <a:pt x="911" y="450"/>
                                <a:pt x="913" y="446"/>
                              </a:cubicBezTo>
                              <a:cubicBezTo>
                                <a:pt x="916" y="443"/>
                                <a:pt x="905" y="439"/>
                                <a:pt x="899" y="441"/>
                              </a:cubicBezTo>
                              <a:close/>
                              <a:moveTo>
                                <a:pt x="777" y="548"/>
                              </a:moveTo>
                              <a:cubicBezTo>
                                <a:pt x="774" y="552"/>
                                <a:pt x="777" y="553"/>
                                <a:pt x="780" y="556"/>
                              </a:cubicBezTo>
                              <a:cubicBezTo>
                                <a:pt x="784" y="559"/>
                                <a:pt x="781" y="561"/>
                                <a:pt x="783" y="568"/>
                              </a:cubicBezTo>
                              <a:cubicBezTo>
                                <a:pt x="785" y="574"/>
                                <a:pt x="788" y="569"/>
                                <a:pt x="792" y="568"/>
                              </a:cubicBezTo>
                              <a:cubicBezTo>
                                <a:pt x="795" y="566"/>
                                <a:pt x="794" y="563"/>
                                <a:pt x="799" y="562"/>
                              </a:cubicBezTo>
                              <a:cubicBezTo>
                                <a:pt x="804" y="560"/>
                                <a:pt x="804" y="562"/>
                                <a:pt x="804" y="566"/>
                              </a:cubicBezTo>
                              <a:cubicBezTo>
                                <a:pt x="805" y="569"/>
                                <a:pt x="809" y="570"/>
                                <a:pt x="813" y="571"/>
                              </a:cubicBezTo>
                              <a:cubicBezTo>
                                <a:pt x="816" y="571"/>
                                <a:pt x="816" y="566"/>
                                <a:pt x="820" y="560"/>
                              </a:cubicBezTo>
                              <a:cubicBezTo>
                                <a:pt x="823" y="554"/>
                                <a:pt x="824" y="555"/>
                                <a:pt x="824" y="552"/>
                              </a:cubicBezTo>
                              <a:cubicBezTo>
                                <a:pt x="825" y="549"/>
                                <a:pt x="822" y="548"/>
                                <a:pt x="817" y="546"/>
                              </a:cubicBezTo>
                              <a:cubicBezTo>
                                <a:pt x="812" y="543"/>
                                <a:pt x="814" y="543"/>
                                <a:pt x="811" y="538"/>
                              </a:cubicBezTo>
                              <a:cubicBezTo>
                                <a:pt x="809" y="534"/>
                                <a:pt x="808" y="532"/>
                                <a:pt x="800" y="532"/>
                              </a:cubicBezTo>
                              <a:cubicBezTo>
                                <a:pt x="795" y="532"/>
                                <a:pt x="789" y="532"/>
                                <a:pt x="786" y="535"/>
                              </a:cubicBezTo>
                              <a:cubicBezTo>
                                <a:pt x="783" y="538"/>
                                <a:pt x="786" y="540"/>
                                <a:pt x="785" y="542"/>
                              </a:cubicBezTo>
                              <a:cubicBezTo>
                                <a:pt x="783" y="545"/>
                                <a:pt x="780" y="545"/>
                                <a:pt x="777" y="548"/>
                              </a:cubicBezTo>
                              <a:close/>
                              <a:moveTo>
                                <a:pt x="584" y="308"/>
                              </a:moveTo>
                              <a:cubicBezTo>
                                <a:pt x="586" y="311"/>
                                <a:pt x="588" y="310"/>
                                <a:pt x="590" y="315"/>
                              </a:cubicBezTo>
                              <a:cubicBezTo>
                                <a:pt x="592" y="320"/>
                                <a:pt x="592" y="324"/>
                                <a:pt x="595" y="322"/>
                              </a:cubicBezTo>
                              <a:cubicBezTo>
                                <a:pt x="598" y="320"/>
                                <a:pt x="598" y="314"/>
                                <a:pt x="598" y="309"/>
                              </a:cubicBezTo>
                              <a:cubicBezTo>
                                <a:pt x="598" y="304"/>
                                <a:pt x="592" y="302"/>
                                <a:pt x="588" y="302"/>
                              </a:cubicBezTo>
                              <a:cubicBezTo>
                                <a:pt x="585" y="304"/>
                                <a:pt x="581" y="304"/>
                                <a:pt x="584" y="308"/>
                              </a:cubicBezTo>
                              <a:close/>
                              <a:moveTo>
                                <a:pt x="452" y="291"/>
                              </a:moveTo>
                              <a:cubicBezTo>
                                <a:pt x="452" y="295"/>
                                <a:pt x="454" y="296"/>
                                <a:pt x="454" y="301"/>
                              </a:cubicBezTo>
                              <a:cubicBezTo>
                                <a:pt x="454" y="306"/>
                                <a:pt x="454" y="309"/>
                                <a:pt x="457" y="307"/>
                              </a:cubicBezTo>
                              <a:cubicBezTo>
                                <a:pt x="459" y="305"/>
                                <a:pt x="461" y="305"/>
                                <a:pt x="461" y="301"/>
                              </a:cubicBezTo>
                              <a:cubicBezTo>
                                <a:pt x="461" y="296"/>
                                <a:pt x="459" y="296"/>
                                <a:pt x="459" y="293"/>
                              </a:cubicBezTo>
                              <a:cubicBezTo>
                                <a:pt x="460" y="290"/>
                                <a:pt x="453" y="288"/>
                                <a:pt x="452" y="291"/>
                              </a:cubicBezTo>
                              <a:close/>
                              <a:moveTo>
                                <a:pt x="402" y="248"/>
                              </a:moveTo>
                              <a:cubicBezTo>
                                <a:pt x="400" y="251"/>
                                <a:pt x="399" y="251"/>
                                <a:pt x="400" y="256"/>
                              </a:cubicBezTo>
                              <a:cubicBezTo>
                                <a:pt x="401" y="261"/>
                                <a:pt x="401" y="263"/>
                                <a:pt x="404" y="264"/>
                              </a:cubicBezTo>
                              <a:cubicBezTo>
                                <a:pt x="408" y="265"/>
                                <a:pt x="411" y="266"/>
                                <a:pt x="413" y="263"/>
                              </a:cubicBezTo>
                              <a:cubicBezTo>
                                <a:pt x="416" y="260"/>
                                <a:pt x="420" y="260"/>
                                <a:pt x="420" y="256"/>
                              </a:cubicBezTo>
                              <a:cubicBezTo>
                                <a:pt x="420" y="252"/>
                                <a:pt x="419" y="249"/>
                                <a:pt x="415" y="248"/>
                              </a:cubicBezTo>
                              <a:cubicBezTo>
                                <a:pt x="412" y="246"/>
                                <a:pt x="406" y="246"/>
                                <a:pt x="402" y="248"/>
                              </a:cubicBezTo>
                              <a:close/>
                              <a:moveTo>
                                <a:pt x="469" y="311"/>
                              </a:moveTo>
                              <a:cubicBezTo>
                                <a:pt x="466" y="313"/>
                                <a:pt x="465" y="315"/>
                                <a:pt x="467" y="318"/>
                              </a:cubicBezTo>
                              <a:cubicBezTo>
                                <a:pt x="469" y="321"/>
                                <a:pt x="471" y="322"/>
                                <a:pt x="475" y="322"/>
                              </a:cubicBezTo>
                              <a:cubicBezTo>
                                <a:pt x="479" y="322"/>
                                <a:pt x="484" y="325"/>
                                <a:pt x="487" y="323"/>
                              </a:cubicBezTo>
                              <a:cubicBezTo>
                                <a:pt x="490" y="320"/>
                                <a:pt x="490" y="319"/>
                                <a:pt x="485" y="316"/>
                              </a:cubicBezTo>
                              <a:cubicBezTo>
                                <a:pt x="481" y="314"/>
                                <a:pt x="473" y="308"/>
                                <a:pt x="469" y="311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grpSp>
                      <p:nvGrpSpPr>
                        <p:cNvPr id="533" name="Gruppieren 532"/>
                        <p:cNvGrpSpPr/>
                        <p:nvPr/>
                      </p:nvGrpSpPr>
                      <p:grpSpPr>
                        <a:xfrm>
                          <a:off x="5446031" y="3596376"/>
                          <a:ext cx="2131219" cy="1946672"/>
                          <a:chOff x="5446031" y="3596376"/>
                          <a:chExt cx="2131219" cy="1946672"/>
                        </a:xfrm>
                        <a:grpFill/>
                      </p:grpSpPr>
                      <p:sp>
                        <p:nvSpPr>
                          <p:cNvPr id="534" name="Freeform 177"/>
                          <p:cNvSpPr>
                            <a:spLocks noEditPoints="1"/>
                          </p:cNvSpPr>
                          <p:nvPr/>
                        </p:nvSpPr>
                        <p:spPr bwMode="auto">
                          <a:xfrm>
                            <a:off x="6600937" y="3929750"/>
                            <a:ext cx="85725" cy="108347"/>
                          </a:xfrm>
                          <a:custGeom>
                            <a:avLst/>
                            <a:gdLst>
                              <a:gd name="T0" fmla="*/ 20 w 299"/>
                              <a:gd name="T1" fmla="*/ 129 h 376"/>
                              <a:gd name="T2" fmla="*/ 26 w 299"/>
                              <a:gd name="T3" fmla="*/ 167 h 376"/>
                              <a:gd name="T4" fmla="*/ 38 w 299"/>
                              <a:gd name="T5" fmla="*/ 179 h 376"/>
                              <a:gd name="T6" fmla="*/ 34 w 299"/>
                              <a:gd name="T7" fmla="*/ 197 h 376"/>
                              <a:gd name="T8" fmla="*/ 29 w 299"/>
                              <a:gd name="T9" fmla="*/ 216 h 376"/>
                              <a:gd name="T10" fmla="*/ 14 w 299"/>
                              <a:gd name="T11" fmla="*/ 235 h 376"/>
                              <a:gd name="T12" fmla="*/ 19 w 299"/>
                              <a:gd name="T13" fmla="*/ 257 h 376"/>
                              <a:gd name="T14" fmla="*/ 28 w 299"/>
                              <a:gd name="T15" fmla="*/ 272 h 376"/>
                              <a:gd name="T16" fmla="*/ 10 w 299"/>
                              <a:gd name="T17" fmla="*/ 276 h 376"/>
                              <a:gd name="T18" fmla="*/ 33 w 299"/>
                              <a:gd name="T19" fmla="*/ 286 h 376"/>
                              <a:gd name="T20" fmla="*/ 72 w 299"/>
                              <a:gd name="T21" fmla="*/ 263 h 376"/>
                              <a:gd name="T22" fmla="*/ 92 w 299"/>
                              <a:gd name="T23" fmla="*/ 271 h 376"/>
                              <a:gd name="T24" fmla="*/ 110 w 299"/>
                              <a:gd name="T25" fmla="*/ 245 h 376"/>
                              <a:gd name="T26" fmla="*/ 140 w 299"/>
                              <a:gd name="T27" fmla="*/ 252 h 376"/>
                              <a:gd name="T28" fmla="*/ 159 w 299"/>
                              <a:gd name="T29" fmla="*/ 237 h 376"/>
                              <a:gd name="T30" fmla="*/ 188 w 299"/>
                              <a:gd name="T31" fmla="*/ 238 h 376"/>
                              <a:gd name="T32" fmla="*/ 211 w 299"/>
                              <a:gd name="T33" fmla="*/ 191 h 376"/>
                              <a:gd name="T34" fmla="*/ 197 w 299"/>
                              <a:gd name="T35" fmla="*/ 151 h 376"/>
                              <a:gd name="T36" fmla="*/ 188 w 299"/>
                              <a:gd name="T37" fmla="*/ 76 h 376"/>
                              <a:gd name="T38" fmla="*/ 144 w 299"/>
                              <a:gd name="T39" fmla="*/ 0 h 376"/>
                              <a:gd name="T40" fmla="*/ 119 w 299"/>
                              <a:gd name="T41" fmla="*/ 23 h 376"/>
                              <a:gd name="T42" fmla="*/ 89 w 299"/>
                              <a:gd name="T43" fmla="*/ 22 h 376"/>
                              <a:gd name="T44" fmla="*/ 48 w 299"/>
                              <a:gd name="T45" fmla="*/ 35 h 376"/>
                              <a:gd name="T46" fmla="*/ 35 w 299"/>
                              <a:gd name="T47" fmla="*/ 52 h 376"/>
                              <a:gd name="T48" fmla="*/ 35 w 299"/>
                              <a:gd name="T49" fmla="*/ 56 h 376"/>
                              <a:gd name="T50" fmla="*/ 42 w 299"/>
                              <a:gd name="T51" fmla="*/ 80 h 376"/>
                              <a:gd name="T52" fmla="*/ 42 w 299"/>
                              <a:gd name="T53" fmla="*/ 102 h 376"/>
                              <a:gd name="T54" fmla="*/ 56 w 299"/>
                              <a:gd name="T55" fmla="*/ 119 h 376"/>
                              <a:gd name="T56" fmla="*/ 37 w 299"/>
                              <a:gd name="T57" fmla="*/ 112 h 376"/>
                              <a:gd name="T58" fmla="*/ 13 w 299"/>
                              <a:gd name="T59" fmla="*/ 115 h 376"/>
                              <a:gd name="T60" fmla="*/ 222 w 299"/>
                              <a:gd name="T61" fmla="*/ 340 h 376"/>
                              <a:gd name="T62" fmla="*/ 222 w 299"/>
                              <a:gd name="T63" fmla="*/ 331 h 376"/>
                              <a:gd name="T64" fmla="*/ 222 w 299"/>
                              <a:gd name="T65" fmla="*/ 340 h 376"/>
                              <a:gd name="T66" fmla="*/ 292 w 299"/>
                              <a:gd name="T67" fmla="*/ 74 h 376"/>
                              <a:gd name="T68" fmla="*/ 291 w 299"/>
                              <a:gd name="T69" fmla="*/ 69 h 376"/>
                              <a:gd name="T70" fmla="*/ 82 w 299"/>
                              <a:gd name="T71" fmla="*/ 280 h 376"/>
                              <a:gd name="T72" fmla="*/ 68 w 299"/>
                              <a:gd name="T73" fmla="*/ 285 h 376"/>
                              <a:gd name="T74" fmla="*/ 117 w 299"/>
                              <a:gd name="T75" fmla="*/ 271 h 376"/>
                              <a:gd name="T76" fmla="*/ 109 w 299"/>
                              <a:gd name="T77" fmla="*/ 260 h 376"/>
                              <a:gd name="T78" fmla="*/ 117 w 299"/>
                              <a:gd name="T79" fmla="*/ 271 h 376"/>
                              <a:gd name="T80" fmla="*/ 16 w 299"/>
                              <a:gd name="T81" fmla="*/ 374 h 376"/>
                              <a:gd name="T82" fmla="*/ 41 w 299"/>
                              <a:gd name="T83" fmla="*/ 360 h 376"/>
                              <a:gd name="T84" fmla="*/ 34 w 299"/>
                              <a:gd name="T85" fmla="*/ 354 h 376"/>
                              <a:gd name="T86" fmla="*/ 6 w 299"/>
                              <a:gd name="T87" fmla="*/ 364 h 376"/>
                              <a:gd name="T88" fmla="*/ 18 w 299"/>
                              <a:gd name="T89" fmla="*/ 59 h 376"/>
                              <a:gd name="T90" fmla="*/ 25 w 299"/>
                              <a:gd name="T91" fmla="*/ 66 h 376"/>
                              <a:gd name="T92" fmla="*/ 20 w 299"/>
                              <a:gd name="T93" fmla="*/ 60 h 376"/>
                              <a:gd name="T94" fmla="*/ 18 w 299"/>
                              <a:gd name="T95" fmla="*/ 59 h 376"/>
                              <a:gd name="T96" fmla="*/ 157 w 299"/>
                              <a:gd name="T97" fmla="*/ 264 h 376"/>
                              <a:gd name="T98" fmla="*/ 149 w 299"/>
                              <a:gd name="T99" fmla="*/ 259 h 376"/>
                              <a:gd name="T100" fmla="*/ 194 w 299"/>
                              <a:gd name="T101" fmla="*/ 303 h 376"/>
                              <a:gd name="T102" fmla="*/ 205 w 299"/>
                              <a:gd name="T103" fmla="*/ 276 h 376"/>
                              <a:gd name="T104" fmla="*/ 193 w 299"/>
                              <a:gd name="T105" fmla="*/ 289 h 376"/>
                              <a:gd name="T106" fmla="*/ 194 w 299"/>
                              <a:gd name="T107" fmla="*/ 303 h 376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</a:cxnLst>
                            <a:rect l="0" t="0" r="r" b="b"/>
                            <a:pathLst>
                              <a:path w="299" h="376">
                                <a:moveTo>
                                  <a:pt x="12" y="124"/>
                                </a:moveTo>
                                <a:cubicBezTo>
                                  <a:pt x="15" y="129"/>
                                  <a:pt x="17" y="127"/>
                                  <a:pt x="20" y="129"/>
                                </a:cubicBezTo>
                                <a:cubicBezTo>
                                  <a:pt x="24" y="132"/>
                                  <a:pt x="24" y="138"/>
                                  <a:pt x="22" y="147"/>
                                </a:cubicBezTo>
                                <a:cubicBezTo>
                                  <a:pt x="21" y="155"/>
                                  <a:pt x="22" y="160"/>
                                  <a:pt x="26" y="167"/>
                                </a:cubicBezTo>
                                <a:cubicBezTo>
                                  <a:pt x="30" y="173"/>
                                  <a:pt x="40" y="170"/>
                                  <a:pt x="41" y="173"/>
                                </a:cubicBezTo>
                                <a:cubicBezTo>
                                  <a:pt x="42" y="177"/>
                                  <a:pt x="40" y="177"/>
                                  <a:pt x="38" y="179"/>
                                </a:cubicBezTo>
                                <a:cubicBezTo>
                                  <a:pt x="36" y="181"/>
                                  <a:pt x="38" y="183"/>
                                  <a:pt x="38" y="189"/>
                                </a:cubicBezTo>
                                <a:cubicBezTo>
                                  <a:pt x="39" y="195"/>
                                  <a:pt x="38" y="193"/>
                                  <a:pt x="34" y="197"/>
                                </a:cubicBezTo>
                                <a:cubicBezTo>
                                  <a:pt x="29" y="201"/>
                                  <a:pt x="33" y="202"/>
                                  <a:pt x="34" y="208"/>
                                </a:cubicBezTo>
                                <a:cubicBezTo>
                                  <a:pt x="35" y="213"/>
                                  <a:pt x="33" y="216"/>
                                  <a:pt x="29" y="216"/>
                                </a:cubicBezTo>
                                <a:cubicBezTo>
                                  <a:pt x="26" y="217"/>
                                  <a:pt x="22" y="219"/>
                                  <a:pt x="19" y="221"/>
                                </a:cubicBezTo>
                                <a:cubicBezTo>
                                  <a:pt x="16" y="223"/>
                                  <a:pt x="14" y="228"/>
                                  <a:pt x="14" y="235"/>
                                </a:cubicBezTo>
                                <a:cubicBezTo>
                                  <a:pt x="14" y="241"/>
                                  <a:pt x="18" y="241"/>
                                  <a:pt x="16" y="246"/>
                                </a:cubicBezTo>
                                <a:cubicBezTo>
                                  <a:pt x="14" y="251"/>
                                  <a:pt x="14" y="254"/>
                                  <a:pt x="19" y="257"/>
                                </a:cubicBezTo>
                                <a:cubicBezTo>
                                  <a:pt x="23" y="260"/>
                                  <a:pt x="34" y="258"/>
                                  <a:pt x="31" y="264"/>
                                </a:cubicBezTo>
                                <a:cubicBezTo>
                                  <a:pt x="28" y="269"/>
                                  <a:pt x="31" y="267"/>
                                  <a:pt x="28" y="272"/>
                                </a:cubicBezTo>
                                <a:cubicBezTo>
                                  <a:pt x="24" y="277"/>
                                  <a:pt x="22" y="272"/>
                                  <a:pt x="18" y="271"/>
                                </a:cubicBezTo>
                                <a:cubicBezTo>
                                  <a:pt x="13" y="270"/>
                                  <a:pt x="10" y="273"/>
                                  <a:pt x="10" y="276"/>
                                </a:cubicBezTo>
                                <a:cubicBezTo>
                                  <a:pt x="10" y="280"/>
                                  <a:pt x="14" y="281"/>
                                  <a:pt x="18" y="286"/>
                                </a:cubicBezTo>
                                <a:cubicBezTo>
                                  <a:pt x="23" y="290"/>
                                  <a:pt x="28" y="294"/>
                                  <a:pt x="33" y="286"/>
                                </a:cubicBezTo>
                                <a:cubicBezTo>
                                  <a:pt x="39" y="277"/>
                                  <a:pt x="47" y="273"/>
                                  <a:pt x="51" y="270"/>
                                </a:cubicBezTo>
                                <a:cubicBezTo>
                                  <a:pt x="55" y="267"/>
                                  <a:pt x="70" y="268"/>
                                  <a:pt x="72" y="263"/>
                                </a:cubicBezTo>
                                <a:cubicBezTo>
                                  <a:pt x="74" y="259"/>
                                  <a:pt x="79" y="258"/>
                                  <a:pt x="84" y="258"/>
                                </a:cubicBezTo>
                                <a:cubicBezTo>
                                  <a:pt x="89" y="258"/>
                                  <a:pt x="90" y="269"/>
                                  <a:pt x="92" y="271"/>
                                </a:cubicBezTo>
                                <a:cubicBezTo>
                                  <a:pt x="95" y="273"/>
                                  <a:pt x="98" y="269"/>
                                  <a:pt x="99" y="261"/>
                                </a:cubicBezTo>
                                <a:cubicBezTo>
                                  <a:pt x="100" y="253"/>
                                  <a:pt x="106" y="249"/>
                                  <a:pt x="110" y="245"/>
                                </a:cubicBezTo>
                                <a:cubicBezTo>
                                  <a:pt x="114" y="241"/>
                                  <a:pt x="121" y="246"/>
                                  <a:pt x="124" y="249"/>
                                </a:cubicBezTo>
                                <a:cubicBezTo>
                                  <a:pt x="127" y="251"/>
                                  <a:pt x="136" y="257"/>
                                  <a:pt x="140" y="252"/>
                                </a:cubicBezTo>
                                <a:cubicBezTo>
                                  <a:pt x="143" y="247"/>
                                  <a:pt x="148" y="251"/>
                                  <a:pt x="155" y="248"/>
                                </a:cubicBezTo>
                                <a:cubicBezTo>
                                  <a:pt x="161" y="246"/>
                                  <a:pt x="155" y="242"/>
                                  <a:pt x="159" y="237"/>
                                </a:cubicBezTo>
                                <a:cubicBezTo>
                                  <a:pt x="163" y="232"/>
                                  <a:pt x="168" y="238"/>
                                  <a:pt x="173" y="236"/>
                                </a:cubicBezTo>
                                <a:cubicBezTo>
                                  <a:pt x="178" y="234"/>
                                  <a:pt x="180" y="237"/>
                                  <a:pt x="188" y="238"/>
                                </a:cubicBezTo>
                                <a:cubicBezTo>
                                  <a:pt x="196" y="238"/>
                                  <a:pt x="195" y="231"/>
                                  <a:pt x="199" y="219"/>
                                </a:cubicBezTo>
                                <a:cubicBezTo>
                                  <a:pt x="204" y="206"/>
                                  <a:pt x="208" y="200"/>
                                  <a:pt x="211" y="191"/>
                                </a:cubicBezTo>
                                <a:cubicBezTo>
                                  <a:pt x="215" y="182"/>
                                  <a:pt x="211" y="178"/>
                                  <a:pt x="203" y="173"/>
                                </a:cubicBezTo>
                                <a:cubicBezTo>
                                  <a:pt x="195" y="168"/>
                                  <a:pt x="197" y="164"/>
                                  <a:pt x="197" y="151"/>
                                </a:cubicBezTo>
                                <a:cubicBezTo>
                                  <a:pt x="196" y="138"/>
                                  <a:pt x="198" y="118"/>
                                  <a:pt x="201" y="107"/>
                                </a:cubicBezTo>
                                <a:cubicBezTo>
                                  <a:pt x="204" y="96"/>
                                  <a:pt x="194" y="84"/>
                                  <a:pt x="188" y="76"/>
                                </a:cubicBezTo>
                                <a:cubicBezTo>
                                  <a:pt x="181" y="67"/>
                                  <a:pt x="170" y="41"/>
                                  <a:pt x="160" y="24"/>
                                </a:cubicBezTo>
                                <a:cubicBezTo>
                                  <a:pt x="155" y="15"/>
                                  <a:pt x="149" y="7"/>
                                  <a:pt x="144" y="0"/>
                                </a:cubicBezTo>
                                <a:cubicBezTo>
                                  <a:pt x="138" y="8"/>
                                  <a:pt x="131" y="17"/>
                                  <a:pt x="129" y="19"/>
                                </a:cubicBezTo>
                                <a:cubicBezTo>
                                  <a:pt x="126" y="21"/>
                                  <a:pt x="123" y="23"/>
                                  <a:pt x="119" y="23"/>
                                </a:cubicBezTo>
                                <a:cubicBezTo>
                                  <a:pt x="115" y="24"/>
                                  <a:pt x="109" y="24"/>
                                  <a:pt x="101" y="23"/>
                                </a:cubicBezTo>
                                <a:cubicBezTo>
                                  <a:pt x="96" y="23"/>
                                  <a:pt x="93" y="23"/>
                                  <a:pt x="89" y="22"/>
                                </a:cubicBezTo>
                                <a:cubicBezTo>
                                  <a:pt x="80" y="21"/>
                                  <a:pt x="72" y="20"/>
                                  <a:pt x="63" y="24"/>
                                </a:cubicBezTo>
                                <a:cubicBezTo>
                                  <a:pt x="53" y="28"/>
                                  <a:pt x="51" y="31"/>
                                  <a:pt x="48" y="35"/>
                                </a:cubicBezTo>
                                <a:cubicBezTo>
                                  <a:pt x="47" y="36"/>
                                  <a:pt x="45" y="38"/>
                                  <a:pt x="43" y="41"/>
                                </a:cubicBezTo>
                                <a:cubicBezTo>
                                  <a:pt x="39" y="45"/>
                                  <a:pt x="37" y="48"/>
                                  <a:pt x="35" y="52"/>
                                </a:cubicBezTo>
                                <a:cubicBezTo>
                                  <a:pt x="35" y="53"/>
                                  <a:pt x="34" y="54"/>
                                  <a:pt x="34" y="55"/>
                                </a:cubicBezTo>
                                <a:cubicBezTo>
                                  <a:pt x="34" y="56"/>
                                  <a:pt x="34" y="56"/>
                                  <a:pt x="35" y="56"/>
                                </a:cubicBezTo>
                                <a:cubicBezTo>
                                  <a:pt x="40" y="59"/>
                                  <a:pt x="39" y="61"/>
                                  <a:pt x="38" y="68"/>
                                </a:cubicBezTo>
                                <a:cubicBezTo>
                                  <a:pt x="37" y="75"/>
                                  <a:pt x="39" y="74"/>
                                  <a:pt x="42" y="80"/>
                                </a:cubicBezTo>
                                <a:cubicBezTo>
                                  <a:pt x="46" y="85"/>
                                  <a:pt x="43" y="87"/>
                                  <a:pt x="42" y="91"/>
                                </a:cubicBezTo>
                                <a:cubicBezTo>
                                  <a:pt x="40" y="94"/>
                                  <a:pt x="40" y="95"/>
                                  <a:pt x="42" y="102"/>
                                </a:cubicBezTo>
                                <a:cubicBezTo>
                                  <a:pt x="44" y="108"/>
                                  <a:pt x="47" y="107"/>
                                  <a:pt x="52" y="109"/>
                                </a:cubicBezTo>
                                <a:cubicBezTo>
                                  <a:pt x="57" y="111"/>
                                  <a:pt x="58" y="116"/>
                                  <a:pt x="56" y="119"/>
                                </a:cubicBezTo>
                                <a:cubicBezTo>
                                  <a:pt x="54" y="122"/>
                                  <a:pt x="45" y="123"/>
                                  <a:pt x="43" y="117"/>
                                </a:cubicBezTo>
                                <a:cubicBezTo>
                                  <a:pt x="41" y="112"/>
                                  <a:pt x="38" y="114"/>
                                  <a:pt x="37" y="112"/>
                                </a:cubicBezTo>
                                <a:cubicBezTo>
                                  <a:pt x="35" y="109"/>
                                  <a:pt x="27" y="110"/>
                                  <a:pt x="22" y="112"/>
                                </a:cubicBezTo>
                                <a:cubicBezTo>
                                  <a:pt x="17" y="115"/>
                                  <a:pt x="18" y="115"/>
                                  <a:pt x="13" y="115"/>
                                </a:cubicBezTo>
                                <a:cubicBezTo>
                                  <a:pt x="7" y="116"/>
                                  <a:pt x="10" y="119"/>
                                  <a:pt x="12" y="124"/>
                                </a:cubicBezTo>
                                <a:close/>
                                <a:moveTo>
                                  <a:pt x="222" y="340"/>
                                </a:moveTo>
                                <a:cubicBezTo>
                                  <a:pt x="224" y="338"/>
                                  <a:pt x="225" y="334"/>
                                  <a:pt x="226" y="332"/>
                                </a:cubicBezTo>
                                <a:cubicBezTo>
                                  <a:pt x="227" y="331"/>
                                  <a:pt x="224" y="330"/>
                                  <a:pt x="222" y="331"/>
                                </a:cubicBezTo>
                                <a:cubicBezTo>
                                  <a:pt x="218" y="335"/>
                                  <a:pt x="215" y="336"/>
                                  <a:pt x="216" y="338"/>
                                </a:cubicBezTo>
                                <a:cubicBezTo>
                                  <a:pt x="218" y="340"/>
                                  <a:pt x="221" y="342"/>
                                  <a:pt x="222" y="340"/>
                                </a:cubicBezTo>
                                <a:close/>
                                <a:moveTo>
                                  <a:pt x="291" y="69"/>
                                </a:moveTo>
                                <a:cubicBezTo>
                                  <a:pt x="288" y="71"/>
                                  <a:pt x="290" y="74"/>
                                  <a:pt x="292" y="74"/>
                                </a:cubicBezTo>
                                <a:cubicBezTo>
                                  <a:pt x="294" y="75"/>
                                  <a:pt x="295" y="76"/>
                                  <a:pt x="297" y="73"/>
                                </a:cubicBezTo>
                                <a:cubicBezTo>
                                  <a:pt x="299" y="71"/>
                                  <a:pt x="294" y="66"/>
                                  <a:pt x="291" y="69"/>
                                </a:cubicBezTo>
                                <a:close/>
                                <a:moveTo>
                                  <a:pt x="77" y="287"/>
                                </a:moveTo>
                                <a:cubicBezTo>
                                  <a:pt x="80" y="286"/>
                                  <a:pt x="82" y="283"/>
                                  <a:pt x="82" y="280"/>
                                </a:cubicBezTo>
                                <a:cubicBezTo>
                                  <a:pt x="82" y="277"/>
                                  <a:pt x="77" y="274"/>
                                  <a:pt x="72" y="276"/>
                                </a:cubicBezTo>
                                <a:cubicBezTo>
                                  <a:pt x="67" y="280"/>
                                  <a:pt x="65" y="283"/>
                                  <a:pt x="68" y="285"/>
                                </a:cubicBezTo>
                                <a:cubicBezTo>
                                  <a:pt x="71" y="287"/>
                                  <a:pt x="73" y="289"/>
                                  <a:pt x="77" y="287"/>
                                </a:cubicBezTo>
                                <a:close/>
                                <a:moveTo>
                                  <a:pt x="117" y="271"/>
                                </a:moveTo>
                                <a:cubicBezTo>
                                  <a:pt x="119" y="269"/>
                                  <a:pt x="116" y="267"/>
                                  <a:pt x="116" y="264"/>
                                </a:cubicBezTo>
                                <a:cubicBezTo>
                                  <a:pt x="116" y="261"/>
                                  <a:pt x="109" y="256"/>
                                  <a:pt x="109" y="260"/>
                                </a:cubicBezTo>
                                <a:cubicBezTo>
                                  <a:pt x="108" y="265"/>
                                  <a:pt x="107" y="266"/>
                                  <a:pt x="110" y="268"/>
                                </a:cubicBezTo>
                                <a:cubicBezTo>
                                  <a:pt x="113" y="270"/>
                                  <a:pt x="115" y="273"/>
                                  <a:pt x="117" y="271"/>
                                </a:cubicBezTo>
                                <a:close/>
                                <a:moveTo>
                                  <a:pt x="4" y="372"/>
                                </a:moveTo>
                                <a:cubicBezTo>
                                  <a:pt x="8" y="374"/>
                                  <a:pt x="9" y="376"/>
                                  <a:pt x="16" y="374"/>
                                </a:cubicBezTo>
                                <a:cubicBezTo>
                                  <a:pt x="24" y="372"/>
                                  <a:pt x="24" y="373"/>
                                  <a:pt x="30" y="369"/>
                                </a:cubicBezTo>
                                <a:cubicBezTo>
                                  <a:pt x="35" y="365"/>
                                  <a:pt x="34" y="363"/>
                                  <a:pt x="41" y="360"/>
                                </a:cubicBezTo>
                                <a:cubicBezTo>
                                  <a:pt x="49" y="358"/>
                                  <a:pt x="51" y="355"/>
                                  <a:pt x="47" y="354"/>
                                </a:cubicBezTo>
                                <a:cubicBezTo>
                                  <a:pt x="43" y="354"/>
                                  <a:pt x="38" y="355"/>
                                  <a:pt x="34" y="354"/>
                                </a:cubicBezTo>
                                <a:cubicBezTo>
                                  <a:pt x="30" y="353"/>
                                  <a:pt x="15" y="350"/>
                                  <a:pt x="14" y="356"/>
                                </a:cubicBezTo>
                                <a:cubicBezTo>
                                  <a:pt x="11" y="361"/>
                                  <a:pt x="10" y="360"/>
                                  <a:pt x="6" y="364"/>
                                </a:cubicBezTo>
                                <a:cubicBezTo>
                                  <a:pt x="2" y="367"/>
                                  <a:pt x="0" y="370"/>
                                  <a:pt x="4" y="372"/>
                                </a:cubicBezTo>
                                <a:close/>
                                <a:moveTo>
                                  <a:pt x="18" y="59"/>
                                </a:moveTo>
                                <a:cubicBezTo>
                                  <a:pt x="15" y="61"/>
                                  <a:pt x="15" y="63"/>
                                  <a:pt x="17" y="64"/>
                                </a:cubicBezTo>
                                <a:cubicBezTo>
                                  <a:pt x="19" y="65"/>
                                  <a:pt x="24" y="69"/>
                                  <a:pt x="25" y="66"/>
                                </a:cubicBezTo>
                                <a:cubicBezTo>
                                  <a:pt x="25" y="65"/>
                                  <a:pt x="25" y="65"/>
                                  <a:pt x="25" y="64"/>
                                </a:cubicBezTo>
                                <a:cubicBezTo>
                                  <a:pt x="20" y="60"/>
                                  <a:pt x="20" y="60"/>
                                  <a:pt x="20" y="60"/>
                                </a:cubicBezTo>
                                <a:cubicBezTo>
                                  <a:pt x="21" y="60"/>
                                  <a:pt x="21" y="60"/>
                                  <a:pt x="21" y="59"/>
                                </a:cubicBezTo>
                                <a:cubicBezTo>
                                  <a:pt x="20" y="59"/>
                                  <a:pt x="19" y="59"/>
                                  <a:pt x="18" y="59"/>
                                </a:cubicBezTo>
                                <a:close/>
                                <a:moveTo>
                                  <a:pt x="151" y="269"/>
                                </a:moveTo>
                                <a:cubicBezTo>
                                  <a:pt x="155" y="268"/>
                                  <a:pt x="154" y="267"/>
                                  <a:pt x="157" y="264"/>
                                </a:cubicBezTo>
                                <a:cubicBezTo>
                                  <a:pt x="159" y="261"/>
                                  <a:pt x="159" y="257"/>
                                  <a:pt x="157" y="257"/>
                                </a:cubicBezTo>
                                <a:cubicBezTo>
                                  <a:pt x="155" y="257"/>
                                  <a:pt x="153" y="259"/>
                                  <a:pt x="149" y="259"/>
                                </a:cubicBezTo>
                                <a:cubicBezTo>
                                  <a:pt x="145" y="260"/>
                                  <a:pt x="147" y="269"/>
                                  <a:pt x="151" y="269"/>
                                </a:cubicBezTo>
                                <a:close/>
                                <a:moveTo>
                                  <a:pt x="194" y="303"/>
                                </a:moveTo>
                                <a:cubicBezTo>
                                  <a:pt x="198" y="299"/>
                                  <a:pt x="198" y="295"/>
                                  <a:pt x="201" y="289"/>
                                </a:cubicBezTo>
                                <a:cubicBezTo>
                                  <a:pt x="204" y="282"/>
                                  <a:pt x="206" y="280"/>
                                  <a:pt x="205" y="276"/>
                                </a:cubicBezTo>
                                <a:cubicBezTo>
                                  <a:pt x="204" y="273"/>
                                  <a:pt x="198" y="269"/>
                                  <a:pt x="195" y="279"/>
                                </a:cubicBezTo>
                                <a:cubicBezTo>
                                  <a:pt x="193" y="284"/>
                                  <a:pt x="195" y="285"/>
                                  <a:pt x="193" y="289"/>
                                </a:cubicBezTo>
                                <a:cubicBezTo>
                                  <a:pt x="192" y="294"/>
                                  <a:pt x="187" y="297"/>
                                  <a:pt x="189" y="301"/>
                                </a:cubicBezTo>
                                <a:cubicBezTo>
                                  <a:pt x="191" y="305"/>
                                  <a:pt x="191" y="308"/>
                                  <a:pt x="194" y="303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35" name="Freeform 260"/>
                          <p:cNvSpPr>
                            <a:spLocks noEditPoints="1"/>
                          </p:cNvSpPr>
                          <p:nvPr/>
                        </p:nvSpPr>
                        <p:spPr bwMode="auto">
                          <a:xfrm>
                            <a:off x="6864066" y="4671510"/>
                            <a:ext cx="236934" cy="185737"/>
                          </a:xfrm>
                          <a:custGeom>
                            <a:avLst/>
                            <a:gdLst>
                              <a:gd name="T0" fmla="*/ 304 w 828"/>
                              <a:gd name="T1" fmla="*/ 260 h 646"/>
                              <a:gd name="T2" fmla="*/ 227 w 828"/>
                              <a:gd name="T3" fmla="*/ 166 h 646"/>
                              <a:gd name="T4" fmla="*/ 17 w 828"/>
                              <a:gd name="T5" fmla="*/ 83 h 646"/>
                              <a:gd name="T6" fmla="*/ 5 w 828"/>
                              <a:gd name="T7" fmla="*/ 347 h 646"/>
                              <a:gd name="T8" fmla="*/ 61 w 828"/>
                              <a:gd name="T9" fmla="*/ 491 h 646"/>
                              <a:gd name="T10" fmla="*/ 152 w 828"/>
                              <a:gd name="T11" fmla="*/ 469 h 646"/>
                              <a:gd name="T12" fmla="*/ 92 w 828"/>
                              <a:gd name="T13" fmla="*/ 441 h 646"/>
                              <a:gd name="T14" fmla="*/ 100 w 828"/>
                              <a:gd name="T15" fmla="*/ 432 h 646"/>
                              <a:gd name="T16" fmla="*/ 161 w 828"/>
                              <a:gd name="T17" fmla="*/ 423 h 646"/>
                              <a:gd name="T18" fmla="*/ 182 w 828"/>
                              <a:gd name="T19" fmla="*/ 414 h 646"/>
                              <a:gd name="T20" fmla="*/ 182 w 828"/>
                              <a:gd name="T21" fmla="*/ 387 h 646"/>
                              <a:gd name="T22" fmla="*/ 221 w 828"/>
                              <a:gd name="T23" fmla="*/ 384 h 646"/>
                              <a:gd name="T24" fmla="*/ 286 w 828"/>
                              <a:gd name="T25" fmla="*/ 409 h 646"/>
                              <a:gd name="T26" fmla="*/ 362 w 828"/>
                              <a:gd name="T27" fmla="*/ 480 h 646"/>
                              <a:gd name="T28" fmla="*/ 412 w 828"/>
                              <a:gd name="T29" fmla="*/ 530 h 646"/>
                              <a:gd name="T30" fmla="*/ 493 w 828"/>
                              <a:gd name="T31" fmla="*/ 552 h 646"/>
                              <a:gd name="T32" fmla="*/ 570 w 828"/>
                              <a:gd name="T33" fmla="*/ 577 h 646"/>
                              <a:gd name="T34" fmla="*/ 578 w 828"/>
                              <a:gd name="T35" fmla="*/ 558 h 646"/>
                              <a:gd name="T36" fmla="*/ 563 w 828"/>
                              <a:gd name="T37" fmla="*/ 522 h 646"/>
                              <a:gd name="T38" fmla="*/ 514 w 828"/>
                              <a:gd name="T39" fmla="*/ 489 h 646"/>
                              <a:gd name="T40" fmla="*/ 456 w 828"/>
                              <a:gd name="T41" fmla="*/ 449 h 646"/>
                              <a:gd name="T42" fmla="*/ 377 w 828"/>
                              <a:gd name="T43" fmla="*/ 356 h 646"/>
                              <a:gd name="T44" fmla="*/ 421 w 828"/>
                              <a:gd name="T45" fmla="*/ 306 h 646"/>
                              <a:gd name="T46" fmla="*/ 767 w 828"/>
                              <a:gd name="T47" fmla="*/ 624 h 646"/>
                              <a:gd name="T48" fmla="*/ 815 w 828"/>
                              <a:gd name="T49" fmla="*/ 623 h 646"/>
                              <a:gd name="T50" fmla="*/ 596 w 828"/>
                              <a:gd name="T51" fmla="*/ 552 h 646"/>
                              <a:gd name="T52" fmla="*/ 638 w 828"/>
                              <a:gd name="T53" fmla="*/ 551 h 646"/>
                              <a:gd name="T54" fmla="*/ 573 w 828"/>
                              <a:gd name="T55" fmla="*/ 505 h 646"/>
                              <a:gd name="T56" fmla="*/ 620 w 828"/>
                              <a:gd name="T57" fmla="*/ 545 h 646"/>
                              <a:gd name="T58" fmla="*/ 599 w 828"/>
                              <a:gd name="T59" fmla="*/ 502 h 646"/>
                              <a:gd name="T60" fmla="*/ 747 w 828"/>
                              <a:gd name="T61" fmla="*/ 486 h 646"/>
                              <a:gd name="T62" fmla="*/ 729 w 828"/>
                              <a:gd name="T63" fmla="*/ 579 h 646"/>
                              <a:gd name="T64" fmla="*/ 636 w 828"/>
                              <a:gd name="T65" fmla="*/ 460 h 646"/>
                              <a:gd name="T66" fmla="*/ 792 w 828"/>
                              <a:gd name="T67" fmla="*/ 176 h 646"/>
                              <a:gd name="T68" fmla="*/ 682 w 828"/>
                              <a:gd name="T69" fmla="*/ 93 h 646"/>
                              <a:gd name="T70" fmla="*/ 618 w 828"/>
                              <a:gd name="T71" fmla="*/ 84 h 646"/>
                              <a:gd name="T72" fmla="*/ 705 w 828"/>
                              <a:gd name="T73" fmla="*/ 148 h 646"/>
                              <a:gd name="T74" fmla="*/ 748 w 828"/>
                              <a:gd name="T75" fmla="*/ 193 h 646"/>
                              <a:gd name="T76" fmla="*/ 657 w 828"/>
                              <a:gd name="T77" fmla="*/ 109 h 646"/>
                              <a:gd name="T78" fmla="*/ 585 w 828"/>
                              <a:gd name="T79" fmla="*/ 75 h 646"/>
                              <a:gd name="T80" fmla="*/ 566 w 828"/>
                              <a:gd name="T81" fmla="*/ 227 h 646"/>
                              <a:gd name="T82" fmla="*/ 530 w 828"/>
                              <a:gd name="T83" fmla="*/ 216 h 646"/>
                              <a:gd name="T84" fmla="*/ 550 w 828"/>
                              <a:gd name="T85" fmla="*/ 12 h 646"/>
                              <a:gd name="T86" fmla="*/ 432 w 828"/>
                              <a:gd name="T87" fmla="*/ 66 h 646"/>
                              <a:gd name="T88" fmla="*/ 499 w 828"/>
                              <a:gd name="T89" fmla="*/ 298 h 646"/>
                              <a:gd name="T90" fmla="*/ 592 w 828"/>
                              <a:gd name="T91" fmla="*/ 300 h 646"/>
                              <a:gd name="T92" fmla="*/ 694 w 828"/>
                              <a:gd name="T93" fmla="*/ 252 h 646"/>
                              <a:gd name="T94" fmla="*/ 708 w 828"/>
                              <a:gd name="T95" fmla="*/ 201 h 646"/>
                              <a:gd name="T96" fmla="*/ 657 w 828"/>
                              <a:gd name="T97" fmla="*/ 187 h 646"/>
                              <a:gd name="T98" fmla="*/ 616 w 828"/>
                              <a:gd name="T99" fmla="*/ 259 h 646"/>
                              <a:gd name="T100" fmla="*/ 547 w 828"/>
                              <a:gd name="T101" fmla="*/ 264 h 646"/>
                              <a:gd name="T102" fmla="*/ 473 w 828"/>
                              <a:gd name="T103" fmla="*/ 259 h 646"/>
                              <a:gd name="T104" fmla="*/ 440 w 828"/>
                              <a:gd name="T105" fmla="*/ 270 h 646"/>
                              <a:gd name="T106" fmla="*/ 383 w 828"/>
                              <a:gd name="T107" fmla="*/ 44 h 646"/>
                              <a:gd name="T108" fmla="*/ 381 w 828"/>
                              <a:gd name="T109" fmla="*/ 248 h 646"/>
                              <a:gd name="T110" fmla="*/ 320 w 828"/>
                              <a:gd name="T111" fmla="*/ 208 h 646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</a:cxnLst>
                            <a:rect l="0" t="0" r="r" b="b"/>
                            <a:pathLst>
                              <a:path w="828" h="646">
                                <a:moveTo>
                                  <a:pt x="386" y="284"/>
                                </a:moveTo>
                                <a:cubicBezTo>
                                  <a:pt x="377" y="279"/>
                                  <a:pt x="372" y="282"/>
                                  <a:pt x="364" y="282"/>
                                </a:cubicBezTo>
                                <a:cubicBezTo>
                                  <a:pt x="356" y="282"/>
                                  <a:pt x="354" y="279"/>
                                  <a:pt x="348" y="272"/>
                                </a:cubicBezTo>
                                <a:cubicBezTo>
                                  <a:pt x="342" y="265"/>
                                  <a:pt x="333" y="265"/>
                                  <a:pt x="323" y="264"/>
                                </a:cubicBezTo>
                                <a:cubicBezTo>
                                  <a:pt x="313" y="263"/>
                                  <a:pt x="310" y="264"/>
                                  <a:pt x="304" y="260"/>
                                </a:cubicBezTo>
                                <a:cubicBezTo>
                                  <a:pt x="298" y="256"/>
                                  <a:pt x="301" y="250"/>
                                  <a:pt x="300" y="241"/>
                                </a:cubicBezTo>
                                <a:cubicBezTo>
                                  <a:pt x="300" y="233"/>
                                  <a:pt x="294" y="236"/>
                                  <a:pt x="292" y="223"/>
                                </a:cubicBezTo>
                                <a:cubicBezTo>
                                  <a:pt x="289" y="210"/>
                                  <a:pt x="289" y="205"/>
                                  <a:pt x="283" y="195"/>
                                </a:cubicBezTo>
                                <a:cubicBezTo>
                                  <a:pt x="277" y="184"/>
                                  <a:pt x="267" y="186"/>
                                  <a:pt x="255" y="179"/>
                                </a:cubicBezTo>
                                <a:cubicBezTo>
                                  <a:pt x="243" y="172"/>
                                  <a:pt x="236" y="173"/>
                                  <a:pt x="227" y="166"/>
                                </a:cubicBezTo>
                                <a:cubicBezTo>
                                  <a:pt x="218" y="159"/>
                                  <a:pt x="224" y="160"/>
                                  <a:pt x="220" y="156"/>
                                </a:cubicBezTo>
                                <a:cubicBezTo>
                                  <a:pt x="217" y="151"/>
                                  <a:pt x="209" y="150"/>
                                  <a:pt x="193" y="144"/>
                                </a:cubicBezTo>
                                <a:cubicBezTo>
                                  <a:pt x="177" y="138"/>
                                  <a:pt x="156" y="136"/>
                                  <a:pt x="136" y="132"/>
                                </a:cubicBezTo>
                                <a:cubicBezTo>
                                  <a:pt x="117" y="129"/>
                                  <a:pt x="105" y="124"/>
                                  <a:pt x="95" y="115"/>
                                </a:cubicBezTo>
                                <a:cubicBezTo>
                                  <a:pt x="86" y="106"/>
                                  <a:pt x="33" y="90"/>
                                  <a:pt x="17" y="83"/>
                                </a:cubicBezTo>
                                <a:cubicBezTo>
                                  <a:pt x="15" y="82"/>
                                  <a:pt x="12" y="81"/>
                                  <a:pt x="11" y="81"/>
                                </a:cubicBezTo>
                                <a:cubicBezTo>
                                  <a:pt x="10" y="131"/>
                                  <a:pt x="10" y="256"/>
                                  <a:pt x="10" y="271"/>
                                </a:cubicBezTo>
                                <a:cubicBezTo>
                                  <a:pt x="9" y="281"/>
                                  <a:pt x="7" y="292"/>
                                  <a:pt x="5" y="303"/>
                                </a:cubicBezTo>
                                <a:cubicBezTo>
                                  <a:pt x="2" y="314"/>
                                  <a:pt x="0" y="325"/>
                                  <a:pt x="1" y="332"/>
                                </a:cubicBezTo>
                                <a:cubicBezTo>
                                  <a:pt x="1" y="340"/>
                                  <a:pt x="3" y="343"/>
                                  <a:pt x="5" y="347"/>
                                </a:cubicBezTo>
                                <a:cubicBezTo>
                                  <a:pt x="7" y="350"/>
                                  <a:pt x="9" y="352"/>
                                  <a:pt x="9" y="356"/>
                                </a:cubicBezTo>
                                <a:cubicBezTo>
                                  <a:pt x="10" y="363"/>
                                  <a:pt x="9" y="446"/>
                                  <a:pt x="8" y="488"/>
                                </a:cubicBezTo>
                                <a:cubicBezTo>
                                  <a:pt x="9" y="488"/>
                                  <a:pt x="10" y="489"/>
                                  <a:pt x="12" y="489"/>
                                </a:cubicBezTo>
                                <a:cubicBezTo>
                                  <a:pt x="22" y="494"/>
                                  <a:pt x="21" y="492"/>
                                  <a:pt x="29" y="493"/>
                                </a:cubicBezTo>
                                <a:cubicBezTo>
                                  <a:pt x="38" y="495"/>
                                  <a:pt x="48" y="494"/>
                                  <a:pt x="61" y="491"/>
                                </a:cubicBezTo>
                                <a:cubicBezTo>
                                  <a:pt x="73" y="488"/>
                                  <a:pt x="73" y="490"/>
                                  <a:pt x="82" y="490"/>
                                </a:cubicBezTo>
                                <a:cubicBezTo>
                                  <a:pt x="92" y="489"/>
                                  <a:pt x="91" y="493"/>
                                  <a:pt x="99" y="495"/>
                                </a:cubicBezTo>
                                <a:cubicBezTo>
                                  <a:pt x="107" y="497"/>
                                  <a:pt x="107" y="496"/>
                                  <a:pt x="113" y="491"/>
                                </a:cubicBezTo>
                                <a:cubicBezTo>
                                  <a:pt x="118" y="486"/>
                                  <a:pt x="127" y="484"/>
                                  <a:pt x="144" y="482"/>
                                </a:cubicBezTo>
                                <a:cubicBezTo>
                                  <a:pt x="160" y="480"/>
                                  <a:pt x="152" y="475"/>
                                  <a:pt x="152" y="469"/>
                                </a:cubicBezTo>
                                <a:cubicBezTo>
                                  <a:pt x="152" y="464"/>
                                  <a:pt x="150" y="461"/>
                                  <a:pt x="145" y="456"/>
                                </a:cubicBezTo>
                                <a:cubicBezTo>
                                  <a:pt x="140" y="451"/>
                                  <a:pt x="140" y="453"/>
                                  <a:pt x="134" y="451"/>
                                </a:cubicBezTo>
                                <a:cubicBezTo>
                                  <a:pt x="128" y="448"/>
                                  <a:pt x="128" y="446"/>
                                  <a:pt x="121" y="442"/>
                                </a:cubicBezTo>
                                <a:cubicBezTo>
                                  <a:pt x="114" y="439"/>
                                  <a:pt x="111" y="442"/>
                                  <a:pt x="104" y="442"/>
                                </a:cubicBezTo>
                                <a:cubicBezTo>
                                  <a:pt x="97" y="442"/>
                                  <a:pt x="97" y="443"/>
                                  <a:pt x="92" y="441"/>
                                </a:cubicBezTo>
                                <a:cubicBezTo>
                                  <a:pt x="87" y="440"/>
                                  <a:pt x="90" y="438"/>
                                  <a:pt x="86" y="434"/>
                                </a:cubicBezTo>
                                <a:cubicBezTo>
                                  <a:pt x="82" y="430"/>
                                  <a:pt x="80" y="433"/>
                                  <a:pt x="76" y="433"/>
                                </a:cubicBezTo>
                                <a:cubicBezTo>
                                  <a:pt x="72" y="434"/>
                                  <a:pt x="73" y="432"/>
                                  <a:pt x="75" y="428"/>
                                </a:cubicBezTo>
                                <a:cubicBezTo>
                                  <a:pt x="76" y="424"/>
                                  <a:pt x="81" y="426"/>
                                  <a:pt x="85" y="425"/>
                                </a:cubicBezTo>
                                <a:cubicBezTo>
                                  <a:pt x="89" y="424"/>
                                  <a:pt x="95" y="434"/>
                                  <a:pt x="100" y="432"/>
                                </a:cubicBezTo>
                                <a:cubicBezTo>
                                  <a:pt x="106" y="431"/>
                                  <a:pt x="112" y="430"/>
                                  <a:pt x="117" y="430"/>
                                </a:cubicBezTo>
                                <a:cubicBezTo>
                                  <a:pt x="122" y="430"/>
                                  <a:pt x="125" y="434"/>
                                  <a:pt x="129" y="435"/>
                                </a:cubicBezTo>
                                <a:cubicBezTo>
                                  <a:pt x="132" y="436"/>
                                  <a:pt x="138" y="435"/>
                                  <a:pt x="148" y="430"/>
                                </a:cubicBezTo>
                                <a:cubicBezTo>
                                  <a:pt x="157" y="425"/>
                                  <a:pt x="155" y="431"/>
                                  <a:pt x="160" y="430"/>
                                </a:cubicBezTo>
                                <a:cubicBezTo>
                                  <a:pt x="165" y="429"/>
                                  <a:pt x="164" y="427"/>
                                  <a:pt x="161" y="423"/>
                                </a:cubicBezTo>
                                <a:cubicBezTo>
                                  <a:pt x="158" y="419"/>
                                  <a:pt x="156" y="421"/>
                                  <a:pt x="151" y="417"/>
                                </a:cubicBezTo>
                                <a:cubicBezTo>
                                  <a:pt x="146" y="414"/>
                                  <a:pt x="150" y="411"/>
                                  <a:pt x="150" y="408"/>
                                </a:cubicBezTo>
                                <a:cubicBezTo>
                                  <a:pt x="150" y="405"/>
                                  <a:pt x="155" y="406"/>
                                  <a:pt x="159" y="410"/>
                                </a:cubicBezTo>
                                <a:cubicBezTo>
                                  <a:pt x="162" y="413"/>
                                  <a:pt x="164" y="413"/>
                                  <a:pt x="168" y="414"/>
                                </a:cubicBezTo>
                                <a:cubicBezTo>
                                  <a:pt x="172" y="415"/>
                                  <a:pt x="177" y="415"/>
                                  <a:pt x="182" y="414"/>
                                </a:cubicBezTo>
                                <a:cubicBezTo>
                                  <a:pt x="187" y="414"/>
                                  <a:pt x="185" y="412"/>
                                  <a:pt x="181" y="407"/>
                                </a:cubicBezTo>
                                <a:cubicBezTo>
                                  <a:pt x="178" y="403"/>
                                  <a:pt x="180" y="404"/>
                                  <a:pt x="178" y="397"/>
                                </a:cubicBezTo>
                                <a:cubicBezTo>
                                  <a:pt x="176" y="391"/>
                                  <a:pt x="174" y="394"/>
                                  <a:pt x="170" y="389"/>
                                </a:cubicBezTo>
                                <a:cubicBezTo>
                                  <a:pt x="166" y="384"/>
                                  <a:pt x="168" y="382"/>
                                  <a:pt x="173" y="382"/>
                                </a:cubicBezTo>
                                <a:cubicBezTo>
                                  <a:pt x="179" y="381"/>
                                  <a:pt x="176" y="383"/>
                                  <a:pt x="182" y="387"/>
                                </a:cubicBezTo>
                                <a:cubicBezTo>
                                  <a:pt x="188" y="391"/>
                                  <a:pt x="185" y="392"/>
                                  <a:pt x="189" y="395"/>
                                </a:cubicBezTo>
                                <a:cubicBezTo>
                                  <a:pt x="194" y="398"/>
                                  <a:pt x="199" y="398"/>
                                  <a:pt x="203" y="396"/>
                                </a:cubicBezTo>
                                <a:cubicBezTo>
                                  <a:pt x="206" y="394"/>
                                  <a:pt x="206" y="394"/>
                                  <a:pt x="212" y="393"/>
                                </a:cubicBezTo>
                                <a:cubicBezTo>
                                  <a:pt x="218" y="393"/>
                                  <a:pt x="216" y="393"/>
                                  <a:pt x="217" y="390"/>
                                </a:cubicBezTo>
                                <a:cubicBezTo>
                                  <a:pt x="218" y="387"/>
                                  <a:pt x="218" y="385"/>
                                  <a:pt x="221" y="384"/>
                                </a:cubicBezTo>
                                <a:cubicBezTo>
                                  <a:pt x="224" y="384"/>
                                  <a:pt x="224" y="388"/>
                                  <a:pt x="228" y="390"/>
                                </a:cubicBezTo>
                                <a:cubicBezTo>
                                  <a:pt x="233" y="391"/>
                                  <a:pt x="229" y="387"/>
                                  <a:pt x="237" y="387"/>
                                </a:cubicBezTo>
                                <a:cubicBezTo>
                                  <a:pt x="245" y="388"/>
                                  <a:pt x="243" y="390"/>
                                  <a:pt x="245" y="395"/>
                                </a:cubicBezTo>
                                <a:cubicBezTo>
                                  <a:pt x="247" y="399"/>
                                  <a:pt x="249" y="403"/>
                                  <a:pt x="259" y="404"/>
                                </a:cubicBezTo>
                                <a:cubicBezTo>
                                  <a:pt x="270" y="405"/>
                                  <a:pt x="271" y="405"/>
                                  <a:pt x="286" y="409"/>
                                </a:cubicBezTo>
                                <a:cubicBezTo>
                                  <a:pt x="301" y="413"/>
                                  <a:pt x="302" y="412"/>
                                  <a:pt x="311" y="418"/>
                                </a:cubicBezTo>
                                <a:cubicBezTo>
                                  <a:pt x="321" y="423"/>
                                  <a:pt x="322" y="426"/>
                                  <a:pt x="328" y="433"/>
                                </a:cubicBezTo>
                                <a:cubicBezTo>
                                  <a:pt x="334" y="440"/>
                                  <a:pt x="337" y="444"/>
                                  <a:pt x="341" y="451"/>
                                </a:cubicBezTo>
                                <a:cubicBezTo>
                                  <a:pt x="345" y="459"/>
                                  <a:pt x="344" y="462"/>
                                  <a:pt x="346" y="471"/>
                                </a:cubicBezTo>
                                <a:cubicBezTo>
                                  <a:pt x="349" y="479"/>
                                  <a:pt x="356" y="479"/>
                                  <a:pt x="362" y="480"/>
                                </a:cubicBezTo>
                                <a:cubicBezTo>
                                  <a:pt x="369" y="482"/>
                                  <a:pt x="368" y="480"/>
                                  <a:pt x="373" y="480"/>
                                </a:cubicBezTo>
                                <a:cubicBezTo>
                                  <a:pt x="378" y="480"/>
                                  <a:pt x="377" y="486"/>
                                  <a:pt x="380" y="491"/>
                                </a:cubicBezTo>
                                <a:cubicBezTo>
                                  <a:pt x="382" y="496"/>
                                  <a:pt x="380" y="496"/>
                                  <a:pt x="383" y="505"/>
                                </a:cubicBezTo>
                                <a:cubicBezTo>
                                  <a:pt x="385" y="513"/>
                                  <a:pt x="386" y="508"/>
                                  <a:pt x="393" y="511"/>
                                </a:cubicBezTo>
                                <a:cubicBezTo>
                                  <a:pt x="400" y="513"/>
                                  <a:pt x="406" y="522"/>
                                  <a:pt x="412" y="530"/>
                                </a:cubicBezTo>
                                <a:cubicBezTo>
                                  <a:pt x="419" y="538"/>
                                  <a:pt x="418" y="541"/>
                                  <a:pt x="421" y="544"/>
                                </a:cubicBezTo>
                                <a:cubicBezTo>
                                  <a:pt x="423" y="546"/>
                                  <a:pt x="427" y="548"/>
                                  <a:pt x="433" y="548"/>
                                </a:cubicBezTo>
                                <a:cubicBezTo>
                                  <a:pt x="439" y="548"/>
                                  <a:pt x="448" y="548"/>
                                  <a:pt x="454" y="548"/>
                                </a:cubicBezTo>
                                <a:cubicBezTo>
                                  <a:pt x="460" y="549"/>
                                  <a:pt x="469" y="551"/>
                                  <a:pt x="474" y="551"/>
                                </a:cubicBezTo>
                                <a:cubicBezTo>
                                  <a:pt x="479" y="551"/>
                                  <a:pt x="488" y="552"/>
                                  <a:pt x="493" y="552"/>
                                </a:cubicBezTo>
                                <a:cubicBezTo>
                                  <a:pt x="499" y="553"/>
                                  <a:pt x="503" y="556"/>
                                  <a:pt x="510" y="557"/>
                                </a:cubicBezTo>
                                <a:cubicBezTo>
                                  <a:pt x="517" y="557"/>
                                  <a:pt x="523" y="558"/>
                                  <a:pt x="530" y="558"/>
                                </a:cubicBezTo>
                                <a:cubicBezTo>
                                  <a:pt x="537" y="558"/>
                                  <a:pt x="537" y="559"/>
                                  <a:pt x="543" y="563"/>
                                </a:cubicBezTo>
                                <a:cubicBezTo>
                                  <a:pt x="549" y="567"/>
                                  <a:pt x="557" y="565"/>
                                  <a:pt x="563" y="567"/>
                                </a:cubicBezTo>
                                <a:cubicBezTo>
                                  <a:pt x="568" y="569"/>
                                  <a:pt x="569" y="572"/>
                                  <a:pt x="570" y="577"/>
                                </a:cubicBezTo>
                                <a:cubicBezTo>
                                  <a:pt x="571" y="582"/>
                                  <a:pt x="578" y="585"/>
                                  <a:pt x="581" y="582"/>
                                </a:cubicBezTo>
                                <a:cubicBezTo>
                                  <a:pt x="585" y="579"/>
                                  <a:pt x="588" y="581"/>
                                  <a:pt x="593" y="580"/>
                                </a:cubicBezTo>
                                <a:cubicBezTo>
                                  <a:pt x="598" y="579"/>
                                  <a:pt x="598" y="576"/>
                                  <a:pt x="596" y="572"/>
                                </a:cubicBezTo>
                                <a:cubicBezTo>
                                  <a:pt x="593" y="568"/>
                                  <a:pt x="592" y="571"/>
                                  <a:pt x="585" y="566"/>
                                </a:cubicBezTo>
                                <a:cubicBezTo>
                                  <a:pt x="579" y="561"/>
                                  <a:pt x="579" y="561"/>
                                  <a:pt x="578" y="558"/>
                                </a:cubicBezTo>
                                <a:cubicBezTo>
                                  <a:pt x="577" y="555"/>
                                  <a:pt x="577" y="552"/>
                                  <a:pt x="575" y="548"/>
                                </a:cubicBezTo>
                                <a:cubicBezTo>
                                  <a:pt x="572" y="544"/>
                                  <a:pt x="572" y="545"/>
                                  <a:pt x="563" y="541"/>
                                </a:cubicBezTo>
                                <a:cubicBezTo>
                                  <a:pt x="553" y="538"/>
                                  <a:pt x="554" y="538"/>
                                  <a:pt x="550" y="534"/>
                                </a:cubicBezTo>
                                <a:cubicBezTo>
                                  <a:pt x="545" y="529"/>
                                  <a:pt x="546" y="529"/>
                                  <a:pt x="548" y="525"/>
                                </a:cubicBezTo>
                                <a:cubicBezTo>
                                  <a:pt x="550" y="520"/>
                                  <a:pt x="559" y="522"/>
                                  <a:pt x="563" y="522"/>
                                </a:cubicBezTo>
                                <a:cubicBezTo>
                                  <a:pt x="567" y="521"/>
                                  <a:pt x="562" y="517"/>
                                  <a:pt x="555" y="514"/>
                                </a:cubicBezTo>
                                <a:cubicBezTo>
                                  <a:pt x="548" y="511"/>
                                  <a:pt x="545" y="514"/>
                                  <a:pt x="536" y="515"/>
                                </a:cubicBezTo>
                                <a:cubicBezTo>
                                  <a:pt x="526" y="516"/>
                                  <a:pt x="528" y="516"/>
                                  <a:pt x="519" y="509"/>
                                </a:cubicBezTo>
                                <a:cubicBezTo>
                                  <a:pt x="510" y="502"/>
                                  <a:pt x="513" y="508"/>
                                  <a:pt x="510" y="501"/>
                                </a:cubicBezTo>
                                <a:cubicBezTo>
                                  <a:pt x="506" y="493"/>
                                  <a:pt x="511" y="493"/>
                                  <a:pt x="514" y="489"/>
                                </a:cubicBezTo>
                                <a:cubicBezTo>
                                  <a:pt x="517" y="484"/>
                                  <a:pt x="518" y="483"/>
                                  <a:pt x="512" y="479"/>
                                </a:cubicBezTo>
                                <a:cubicBezTo>
                                  <a:pt x="506" y="475"/>
                                  <a:pt x="502" y="481"/>
                                  <a:pt x="493" y="481"/>
                                </a:cubicBezTo>
                                <a:cubicBezTo>
                                  <a:pt x="484" y="482"/>
                                  <a:pt x="484" y="482"/>
                                  <a:pt x="476" y="481"/>
                                </a:cubicBezTo>
                                <a:cubicBezTo>
                                  <a:pt x="468" y="480"/>
                                  <a:pt x="468" y="479"/>
                                  <a:pt x="465" y="471"/>
                                </a:cubicBezTo>
                                <a:cubicBezTo>
                                  <a:pt x="462" y="463"/>
                                  <a:pt x="459" y="456"/>
                                  <a:pt x="456" y="449"/>
                                </a:cubicBezTo>
                                <a:cubicBezTo>
                                  <a:pt x="453" y="442"/>
                                  <a:pt x="445" y="431"/>
                                  <a:pt x="439" y="418"/>
                                </a:cubicBezTo>
                                <a:cubicBezTo>
                                  <a:pt x="433" y="406"/>
                                  <a:pt x="432" y="411"/>
                                  <a:pt x="421" y="400"/>
                                </a:cubicBezTo>
                                <a:cubicBezTo>
                                  <a:pt x="411" y="390"/>
                                  <a:pt x="411" y="395"/>
                                  <a:pt x="397" y="389"/>
                                </a:cubicBezTo>
                                <a:cubicBezTo>
                                  <a:pt x="384" y="384"/>
                                  <a:pt x="390" y="385"/>
                                  <a:pt x="386" y="380"/>
                                </a:cubicBezTo>
                                <a:cubicBezTo>
                                  <a:pt x="381" y="375"/>
                                  <a:pt x="384" y="370"/>
                                  <a:pt x="377" y="356"/>
                                </a:cubicBezTo>
                                <a:cubicBezTo>
                                  <a:pt x="369" y="342"/>
                                  <a:pt x="373" y="345"/>
                                  <a:pt x="375" y="339"/>
                                </a:cubicBezTo>
                                <a:cubicBezTo>
                                  <a:pt x="376" y="332"/>
                                  <a:pt x="387" y="336"/>
                                  <a:pt x="398" y="337"/>
                                </a:cubicBezTo>
                                <a:cubicBezTo>
                                  <a:pt x="409" y="337"/>
                                  <a:pt x="412" y="336"/>
                                  <a:pt x="418" y="335"/>
                                </a:cubicBezTo>
                                <a:cubicBezTo>
                                  <a:pt x="423" y="334"/>
                                  <a:pt x="426" y="331"/>
                                  <a:pt x="427" y="323"/>
                                </a:cubicBezTo>
                                <a:cubicBezTo>
                                  <a:pt x="427" y="315"/>
                                  <a:pt x="424" y="313"/>
                                  <a:pt x="421" y="306"/>
                                </a:cubicBezTo>
                                <a:cubicBezTo>
                                  <a:pt x="418" y="300"/>
                                  <a:pt x="416" y="299"/>
                                  <a:pt x="402" y="291"/>
                                </a:cubicBezTo>
                                <a:cubicBezTo>
                                  <a:pt x="388" y="283"/>
                                  <a:pt x="395" y="289"/>
                                  <a:pt x="386" y="284"/>
                                </a:cubicBezTo>
                                <a:close/>
                                <a:moveTo>
                                  <a:pt x="788" y="636"/>
                                </a:moveTo>
                                <a:cubicBezTo>
                                  <a:pt x="786" y="635"/>
                                  <a:pt x="780" y="633"/>
                                  <a:pt x="775" y="629"/>
                                </a:cubicBezTo>
                                <a:cubicBezTo>
                                  <a:pt x="770" y="625"/>
                                  <a:pt x="772" y="626"/>
                                  <a:pt x="767" y="624"/>
                                </a:cubicBezTo>
                                <a:cubicBezTo>
                                  <a:pt x="760" y="625"/>
                                  <a:pt x="766" y="632"/>
                                  <a:pt x="771" y="634"/>
                                </a:cubicBezTo>
                                <a:cubicBezTo>
                                  <a:pt x="775" y="636"/>
                                  <a:pt x="779" y="637"/>
                                  <a:pt x="781" y="641"/>
                                </a:cubicBezTo>
                                <a:cubicBezTo>
                                  <a:pt x="784" y="646"/>
                                  <a:pt x="791" y="643"/>
                                  <a:pt x="792" y="641"/>
                                </a:cubicBezTo>
                                <a:cubicBezTo>
                                  <a:pt x="793" y="639"/>
                                  <a:pt x="790" y="637"/>
                                  <a:pt x="788" y="636"/>
                                </a:cubicBezTo>
                                <a:close/>
                                <a:moveTo>
                                  <a:pt x="815" y="623"/>
                                </a:moveTo>
                                <a:cubicBezTo>
                                  <a:pt x="815" y="627"/>
                                  <a:pt x="816" y="627"/>
                                  <a:pt x="817" y="629"/>
                                </a:cubicBezTo>
                                <a:cubicBezTo>
                                  <a:pt x="819" y="632"/>
                                  <a:pt x="821" y="632"/>
                                  <a:pt x="825" y="631"/>
                                </a:cubicBezTo>
                                <a:cubicBezTo>
                                  <a:pt x="828" y="629"/>
                                  <a:pt x="828" y="628"/>
                                  <a:pt x="826" y="625"/>
                                </a:cubicBezTo>
                                <a:cubicBezTo>
                                  <a:pt x="824" y="622"/>
                                  <a:pt x="814" y="620"/>
                                  <a:pt x="815" y="623"/>
                                </a:cubicBezTo>
                                <a:close/>
                                <a:moveTo>
                                  <a:pt x="596" y="552"/>
                                </a:moveTo>
                                <a:cubicBezTo>
                                  <a:pt x="591" y="553"/>
                                  <a:pt x="596" y="561"/>
                                  <a:pt x="600" y="562"/>
                                </a:cubicBezTo>
                                <a:cubicBezTo>
                                  <a:pt x="603" y="562"/>
                                  <a:pt x="607" y="560"/>
                                  <a:pt x="611" y="559"/>
                                </a:cubicBezTo>
                                <a:cubicBezTo>
                                  <a:pt x="615" y="558"/>
                                  <a:pt x="613" y="553"/>
                                  <a:pt x="609" y="553"/>
                                </a:cubicBezTo>
                                <a:cubicBezTo>
                                  <a:pt x="606" y="554"/>
                                  <a:pt x="603" y="554"/>
                                  <a:pt x="596" y="552"/>
                                </a:cubicBezTo>
                                <a:close/>
                                <a:moveTo>
                                  <a:pt x="638" y="551"/>
                                </a:moveTo>
                                <a:cubicBezTo>
                                  <a:pt x="641" y="550"/>
                                  <a:pt x="642" y="543"/>
                                  <a:pt x="636" y="543"/>
                                </a:cubicBezTo>
                                <a:cubicBezTo>
                                  <a:pt x="632" y="544"/>
                                  <a:pt x="631" y="546"/>
                                  <a:pt x="632" y="548"/>
                                </a:cubicBezTo>
                                <a:cubicBezTo>
                                  <a:pt x="634" y="550"/>
                                  <a:pt x="636" y="552"/>
                                  <a:pt x="638" y="551"/>
                                </a:cubicBezTo>
                                <a:close/>
                                <a:moveTo>
                                  <a:pt x="569" y="492"/>
                                </a:moveTo>
                                <a:cubicBezTo>
                                  <a:pt x="567" y="497"/>
                                  <a:pt x="569" y="501"/>
                                  <a:pt x="573" y="505"/>
                                </a:cubicBezTo>
                                <a:cubicBezTo>
                                  <a:pt x="576" y="509"/>
                                  <a:pt x="576" y="516"/>
                                  <a:pt x="577" y="512"/>
                                </a:cubicBezTo>
                                <a:cubicBezTo>
                                  <a:pt x="580" y="507"/>
                                  <a:pt x="583" y="498"/>
                                  <a:pt x="581" y="496"/>
                                </a:cubicBezTo>
                                <a:cubicBezTo>
                                  <a:pt x="580" y="493"/>
                                  <a:pt x="575" y="488"/>
                                  <a:pt x="569" y="492"/>
                                </a:cubicBezTo>
                                <a:close/>
                                <a:moveTo>
                                  <a:pt x="620" y="537"/>
                                </a:moveTo>
                                <a:cubicBezTo>
                                  <a:pt x="619" y="540"/>
                                  <a:pt x="617" y="544"/>
                                  <a:pt x="620" y="545"/>
                                </a:cubicBezTo>
                                <a:cubicBezTo>
                                  <a:pt x="623" y="546"/>
                                  <a:pt x="625" y="546"/>
                                  <a:pt x="626" y="542"/>
                                </a:cubicBezTo>
                                <a:cubicBezTo>
                                  <a:pt x="628" y="539"/>
                                  <a:pt x="622" y="534"/>
                                  <a:pt x="620" y="537"/>
                                </a:cubicBezTo>
                                <a:close/>
                                <a:moveTo>
                                  <a:pt x="611" y="514"/>
                                </a:moveTo>
                                <a:cubicBezTo>
                                  <a:pt x="610" y="512"/>
                                  <a:pt x="610" y="509"/>
                                  <a:pt x="609" y="507"/>
                                </a:cubicBezTo>
                                <a:cubicBezTo>
                                  <a:pt x="608" y="505"/>
                                  <a:pt x="604" y="501"/>
                                  <a:pt x="599" y="502"/>
                                </a:cubicBezTo>
                                <a:cubicBezTo>
                                  <a:pt x="595" y="503"/>
                                  <a:pt x="592" y="504"/>
                                  <a:pt x="594" y="508"/>
                                </a:cubicBezTo>
                                <a:cubicBezTo>
                                  <a:pt x="596" y="513"/>
                                  <a:pt x="594" y="517"/>
                                  <a:pt x="599" y="519"/>
                                </a:cubicBezTo>
                                <a:cubicBezTo>
                                  <a:pt x="604" y="521"/>
                                  <a:pt x="609" y="523"/>
                                  <a:pt x="613" y="521"/>
                                </a:cubicBezTo>
                                <a:cubicBezTo>
                                  <a:pt x="615" y="518"/>
                                  <a:pt x="613" y="516"/>
                                  <a:pt x="611" y="514"/>
                                </a:cubicBezTo>
                                <a:close/>
                                <a:moveTo>
                                  <a:pt x="747" y="486"/>
                                </a:moveTo>
                                <a:cubicBezTo>
                                  <a:pt x="746" y="482"/>
                                  <a:pt x="739" y="481"/>
                                  <a:pt x="722" y="480"/>
                                </a:cubicBezTo>
                                <a:cubicBezTo>
                                  <a:pt x="715" y="481"/>
                                  <a:pt x="720" y="487"/>
                                  <a:pt x="723" y="488"/>
                                </a:cubicBezTo>
                                <a:cubicBezTo>
                                  <a:pt x="726" y="488"/>
                                  <a:pt x="739" y="493"/>
                                  <a:pt x="742" y="494"/>
                                </a:cubicBezTo>
                                <a:cubicBezTo>
                                  <a:pt x="745" y="496"/>
                                  <a:pt x="749" y="491"/>
                                  <a:pt x="747" y="486"/>
                                </a:cubicBezTo>
                                <a:close/>
                                <a:moveTo>
                                  <a:pt x="729" y="579"/>
                                </a:moveTo>
                                <a:cubicBezTo>
                                  <a:pt x="726" y="579"/>
                                  <a:pt x="720" y="578"/>
                                  <a:pt x="722" y="581"/>
                                </a:cubicBezTo>
                                <a:cubicBezTo>
                                  <a:pt x="723" y="584"/>
                                  <a:pt x="729" y="586"/>
                                  <a:pt x="733" y="587"/>
                                </a:cubicBezTo>
                                <a:cubicBezTo>
                                  <a:pt x="737" y="588"/>
                                  <a:pt x="737" y="586"/>
                                  <a:pt x="737" y="583"/>
                                </a:cubicBezTo>
                                <a:cubicBezTo>
                                  <a:pt x="737" y="580"/>
                                  <a:pt x="733" y="581"/>
                                  <a:pt x="729" y="579"/>
                                </a:cubicBezTo>
                                <a:close/>
                                <a:moveTo>
                                  <a:pt x="636" y="460"/>
                                </a:moveTo>
                                <a:cubicBezTo>
                                  <a:pt x="636" y="456"/>
                                  <a:pt x="636" y="450"/>
                                  <a:pt x="635" y="447"/>
                                </a:cubicBezTo>
                                <a:cubicBezTo>
                                  <a:pt x="633" y="444"/>
                                  <a:pt x="630" y="438"/>
                                  <a:pt x="624" y="445"/>
                                </a:cubicBezTo>
                                <a:cubicBezTo>
                                  <a:pt x="622" y="452"/>
                                  <a:pt x="624" y="453"/>
                                  <a:pt x="627" y="459"/>
                                </a:cubicBezTo>
                                <a:cubicBezTo>
                                  <a:pt x="630" y="465"/>
                                  <a:pt x="636" y="464"/>
                                  <a:pt x="636" y="460"/>
                                </a:cubicBezTo>
                                <a:close/>
                                <a:moveTo>
                                  <a:pt x="792" y="176"/>
                                </a:moveTo>
                                <a:cubicBezTo>
                                  <a:pt x="793" y="172"/>
                                  <a:pt x="788" y="162"/>
                                  <a:pt x="787" y="167"/>
                                </a:cubicBezTo>
                                <a:cubicBezTo>
                                  <a:pt x="786" y="170"/>
                                  <a:pt x="783" y="172"/>
                                  <a:pt x="785" y="174"/>
                                </a:cubicBezTo>
                                <a:cubicBezTo>
                                  <a:pt x="787" y="176"/>
                                  <a:pt x="790" y="179"/>
                                  <a:pt x="792" y="176"/>
                                </a:cubicBezTo>
                                <a:close/>
                                <a:moveTo>
                                  <a:pt x="682" y="86"/>
                                </a:moveTo>
                                <a:cubicBezTo>
                                  <a:pt x="680" y="89"/>
                                  <a:pt x="680" y="90"/>
                                  <a:pt x="682" y="93"/>
                                </a:cubicBezTo>
                                <a:cubicBezTo>
                                  <a:pt x="684" y="96"/>
                                  <a:pt x="687" y="97"/>
                                  <a:pt x="687" y="92"/>
                                </a:cubicBezTo>
                                <a:cubicBezTo>
                                  <a:pt x="688" y="88"/>
                                  <a:pt x="686" y="84"/>
                                  <a:pt x="682" y="86"/>
                                </a:cubicBezTo>
                                <a:close/>
                                <a:moveTo>
                                  <a:pt x="657" y="109"/>
                                </a:moveTo>
                                <a:cubicBezTo>
                                  <a:pt x="654" y="104"/>
                                  <a:pt x="657" y="106"/>
                                  <a:pt x="643" y="95"/>
                                </a:cubicBezTo>
                                <a:cubicBezTo>
                                  <a:pt x="630" y="85"/>
                                  <a:pt x="619" y="79"/>
                                  <a:pt x="618" y="84"/>
                                </a:cubicBezTo>
                                <a:cubicBezTo>
                                  <a:pt x="618" y="90"/>
                                  <a:pt x="614" y="90"/>
                                  <a:pt x="624" y="96"/>
                                </a:cubicBezTo>
                                <a:cubicBezTo>
                                  <a:pt x="634" y="102"/>
                                  <a:pt x="639" y="101"/>
                                  <a:pt x="645" y="107"/>
                                </a:cubicBezTo>
                                <a:cubicBezTo>
                                  <a:pt x="652" y="112"/>
                                  <a:pt x="647" y="112"/>
                                  <a:pt x="661" y="118"/>
                                </a:cubicBezTo>
                                <a:cubicBezTo>
                                  <a:pt x="676" y="125"/>
                                  <a:pt x="677" y="120"/>
                                  <a:pt x="684" y="129"/>
                                </a:cubicBezTo>
                                <a:cubicBezTo>
                                  <a:pt x="691" y="138"/>
                                  <a:pt x="697" y="137"/>
                                  <a:pt x="705" y="148"/>
                                </a:cubicBezTo>
                                <a:cubicBezTo>
                                  <a:pt x="714" y="159"/>
                                  <a:pt x="716" y="157"/>
                                  <a:pt x="721" y="167"/>
                                </a:cubicBezTo>
                                <a:cubicBezTo>
                                  <a:pt x="726" y="178"/>
                                  <a:pt x="727" y="178"/>
                                  <a:pt x="727" y="188"/>
                                </a:cubicBezTo>
                                <a:cubicBezTo>
                                  <a:pt x="727" y="198"/>
                                  <a:pt x="727" y="200"/>
                                  <a:pt x="733" y="207"/>
                                </a:cubicBezTo>
                                <a:cubicBezTo>
                                  <a:pt x="738" y="215"/>
                                  <a:pt x="740" y="221"/>
                                  <a:pt x="743" y="213"/>
                                </a:cubicBezTo>
                                <a:cubicBezTo>
                                  <a:pt x="746" y="205"/>
                                  <a:pt x="743" y="200"/>
                                  <a:pt x="748" y="193"/>
                                </a:cubicBezTo>
                                <a:cubicBezTo>
                                  <a:pt x="753" y="186"/>
                                  <a:pt x="754" y="182"/>
                                  <a:pt x="749" y="174"/>
                                </a:cubicBezTo>
                                <a:cubicBezTo>
                                  <a:pt x="744" y="166"/>
                                  <a:pt x="734" y="162"/>
                                  <a:pt x="728" y="156"/>
                                </a:cubicBezTo>
                                <a:cubicBezTo>
                                  <a:pt x="723" y="151"/>
                                  <a:pt x="714" y="147"/>
                                  <a:pt x="706" y="138"/>
                                </a:cubicBezTo>
                                <a:cubicBezTo>
                                  <a:pt x="699" y="129"/>
                                  <a:pt x="691" y="127"/>
                                  <a:pt x="684" y="121"/>
                                </a:cubicBezTo>
                                <a:cubicBezTo>
                                  <a:pt x="677" y="116"/>
                                  <a:pt x="661" y="113"/>
                                  <a:pt x="657" y="109"/>
                                </a:cubicBezTo>
                                <a:close/>
                                <a:moveTo>
                                  <a:pt x="720" y="116"/>
                                </a:moveTo>
                                <a:cubicBezTo>
                                  <a:pt x="724" y="120"/>
                                  <a:pt x="727" y="126"/>
                                  <a:pt x="727" y="119"/>
                                </a:cubicBezTo>
                                <a:cubicBezTo>
                                  <a:pt x="727" y="112"/>
                                  <a:pt x="726" y="104"/>
                                  <a:pt x="722" y="106"/>
                                </a:cubicBezTo>
                                <a:cubicBezTo>
                                  <a:pt x="718" y="110"/>
                                  <a:pt x="717" y="112"/>
                                  <a:pt x="720" y="116"/>
                                </a:cubicBezTo>
                                <a:close/>
                                <a:moveTo>
                                  <a:pt x="585" y="75"/>
                                </a:moveTo>
                                <a:cubicBezTo>
                                  <a:pt x="584" y="70"/>
                                  <a:pt x="577" y="63"/>
                                  <a:pt x="569" y="67"/>
                                </a:cubicBezTo>
                                <a:cubicBezTo>
                                  <a:pt x="565" y="70"/>
                                  <a:pt x="562" y="74"/>
                                  <a:pt x="565" y="76"/>
                                </a:cubicBezTo>
                                <a:cubicBezTo>
                                  <a:pt x="568" y="77"/>
                                  <a:pt x="573" y="78"/>
                                  <a:pt x="577" y="81"/>
                                </a:cubicBezTo>
                                <a:cubicBezTo>
                                  <a:pt x="581" y="83"/>
                                  <a:pt x="586" y="80"/>
                                  <a:pt x="585" y="75"/>
                                </a:cubicBezTo>
                                <a:close/>
                                <a:moveTo>
                                  <a:pt x="566" y="227"/>
                                </a:moveTo>
                                <a:cubicBezTo>
                                  <a:pt x="564" y="233"/>
                                  <a:pt x="563" y="239"/>
                                  <a:pt x="566" y="239"/>
                                </a:cubicBezTo>
                                <a:cubicBezTo>
                                  <a:pt x="570" y="240"/>
                                  <a:pt x="575" y="240"/>
                                  <a:pt x="575" y="234"/>
                                </a:cubicBezTo>
                                <a:cubicBezTo>
                                  <a:pt x="576" y="228"/>
                                  <a:pt x="570" y="223"/>
                                  <a:pt x="566" y="227"/>
                                </a:cubicBezTo>
                                <a:close/>
                                <a:moveTo>
                                  <a:pt x="526" y="207"/>
                                </a:moveTo>
                                <a:cubicBezTo>
                                  <a:pt x="525" y="211"/>
                                  <a:pt x="527" y="213"/>
                                  <a:pt x="530" y="216"/>
                                </a:cubicBezTo>
                                <a:cubicBezTo>
                                  <a:pt x="533" y="219"/>
                                  <a:pt x="539" y="215"/>
                                  <a:pt x="539" y="212"/>
                                </a:cubicBezTo>
                                <a:cubicBezTo>
                                  <a:pt x="539" y="208"/>
                                  <a:pt x="528" y="198"/>
                                  <a:pt x="526" y="207"/>
                                </a:cubicBezTo>
                                <a:close/>
                                <a:moveTo>
                                  <a:pt x="537" y="3"/>
                                </a:moveTo>
                                <a:cubicBezTo>
                                  <a:pt x="532" y="9"/>
                                  <a:pt x="539" y="12"/>
                                  <a:pt x="541" y="16"/>
                                </a:cubicBezTo>
                                <a:cubicBezTo>
                                  <a:pt x="544" y="20"/>
                                  <a:pt x="551" y="17"/>
                                  <a:pt x="550" y="12"/>
                                </a:cubicBezTo>
                                <a:cubicBezTo>
                                  <a:pt x="549" y="8"/>
                                  <a:pt x="539" y="0"/>
                                  <a:pt x="537" y="3"/>
                                </a:cubicBezTo>
                                <a:close/>
                                <a:moveTo>
                                  <a:pt x="432" y="66"/>
                                </a:moveTo>
                                <a:cubicBezTo>
                                  <a:pt x="437" y="63"/>
                                  <a:pt x="433" y="59"/>
                                  <a:pt x="429" y="60"/>
                                </a:cubicBezTo>
                                <a:cubicBezTo>
                                  <a:pt x="425" y="62"/>
                                  <a:pt x="422" y="65"/>
                                  <a:pt x="425" y="68"/>
                                </a:cubicBezTo>
                                <a:cubicBezTo>
                                  <a:pt x="427" y="70"/>
                                  <a:pt x="427" y="69"/>
                                  <a:pt x="432" y="66"/>
                                </a:cubicBezTo>
                                <a:close/>
                                <a:moveTo>
                                  <a:pt x="460" y="262"/>
                                </a:moveTo>
                                <a:cubicBezTo>
                                  <a:pt x="460" y="265"/>
                                  <a:pt x="461" y="271"/>
                                  <a:pt x="462" y="273"/>
                                </a:cubicBezTo>
                                <a:cubicBezTo>
                                  <a:pt x="464" y="275"/>
                                  <a:pt x="470" y="283"/>
                                  <a:pt x="474" y="284"/>
                                </a:cubicBezTo>
                                <a:cubicBezTo>
                                  <a:pt x="479" y="285"/>
                                  <a:pt x="485" y="285"/>
                                  <a:pt x="495" y="289"/>
                                </a:cubicBezTo>
                                <a:cubicBezTo>
                                  <a:pt x="504" y="293"/>
                                  <a:pt x="497" y="294"/>
                                  <a:pt x="499" y="298"/>
                                </a:cubicBezTo>
                                <a:cubicBezTo>
                                  <a:pt x="502" y="302"/>
                                  <a:pt x="509" y="301"/>
                                  <a:pt x="518" y="298"/>
                                </a:cubicBezTo>
                                <a:cubicBezTo>
                                  <a:pt x="527" y="296"/>
                                  <a:pt x="528" y="299"/>
                                  <a:pt x="531" y="303"/>
                                </a:cubicBezTo>
                                <a:cubicBezTo>
                                  <a:pt x="534" y="306"/>
                                  <a:pt x="543" y="310"/>
                                  <a:pt x="546" y="310"/>
                                </a:cubicBezTo>
                                <a:cubicBezTo>
                                  <a:pt x="550" y="310"/>
                                  <a:pt x="563" y="310"/>
                                  <a:pt x="568" y="306"/>
                                </a:cubicBezTo>
                                <a:cubicBezTo>
                                  <a:pt x="573" y="302"/>
                                  <a:pt x="581" y="301"/>
                                  <a:pt x="592" y="300"/>
                                </a:cubicBezTo>
                                <a:cubicBezTo>
                                  <a:pt x="603" y="299"/>
                                  <a:pt x="611" y="299"/>
                                  <a:pt x="620" y="296"/>
                                </a:cubicBezTo>
                                <a:cubicBezTo>
                                  <a:pt x="629" y="293"/>
                                  <a:pt x="631" y="293"/>
                                  <a:pt x="642" y="282"/>
                                </a:cubicBezTo>
                                <a:cubicBezTo>
                                  <a:pt x="653" y="272"/>
                                  <a:pt x="654" y="278"/>
                                  <a:pt x="659" y="266"/>
                                </a:cubicBezTo>
                                <a:cubicBezTo>
                                  <a:pt x="664" y="255"/>
                                  <a:pt x="675" y="260"/>
                                  <a:pt x="681" y="260"/>
                                </a:cubicBezTo>
                                <a:cubicBezTo>
                                  <a:pt x="687" y="260"/>
                                  <a:pt x="691" y="256"/>
                                  <a:pt x="694" y="252"/>
                                </a:cubicBezTo>
                                <a:cubicBezTo>
                                  <a:pt x="697" y="247"/>
                                  <a:pt x="694" y="245"/>
                                  <a:pt x="689" y="241"/>
                                </a:cubicBezTo>
                                <a:cubicBezTo>
                                  <a:pt x="685" y="236"/>
                                  <a:pt x="684" y="233"/>
                                  <a:pt x="685" y="226"/>
                                </a:cubicBezTo>
                                <a:cubicBezTo>
                                  <a:pt x="686" y="219"/>
                                  <a:pt x="690" y="225"/>
                                  <a:pt x="697" y="226"/>
                                </a:cubicBezTo>
                                <a:cubicBezTo>
                                  <a:pt x="704" y="227"/>
                                  <a:pt x="706" y="227"/>
                                  <a:pt x="706" y="222"/>
                                </a:cubicBezTo>
                                <a:cubicBezTo>
                                  <a:pt x="705" y="218"/>
                                  <a:pt x="704" y="206"/>
                                  <a:pt x="708" y="201"/>
                                </a:cubicBezTo>
                                <a:cubicBezTo>
                                  <a:pt x="712" y="195"/>
                                  <a:pt x="710" y="192"/>
                                  <a:pt x="706" y="188"/>
                                </a:cubicBezTo>
                                <a:cubicBezTo>
                                  <a:pt x="702" y="184"/>
                                  <a:pt x="697" y="186"/>
                                  <a:pt x="695" y="182"/>
                                </a:cubicBezTo>
                                <a:cubicBezTo>
                                  <a:pt x="693" y="177"/>
                                  <a:pt x="689" y="178"/>
                                  <a:pt x="682" y="182"/>
                                </a:cubicBezTo>
                                <a:cubicBezTo>
                                  <a:pt x="674" y="186"/>
                                  <a:pt x="671" y="184"/>
                                  <a:pt x="667" y="181"/>
                                </a:cubicBezTo>
                                <a:cubicBezTo>
                                  <a:pt x="663" y="179"/>
                                  <a:pt x="657" y="180"/>
                                  <a:pt x="657" y="187"/>
                                </a:cubicBezTo>
                                <a:cubicBezTo>
                                  <a:pt x="656" y="194"/>
                                  <a:pt x="660" y="204"/>
                                  <a:pt x="663" y="212"/>
                                </a:cubicBezTo>
                                <a:cubicBezTo>
                                  <a:pt x="666" y="219"/>
                                  <a:pt x="665" y="221"/>
                                  <a:pt x="660" y="226"/>
                                </a:cubicBezTo>
                                <a:cubicBezTo>
                                  <a:pt x="656" y="231"/>
                                  <a:pt x="651" y="227"/>
                                  <a:pt x="642" y="230"/>
                                </a:cubicBezTo>
                                <a:cubicBezTo>
                                  <a:pt x="633" y="234"/>
                                  <a:pt x="638" y="237"/>
                                  <a:pt x="632" y="245"/>
                                </a:cubicBezTo>
                                <a:cubicBezTo>
                                  <a:pt x="626" y="252"/>
                                  <a:pt x="623" y="249"/>
                                  <a:pt x="616" y="259"/>
                                </a:cubicBezTo>
                                <a:cubicBezTo>
                                  <a:pt x="612" y="264"/>
                                  <a:pt x="604" y="264"/>
                                  <a:pt x="600" y="264"/>
                                </a:cubicBezTo>
                                <a:cubicBezTo>
                                  <a:pt x="597" y="264"/>
                                  <a:pt x="594" y="260"/>
                                  <a:pt x="590" y="258"/>
                                </a:cubicBezTo>
                                <a:cubicBezTo>
                                  <a:pt x="585" y="257"/>
                                  <a:pt x="580" y="266"/>
                                  <a:pt x="575" y="264"/>
                                </a:cubicBezTo>
                                <a:cubicBezTo>
                                  <a:pt x="569" y="262"/>
                                  <a:pt x="573" y="260"/>
                                  <a:pt x="564" y="259"/>
                                </a:cubicBezTo>
                                <a:cubicBezTo>
                                  <a:pt x="556" y="258"/>
                                  <a:pt x="552" y="264"/>
                                  <a:pt x="547" y="264"/>
                                </a:cubicBezTo>
                                <a:cubicBezTo>
                                  <a:pt x="542" y="264"/>
                                  <a:pt x="539" y="261"/>
                                  <a:pt x="534" y="261"/>
                                </a:cubicBezTo>
                                <a:cubicBezTo>
                                  <a:pt x="530" y="262"/>
                                  <a:pt x="526" y="267"/>
                                  <a:pt x="516" y="267"/>
                                </a:cubicBezTo>
                                <a:cubicBezTo>
                                  <a:pt x="506" y="266"/>
                                  <a:pt x="506" y="263"/>
                                  <a:pt x="501" y="261"/>
                                </a:cubicBezTo>
                                <a:cubicBezTo>
                                  <a:pt x="497" y="260"/>
                                  <a:pt x="497" y="263"/>
                                  <a:pt x="485" y="266"/>
                                </a:cubicBezTo>
                                <a:cubicBezTo>
                                  <a:pt x="474" y="270"/>
                                  <a:pt x="476" y="265"/>
                                  <a:pt x="473" y="259"/>
                                </a:cubicBezTo>
                                <a:cubicBezTo>
                                  <a:pt x="469" y="252"/>
                                  <a:pt x="460" y="258"/>
                                  <a:pt x="460" y="262"/>
                                </a:cubicBezTo>
                                <a:close/>
                                <a:moveTo>
                                  <a:pt x="421" y="258"/>
                                </a:moveTo>
                                <a:cubicBezTo>
                                  <a:pt x="420" y="264"/>
                                  <a:pt x="423" y="265"/>
                                  <a:pt x="426" y="267"/>
                                </a:cubicBezTo>
                                <a:cubicBezTo>
                                  <a:pt x="430" y="270"/>
                                  <a:pt x="427" y="274"/>
                                  <a:pt x="432" y="278"/>
                                </a:cubicBezTo>
                                <a:cubicBezTo>
                                  <a:pt x="436" y="282"/>
                                  <a:pt x="439" y="279"/>
                                  <a:pt x="440" y="270"/>
                                </a:cubicBezTo>
                                <a:cubicBezTo>
                                  <a:pt x="440" y="261"/>
                                  <a:pt x="426" y="251"/>
                                  <a:pt x="421" y="258"/>
                                </a:cubicBezTo>
                                <a:close/>
                                <a:moveTo>
                                  <a:pt x="349" y="58"/>
                                </a:moveTo>
                                <a:cubicBezTo>
                                  <a:pt x="357" y="62"/>
                                  <a:pt x="395" y="59"/>
                                  <a:pt x="398" y="54"/>
                                </a:cubicBezTo>
                                <a:cubicBezTo>
                                  <a:pt x="402" y="48"/>
                                  <a:pt x="406" y="43"/>
                                  <a:pt x="402" y="43"/>
                                </a:cubicBezTo>
                                <a:cubicBezTo>
                                  <a:pt x="397" y="43"/>
                                  <a:pt x="393" y="45"/>
                                  <a:pt x="383" y="44"/>
                                </a:cubicBezTo>
                                <a:cubicBezTo>
                                  <a:pt x="373" y="44"/>
                                  <a:pt x="373" y="42"/>
                                  <a:pt x="361" y="42"/>
                                </a:cubicBezTo>
                                <a:cubicBezTo>
                                  <a:pt x="352" y="43"/>
                                  <a:pt x="340" y="53"/>
                                  <a:pt x="349" y="58"/>
                                </a:cubicBezTo>
                                <a:close/>
                                <a:moveTo>
                                  <a:pt x="384" y="260"/>
                                </a:moveTo>
                                <a:cubicBezTo>
                                  <a:pt x="388" y="260"/>
                                  <a:pt x="388" y="255"/>
                                  <a:pt x="389" y="250"/>
                                </a:cubicBezTo>
                                <a:cubicBezTo>
                                  <a:pt x="390" y="244"/>
                                  <a:pt x="381" y="239"/>
                                  <a:pt x="381" y="248"/>
                                </a:cubicBezTo>
                                <a:cubicBezTo>
                                  <a:pt x="378" y="257"/>
                                  <a:pt x="380" y="261"/>
                                  <a:pt x="384" y="260"/>
                                </a:cubicBezTo>
                                <a:close/>
                                <a:moveTo>
                                  <a:pt x="320" y="208"/>
                                </a:moveTo>
                                <a:cubicBezTo>
                                  <a:pt x="322" y="203"/>
                                  <a:pt x="318" y="188"/>
                                  <a:pt x="311" y="196"/>
                                </a:cubicBezTo>
                                <a:cubicBezTo>
                                  <a:pt x="311" y="202"/>
                                  <a:pt x="305" y="207"/>
                                  <a:pt x="309" y="209"/>
                                </a:cubicBezTo>
                                <a:cubicBezTo>
                                  <a:pt x="313" y="212"/>
                                  <a:pt x="317" y="212"/>
                                  <a:pt x="320" y="208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36" name="Freeform 271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5671060" y="3596376"/>
                            <a:ext cx="1082278" cy="689372"/>
                          </a:xfrm>
                          <a:custGeom>
                            <a:avLst/>
                            <a:gdLst>
                              <a:gd name="T0" fmla="*/ 722 w 3774"/>
                              <a:gd name="T1" fmla="*/ 526 h 2402"/>
                              <a:gd name="T2" fmla="*/ 538 w 3774"/>
                              <a:gd name="T3" fmla="*/ 669 h 2402"/>
                              <a:gd name="T4" fmla="*/ 416 w 3774"/>
                              <a:gd name="T5" fmla="*/ 727 h 2402"/>
                              <a:gd name="T6" fmla="*/ 389 w 3774"/>
                              <a:gd name="T7" fmla="*/ 915 h 2402"/>
                              <a:gd name="T8" fmla="*/ 109 w 3774"/>
                              <a:gd name="T9" fmla="*/ 1015 h 2402"/>
                              <a:gd name="T10" fmla="*/ 7 w 3774"/>
                              <a:gd name="T11" fmla="*/ 1094 h 2402"/>
                              <a:gd name="T12" fmla="*/ 85 w 3774"/>
                              <a:gd name="T13" fmla="*/ 1250 h 2402"/>
                              <a:gd name="T14" fmla="*/ 177 w 3774"/>
                              <a:gd name="T15" fmla="*/ 1348 h 2402"/>
                              <a:gd name="T16" fmla="*/ 413 w 3774"/>
                              <a:gd name="T17" fmla="*/ 1375 h 2402"/>
                              <a:gd name="T18" fmla="*/ 327 w 3774"/>
                              <a:gd name="T19" fmla="*/ 1518 h 2402"/>
                              <a:gd name="T20" fmla="*/ 315 w 3774"/>
                              <a:gd name="T21" fmla="*/ 1638 h 2402"/>
                              <a:gd name="T22" fmla="*/ 462 w 3774"/>
                              <a:gd name="T23" fmla="*/ 1742 h 2402"/>
                              <a:gd name="T24" fmla="*/ 617 w 3774"/>
                              <a:gd name="T25" fmla="*/ 1804 h 2402"/>
                              <a:gd name="T26" fmla="*/ 761 w 3774"/>
                              <a:gd name="T27" fmla="*/ 1886 h 2402"/>
                              <a:gd name="T28" fmla="*/ 940 w 3774"/>
                              <a:gd name="T29" fmla="*/ 1921 h 2402"/>
                              <a:gd name="T30" fmla="*/ 1114 w 3774"/>
                              <a:gd name="T31" fmla="*/ 1889 h 2402"/>
                              <a:gd name="T32" fmla="*/ 1333 w 3774"/>
                              <a:gd name="T33" fmla="*/ 1810 h 2402"/>
                              <a:gd name="T34" fmla="*/ 1407 w 3774"/>
                              <a:gd name="T35" fmla="*/ 1857 h 2402"/>
                              <a:gd name="T36" fmla="*/ 1551 w 3774"/>
                              <a:gd name="T37" fmla="*/ 1937 h 2402"/>
                              <a:gd name="T38" fmla="*/ 1497 w 3774"/>
                              <a:gd name="T39" fmla="*/ 2076 h 2402"/>
                              <a:gd name="T40" fmla="*/ 1536 w 3774"/>
                              <a:gd name="T41" fmla="*/ 2145 h 2402"/>
                              <a:gd name="T42" fmla="*/ 1604 w 3774"/>
                              <a:gd name="T43" fmla="*/ 2273 h 2402"/>
                              <a:gd name="T44" fmla="*/ 1733 w 3774"/>
                              <a:gd name="T45" fmla="*/ 2327 h 2402"/>
                              <a:gd name="T46" fmla="*/ 1834 w 3774"/>
                              <a:gd name="T47" fmla="*/ 2233 h 2402"/>
                              <a:gd name="T48" fmla="*/ 2010 w 3774"/>
                              <a:gd name="T49" fmla="*/ 2221 h 2402"/>
                              <a:gd name="T50" fmla="*/ 2147 w 3774"/>
                              <a:gd name="T51" fmla="*/ 2292 h 2402"/>
                              <a:gd name="T52" fmla="*/ 2244 w 3774"/>
                              <a:gd name="T53" fmla="*/ 2399 h 2402"/>
                              <a:gd name="T54" fmla="*/ 2369 w 3774"/>
                              <a:gd name="T55" fmla="*/ 2293 h 2402"/>
                              <a:gd name="T56" fmla="*/ 2484 w 3774"/>
                              <a:gd name="T57" fmla="*/ 2244 h 2402"/>
                              <a:gd name="T58" fmla="*/ 2614 w 3774"/>
                              <a:gd name="T59" fmla="*/ 2225 h 2402"/>
                              <a:gd name="T60" fmla="*/ 2740 w 3774"/>
                              <a:gd name="T61" fmla="*/ 2120 h 2402"/>
                              <a:gd name="T62" fmla="*/ 2829 w 3774"/>
                              <a:gd name="T63" fmla="*/ 2018 h 2402"/>
                              <a:gd name="T64" fmla="*/ 2907 w 3774"/>
                              <a:gd name="T65" fmla="*/ 1895 h 2402"/>
                              <a:gd name="T66" fmla="*/ 2953 w 3774"/>
                              <a:gd name="T67" fmla="*/ 1813 h 2402"/>
                              <a:gd name="T68" fmla="*/ 2887 w 3774"/>
                              <a:gd name="T69" fmla="*/ 1738 h 2402"/>
                              <a:gd name="T70" fmla="*/ 2855 w 3774"/>
                              <a:gd name="T71" fmla="*/ 1601 h 2402"/>
                              <a:gd name="T72" fmla="*/ 2849 w 3774"/>
                              <a:gd name="T73" fmla="*/ 1449 h 2402"/>
                              <a:gd name="T74" fmla="*/ 2913 w 3774"/>
                              <a:gd name="T75" fmla="*/ 1299 h 2402"/>
                              <a:gd name="T76" fmla="*/ 2876 w 3774"/>
                              <a:gd name="T77" fmla="*/ 1234 h 2402"/>
                              <a:gd name="T78" fmla="*/ 2782 w 3774"/>
                              <a:gd name="T79" fmla="*/ 1118 h 2402"/>
                              <a:gd name="T80" fmla="*/ 2953 w 3774"/>
                              <a:gd name="T81" fmla="*/ 1080 h 2402"/>
                              <a:gd name="T82" fmla="*/ 3141 w 3774"/>
                              <a:gd name="T83" fmla="*/ 1036 h 2402"/>
                              <a:gd name="T84" fmla="*/ 3372 w 3774"/>
                              <a:gd name="T85" fmla="*/ 932 h 2402"/>
                              <a:gd name="T86" fmla="*/ 3504 w 3774"/>
                              <a:gd name="T87" fmla="*/ 843 h 2402"/>
                              <a:gd name="T88" fmla="*/ 3584 w 3774"/>
                              <a:gd name="T89" fmla="*/ 664 h 2402"/>
                              <a:gd name="T90" fmla="*/ 3716 w 3774"/>
                              <a:gd name="T91" fmla="*/ 590 h 2402"/>
                              <a:gd name="T92" fmla="*/ 3758 w 3774"/>
                              <a:gd name="T93" fmla="*/ 422 h 2402"/>
                              <a:gd name="T94" fmla="*/ 3537 w 3774"/>
                              <a:gd name="T95" fmla="*/ 467 h 2402"/>
                              <a:gd name="T96" fmla="*/ 3411 w 3774"/>
                              <a:gd name="T97" fmla="*/ 334 h 2402"/>
                              <a:gd name="T98" fmla="*/ 3291 w 3774"/>
                              <a:gd name="T99" fmla="*/ 186 h 2402"/>
                              <a:gd name="T100" fmla="*/ 3161 w 3774"/>
                              <a:gd name="T101" fmla="*/ 29 h 2402"/>
                              <a:gd name="T102" fmla="*/ 2893 w 3774"/>
                              <a:gd name="T103" fmla="*/ 72 h 2402"/>
                              <a:gd name="T104" fmla="*/ 2802 w 3774"/>
                              <a:gd name="T105" fmla="*/ 294 h 2402"/>
                              <a:gd name="T106" fmla="*/ 2598 w 3774"/>
                              <a:gd name="T107" fmla="*/ 451 h 2402"/>
                              <a:gd name="T108" fmla="*/ 2708 w 3774"/>
                              <a:gd name="T109" fmla="*/ 577 h 2402"/>
                              <a:gd name="T110" fmla="*/ 2383 w 3774"/>
                              <a:gd name="T111" fmla="*/ 677 h 2402"/>
                              <a:gd name="T112" fmla="*/ 1948 w 3774"/>
                              <a:gd name="T113" fmla="*/ 935 h 2402"/>
                              <a:gd name="T114" fmla="*/ 1520 w 3774"/>
                              <a:gd name="T115" fmla="*/ 861 h 2402"/>
                              <a:gd name="T116" fmla="*/ 1255 w 3774"/>
                              <a:gd name="T117" fmla="*/ 700 h 2402"/>
                              <a:gd name="T118" fmla="*/ 1030 w 3774"/>
                              <a:gd name="T119" fmla="*/ 479 h 2402"/>
                              <a:gd name="T120" fmla="*/ 872 w 3774"/>
                              <a:gd name="T121" fmla="*/ 367 h 2402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  <a:cxn ang="0">
                                <a:pos x="T118" y="T119"/>
                              </a:cxn>
                              <a:cxn ang="0">
                                <a:pos x="T120" y="T121"/>
                              </a:cxn>
                            </a:cxnLst>
                            <a:rect l="0" t="0" r="r" b="b"/>
                            <a:pathLst>
                              <a:path w="3774" h="2402">
                                <a:moveTo>
                                  <a:pt x="872" y="364"/>
                                </a:moveTo>
                                <a:cubicBezTo>
                                  <a:pt x="872" y="363"/>
                                  <a:pt x="872" y="363"/>
                                  <a:pt x="872" y="362"/>
                                </a:cubicBezTo>
                                <a:cubicBezTo>
                                  <a:pt x="865" y="364"/>
                                  <a:pt x="857" y="364"/>
                                  <a:pt x="847" y="364"/>
                                </a:cubicBezTo>
                                <a:cubicBezTo>
                                  <a:pt x="843" y="364"/>
                                  <a:pt x="840" y="364"/>
                                  <a:pt x="836" y="364"/>
                                </a:cubicBezTo>
                                <a:cubicBezTo>
                                  <a:pt x="832" y="364"/>
                                  <a:pt x="832" y="364"/>
                                  <a:pt x="832" y="364"/>
                                </a:cubicBezTo>
                                <a:cubicBezTo>
                                  <a:pt x="821" y="364"/>
                                  <a:pt x="818" y="364"/>
                                  <a:pt x="818" y="366"/>
                                </a:cubicBezTo>
                                <a:cubicBezTo>
                                  <a:pt x="818" y="369"/>
                                  <a:pt x="816" y="374"/>
                                  <a:pt x="814" y="380"/>
                                </a:cubicBezTo>
                                <a:cubicBezTo>
                                  <a:pt x="812" y="387"/>
                                  <a:pt x="809" y="395"/>
                                  <a:pt x="807" y="397"/>
                                </a:cubicBezTo>
                                <a:cubicBezTo>
                                  <a:pt x="806" y="401"/>
                                  <a:pt x="802" y="403"/>
                                  <a:pt x="798" y="406"/>
                                </a:cubicBezTo>
                                <a:cubicBezTo>
                                  <a:pt x="793" y="408"/>
                                  <a:pt x="787" y="410"/>
                                  <a:pt x="780" y="412"/>
                                </a:cubicBezTo>
                                <a:cubicBezTo>
                                  <a:pt x="774" y="414"/>
                                  <a:pt x="769" y="414"/>
                                  <a:pt x="766" y="415"/>
                                </a:cubicBezTo>
                                <a:cubicBezTo>
                                  <a:pt x="761" y="415"/>
                                  <a:pt x="758" y="416"/>
                                  <a:pt x="755" y="418"/>
                                </a:cubicBezTo>
                                <a:cubicBezTo>
                                  <a:pt x="752" y="420"/>
                                  <a:pt x="749" y="425"/>
                                  <a:pt x="746" y="430"/>
                                </a:cubicBezTo>
                                <a:cubicBezTo>
                                  <a:pt x="742" y="437"/>
                                  <a:pt x="740" y="444"/>
                                  <a:pt x="739" y="448"/>
                                </a:cubicBezTo>
                                <a:cubicBezTo>
                                  <a:pt x="738" y="453"/>
                                  <a:pt x="742" y="470"/>
                                  <a:pt x="744" y="479"/>
                                </a:cubicBezTo>
                                <a:cubicBezTo>
                                  <a:pt x="745" y="482"/>
                                  <a:pt x="745" y="482"/>
                                  <a:pt x="745" y="483"/>
                                </a:cubicBezTo>
                                <a:cubicBezTo>
                                  <a:pt x="746" y="488"/>
                                  <a:pt x="747" y="493"/>
                                  <a:pt x="746" y="498"/>
                                </a:cubicBezTo>
                                <a:cubicBezTo>
                                  <a:pt x="745" y="502"/>
                                  <a:pt x="744" y="507"/>
                                  <a:pt x="741" y="511"/>
                                </a:cubicBezTo>
                                <a:cubicBezTo>
                                  <a:pt x="739" y="515"/>
                                  <a:pt x="731" y="521"/>
                                  <a:pt x="722" y="526"/>
                                </a:cubicBezTo>
                                <a:cubicBezTo>
                                  <a:pt x="712" y="532"/>
                                  <a:pt x="701" y="537"/>
                                  <a:pt x="697" y="537"/>
                                </a:cubicBezTo>
                                <a:cubicBezTo>
                                  <a:pt x="693" y="537"/>
                                  <a:pt x="691" y="536"/>
                                  <a:pt x="688" y="535"/>
                                </a:cubicBezTo>
                                <a:cubicBezTo>
                                  <a:pt x="686" y="534"/>
                                  <a:pt x="684" y="533"/>
                                  <a:pt x="680" y="532"/>
                                </a:cubicBezTo>
                                <a:cubicBezTo>
                                  <a:pt x="676" y="531"/>
                                  <a:pt x="664" y="531"/>
                                  <a:pt x="652" y="532"/>
                                </a:cubicBezTo>
                                <a:cubicBezTo>
                                  <a:pt x="641" y="532"/>
                                  <a:pt x="629" y="532"/>
                                  <a:pt x="622" y="532"/>
                                </a:cubicBezTo>
                                <a:cubicBezTo>
                                  <a:pt x="614" y="531"/>
                                  <a:pt x="607" y="526"/>
                                  <a:pt x="600" y="522"/>
                                </a:cubicBezTo>
                                <a:cubicBezTo>
                                  <a:pt x="595" y="520"/>
                                  <a:pt x="591" y="517"/>
                                  <a:pt x="587" y="516"/>
                                </a:cubicBezTo>
                                <a:cubicBezTo>
                                  <a:pt x="584" y="515"/>
                                  <a:pt x="582" y="516"/>
                                  <a:pt x="580" y="517"/>
                                </a:cubicBezTo>
                                <a:cubicBezTo>
                                  <a:pt x="578" y="519"/>
                                  <a:pt x="577" y="523"/>
                                  <a:pt x="576" y="527"/>
                                </a:cubicBezTo>
                                <a:cubicBezTo>
                                  <a:pt x="575" y="528"/>
                                  <a:pt x="573" y="534"/>
                                  <a:pt x="570" y="542"/>
                                </a:cubicBezTo>
                                <a:cubicBezTo>
                                  <a:pt x="559" y="572"/>
                                  <a:pt x="538" y="632"/>
                                  <a:pt x="539" y="637"/>
                                </a:cubicBezTo>
                                <a:cubicBezTo>
                                  <a:pt x="539" y="638"/>
                                  <a:pt x="541" y="639"/>
                                  <a:pt x="544" y="640"/>
                                </a:cubicBezTo>
                                <a:cubicBezTo>
                                  <a:pt x="544" y="640"/>
                                  <a:pt x="544" y="640"/>
                                  <a:pt x="544" y="640"/>
                                </a:cubicBezTo>
                                <a:cubicBezTo>
                                  <a:pt x="547" y="641"/>
                                  <a:pt x="551" y="642"/>
                                  <a:pt x="554" y="646"/>
                                </a:cubicBezTo>
                                <a:cubicBezTo>
                                  <a:pt x="556" y="648"/>
                                  <a:pt x="557" y="650"/>
                                  <a:pt x="558" y="652"/>
                                </a:cubicBezTo>
                                <a:cubicBezTo>
                                  <a:pt x="559" y="654"/>
                                  <a:pt x="559" y="657"/>
                                  <a:pt x="558" y="659"/>
                                </a:cubicBezTo>
                                <a:cubicBezTo>
                                  <a:pt x="558" y="662"/>
                                  <a:pt x="556" y="664"/>
                                  <a:pt x="555" y="665"/>
                                </a:cubicBezTo>
                                <a:cubicBezTo>
                                  <a:pt x="554" y="666"/>
                                  <a:pt x="553" y="667"/>
                                  <a:pt x="552" y="667"/>
                                </a:cubicBezTo>
                                <a:cubicBezTo>
                                  <a:pt x="550" y="668"/>
                                  <a:pt x="544" y="668"/>
                                  <a:pt x="538" y="669"/>
                                </a:cubicBezTo>
                                <a:cubicBezTo>
                                  <a:pt x="529" y="669"/>
                                  <a:pt x="519" y="670"/>
                                  <a:pt x="515" y="670"/>
                                </a:cubicBezTo>
                                <a:cubicBezTo>
                                  <a:pt x="511" y="670"/>
                                  <a:pt x="507" y="669"/>
                                  <a:pt x="505" y="667"/>
                                </a:cubicBezTo>
                                <a:cubicBezTo>
                                  <a:pt x="502" y="666"/>
                                  <a:pt x="500" y="665"/>
                                  <a:pt x="499" y="664"/>
                                </a:cubicBezTo>
                                <a:cubicBezTo>
                                  <a:pt x="498" y="663"/>
                                  <a:pt x="498" y="663"/>
                                  <a:pt x="497" y="662"/>
                                </a:cubicBezTo>
                                <a:cubicBezTo>
                                  <a:pt x="496" y="661"/>
                                  <a:pt x="495" y="659"/>
                                  <a:pt x="489" y="659"/>
                                </a:cubicBezTo>
                                <a:cubicBezTo>
                                  <a:pt x="482" y="660"/>
                                  <a:pt x="471" y="662"/>
                                  <a:pt x="461" y="664"/>
                                </a:cubicBezTo>
                                <a:cubicBezTo>
                                  <a:pt x="456" y="665"/>
                                  <a:pt x="451" y="666"/>
                                  <a:pt x="446" y="667"/>
                                </a:cubicBezTo>
                                <a:cubicBezTo>
                                  <a:pt x="438" y="669"/>
                                  <a:pt x="430" y="670"/>
                                  <a:pt x="422" y="672"/>
                                </a:cubicBezTo>
                                <a:cubicBezTo>
                                  <a:pt x="415" y="674"/>
                                  <a:pt x="407" y="676"/>
                                  <a:pt x="401" y="678"/>
                                </a:cubicBezTo>
                                <a:cubicBezTo>
                                  <a:pt x="396" y="679"/>
                                  <a:pt x="392" y="681"/>
                                  <a:pt x="390" y="683"/>
                                </a:cubicBezTo>
                                <a:cubicBezTo>
                                  <a:pt x="388" y="684"/>
                                  <a:pt x="388" y="686"/>
                                  <a:pt x="388" y="689"/>
                                </a:cubicBezTo>
                                <a:cubicBezTo>
                                  <a:pt x="389" y="690"/>
                                  <a:pt x="389" y="691"/>
                                  <a:pt x="389" y="691"/>
                                </a:cubicBezTo>
                                <a:cubicBezTo>
                                  <a:pt x="389" y="691"/>
                                  <a:pt x="389" y="691"/>
                                  <a:pt x="389" y="691"/>
                                </a:cubicBezTo>
                                <a:cubicBezTo>
                                  <a:pt x="391" y="692"/>
                                  <a:pt x="394" y="691"/>
                                  <a:pt x="399" y="690"/>
                                </a:cubicBezTo>
                                <a:cubicBezTo>
                                  <a:pt x="405" y="689"/>
                                  <a:pt x="409" y="689"/>
                                  <a:pt x="412" y="690"/>
                                </a:cubicBezTo>
                                <a:cubicBezTo>
                                  <a:pt x="416" y="691"/>
                                  <a:pt x="418" y="694"/>
                                  <a:pt x="420" y="697"/>
                                </a:cubicBezTo>
                                <a:cubicBezTo>
                                  <a:pt x="422" y="702"/>
                                  <a:pt x="422" y="703"/>
                                  <a:pt x="420" y="707"/>
                                </a:cubicBezTo>
                                <a:cubicBezTo>
                                  <a:pt x="419" y="708"/>
                                  <a:pt x="418" y="710"/>
                                  <a:pt x="417" y="714"/>
                                </a:cubicBezTo>
                                <a:cubicBezTo>
                                  <a:pt x="415" y="720"/>
                                  <a:pt x="416" y="722"/>
                                  <a:pt x="416" y="727"/>
                                </a:cubicBezTo>
                                <a:cubicBezTo>
                                  <a:pt x="417" y="730"/>
                                  <a:pt x="418" y="735"/>
                                  <a:pt x="418" y="742"/>
                                </a:cubicBezTo>
                                <a:cubicBezTo>
                                  <a:pt x="419" y="754"/>
                                  <a:pt x="422" y="761"/>
                                  <a:pt x="426" y="768"/>
                                </a:cubicBezTo>
                                <a:cubicBezTo>
                                  <a:pt x="428" y="771"/>
                                  <a:pt x="430" y="775"/>
                                  <a:pt x="431" y="780"/>
                                </a:cubicBezTo>
                                <a:cubicBezTo>
                                  <a:pt x="431" y="780"/>
                                  <a:pt x="431" y="780"/>
                                  <a:pt x="431" y="780"/>
                                </a:cubicBezTo>
                                <a:cubicBezTo>
                                  <a:pt x="432" y="782"/>
                                  <a:pt x="432" y="782"/>
                                  <a:pt x="432" y="782"/>
                                </a:cubicBezTo>
                                <a:cubicBezTo>
                                  <a:pt x="438" y="797"/>
                                  <a:pt x="443" y="810"/>
                                  <a:pt x="437" y="819"/>
                                </a:cubicBezTo>
                                <a:cubicBezTo>
                                  <a:pt x="437" y="819"/>
                                  <a:pt x="437" y="819"/>
                                  <a:pt x="437" y="819"/>
                                </a:cubicBezTo>
                                <a:cubicBezTo>
                                  <a:pt x="433" y="825"/>
                                  <a:pt x="430" y="826"/>
                                  <a:pt x="426" y="828"/>
                                </a:cubicBezTo>
                                <a:cubicBezTo>
                                  <a:pt x="424" y="828"/>
                                  <a:pt x="423" y="829"/>
                                  <a:pt x="421" y="830"/>
                                </a:cubicBezTo>
                                <a:cubicBezTo>
                                  <a:pt x="420" y="831"/>
                                  <a:pt x="421" y="832"/>
                                  <a:pt x="421" y="833"/>
                                </a:cubicBezTo>
                                <a:cubicBezTo>
                                  <a:pt x="422" y="836"/>
                                  <a:pt x="423" y="839"/>
                                  <a:pt x="420" y="843"/>
                                </a:cubicBezTo>
                                <a:cubicBezTo>
                                  <a:pt x="419" y="846"/>
                                  <a:pt x="416" y="847"/>
                                  <a:pt x="414" y="848"/>
                                </a:cubicBezTo>
                                <a:cubicBezTo>
                                  <a:pt x="412" y="850"/>
                                  <a:pt x="409" y="851"/>
                                  <a:pt x="406" y="857"/>
                                </a:cubicBezTo>
                                <a:cubicBezTo>
                                  <a:pt x="404" y="862"/>
                                  <a:pt x="405" y="867"/>
                                  <a:pt x="407" y="872"/>
                                </a:cubicBezTo>
                                <a:cubicBezTo>
                                  <a:pt x="408" y="877"/>
                                  <a:pt x="409" y="881"/>
                                  <a:pt x="408" y="886"/>
                                </a:cubicBezTo>
                                <a:cubicBezTo>
                                  <a:pt x="406" y="890"/>
                                  <a:pt x="407" y="891"/>
                                  <a:pt x="407" y="893"/>
                                </a:cubicBezTo>
                                <a:cubicBezTo>
                                  <a:pt x="407" y="895"/>
                                  <a:pt x="407" y="898"/>
                                  <a:pt x="407" y="902"/>
                                </a:cubicBezTo>
                                <a:cubicBezTo>
                                  <a:pt x="406" y="911"/>
                                  <a:pt x="405" y="911"/>
                                  <a:pt x="397" y="913"/>
                                </a:cubicBezTo>
                                <a:cubicBezTo>
                                  <a:pt x="395" y="913"/>
                                  <a:pt x="392" y="914"/>
                                  <a:pt x="389" y="915"/>
                                </a:cubicBezTo>
                                <a:cubicBezTo>
                                  <a:pt x="385" y="916"/>
                                  <a:pt x="382" y="918"/>
                                  <a:pt x="378" y="919"/>
                                </a:cubicBezTo>
                                <a:cubicBezTo>
                                  <a:pt x="371" y="922"/>
                                  <a:pt x="363" y="925"/>
                                  <a:pt x="350" y="928"/>
                                </a:cubicBezTo>
                                <a:cubicBezTo>
                                  <a:pt x="340" y="931"/>
                                  <a:pt x="333" y="932"/>
                                  <a:pt x="327" y="935"/>
                                </a:cubicBezTo>
                                <a:cubicBezTo>
                                  <a:pt x="321" y="938"/>
                                  <a:pt x="315" y="941"/>
                                  <a:pt x="308" y="946"/>
                                </a:cubicBezTo>
                                <a:cubicBezTo>
                                  <a:pt x="298" y="953"/>
                                  <a:pt x="296" y="956"/>
                                  <a:pt x="294" y="960"/>
                                </a:cubicBezTo>
                                <a:cubicBezTo>
                                  <a:pt x="293" y="962"/>
                                  <a:pt x="292" y="964"/>
                                  <a:pt x="290" y="966"/>
                                </a:cubicBezTo>
                                <a:cubicBezTo>
                                  <a:pt x="287" y="971"/>
                                  <a:pt x="280" y="973"/>
                                  <a:pt x="272" y="975"/>
                                </a:cubicBezTo>
                                <a:cubicBezTo>
                                  <a:pt x="265" y="976"/>
                                  <a:pt x="256" y="976"/>
                                  <a:pt x="248" y="976"/>
                                </a:cubicBezTo>
                                <a:cubicBezTo>
                                  <a:pt x="240" y="976"/>
                                  <a:pt x="231" y="977"/>
                                  <a:pt x="223" y="978"/>
                                </a:cubicBezTo>
                                <a:cubicBezTo>
                                  <a:pt x="216" y="979"/>
                                  <a:pt x="209" y="981"/>
                                  <a:pt x="204" y="985"/>
                                </a:cubicBezTo>
                                <a:cubicBezTo>
                                  <a:pt x="199" y="988"/>
                                  <a:pt x="191" y="997"/>
                                  <a:pt x="184" y="1006"/>
                                </a:cubicBezTo>
                                <a:cubicBezTo>
                                  <a:pt x="175" y="1017"/>
                                  <a:pt x="166" y="1028"/>
                                  <a:pt x="161" y="1028"/>
                                </a:cubicBezTo>
                                <a:cubicBezTo>
                                  <a:pt x="159" y="1028"/>
                                  <a:pt x="157" y="1029"/>
                                  <a:pt x="154" y="1029"/>
                                </a:cubicBezTo>
                                <a:cubicBezTo>
                                  <a:pt x="146" y="1031"/>
                                  <a:pt x="133" y="1034"/>
                                  <a:pt x="125" y="1031"/>
                                </a:cubicBezTo>
                                <a:cubicBezTo>
                                  <a:pt x="115" y="1028"/>
                                  <a:pt x="116" y="1022"/>
                                  <a:pt x="117" y="1016"/>
                                </a:cubicBezTo>
                                <a:cubicBezTo>
                                  <a:pt x="117" y="1015"/>
                                  <a:pt x="117" y="1015"/>
                                  <a:pt x="117" y="1015"/>
                                </a:cubicBezTo>
                                <a:cubicBezTo>
                                  <a:pt x="117" y="1013"/>
                                  <a:pt x="116" y="1011"/>
                                  <a:pt x="115" y="1010"/>
                                </a:cubicBezTo>
                                <a:cubicBezTo>
                                  <a:pt x="114" y="1010"/>
                                  <a:pt x="114" y="1010"/>
                                  <a:pt x="113" y="1010"/>
                                </a:cubicBezTo>
                                <a:cubicBezTo>
                                  <a:pt x="112" y="1011"/>
                                  <a:pt x="111" y="1013"/>
                                  <a:pt x="109" y="1015"/>
                                </a:cubicBezTo>
                                <a:cubicBezTo>
                                  <a:pt x="107" y="1019"/>
                                  <a:pt x="104" y="1024"/>
                                  <a:pt x="99" y="1026"/>
                                </a:cubicBezTo>
                                <a:cubicBezTo>
                                  <a:pt x="92" y="1028"/>
                                  <a:pt x="86" y="1025"/>
                                  <a:pt x="82" y="1023"/>
                                </a:cubicBezTo>
                                <a:cubicBezTo>
                                  <a:pt x="82" y="1022"/>
                                  <a:pt x="81" y="1022"/>
                                  <a:pt x="81" y="1022"/>
                                </a:cubicBezTo>
                                <a:cubicBezTo>
                                  <a:pt x="81" y="1022"/>
                                  <a:pt x="81" y="1022"/>
                                  <a:pt x="81" y="1022"/>
                                </a:cubicBezTo>
                                <a:cubicBezTo>
                                  <a:pt x="81" y="1022"/>
                                  <a:pt x="81" y="1022"/>
                                  <a:pt x="81" y="1022"/>
                                </a:cubicBezTo>
                                <a:cubicBezTo>
                                  <a:pt x="80" y="1021"/>
                                  <a:pt x="78" y="1021"/>
                                  <a:pt x="77" y="1021"/>
                                </a:cubicBezTo>
                                <a:cubicBezTo>
                                  <a:pt x="76" y="1021"/>
                                  <a:pt x="75" y="1022"/>
                                  <a:pt x="75" y="1022"/>
                                </a:cubicBezTo>
                                <a:cubicBezTo>
                                  <a:pt x="75" y="1022"/>
                                  <a:pt x="75" y="1022"/>
                                  <a:pt x="75" y="1022"/>
                                </a:cubicBezTo>
                                <a:cubicBezTo>
                                  <a:pt x="75" y="1022"/>
                                  <a:pt x="75" y="1022"/>
                                  <a:pt x="75" y="1022"/>
                                </a:cubicBezTo>
                                <a:cubicBezTo>
                                  <a:pt x="75" y="1022"/>
                                  <a:pt x="75" y="1022"/>
                                  <a:pt x="75" y="1022"/>
                                </a:cubicBezTo>
                                <a:cubicBezTo>
                                  <a:pt x="74" y="1024"/>
                                  <a:pt x="74" y="1025"/>
                                  <a:pt x="74" y="1026"/>
                                </a:cubicBezTo>
                                <a:cubicBezTo>
                                  <a:pt x="74" y="1029"/>
                                  <a:pt x="74" y="1031"/>
                                  <a:pt x="70" y="1034"/>
                                </a:cubicBezTo>
                                <a:cubicBezTo>
                                  <a:pt x="66" y="1037"/>
                                  <a:pt x="48" y="1042"/>
                                  <a:pt x="38" y="1045"/>
                                </a:cubicBezTo>
                                <a:cubicBezTo>
                                  <a:pt x="35" y="1046"/>
                                  <a:pt x="33" y="1047"/>
                                  <a:pt x="32" y="1047"/>
                                </a:cubicBezTo>
                                <a:cubicBezTo>
                                  <a:pt x="29" y="1048"/>
                                  <a:pt x="28" y="1050"/>
                                  <a:pt x="27" y="1052"/>
                                </a:cubicBezTo>
                                <a:cubicBezTo>
                                  <a:pt x="26" y="1054"/>
                                  <a:pt x="25" y="1056"/>
                                  <a:pt x="25" y="1058"/>
                                </a:cubicBezTo>
                                <a:cubicBezTo>
                                  <a:pt x="24" y="1059"/>
                                  <a:pt x="24" y="1061"/>
                                  <a:pt x="24" y="1062"/>
                                </a:cubicBezTo>
                                <a:cubicBezTo>
                                  <a:pt x="23" y="1069"/>
                                  <a:pt x="22" y="1078"/>
                                  <a:pt x="18" y="1084"/>
                                </a:cubicBezTo>
                                <a:cubicBezTo>
                                  <a:pt x="16" y="1088"/>
                                  <a:pt x="11" y="1091"/>
                                  <a:pt x="7" y="1094"/>
                                </a:cubicBezTo>
                                <a:cubicBezTo>
                                  <a:pt x="3" y="1096"/>
                                  <a:pt x="0" y="1098"/>
                                  <a:pt x="0" y="1099"/>
                                </a:cubicBezTo>
                                <a:cubicBezTo>
                                  <a:pt x="0" y="1101"/>
                                  <a:pt x="0" y="1103"/>
                                  <a:pt x="1" y="1105"/>
                                </a:cubicBezTo>
                                <a:cubicBezTo>
                                  <a:pt x="1" y="1107"/>
                                  <a:pt x="2" y="1109"/>
                                  <a:pt x="4" y="1112"/>
                                </a:cubicBezTo>
                                <a:cubicBezTo>
                                  <a:pt x="4" y="1113"/>
                                  <a:pt x="5" y="1114"/>
                                  <a:pt x="6" y="1115"/>
                                </a:cubicBezTo>
                                <a:cubicBezTo>
                                  <a:pt x="11" y="1121"/>
                                  <a:pt x="15" y="1127"/>
                                  <a:pt x="10" y="1133"/>
                                </a:cubicBezTo>
                                <a:cubicBezTo>
                                  <a:pt x="8" y="1136"/>
                                  <a:pt x="6" y="1138"/>
                                  <a:pt x="5" y="1140"/>
                                </a:cubicBezTo>
                                <a:cubicBezTo>
                                  <a:pt x="4" y="1141"/>
                                  <a:pt x="4" y="1143"/>
                                  <a:pt x="4" y="1145"/>
                                </a:cubicBezTo>
                                <a:cubicBezTo>
                                  <a:pt x="4" y="1146"/>
                                  <a:pt x="5" y="1147"/>
                                  <a:pt x="7" y="1148"/>
                                </a:cubicBezTo>
                                <a:cubicBezTo>
                                  <a:pt x="10" y="1149"/>
                                  <a:pt x="13" y="1149"/>
                                  <a:pt x="18" y="1149"/>
                                </a:cubicBezTo>
                                <a:cubicBezTo>
                                  <a:pt x="22" y="1149"/>
                                  <a:pt x="25" y="1149"/>
                                  <a:pt x="27" y="1148"/>
                                </a:cubicBezTo>
                                <a:cubicBezTo>
                                  <a:pt x="27" y="1148"/>
                                  <a:pt x="27" y="1148"/>
                                  <a:pt x="27" y="1148"/>
                                </a:cubicBezTo>
                                <a:cubicBezTo>
                                  <a:pt x="33" y="1147"/>
                                  <a:pt x="38" y="1146"/>
                                  <a:pt x="45" y="1149"/>
                                </a:cubicBezTo>
                                <a:cubicBezTo>
                                  <a:pt x="51" y="1151"/>
                                  <a:pt x="59" y="1156"/>
                                  <a:pt x="65" y="1161"/>
                                </a:cubicBezTo>
                                <a:cubicBezTo>
                                  <a:pt x="70" y="1165"/>
                                  <a:pt x="74" y="1170"/>
                                  <a:pt x="75" y="1175"/>
                                </a:cubicBezTo>
                                <a:cubicBezTo>
                                  <a:pt x="77" y="1179"/>
                                  <a:pt x="78" y="1187"/>
                                  <a:pt x="79" y="1195"/>
                                </a:cubicBezTo>
                                <a:cubicBezTo>
                                  <a:pt x="80" y="1205"/>
                                  <a:pt x="81" y="1214"/>
                                  <a:pt x="81" y="1219"/>
                                </a:cubicBezTo>
                                <a:cubicBezTo>
                                  <a:pt x="81" y="1223"/>
                                  <a:pt x="84" y="1226"/>
                                  <a:pt x="86" y="1229"/>
                                </a:cubicBezTo>
                                <a:cubicBezTo>
                                  <a:pt x="88" y="1232"/>
                                  <a:pt x="90" y="1234"/>
                                  <a:pt x="91" y="1237"/>
                                </a:cubicBezTo>
                                <a:cubicBezTo>
                                  <a:pt x="95" y="1246"/>
                                  <a:pt x="92" y="1247"/>
                                  <a:pt x="85" y="1250"/>
                                </a:cubicBezTo>
                                <a:cubicBezTo>
                                  <a:pt x="85" y="1250"/>
                                  <a:pt x="85" y="1250"/>
                                  <a:pt x="85" y="1250"/>
                                </a:cubicBezTo>
                                <a:cubicBezTo>
                                  <a:pt x="84" y="1251"/>
                                  <a:pt x="83" y="1251"/>
                                  <a:pt x="82" y="1252"/>
                                </a:cubicBezTo>
                                <a:cubicBezTo>
                                  <a:pt x="78" y="1254"/>
                                  <a:pt x="74" y="1254"/>
                                  <a:pt x="70" y="1254"/>
                                </a:cubicBezTo>
                                <a:cubicBezTo>
                                  <a:pt x="68" y="1254"/>
                                  <a:pt x="66" y="1254"/>
                                  <a:pt x="64" y="1255"/>
                                </a:cubicBezTo>
                                <a:cubicBezTo>
                                  <a:pt x="64" y="1255"/>
                                  <a:pt x="62" y="1256"/>
                                  <a:pt x="61" y="1257"/>
                                </a:cubicBezTo>
                                <a:cubicBezTo>
                                  <a:pt x="57" y="1258"/>
                                  <a:pt x="52" y="1260"/>
                                  <a:pt x="52" y="1261"/>
                                </a:cubicBezTo>
                                <a:cubicBezTo>
                                  <a:pt x="52" y="1261"/>
                                  <a:pt x="52" y="1262"/>
                                  <a:pt x="53" y="1264"/>
                                </a:cubicBezTo>
                                <a:cubicBezTo>
                                  <a:pt x="54" y="1266"/>
                                  <a:pt x="55" y="1267"/>
                                  <a:pt x="56" y="1269"/>
                                </a:cubicBezTo>
                                <a:cubicBezTo>
                                  <a:pt x="61" y="1269"/>
                                  <a:pt x="68" y="1268"/>
                                  <a:pt x="74" y="1268"/>
                                </a:cubicBezTo>
                                <a:cubicBezTo>
                                  <a:pt x="81" y="1268"/>
                                  <a:pt x="88" y="1269"/>
                                  <a:pt x="92" y="1270"/>
                                </a:cubicBezTo>
                                <a:cubicBezTo>
                                  <a:pt x="96" y="1271"/>
                                  <a:pt x="102" y="1274"/>
                                  <a:pt x="109" y="1278"/>
                                </a:cubicBezTo>
                                <a:cubicBezTo>
                                  <a:pt x="119" y="1284"/>
                                  <a:pt x="129" y="1291"/>
                                  <a:pt x="135" y="1295"/>
                                </a:cubicBezTo>
                                <a:cubicBezTo>
                                  <a:pt x="145" y="1302"/>
                                  <a:pt x="145" y="1308"/>
                                  <a:pt x="144" y="1320"/>
                                </a:cubicBezTo>
                                <a:cubicBezTo>
                                  <a:pt x="144" y="1321"/>
                                  <a:pt x="144" y="1322"/>
                                  <a:pt x="144" y="1325"/>
                                </a:cubicBezTo>
                                <a:cubicBezTo>
                                  <a:pt x="144" y="1326"/>
                                  <a:pt x="144" y="1326"/>
                                  <a:pt x="144" y="1326"/>
                                </a:cubicBezTo>
                                <a:cubicBezTo>
                                  <a:pt x="144" y="1326"/>
                                  <a:pt x="144" y="1326"/>
                                  <a:pt x="144" y="1326"/>
                                </a:cubicBezTo>
                                <a:cubicBezTo>
                                  <a:pt x="144" y="1338"/>
                                  <a:pt x="144" y="1339"/>
                                  <a:pt x="153" y="1346"/>
                                </a:cubicBezTo>
                                <a:cubicBezTo>
                                  <a:pt x="157" y="1349"/>
                                  <a:pt x="160" y="1348"/>
                                  <a:pt x="163" y="1347"/>
                                </a:cubicBezTo>
                                <a:cubicBezTo>
                                  <a:pt x="168" y="1346"/>
                                  <a:pt x="172" y="1345"/>
                                  <a:pt x="177" y="1348"/>
                                </a:cubicBezTo>
                                <a:cubicBezTo>
                                  <a:pt x="182" y="1351"/>
                                  <a:pt x="183" y="1353"/>
                                  <a:pt x="184" y="1356"/>
                                </a:cubicBezTo>
                                <a:cubicBezTo>
                                  <a:pt x="184" y="1356"/>
                                  <a:pt x="184" y="1356"/>
                                  <a:pt x="184" y="1356"/>
                                </a:cubicBezTo>
                                <a:cubicBezTo>
                                  <a:pt x="185" y="1358"/>
                                  <a:pt x="186" y="1360"/>
                                  <a:pt x="193" y="1363"/>
                                </a:cubicBezTo>
                                <a:cubicBezTo>
                                  <a:pt x="206" y="1368"/>
                                  <a:pt x="220" y="1369"/>
                                  <a:pt x="228" y="1370"/>
                                </a:cubicBezTo>
                                <a:cubicBezTo>
                                  <a:pt x="228" y="1370"/>
                                  <a:pt x="228" y="1370"/>
                                  <a:pt x="228" y="1370"/>
                                </a:cubicBezTo>
                                <a:cubicBezTo>
                                  <a:pt x="229" y="1370"/>
                                  <a:pt x="230" y="1370"/>
                                  <a:pt x="232" y="1370"/>
                                </a:cubicBezTo>
                                <a:cubicBezTo>
                                  <a:pt x="235" y="1371"/>
                                  <a:pt x="242" y="1371"/>
                                  <a:pt x="248" y="1370"/>
                                </a:cubicBezTo>
                                <a:cubicBezTo>
                                  <a:pt x="255" y="1370"/>
                                  <a:pt x="261" y="1369"/>
                                  <a:pt x="263" y="1369"/>
                                </a:cubicBezTo>
                                <a:cubicBezTo>
                                  <a:pt x="264" y="1368"/>
                                  <a:pt x="268" y="1366"/>
                                  <a:pt x="272" y="1363"/>
                                </a:cubicBezTo>
                                <a:cubicBezTo>
                                  <a:pt x="277" y="1358"/>
                                  <a:pt x="284" y="1353"/>
                                  <a:pt x="291" y="1350"/>
                                </a:cubicBezTo>
                                <a:cubicBezTo>
                                  <a:pt x="297" y="1347"/>
                                  <a:pt x="303" y="1345"/>
                                  <a:pt x="310" y="1343"/>
                                </a:cubicBezTo>
                                <a:cubicBezTo>
                                  <a:pt x="316" y="1341"/>
                                  <a:pt x="323" y="1340"/>
                                  <a:pt x="328" y="1340"/>
                                </a:cubicBezTo>
                                <a:cubicBezTo>
                                  <a:pt x="330" y="1340"/>
                                  <a:pt x="332" y="1340"/>
                                  <a:pt x="334" y="1340"/>
                                </a:cubicBezTo>
                                <a:cubicBezTo>
                                  <a:pt x="342" y="1339"/>
                                  <a:pt x="348" y="1338"/>
                                  <a:pt x="356" y="1344"/>
                                </a:cubicBezTo>
                                <a:cubicBezTo>
                                  <a:pt x="360" y="1347"/>
                                  <a:pt x="365" y="1351"/>
                                  <a:pt x="371" y="1356"/>
                                </a:cubicBezTo>
                                <a:cubicBezTo>
                                  <a:pt x="378" y="1361"/>
                                  <a:pt x="385" y="1368"/>
                                  <a:pt x="390" y="1370"/>
                                </a:cubicBezTo>
                                <a:cubicBezTo>
                                  <a:pt x="393" y="1372"/>
                                  <a:pt x="396" y="1371"/>
                                  <a:pt x="399" y="1371"/>
                                </a:cubicBezTo>
                                <a:cubicBezTo>
                                  <a:pt x="405" y="1371"/>
                                  <a:pt x="409" y="1370"/>
                                  <a:pt x="413" y="1375"/>
                                </a:cubicBezTo>
                                <a:cubicBezTo>
                                  <a:pt x="413" y="1375"/>
                                  <a:pt x="413" y="1375"/>
                                  <a:pt x="413" y="1375"/>
                                </a:cubicBezTo>
                                <a:cubicBezTo>
                                  <a:pt x="413" y="1375"/>
                                  <a:pt x="413" y="1375"/>
                                  <a:pt x="413" y="1375"/>
                                </a:cubicBezTo>
                                <a:cubicBezTo>
                                  <a:pt x="413" y="1375"/>
                                  <a:pt x="413" y="1375"/>
                                  <a:pt x="413" y="1375"/>
                                </a:cubicBezTo>
                                <a:cubicBezTo>
                                  <a:pt x="417" y="1379"/>
                                  <a:pt x="419" y="1385"/>
                                  <a:pt x="418" y="1392"/>
                                </a:cubicBezTo>
                                <a:cubicBezTo>
                                  <a:pt x="417" y="1398"/>
                                  <a:pt x="414" y="1405"/>
                                  <a:pt x="407" y="1411"/>
                                </a:cubicBezTo>
                                <a:cubicBezTo>
                                  <a:pt x="407" y="1411"/>
                                  <a:pt x="407" y="1411"/>
                                  <a:pt x="407" y="1411"/>
                                </a:cubicBezTo>
                                <a:cubicBezTo>
                                  <a:pt x="407" y="1411"/>
                                  <a:pt x="407" y="1411"/>
                                  <a:pt x="407" y="1411"/>
                                </a:cubicBezTo>
                                <a:cubicBezTo>
                                  <a:pt x="399" y="1418"/>
                                  <a:pt x="392" y="1429"/>
                                  <a:pt x="388" y="1438"/>
                                </a:cubicBezTo>
                                <a:cubicBezTo>
                                  <a:pt x="386" y="1441"/>
                                  <a:pt x="384" y="1444"/>
                                  <a:pt x="383" y="1447"/>
                                </a:cubicBezTo>
                                <a:cubicBezTo>
                                  <a:pt x="379" y="1452"/>
                                  <a:pt x="375" y="1452"/>
                                  <a:pt x="372" y="1452"/>
                                </a:cubicBezTo>
                                <a:cubicBezTo>
                                  <a:pt x="371" y="1452"/>
                                  <a:pt x="369" y="1452"/>
                                  <a:pt x="368" y="1455"/>
                                </a:cubicBezTo>
                                <a:cubicBezTo>
                                  <a:pt x="367" y="1458"/>
                                  <a:pt x="367" y="1461"/>
                                  <a:pt x="367" y="1463"/>
                                </a:cubicBezTo>
                                <a:cubicBezTo>
                                  <a:pt x="367" y="1469"/>
                                  <a:pt x="367" y="1474"/>
                                  <a:pt x="356" y="1478"/>
                                </a:cubicBezTo>
                                <a:cubicBezTo>
                                  <a:pt x="349" y="1481"/>
                                  <a:pt x="343" y="1481"/>
                                  <a:pt x="338" y="1481"/>
                                </a:cubicBezTo>
                                <a:cubicBezTo>
                                  <a:pt x="335" y="1482"/>
                                  <a:pt x="332" y="1482"/>
                                  <a:pt x="332" y="1483"/>
                                </a:cubicBezTo>
                                <a:cubicBezTo>
                                  <a:pt x="331" y="1485"/>
                                  <a:pt x="332" y="1488"/>
                                  <a:pt x="333" y="1491"/>
                                </a:cubicBezTo>
                                <a:cubicBezTo>
                                  <a:pt x="334" y="1494"/>
                                  <a:pt x="335" y="1498"/>
                                  <a:pt x="335" y="1501"/>
                                </a:cubicBezTo>
                                <a:cubicBezTo>
                                  <a:pt x="334" y="1505"/>
                                  <a:pt x="332" y="1508"/>
                                  <a:pt x="330" y="1512"/>
                                </a:cubicBezTo>
                                <a:cubicBezTo>
                                  <a:pt x="329" y="1514"/>
                                  <a:pt x="327" y="1517"/>
                                  <a:pt x="327" y="1518"/>
                                </a:cubicBezTo>
                                <a:cubicBezTo>
                                  <a:pt x="327" y="1518"/>
                                  <a:pt x="327" y="1518"/>
                                  <a:pt x="327" y="1518"/>
                                </a:cubicBezTo>
                                <a:cubicBezTo>
                                  <a:pt x="328" y="1519"/>
                                  <a:pt x="329" y="1521"/>
                                  <a:pt x="330" y="1523"/>
                                </a:cubicBezTo>
                                <a:cubicBezTo>
                                  <a:pt x="332" y="1525"/>
                                  <a:pt x="335" y="1527"/>
                                  <a:pt x="339" y="1529"/>
                                </a:cubicBezTo>
                                <a:cubicBezTo>
                                  <a:pt x="342" y="1530"/>
                                  <a:pt x="344" y="1531"/>
                                  <a:pt x="346" y="1531"/>
                                </a:cubicBezTo>
                                <a:cubicBezTo>
                                  <a:pt x="350" y="1532"/>
                                  <a:pt x="352" y="1533"/>
                                  <a:pt x="356" y="1538"/>
                                </a:cubicBezTo>
                                <a:cubicBezTo>
                                  <a:pt x="358" y="1543"/>
                                  <a:pt x="360" y="1549"/>
                                  <a:pt x="361" y="1554"/>
                                </a:cubicBezTo>
                                <a:cubicBezTo>
                                  <a:pt x="361" y="1556"/>
                                  <a:pt x="362" y="1558"/>
                                  <a:pt x="362" y="1560"/>
                                </a:cubicBezTo>
                                <a:cubicBezTo>
                                  <a:pt x="363" y="1564"/>
                                  <a:pt x="362" y="1569"/>
                                  <a:pt x="360" y="1573"/>
                                </a:cubicBezTo>
                                <a:cubicBezTo>
                                  <a:pt x="358" y="1577"/>
                                  <a:pt x="354" y="1580"/>
                                  <a:pt x="349" y="1584"/>
                                </a:cubicBezTo>
                                <a:cubicBezTo>
                                  <a:pt x="347" y="1585"/>
                                  <a:pt x="344" y="1587"/>
                                  <a:pt x="343" y="1589"/>
                                </a:cubicBezTo>
                                <a:cubicBezTo>
                                  <a:pt x="339" y="1592"/>
                                  <a:pt x="336" y="1595"/>
                                  <a:pt x="332" y="1596"/>
                                </a:cubicBezTo>
                                <a:cubicBezTo>
                                  <a:pt x="326" y="1597"/>
                                  <a:pt x="321" y="1591"/>
                                  <a:pt x="316" y="1586"/>
                                </a:cubicBezTo>
                                <a:cubicBezTo>
                                  <a:pt x="315" y="1584"/>
                                  <a:pt x="314" y="1582"/>
                                  <a:pt x="313" y="1582"/>
                                </a:cubicBezTo>
                                <a:cubicBezTo>
                                  <a:pt x="312" y="1581"/>
                                  <a:pt x="309" y="1581"/>
                                  <a:pt x="306" y="1581"/>
                                </a:cubicBezTo>
                                <a:cubicBezTo>
                                  <a:pt x="304" y="1581"/>
                                  <a:pt x="302" y="1581"/>
                                  <a:pt x="302" y="1582"/>
                                </a:cubicBezTo>
                                <a:cubicBezTo>
                                  <a:pt x="300" y="1583"/>
                                  <a:pt x="299" y="1586"/>
                                  <a:pt x="299" y="1589"/>
                                </a:cubicBezTo>
                                <a:cubicBezTo>
                                  <a:pt x="298" y="1592"/>
                                  <a:pt x="298" y="1595"/>
                                  <a:pt x="299" y="1598"/>
                                </a:cubicBezTo>
                                <a:cubicBezTo>
                                  <a:pt x="300" y="1602"/>
                                  <a:pt x="304" y="1606"/>
                                  <a:pt x="307" y="1610"/>
                                </a:cubicBezTo>
                                <a:cubicBezTo>
                                  <a:pt x="310" y="1614"/>
                                  <a:pt x="314" y="1618"/>
                                  <a:pt x="315" y="1622"/>
                                </a:cubicBezTo>
                                <a:cubicBezTo>
                                  <a:pt x="315" y="1625"/>
                                  <a:pt x="315" y="1632"/>
                                  <a:pt x="315" y="1638"/>
                                </a:cubicBezTo>
                                <a:cubicBezTo>
                                  <a:pt x="315" y="1643"/>
                                  <a:pt x="315" y="1647"/>
                                  <a:pt x="315" y="1650"/>
                                </a:cubicBezTo>
                                <a:cubicBezTo>
                                  <a:pt x="315" y="1650"/>
                                  <a:pt x="315" y="1650"/>
                                  <a:pt x="315" y="1650"/>
                                </a:cubicBezTo>
                                <a:cubicBezTo>
                                  <a:pt x="315" y="1651"/>
                                  <a:pt x="315" y="1651"/>
                                  <a:pt x="315" y="1651"/>
                                </a:cubicBezTo>
                                <a:cubicBezTo>
                                  <a:pt x="316" y="1656"/>
                                  <a:pt x="316" y="1661"/>
                                  <a:pt x="319" y="1661"/>
                                </a:cubicBezTo>
                                <a:cubicBezTo>
                                  <a:pt x="319" y="1661"/>
                                  <a:pt x="319" y="1661"/>
                                  <a:pt x="319" y="1661"/>
                                </a:cubicBezTo>
                                <a:cubicBezTo>
                                  <a:pt x="321" y="1661"/>
                                  <a:pt x="322" y="1661"/>
                                  <a:pt x="324" y="1660"/>
                                </a:cubicBezTo>
                                <a:cubicBezTo>
                                  <a:pt x="326" y="1658"/>
                                  <a:pt x="328" y="1656"/>
                                  <a:pt x="332" y="1657"/>
                                </a:cubicBezTo>
                                <a:cubicBezTo>
                                  <a:pt x="336" y="1658"/>
                                  <a:pt x="339" y="1661"/>
                                  <a:pt x="342" y="1665"/>
                                </a:cubicBezTo>
                                <a:cubicBezTo>
                                  <a:pt x="345" y="1669"/>
                                  <a:pt x="348" y="1674"/>
                                  <a:pt x="353" y="1677"/>
                                </a:cubicBezTo>
                                <a:cubicBezTo>
                                  <a:pt x="358" y="1680"/>
                                  <a:pt x="362" y="1681"/>
                                  <a:pt x="366" y="1683"/>
                                </a:cubicBezTo>
                                <a:cubicBezTo>
                                  <a:pt x="370" y="1684"/>
                                  <a:pt x="374" y="1686"/>
                                  <a:pt x="378" y="1687"/>
                                </a:cubicBezTo>
                                <a:cubicBezTo>
                                  <a:pt x="382" y="1688"/>
                                  <a:pt x="388" y="1689"/>
                                  <a:pt x="393" y="1691"/>
                                </a:cubicBezTo>
                                <a:cubicBezTo>
                                  <a:pt x="399" y="1694"/>
                                  <a:pt x="405" y="1697"/>
                                  <a:pt x="407" y="1701"/>
                                </a:cubicBezTo>
                                <a:cubicBezTo>
                                  <a:pt x="409" y="1705"/>
                                  <a:pt x="409" y="1708"/>
                                  <a:pt x="408" y="1711"/>
                                </a:cubicBezTo>
                                <a:cubicBezTo>
                                  <a:pt x="408" y="1712"/>
                                  <a:pt x="408" y="1714"/>
                                  <a:pt x="409" y="1715"/>
                                </a:cubicBezTo>
                                <a:cubicBezTo>
                                  <a:pt x="412" y="1717"/>
                                  <a:pt x="420" y="1722"/>
                                  <a:pt x="429" y="1727"/>
                                </a:cubicBezTo>
                                <a:cubicBezTo>
                                  <a:pt x="442" y="1733"/>
                                  <a:pt x="456" y="1740"/>
                                  <a:pt x="459" y="1741"/>
                                </a:cubicBezTo>
                                <a:cubicBezTo>
                                  <a:pt x="459" y="1741"/>
                                  <a:pt x="459" y="1741"/>
                                  <a:pt x="459" y="1741"/>
                                </a:cubicBezTo>
                                <a:cubicBezTo>
                                  <a:pt x="460" y="1742"/>
                                  <a:pt x="461" y="1742"/>
                                  <a:pt x="462" y="1742"/>
                                </a:cubicBezTo>
                                <a:cubicBezTo>
                                  <a:pt x="462" y="1743"/>
                                  <a:pt x="463" y="1743"/>
                                  <a:pt x="464" y="1743"/>
                                </a:cubicBezTo>
                                <a:cubicBezTo>
                                  <a:pt x="464" y="1743"/>
                                  <a:pt x="464" y="1743"/>
                                  <a:pt x="464" y="1743"/>
                                </a:cubicBezTo>
                                <a:cubicBezTo>
                                  <a:pt x="465" y="1744"/>
                                  <a:pt x="466" y="1744"/>
                                  <a:pt x="467" y="1742"/>
                                </a:cubicBezTo>
                                <a:cubicBezTo>
                                  <a:pt x="468" y="1739"/>
                                  <a:pt x="470" y="1735"/>
                                  <a:pt x="472" y="1732"/>
                                </a:cubicBezTo>
                                <a:cubicBezTo>
                                  <a:pt x="472" y="1732"/>
                                  <a:pt x="472" y="1732"/>
                                  <a:pt x="472" y="1732"/>
                                </a:cubicBezTo>
                                <a:cubicBezTo>
                                  <a:pt x="475" y="1729"/>
                                  <a:pt x="478" y="1726"/>
                                  <a:pt x="480" y="1726"/>
                                </a:cubicBezTo>
                                <a:cubicBezTo>
                                  <a:pt x="482" y="1725"/>
                                  <a:pt x="488" y="1725"/>
                                  <a:pt x="496" y="1726"/>
                                </a:cubicBezTo>
                                <a:cubicBezTo>
                                  <a:pt x="501" y="1726"/>
                                  <a:pt x="507" y="1727"/>
                                  <a:pt x="512" y="1729"/>
                                </a:cubicBezTo>
                                <a:cubicBezTo>
                                  <a:pt x="520" y="1731"/>
                                  <a:pt x="521" y="1733"/>
                                  <a:pt x="523" y="1737"/>
                                </a:cubicBezTo>
                                <a:cubicBezTo>
                                  <a:pt x="524" y="1739"/>
                                  <a:pt x="525" y="1742"/>
                                  <a:pt x="529" y="1745"/>
                                </a:cubicBezTo>
                                <a:cubicBezTo>
                                  <a:pt x="529" y="1745"/>
                                  <a:pt x="529" y="1745"/>
                                  <a:pt x="529" y="1745"/>
                                </a:cubicBezTo>
                                <a:cubicBezTo>
                                  <a:pt x="536" y="1750"/>
                                  <a:pt x="545" y="1756"/>
                                  <a:pt x="554" y="1761"/>
                                </a:cubicBezTo>
                                <a:cubicBezTo>
                                  <a:pt x="559" y="1764"/>
                                  <a:pt x="564" y="1767"/>
                                  <a:pt x="566" y="1769"/>
                                </a:cubicBezTo>
                                <a:cubicBezTo>
                                  <a:pt x="569" y="1771"/>
                                  <a:pt x="572" y="1773"/>
                                  <a:pt x="574" y="1774"/>
                                </a:cubicBezTo>
                                <a:cubicBezTo>
                                  <a:pt x="576" y="1775"/>
                                  <a:pt x="579" y="1776"/>
                                  <a:pt x="581" y="1776"/>
                                </a:cubicBezTo>
                                <a:cubicBezTo>
                                  <a:pt x="584" y="1776"/>
                                  <a:pt x="587" y="1777"/>
                                  <a:pt x="590" y="1779"/>
                                </a:cubicBezTo>
                                <a:cubicBezTo>
                                  <a:pt x="593" y="1780"/>
                                  <a:pt x="596" y="1782"/>
                                  <a:pt x="601" y="1786"/>
                                </a:cubicBezTo>
                                <a:cubicBezTo>
                                  <a:pt x="604" y="1789"/>
                                  <a:pt x="607" y="1793"/>
                                  <a:pt x="609" y="1796"/>
                                </a:cubicBezTo>
                                <a:cubicBezTo>
                                  <a:pt x="612" y="1799"/>
                                  <a:pt x="614" y="1803"/>
                                  <a:pt x="617" y="1804"/>
                                </a:cubicBezTo>
                                <a:cubicBezTo>
                                  <a:pt x="621" y="1805"/>
                                  <a:pt x="624" y="1804"/>
                                  <a:pt x="628" y="1804"/>
                                </a:cubicBezTo>
                                <a:cubicBezTo>
                                  <a:pt x="630" y="1803"/>
                                  <a:pt x="633" y="1803"/>
                                  <a:pt x="637" y="1803"/>
                                </a:cubicBezTo>
                                <a:cubicBezTo>
                                  <a:pt x="641" y="1803"/>
                                  <a:pt x="645" y="1804"/>
                                  <a:pt x="647" y="1806"/>
                                </a:cubicBezTo>
                                <a:cubicBezTo>
                                  <a:pt x="650" y="1808"/>
                                  <a:pt x="652" y="1812"/>
                                  <a:pt x="654" y="1816"/>
                                </a:cubicBezTo>
                                <a:cubicBezTo>
                                  <a:pt x="654" y="1816"/>
                                  <a:pt x="654" y="1816"/>
                                  <a:pt x="654" y="1816"/>
                                </a:cubicBezTo>
                                <a:cubicBezTo>
                                  <a:pt x="655" y="1819"/>
                                  <a:pt x="655" y="1819"/>
                                  <a:pt x="655" y="1819"/>
                                </a:cubicBezTo>
                                <a:cubicBezTo>
                                  <a:pt x="655" y="1819"/>
                                  <a:pt x="655" y="1819"/>
                                  <a:pt x="655" y="1819"/>
                                </a:cubicBezTo>
                                <a:cubicBezTo>
                                  <a:pt x="657" y="1825"/>
                                  <a:pt x="659" y="1830"/>
                                  <a:pt x="666" y="1833"/>
                                </a:cubicBezTo>
                                <a:cubicBezTo>
                                  <a:pt x="669" y="1835"/>
                                  <a:pt x="672" y="1836"/>
                                  <a:pt x="675" y="1838"/>
                                </a:cubicBezTo>
                                <a:cubicBezTo>
                                  <a:pt x="678" y="1840"/>
                                  <a:pt x="682" y="1842"/>
                                  <a:pt x="687" y="1844"/>
                                </a:cubicBezTo>
                                <a:cubicBezTo>
                                  <a:pt x="691" y="1845"/>
                                  <a:pt x="694" y="1845"/>
                                  <a:pt x="697" y="1845"/>
                                </a:cubicBezTo>
                                <a:cubicBezTo>
                                  <a:pt x="699" y="1845"/>
                                  <a:pt x="702" y="1845"/>
                                  <a:pt x="704" y="1847"/>
                                </a:cubicBezTo>
                                <a:cubicBezTo>
                                  <a:pt x="710" y="1849"/>
                                  <a:pt x="711" y="1852"/>
                                  <a:pt x="712" y="1857"/>
                                </a:cubicBezTo>
                                <a:cubicBezTo>
                                  <a:pt x="712" y="1858"/>
                                  <a:pt x="712" y="1860"/>
                                  <a:pt x="713" y="1861"/>
                                </a:cubicBezTo>
                                <a:cubicBezTo>
                                  <a:pt x="713" y="1861"/>
                                  <a:pt x="713" y="1861"/>
                                  <a:pt x="713" y="1861"/>
                                </a:cubicBezTo>
                                <a:cubicBezTo>
                                  <a:pt x="713" y="1863"/>
                                  <a:pt x="723" y="1864"/>
                                  <a:pt x="730" y="1864"/>
                                </a:cubicBezTo>
                                <a:cubicBezTo>
                                  <a:pt x="735" y="1864"/>
                                  <a:pt x="738" y="1864"/>
                                  <a:pt x="741" y="1865"/>
                                </a:cubicBezTo>
                                <a:cubicBezTo>
                                  <a:pt x="747" y="1866"/>
                                  <a:pt x="751" y="1873"/>
                                  <a:pt x="756" y="1879"/>
                                </a:cubicBezTo>
                                <a:cubicBezTo>
                                  <a:pt x="758" y="1883"/>
                                  <a:pt x="760" y="1886"/>
                                  <a:pt x="761" y="1886"/>
                                </a:cubicBezTo>
                                <a:cubicBezTo>
                                  <a:pt x="762" y="1887"/>
                                  <a:pt x="762" y="1886"/>
                                  <a:pt x="763" y="1886"/>
                                </a:cubicBezTo>
                                <a:cubicBezTo>
                                  <a:pt x="764" y="1885"/>
                                  <a:pt x="766" y="1883"/>
                                  <a:pt x="770" y="1882"/>
                                </a:cubicBezTo>
                                <a:cubicBezTo>
                                  <a:pt x="776" y="1880"/>
                                  <a:pt x="780" y="1882"/>
                                  <a:pt x="784" y="1884"/>
                                </a:cubicBezTo>
                                <a:cubicBezTo>
                                  <a:pt x="784" y="1884"/>
                                  <a:pt x="784" y="1884"/>
                                  <a:pt x="784" y="1884"/>
                                </a:cubicBezTo>
                                <a:cubicBezTo>
                                  <a:pt x="786" y="1886"/>
                                  <a:pt x="788" y="1887"/>
                                  <a:pt x="790" y="1887"/>
                                </a:cubicBezTo>
                                <a:cubicBezTo>
                                  <a:pt x="792" y="1887"/>
                                  <a:pt x="794" y="1886"/>
                                  <a:pt x="795" y="1885"/>
                                </a:cubicBezTo>
                                <a:cubicBezTo>
                                  <a:pt x="798" y="1883"/>
                                  <a:pt x="802" y="1881"/>
                                  <a:pt x="808" y="1882"/>
                                </a:cubicBezTo>
                                <a:cubicBezTo>
                                  <a:pt x="813" y="1882"/>
                                  <a:pt x="816" y="1884"/>
                                  <a:pt x="820" y="1886"/>
                                </a:cubicBezTo>
                                <a:cubicBezTo>
                                  <a:pt x="824" y="1888"/>
                                  <a:pt x="829" y="1891"/>
                                  <a:pt x="836" y="1892"/>
                                </a:cubicBezTo>
                                <a:cubicBezTo>
                                  <a:pt x="843" y="1893"/>
                                  <a:pt x="852" y="1895"/>
                                  <a:pt x="860" y="1895"/>
                                </a:cubicBezTo>
                                <a:cubicBezTo>
                                  <a:pt x="870" y="1896"/>
                                  <a:pt x="878" y="1896"/>
                                  <a:pt x="883" y="1896"/>
                                </a:cubicBezTo>
                                <a:cubicBezTo>
                                  <a:pt x="890" y="1896"/>
                                  <a:pt x="896" y="1891"/>
                                  <a:pt x="900" y="1887"/>
                                </a:cubicBezTo>
                                <a:cubicBezTo>
                                  <a:pt x="902" y="1885"/>
                                  <a:pt x="904" y="1884"/>
                                  <a:pt x="906" y="1883"/>
                                </a:cubicBezTo>
                                <a:cubicBezTo>
                                  <a:pt x="909" y="1881"/>
                                  <a:pt x="912" y="1880"/>
                                  <a:pt x="916" y="1879"/>
                                </a:cubicBezTo>
                                <a:cubicBezTo>
                                  <a:pt x="919" y="1878"/>
                                  <a:pt x="923" y="1878"/>
                                  <a:pt x="928" y="1879"/>
                                </a:cubicBezTo>
                                <a:cubicBezTo>
                                  <a:pt x="932" y="1881"/>
                                  <a:pt x="936" y="1884"/>
                                  <a:pt x="938" y="1888"/>
                                </a:cubicBezTo>
                                <a:cubicBezTo>
                                  <a:pt x="941" y="1892"/>
                                  <a:pt x="941" y="1897"/>
                                  <a:pt x="940" y="1901"/>
                                </a:cubicBezTo>
                                <a:cubicBezTo>
                                  <a:pt x="939" y="1904"/>
                                  <a:pt x="939" y="1908"/>
                                  <a:pt x="939" y="1912"/>
                                </a:cubicBezTo>
                                <a:cubicBezTo>
                                  <a:pt x="939" y="1915"/>
                                  <a:pt x="939" y="1919"/>
                                  <a:pt x="940" y="1921"/>
                                </a:cubicBezTo>
                                <a:cubicBezTo>
                                  <a:pt x="940" y="1923"/>
                                  <a:pt x="941" y="1924"/>
                                  <a:pt x="941" y="1926"/>
                                </a:cubicBezTo>
                                <a:cubicBezTo>
                                  <a:pt x="942" y="1925"/>
                                  <a:pt x="942" y="1924"/>
                                  <a:pt x="943" y="1923"/>
                                </a:cubicBezTo>
                                <a:cubicBezTo>
                                  <a:pt x="943" y="1923"/>
                                  <a:pt x="943" y="1923"/>
                                  <a:pt x="943" y="1923"/>
                                </a:cubicBezTo>
                                <a:cubicBezTo>
                                  <a:pt x="945" y="1920"/>
                                  <a:pt x="947" y="1916"/>
                                  <a:pt x="950" y="1912"/>
                                </a:cubicBezTo>
                                <a:cubicBezTo>
                                  <a:pt x="952" y="1910"/>
                                  <a:pt x="954" y="1907"/>
                                  <a:pt x="955" y="1905"/>
                                </a:cubicBezTo>
                                <a:cubicBezTo>
                                  <a:pt x="955" y="1905"/>
                                  <a:pt x="955" y="1905"/>
                                  <a:pt x="955" y="1905"/>
                                </a:cubicBezTo>
                                <a:cubicBezTo>
                                  <a:pt x="959" y="1899"/>
                                  <a:pt x="962" y="1894"/>
                                  <a:pt x="972" y="1889"/>
                                </a:cubicBezTo>
                                <a:cubicBezTo>
                                  <a:pt x="977" y="1886"/>
                                  <a:pt x="981" y="1882"/>
                                  <a:pt x="985" y="1879"/>
                                </a:cubicBezTo>
                                <a:cubicBezTo>
                                  <a:pt x="990" y="1874"/>
                                  <a:pt x="994" y="1870"/>
                                  <a:pt x="1002" y="1869"/>
                                </a:cubicBezTo>
                                <a:cubicBezTo>
                                  <a:pt x="1006" y="1869"/>
                                  <a:pt x="1009" y="1868"/>
                                  <a:pt x="1011" y="1868"/>
                                </a:cubicBezTo>
                                <a:cubicBezTo>
                                  <a:pt x="1017" y="1866"/>
                                  <a:pt x="1021" y="1865"/>
                                  <a:pt x="1027" y="1870"/>
                                </a:cubicBezTo>
                                <a:cubicBezTo>
                                  <a:pt x="1030" y="1872"/>
                                  <a:pt x="1031" y="1874"/>
                                  <a:pt x="1033" y="1875"/>
                                </a:cubicBezTo>
                                <a:cubicBezTo>
                                  <a:pt x="1035" y="1878"/>
                                  <a:pt x="1036" y="1879"/>
                                  <a:pt x="1043" y="1881"/>
                                </a:cubicBezTo>
                                <a:cubicBezTo>
                                  <a:pt x="1047" y="1881"/>
                                  <a:pt x="1050" y="1882"/>
                                  <a:pt x="1052" y="1882"/>
                                </a:cubicBezTo>
                                <a:cubicBezTo>
                                  <a:pt x="1058" y="1883"/>
                                  <a:pt x="1060" y="1883"/>
                                  <a:pt x="1065" y="1885"/>
                                </a:cubicBezTo>
                                <a:cubicBezTo>
                                  <a:pt x="1067" y="1886"/>
                                  <a:pt x="1070" y="1885"/>
                                  <a:pt x="1074" y="1884"/>
                                </a:cubicBezTo>
                                <a:cubicBezTo>
                                  <a:pt x="1078" y="1883"/>
                                  <a:pt x="1084" y="1881"/>
                                  <a:pt x="1090" y="1881"/>
                                </a:cubicBezTo>
                                <a:cubicBezTo>
                                  <a:pt x="1096" y="1882"/>
                                  <a:pt x="1101" y="1883"/>
                                  <a:pt x="1104" y="1884"/>
                                </a:cubicBezTo>
                                <a:cubicBezTo>
                                  <a:pt x="1109" y="1885"/>
                                  <a:pt x="1111" y="1886"/>
                                  <a:pt x="1114" y="1889"/>
                                </a:cubicBezTo>
                                <a:cubicBezTo>
                                  <a:pt x="1117" y="1892"/>
                                  <a:pt x="1118" y="1896"/>
                                  <a:pt x="1119" y="1899"/>
                                </a:cubicBezTo>
                                <a:cubicBezTo>
                                  <a:pt x="1121" y="1899"/>
                                  <a:pt x="1124" y="1899"/>
                                  <a:pt x="1127" y="1899"/>
                                </a:cubicBezTo>
                                <a:cubicBezTo>
                                  <a:pt x="1131" y="1899"/>
                                  <a:pt x="1136" y="1899"/>
                                  <a:pt x="1142" y="1899"/>
                                </a:cubicBezTo>
                                <a:cubicBezTo>
                                  <a:pt x="1146" y="1899"/>
                                  <a:pt x="1149" y="1899"/>
                                  <a:pt x="1151" y="1899"/>
                                </a:cubicBezTo>
                                <a:cubicBezTo>
                                  <a:pt x="1157" y="1899"/>
                                  <a:pt x="1161" y="1899"/>
                                  <a:pt x="1167" y="1893"/>
                                </a:cubicBezTo>
                                <a:cubicBezTo>
                                  <a:pt x="1172" y="1888"/>
                                  <a:pt x="1172" y="1885"/>
                                  <a:pt x="1173" y="1883"/>
                                </a:cubicBezTo>
                                <a:cubicBezTo>
                                  <a:pt x="1174" y="1881"/>
                                  <a:pt x="1175" y="1878"/>
                                  <a:pt x="1179" y="1874"/>
                                </a:cubicBezTo>
                                <a:cubicBezTo>
                                  <a:pt x="1182" y="1871"/>
                                  <a:pt x="1184" y="1870"/>
                                  <a:pt x="1186" y="1868"/>
                                </a:cubicBezTo>
                                <a:cubicBezTo>
                                  <a:pt x="1189" y="1866"/>
                                  <a:pt x="1192" y="1864"/>
                                  <a:pt x="1196" y="1860"/>
                                </a:cubicBezTo>
                                <a:cubicBezTo>
                                  <a:pt x="1199" y="1857"/>
                                  <a:pt x="1200" y="1854"/>
                                  <a:pt x="1202" y="1852"/>
                                </a:cubicBezTo>
                                <a:cubicBezTo>
                                  <a:pt x="1205" y="1846"/>
                                  <a:pt x="1207" y="1841"/>
                                  <a:pt x="1219" y="1838"/>
                                </a:cubicBezTo>
                                <a:cubicBezTo>
                                  <a:pt x="1225" y="1837"/>
                                  <a:pt x="1229" y="1837"/>
                                  <a:pt x="1233" y="1837"/>
                                </a:cubicBezTo>
                                <a:cubicBezTo>
                                  <a:pt x="1238" y="1837"/>
                                  <a:pt x="1242" y="1837"/>
                                  <a:pt x="1248" y="1833"/>
                                </a:cubicBezTo>
                                <a:cubicBezTo>
                                  <a:pt x="1254" y="1829"/>
                                  <a:pt x="1257" y="1825"/>
                                  <a:pt x="1261" y="1821"/>
                                </a:cubicBezTo>
                                <a:cubicBezTo>
                                  <a:pt x="1266" y="1816"/>
                                  <a:pt x="1270" y="1812"/>
                                  <a:pt x="1276" y="1808"/>
                                </a:cubicBezTo>
                                <a:cubicBezTo>
                                  <a:pt x="1279" y="1806"/>
                                  <a:pt x="1281" y="1804"/>
                                  <a:pt x="1282" y="1802"/>
                                </a:cubicBezTo>
                                <a:cubicBezTo>
                                  <a:pt x="1288" y="1797"/>
                                  <a:pt x="1289" y="1795"/>
                                  <a:pt x="1301" y="1801"/>
                                </a:cubicBezTo>
                                <a:cubicBezTo>
                                  <a:pt x="1307" y="1805"/>
                                  <a:pt x="1313" y="1807"/>
                                  <a:pt x="1318" y="1808"/>
                                </a:cubicBezTo>
                                <a:cubicBezTo>
                                  <a:pt x="1324" y="1809"/>
                                  <a:pt x="1329" y="1810"/>
                                  <a:pt x="1333" y="1810"/>
                                </a:cubicBezTo>
                                <a:cubicBezTo>
                                  <a:pt x="1337" y="1811"/>
                                  <a:pt x="1340" y="1812"/>
                                  <a:pt x="1342" y="1813"/>
                                </a:cubicBezTo>
                                <a:cubicBezTo>
                                  <a:pt x="1344" y="1815"/>
                                  <a:pt x="1346" y="1816"/>
                                  <a:pt x="1352" y="1811"/>
                                </a:cubicBezTo>
                                <a:cubicBezTo>
                                  <a:pt x="1357" y="1808"/>
                                  <a:pt x="1362" y="1804"/>
                                  <a:pt x="1366" y="1800"/>
                                </a:cubicBezTo>
                                <a:cubicBezTo>
                                  <a:pt x="1371" y="1795"/>
                                  <a:pt x="1376" y="1791"/>
                                  <a:pt x="1381" y="1789"/>
                                </a:cubicBezTo>
                                <a:cubicBezTo>
                                  <a:pt x="1385" y="1788"/>
                                  <a:pt x="1389" y="1789"/>
                                  <a:pt x="1393" y="1790"/>
                                </a:cubicBezTo>
                                <a:cubicBezTo>
                                  <a:pt x="1397" y="1792"/>
                                  <a:pt x="1400" y="1795"/>
                                  <a:pt x="1402" y="1799"/>
                                </a:cubicBezTo>
                                <a:cubicBezTo>
                                  <a:pt x="1406" y="1805"/>
                                  <a:pt x="1401" y="1809"/>
                                  <a:pt x="1396" y="1813"/>
                                </a:cubicBezTo>
                                <a:cubicBezTo>
                                  <a:pt x="1393" y="1815"/>
                                  <a:pt x="1391" y="1816"/>
                                  <a:pt x="1391" y="1817"/>
                                </a:cubicBezTo>
                                <a:cubicBezTo>
                                  <a:pt x="1391" y="1818"/>
                                  <a:pt x="1391" y="1819"/>
                                  <a:pt x="1391" y="1819"/>
                                </a:cubicBezTo>
                                <a:cubicBezTo>
                                  <a:pt x="1391" y="1823"/>
                                  <a:pt x="1392" y="1825"/>
                                  <a:pt x="1392" y="1825"/>
                                </a:cubicBezTo>
                                <a:cubicBezTo>
                                  <a:pt x="1393" y="1825"/>
                                  <a:pt x="1394" y="1824"/>
                                  <a:pt x="1396" y="1823"/>
                                </a:cubicBezTo>
                                <a:cubicBezTo>
                                  <a:pt x="1400" y="1822"/>
                                  <a:pt x="1404" y="1820"/>
                                  <a:pt x="1409" y="1820"/>
                                </a:cubicBezTo>
                                <a:cubicBezTo>
                                  <a:pt x="1412" y="1820"/>
                                  <a:pt x="1415" y="1822"/>
                                  <a:pt x="1417" y="1824"/>
                                </a:cubicBezTo>
                                <a:cubicBezTo>
                                  <a:pt x="1419" y="1826"/>
                                  <a:pt x="1420" y="1828"/>
                                  <a:pt x="1421" y="1830"/>
                                </a:cubicBezTo>
                                <a:cubicBezTo>
                                  <a:pt x="1423" y="1832"/>
                                  <a:pt x="1423" y="1835"/>
                                  <a:pt x="1423" y="1837"/>
                                </a:cubicBezTo>
                                <a:cubicBezTo>
                                  <a:pt x="1423" y="1839"/>
                                  <a:pt x="1422" y="1840"/>
                                  <a:pt x="1421" y="1841"/>
                                </a:cubicBezTo>
                                <a:cubicBezTo>
                                  <a:pt x="1420" y="1842"/>
                                  <a:pt x="1418" y="1844"/>
                                  <a:pt x="1417" y="1845"/>
                                </a:cubicBezTo>
                                <a:cubicBezTo>
                                  <a:pt x="1413" y="1848"/>
                                  <a:pt x="1408" y="1852"/>
                                  <a:pt x="1407" y="1854"/>
                                </a:cubicBezTo>
                                <a:cubicBezTo>
                                  <a:pt x="1407" y="1855"/>
                                  <a:pt x="1407" y="1856"/>
                                  <a:pt x="1407" y="1857"/>
                                </a:cubicBezTo>
                                <a:cubicBezTo>
                                  <a:pt x="1406" y="1858"/>
                                  <a:pt x="1406" y="1859"/>
                                  <a:pt x="1406" y="1860"/>
                                </a:cubicBezTo>
                                <a:cubicBezTo>
                                  <a:pt x="1406" y="1860"/>
                                  <a:pt x="1406" y="1860"/>
                                  <a:pt x="1407" y="1860"/>
                                </a:cubicBezTo>
                                <a:cubicBezTo>
                                  <a:pt x="1411" y="1860"/>
                                  <a:pt x="1414" y="1860"/>
                                  <a:pt x="1418" y="1860"/>
                                </a:cubicBezTo>
                                <a:cubicBezTo>
                                  <a:pt x="1422" y="1860"/>
                                  <a:pt x="1425" y="1860"/>
                                  <a:pt x="1428" y="1860"/>
                                </a:cubicBezTo>
                                <a:cubicBezTo>
                                  <a:pt x="1431" y="1860"/>
                                  <a:pt x="1433" y="1860"/>
                                  <a:pt x="1435" y="1859"/>
                                </a:cubicBezTo>
                                <a:cubicBezTo>
                                  <a:pt x="1439" y="1858"/>
                                  <a:pt x="1442" y="1858"/>
                                  <a:pt x="1447" y="1860"/>
                                </a:cubicBezTo>
                                <a:cubicBezTo>
                                  <a:pt x="1451" y="1861"/>
                                  <a:pt x="1456" y="1866"/>
                                  <a:pt x="1461" y="1869"/>
                                </a:cubicBezTo>
                                <a:cubicBezTo>
                                  <a:pt x="1461" y="1867"/>
                                  <a:pt x="1462" y="1866"/>
                                  <a:pt x="1463" y="1865"/>
                                </a:cubicBezTo>
                                <a:cubicBezTo>
                                  <a:pt x="1466" y="1860"/>
                                  <a:pt x="1470" y="1856"/>
                                  <a:pt x="1472" y="1855"/>
                                </a:cubicBezTo>
                                <a:cubicBezTo>
                                  <a:pt x="1475" y="1853"/>
                                  <a:pt x="1478" y="1852"/>
                                  <a:pt x="1482" y="1854"/>
                                </a:cubicBezTo>
                                <a:cubicBezTo>
                                  <a:pt x="1485" y="1855"/>
                                  <a:pt x="1488" y="1857"/>
                                  <a:pt x="1493" y="1862"/>
                                </a:cubicBezTo>
                                <a:cubicBezTo>
                                  <a:pt x="1497" y="1865"/>
                                  <a:pt x="1500" y="1867"/>
                                  <a:pt x="1503" y="1869"/>
                                </a:cubicBezTo>
                                <a:cubicBezTo>
                                  <a:pt x="1507" y="1871"/>
                                  <a:pt x="1510" y="1873"/>
                                  <a:pt x="1514" y="1878"/>
                                </a:cubicBezTo>
                                <a:cubicBezTo>
                                  <a:pt x="1517" y="1883"/>
                                  <a:pt x="1517" y="1888"/>
                                  <a:pt x="1516" y="1893"/>
                                </a:cubicBezTo>
                                <a:cubicBezTo>
                                  <a:pt x="1516" y="1897"/>
                                  <a:pt x="1516" y="1902"/>
                                  <a:pt x="1519" y="1904"/>
                                </a:cubicBezTo>
                                <a:cubicBezTo>
                                  <a:pt x="1519" y="1904"/>
                                  <a:pt x="1519" y="1904"/>
                                  <a:pt x="1519" y="1904"/>
                                </a:cubicBezTo>
                                <a:cubicBezTo>
                                  <a:pt x="1521" y="1907"/>
                                  <a:pt x="1526" y="1907"/>
                                  <a:pt x="1530" y="1907"/>
                                </a:cubicBezTo>
                                <a:cubicBezTo>
                                  <a:pt x="1535" y="1908"/>
                                  <a:pt x="1540" y="1908"/>
                                  <a:pt x="1544" y="1911"/>
                                </a:cubicBezTo>
                                <a:cubicBezTo>
                                  <a:pt x="1552" y="1917"/>
                                  <a:pt x="1551" y="1922"/>
                                  <a:pt x="1551" y="1937"/>
                                </a:cubicBezTo>
                                <a:cubicBezTo>
                                  <a:pt x="1551" y="1940"/>
                                  <a:pt x="1551" y="1940"/>
                                  <a:pt x="1551" y="1940"/>
                                </a:cubicBezTo>
                                <a:cubicBezTo>
                                  <a:pt x="1550" y="1948"/>
                                  <a:pt x="1551" y="1951"/>
                                  <a:pt x="1552" y="1956"/>
                                </a:cubicBezTo>
                                <a:cubicBezTo>
                                  <a:pt x="1552" y="1959"/>
                                  <a:pt x="1553" y="1963"/>
                                  <a:pt x="1554" y="1970"/>
                                </a:cubicBezTo>
                                <a:cubicBezTo>
                                  <a:pt x="1555" y="1986"/>
                                  <a:pt x="1553" y="1989"/>
                                  <a:pt x="1549" y="1996"/>
                                </a:cubicBezTo>
                                <a:cubicBezTo>
                                  <a:pt x="1549" y="1997"/>
                                  <a:pt x="1548" y="1998"/>
                                  <a:pt x="1548" y="1999"/>
                                </a:cubicBezTo>
                                <a:cubicBezTo>
                                  <a:pt x="1546" y="2002"/>
                                  <a:pt x="1545" y="2004"/>
                                  <a:pt x="1544" y="2005"/>
                                </a:cubicBezTo>
                                <a:cubicBezTo>
                                  <a:pt x="1543" y="2008"/>
                                  <a:pt x="1542" y="2009"/>
                                  <a:pt x="1543" y="2013"/>
                                </a:cubicBezTo>
                                <a:cubicBezTo>
                                  <a:pt x="1544" y="2016"/>
                                  <a:pt x="1545" y="2018"/>
                                  <a:pt x="1546" y="2020"/>
                                </a:cubicBezTo>
                                <a:cubicBezTo>
                                  <a:pt x="1549" y="2025"/>
                                  <a:pt x="1550" y="2029"/>
                                  <a:pt x="1548" y="2034"/>
                                </a:cubicBezTo>
                                <a:cubicBezTo>
                                  <a:pt x="1546" y="2037"/>
                                  <a:pt x="1544" y="2040"/>
                                  <a:pt x="1541" y="2043"/>
                                </a:cubicBezTo>
                                <a:cubicBezTo>
                                  <a:pt x="1536" y="2047"/>
                                  <a:pt x="1530" y="2051"/>
                                  <a:pt x="1528" y="2053"/>
                                </a:cubicBezTo>
                                <a:cubicBezTo>
                                  <a:pt x="1525" y="2055"/>
                                  <a:pt x="1522" y="2055"/>
                                  <a:pt x="1519" y="2055"/>
                                </a:cubicBezTo>
                                <a:cubicBezTo>
                                  <a:pt x="1519" y="2055"/>
                                  <a:pt x="1519" y="2055"/>
                                  <a:pt x="1519" y="2055"/>
                                </a:cubicBezTo>
                                <a:cubicBezTo>
                                  <a:pt x="1518" y="2055"/>
                                  <a:pt x="1516" y="2055"/>
                                  <a:pt x="1515" y="2055"/>
                                </a:cubicBezTo>
                                <a:cubicBezTo>
                                  <a:pt x="1514" y="2056"/>
                                  <a:pt x="1514" y="2058"/>
                                  <a:pt x="1514" y="2059"/>
                                </a:cubicBezTo>
                                <a:cubicBezTo>
                                  <a:pt x="1513" y="2062"/>
                                  <a:pt x="1513" y="2064"/>
                                  <a:pt x="1510" y="2067"/>
                                </a:cubicBezTo>
                                <a:cubicBezTo>
                                  <a:pt x="1508" y="2069"/>
                                  <a:pt x="1505" y="2071"/>
                                  <a:pt x="1502" y="2073"/>
                                </a:cubicBezTo>
                                <a:cubicBezTo>
                                  <a:pt x="1502" y="2073"/>
                                  <a:pt x="1502" y="2073"/>
                                  <a:pt x="1502" y="2073"/>
                                </a:cubicBezTo>
                                <a:cubicBezTo>
                                  <a:pt x="1500" y="2074"/>
                                  <a:pt x="1498" y="2076"/>
                                  <a:pt x="1497" y="2076"/>
                                </a:cubicBezTo>
                                <a:cubicBezTo>
                                  <a:pt x="1497" y="2076"/>
                                  <a:pt x="1497" y="2076"/>
                                  <a:pt x="1497" y="2076"/>
                                </a:cubicBezTo>
                                <a:cubicBezTo>
                                  <a:pt x="1497" y="2077"/>
                                  <a:pt x="1496" y="2081"/>
                                  <a:pt x="1496" y="2085"/>
                                </a:cubicBezTo>
                                <a:cubicBezTo>
                                  <a:pt x="1496" y="2088"/>
                                  <a:pt x="1495" y="2092"/>
                                  <a:pt x="1495" y="2095"/>
                                </a:cubicBezTo>
                                <a:cubicBezTo>
                                  <a:pt x="1493" y="2100"/>
                                  <a:pt x="1490" y="2102"/>
                                  <a:pt x="1487" y="2104"/>
                                </a:cubicBezTo>
                                <a:cubicBezTo>
                                  <a:pt x="1485" y="2105"/>
                                  <a:pt x="1484" y="2106"/>
                                  <a:pt x="1483" y="2108"/>
                                </a:cubicBezTo>
                                <a:cubicBezTo>
                                  <a:pt x="1482" y="2109"/>
                                  <a:pt x="1482" y="2110"/>
                                  <a:pt x="1482" y="2110"/>
                                </a:cubicBezTo>
                                <a:cubicBezTo>
                                  <a:pt x="1480" y="2114"/>
                                  <a:pt x="1479" y="2116"/>
                                  <a:pt x="1480" y="2120"/>
                                </a:cubicBezTo>
                                <a:cubicBezTo>
                                  <a:pt x="1480" y="2123"/>
                                  <a:pt x="1482" y="2124"/>
                                  <a:pt x="1483" y="2125"/>
                                </a:cubicBezTo>
                                <a:cubicBezTo>
                                  <a:pt x="1485" y="2126"/>
                                  <a:pt x="1487" y="2128"/>
                                  <a:pt x="1489" y="2133"/>
                                </a:cubicBezTo>
                                <a:cubicBezTo>
                                  <a:pt x="1491" y="2140"/>
                                  <a:pt x="1488" y="2143"/>
                                  <a:pt x="1484" y="2147"/>
                                </a:cubicBezTo>
                                <a:cubicBezTo>
                                  <a:pt x="1483" y="2148"/>
                                  <a:pt x="1482" y="2149"/>
                                  <a:pt x="1482" y="2150"/>
                                </a:cubicBezTo>
                                <a:cubicBezTo>
                                  <a:pt x="1481" y="2152"/>
                                  <a:pt x="1480" y="2153"/>
                                  <a:pt x="1481" y="2154"/>
                                </a:cubicBezTo>
                                <a:cubicBezTo>
                                  <a:pt x="1481" y="2155"/>
                                  <a:pt x="1482" y="2156"/>
                                  <a:pt x="1484" y="2157"/>
                                </a:cubicBezTo>
                                <a:cubicBezTo>
                                  <a:pt x="1487" y="2159"/>
                                  <a:pt x="1493" y="2155"/>
                                  <a:pt x="1497" y="2153"/>
                                </a:cubicBezTo>
                                <a:cubicBezTo>
                                  <a:pt x="1498" y="2152"/>
                                  <a:pt x="1499" y="2152"/>
                                  <a:pt x="1500" y="2151"/>
                                </a:cubicBezTo>
                                <a:cubicBezTo>
                                  <a:pt x="1502" y="2150"/>
                                  <a:pt x="1503" y="2149"/>
                                  <a:pt x="1504" y="2148"/>
                                </a:cubicBezTo>
                                <a:cubicBezTo>
                                  <a:pt x="1507" y="2146"/>
                                  <a:pt x="1509" y="2144"/>
                                  <a:pt x="1517" y="2143"/>
                                </a:cubicBezTo>
                                <a:cubicBezTo>
                                  <a:pt x="1521" y="2143"/>
                                  <a:pt x="1524" y="2144"/>
                                  <a:pt x="1527" y="2145"/>
                                </a:cubicBezTo>
                                <a:cubicBezTo>
                                  <a:pt x="1530" y="2146"/>
                                  <a:pt x="1533" y="2146"/>
                                  <a:pt x="1536" y="2145"/>
                                </a:cubicBezTo>
                                <a:cubicBezTo>
                                  <a:pt x="1538" y="2144"/>
                                  <a:pt x="1540" y="2143"/>
                                  <a:pt x="1542" y="2142"/>
                                </a:cubicBezTo>
                                <a:cubicBezTo>
                                  <a:pt x="1548" y="2139"/>
                                  <a:pt x="1553" y="2137"/>
                                  <a:pt x="1558" y="2142"/>
                                </a:cubicBezTo>
                                <a:cubicBezTo>
                                  <a:pt x="1563" y="2146"/>
                                  <a:pt x="1560" y="2152"/>
                                  <a:pt x="1557" y="2158"/>
                                </a:cubicBezTo>
                                <a:cubicBezTo>
                                  <a:pt x="1555" y="2160"/>
                                  <a:pt x="1554" y="2163"/>
                                  <a:pt x="1554" y="2165"/>
                                </a:cubicBezTo>
                                <a:cubicBezTo>
                                  <a:pt x="1554" y="2168"/>
                                  <a:pt x="1554" y="2171"/>
                                  <a:pt x="1555" y="2174"/>
                                </a:cubicBezTo>
                                <a:cubicBezTo>
                                  <a:pt x="1556" y="2177"/>
                                  <a:pt x="1557" y="2181"/>
                                  <a:pt x="1559" y="2184"/>
                                </a:cubicBezTo>
                                <a:cubicBezTo>
                                  <a:pt x="1560" y="2187"/>
                                  <a:pt x="1561" y="2190"/>
                                  <a:pt x="1562" y="2192"/>
                                </a:cubicBezTo>
                                <a:cubicBezTo>
                                  <a:pt x="1564" y="2197"/>
                                  <a:pt x="1566" y="2202"/>
                                  <a:pt x="1571" y="2204"/>
                                </a:cubicBezTo>
                                <a:cubicBezTo>
                                  <a:pt x="1575" y="2206"/>
                                  <a:pt x="1579" y="2207"/>
                                  <a:pt x="1582" y="2208"/>
                                </a:cubicBezTo>
                                <a:cubicBezTo>
                                  <a:pt x="1586" y="2209"/>
                                  <a:pt x="1590" y="2210"/>
                                  <a:pt x="1593" y="2212"/>
                                </a:cubicBezTo>
                                <a:cubicBezTo>
                                  <a:pt x="1595" y="2214"/>
                                  <a:pt x="1597" y="2217"/>
                                  <a:pt x="1598" y="2219"/>
                                </a:cubicBezTo>
                                <a:cubicBezTo>
                                  <a:pt x="1600" y="2222"/>
                                  <a:pt x="1599" y="2225"/>
                                  <a:pt x="1598" y="2228"/>
                                </a:cubicBezTo>
                                <a:cubicBezTo>
                                  <a:pt x="1597" y="2230"/>
                                  <a:pt x="1596" y="2232"/>
                                  <a:pt x="1594" y="2235"/>
                                </a:cubicBezTo>
                                <a:cubicBezTo>
                                  <a:pt x="1591" y="2239"/>
                                  <a:pt x="1588" y="2243"/>
                                  <a:pt x="1587" y="2248"/>
                                </a:cubicBezTo>
                                <a:cubicBezTo>
                                  <a:pt x="1587" y="2248"/>
                                  <a:pt x="1586" y="2250"/>
                                  <a:pt x="1586" y="2252"/>
                                </a:cubicBezTo>
                                <a:cubicBezTo>
                                  <a:pt x="1584" y="2259"/>
                                  <a:pt x="1582" y="2266"/>
                                  <a:pt x="1583" y="2269"/>
                                </a:cubicBezTo>
                                <a:cubicBezTo>
                                  <a:pt x="1583" y="2270"/>
                                  <a:pt x="1583" y="2271"/>
                                  <a:pt x="1585" y="2271"/>
                                </a:cubicBezTo>
                                <a:cubicBezTo>
                                  <a:pt x="1587" y="2272"/>
                                  <a:pt x="1591" y="2272"/>
                                  <a:pt x="1596" y="2273"/>
                                </a:cubicBezTo>
                                <a:cubicBezTo>
                                  <a:pt x="1599" y="2273"/>
                                  <a:pt x="1602" y="2273"/>
                                  <a:pt x="1604" y="2273"/>
                                </a:cubicBezTo>
                                <a:cubicBezTo>
                                  <a:pt x="1609" y="2273"/>
                                  <a:pt x="1613" y="2273"/>
                                  <a:pt x="1620" y="2275"/>
                                </a:cubicBezTo>
                                <a:cubicBezTo>
                                  <a:pt x="1630" y="2279"/>
                                  <a:pt x="1630" y="2286"/>
                                  <a:pt x="1630" y="2293"/>
                                </a:cubicBezTo>
                                <a:cubicBezTo>
                                  <a:pt x="1630" y="2295"/>
                                  <a:pt x="1630" y="2297"/>
                                  <a:pt x="1630" y="2299"/>
                                </a:cubicBezTo>
                                <a:cubicBezTo>
                                  <a:pt x="1631" y="2303"/>
                                  <a:pt x="1634" y="2309"/>
                                  <a:pt x="1637" y="2313"/>
                                </a:cubicBezTo>
                                <a:cubicBezTo>
                                  <a:pt x="1637" y="2313"/>
                                  <a:pt x="1637" y="2313"/>
                                  <a:pt x="1637" y="2313"/>
                                </a:cubicBezTo>
                                <a:cubicBezTo>
                                  <a:pt x="1638" y="2315"/>
                                  <a:pt x="1640" y="2317"/>
                                  <a:pt x="1641" y="2317"/>
                                </a:cubicBezTo>
                                <a:cubicBezTo>
                                  <a:pt x="1643" y="2317"/>
                                  <a:pt x="1645" y="2316"/>
                                  <a:pt x="1647" y="2314"/>
                                </a:cubicBezTo>
                                <a:cubicBezTo>
                                  <a:pt x="1649" y="2312"/>
                                  <a:pt x="1652" y="2310"/>
                                  <a:pt x="1657" y="2308"/>
                                </a:cubicBezTo>
                                <a:cubicBezTo>
                                  <a:pt x="1661" y="2306"/>
                                  <a:pt x="1666" y="2304"/>
                                  <a:pt x="1670" y="2302"/>
                                </a:cubicBezTo>
                                <a:cubicBezTo>
                                  <a:pt x="1675" y="2301"/>
                                  <a:pt x="1679" y="2299"/>
                                  <a:pt x="1682" y="2299"/>
                                </a:cubicBezTo>
                                <a:cubicBezTo>
                                  <a:pt x="1686" y="2298"/>
                                  <a:pt x="1690" y="2298"/>
                                  <a:pt x="1694" y="2300"/>
                                </a:cubicBezTo>
                                <a:cubicBezTo>
                                  <a:pt x="1697" y="2301"/>
                                  <a:pt x="1700" y="2304"/>
                                  <a:pt x="1702" y="2309"/>
                                </a:cubicBezTo>
                                <a:cubicBezTo>
                                  <a:pt x="1704" y="2313"/>
                                  <a:pt x="1705" y="2316"/>
                                  <a:pt x="1706" y="2319"/>
                                </a:cubicBezTo>
                                <a:cubicBezTo>
                                  <a:pt x="1707" y="2323"/>
                                  <a:pt x="1708" y="2326"/>
                                  <a:pt x="1710" y="2329"/>
                                </a:cubicBezTo>
                                <a:cubicBezTo>
                                  <a:pt x="1712" y="2331"/>
                                  <a:pt x="1714" y="2333"/>
                                  <a:pt x="1717" y="2335"/>
                                </a:cubicBezTo>
                                <a:cubicBezTo>
                                  <a:pt x="1720" y="2336"/>
                                  <a:pt x="1723" y="2337"/>
                                  <a:pt x="1727" y="2337"/>
                                </a:cubicBezTo>
                                <a:cubicBezTo>
                                  <a:pt x="1731" y="2337"/>
                                  <a:pt x="1734" y="2337"/>
                                  <a:pt x="1735" y="2336"/>
                                </a:cubicBezTo>
                                <a:cubicBezTo>
                                  <a:pt x="1735" y="2336"/>
                                  <a:pt x="1734" y="2336"/>
                                  <a:pt x="1734" y="2334"/>
                                </a:cubicBezTo>
                                <a:cubicBezTo>
                                  <a:pt x="1734" y="2331"/>
                                  <a:pt x="1733" y="2329"/>
                                  <a:pt x="1733" y="2327"/>
                                </a:cubicBezTo>
                                <a:cubicBezTo>
                                  <a:pt x="1732" y="2323"/>
                                  <a:pt x="1731" y="2319"/>
                                  <a:pt x="1731" y="2311"/>
                                </a:cubicBezTo>
                                <a:cubicBezTo>
                                  <a:pt x="1731" y="2307"/>
                                  <a:pt x="1731" y="2303"/>
                                  <a:pt x="1732" y="2301"/>
                                </a:cubicBezTo>
                                <a:cubicBezTo>
                                  <a:pt x="1732" y="2298"/>
                                  <a:pt x="1732" y="2296"/>
                                  <a:pt x="1731" y="2294"/>
                                </a:cubicBezTo>
                                <a:cubicBezTo>
                                  <a:pt x="1730" y="2292"/>
                                  <a:pt x="1728" y="2290"/>
                                  <a:pt x="1727" y="2289"/>
                                </a:cubicBezTo>
                                <a:cubicBezTo>
                                  <a:pt x="1727" y="2289"/>
                                  <a:pt x="1727" y="2289"/>
                                  <a:pt x="1727" y="2289"/>
                                </a:cubicBezTo>
                                <a:cubicBezTo>
                                  <a:pt x="1723" y="2284"/>
                                  <a:pt x="1720" y="2279"/>
                                  <a:pt x="1719" y="2273"/>
                                </a:cubicBezTo>
                                <a:cubicBezTo>
                                  <a:pt x="1719" y="2269"/>
                                  <a:pt x="1721" y="2265"/>
                                  <a:pt x="1724" y="2261"/>
                                </a:cubicBezTo>
                                <a:cubicBezTo>
                                  <a:pt x="1727" y="2257"/>
                                  <a:pt x="1732" y="2253"/>
                                  <a:pt x="1736" y="2252"/>
                                </a:cubicBezTo>
                                <a:cubicBezTo>
                                  <a:pt x="1741" y="2251"/>
                                  <a:pt x="1744" y="2251"/>
                                  <a:pt x="1750" y="2252"/>
                                </a:cubicBezTo>
                                <a:cubicBezTo>
                                  <a:pt x="1751" y="2253"/>
                                  <a:pt x="1753" y="2253"/>
                                  <a:pt x="1755" y="2253"/>
                                </a:cubicBezTo>
                                <a:cubicBezTo>
                                  <a:pt x="1759" y="2254"/>
                                  <a:pt x="1763" y="2249"/>
                                  <a:pt x="1766" y="2245"/>
                                </a:cubicBezTo>
                                <a:cubicBezTo>
                                  <a:pt x="1768" y="2243"/>
                                  <a:pt x="1770" y="2241"/>
                                  <a:pt x="1772" y="2239"/>
                                </a:cubicBezTo>
                                <a:cubicBezTo>
                                  <a:pt x="1775" y="2236"/>
                                  <a:pt x="1778" y="2234"/>
                                  <a:pt x="1782" y="2235"/>
                                </a:cubicBezTo>
                                <a:cubicBezTo>
                                  <a:pt x="1785" y="2235"/>
                                  <a:pt x="1788" y="2236"/>
                                  <a:pt x="1792" y="2238"/>
                                </a:cubicBezTo>
                                <a:cubicBezTo>
                                  <a:pt x="1794" y="2239"/>
                                  <a:pt x="1797" y="2241"/>
                                  <a:pt x="1799" y="2243"/>
                                </a:cubicBezTo>
                                <a:cubicBezTo>
                                  <a:pt x="1799" y="2243"/>
                                  <a:pt x="1799" y="2243"/>
                                  <a:pt x="1799" y="2243"/>
                                </a:cubicBezTo>
                                <a:cubicBezTo>
                                  <a:pt x="1803" y="2246"/>
                                  <a:pt x="1808" y="2249"/>
                                  <a:pt x="1812" y="2249"/>
                                </a:cubicBezTo>
                                <a:cubicBezTo>
                                  <a:pt x="1815" y="2250"/>
                                  <a:pt x="1818" y="2245"/>
                                  <a:pt x="1822" y="2241"/>
                                </a:cubicBezTo>
                                <a:cubicBezTo>
                                  <a:pt x="1826" y="2237"/>
                                  <a:pt x="1829" y="2232"/>
                                  <a:pt x="1834" y="2233"/>
                                </a:cubicBezTo>
                                <a:cubicBezTo>
                                  <a:pt x="1834" y="2233"/>
                                  <a:pt x="1834" y="2233"/>
                                  <a:pt x="1834" y="2233"/>
                                </a:cubicBezTo>
                                <a:cubicBezTo>
                                  <a:pt x="1838" y="2234"/>
                                  <a:pt x="1840" y="2236"/>
                                  <a:pt x="1842" y="2238"/>
                                </a:cubicBezTo>
                                <a:cubicBezTo>
                                  <a:pt x="1843" y="2238"/>
                                  <a:pt x="1844" y="2239"/>
                                  <a:pt x="1844" y="2239"/>
                                </a:cubicBezTo>
                                <a:cubicBezTo>
                                  <a:pt x="1844" y="2239"/>
                                  <a:pt x="1844" y="2239"/>
                                  <a:pt x="1844" y="2239"/>
                                </a:cubicBezTo>
                                <a:cubicBezTo>
                                  <a:pt x="1844" y="2239"/>
                                  <a:pt x="1844" y="2239"/>
                                  <a:pt x="1845" y="2239"/>
                                </a:cubicBezTo>
                                <a:cubicBezTo>
                                  <a:pt x="1846" y="2237"/>
                                  <a:pt x="1848" y="2236"/>
                                  <a:pt x="1853" y="2237"/>
                                </a:cubicBezTo>
                                <a:cubicBezTo>
                                  <a:pt x="1853" y="2237"/>
                                  <a:pt x="1854" y="2237"/>
                                  <a:pt x="1855" y="2237"/>
                                </a:cubicBezTo>
                                <a:cubicBezTo>
                                  <a:pt x="1860" y="2238"/>
                                  <a:pt x="1865" y="2239"/>
                                  <a:pt x="1871" y="2244"/>
                                </a:cubicBezTo>
                                <a:cubicBezTo>
                                  <a:pt x="1872" y="2245"/>
                                  <a:pt x="1873" y="2243"/>
                                  <a:pt x="1876" y="2240"/>
                                </a:cubicBezTo>
                                <a:cubicBezTo>
                                  <a:pt x="1879" y="2238"/>
                                  <a:pt x="1882" y="2234"/>
                                  <a:pt x="1886" y="2233"/>
                                </a:cubicBezTo>
                                <a:cubicBezTo>
                                  <a:pt x="1893" y="2231"/>
                                  <a:pt x="1895" y="2231"/>
                                  <a:pt x="1899" y="2232"/>
                                </a:cubicBezTo>
                                <a:cubicBezTo>
                                  <a:pt x="1900" y="2232"/>
                                  <a:pt x="1901" y="2232"/>
                                  <a:pt x="1903" y="2232"/>
                                </a:cubicBezTo>
                                <a:cubicBezTo>
                                  <a:pt x="1907" y="2232"/>
                                  <a:pt x="1916" y="2223"/>
                                  <a:pt x="1924" y="2215"/>
                                </a:cubicBezTo>
                                <a:cubicBezTo>
                                  <a:pt x="1927" y="2212"/>
                                  <a:pt x="1930" y="2210"/>
                                  <a:pt x="1932" y="2208"/>
                                </a:cubicBezTo>
                                <a:cubicBezTo>
                                  <a:pt x="1934" y="2207"/>
                                  <a:pt x="1935" y="2205"/>
                                  <a:pt x="1936" y="2204"/>
                                </a:cubicBezTo>
                                <a:cubicBezTo>
                                  <a:pt x="1942" y="2199"/>
                                  <a:pt x="1945" y="2196"/>
                                  <a:pt x="1953" y="2196"/>
                                </a:cubicBezTo>
                                <a:cubicBezTo>
                                  <a:pt x="1960" y="2197"/>
                                  <a:pt x="1962" y="2199"/>
                                  <a:pt x="1967" y="2204"/>
                                </a:cubicBezTo>
                                <a:cubicBezTo>
                                  <a:pt x="1970" y="2206"/>
                                  <a:pt x="1973" y="2210"/>
                                  <a:pt x="1979" y="2214"/>
                                </a:cubicBezTo>
                                <a:cubicBezTo>
                                  <a:pt x="1990" y="2222"/>
                                  <a:pt x="1999" y="2222"/>
                                  <a:pt x="2010" y="2221"/>
                                </a:cubicBezTo>
                                <a:cubicBezTo>
                                  <a:pt x="2012" y="2221"/>
                                  <a:pt x="2015" y="2221"/>
                                  <a:pt x="2016" y="2221"/>
                                </a:cubicBezTo>
                                <a:cubicBezTo>
                                  <a:pt x="2020" y="2221"/>
                                  <a:pt x="2022" y="2221"/>
                                  <a:pt x="2023" y="2221"/>
                                </a:cubicBezTo>
                                <a:cubicBezTo>
                                  <a:pt x="2035" y="2221"/>
                                  <a:pt x="2040" y="2221"/>
                                  <a:pt x="2044" y="2227"/>
                                </a:cubicBezTo>
                                <a:cubicBezTo>
                                  <a:pt x="2047" y="2230"/>
                                  <a:pt x="2046" y="2234"/>
                                  <a:pt x="2045" y="2238"/>
                                </a:cubicBezTo>
                                <a:cubicBezTo>
                                  <a:pt x="2043" y="2241"/>
                                  <a:pt x="2041" y="2245"/>
                                  <a:pt x="2039" y="2248"/>
                                </a:cubicBezTo>
                                <a:cubicBezTo>
                                  <a:pt x="2038" y="2251"/>
                                  <a:pt x="2037" y="2252"/>
                                  <a:pt x="2037" y="2254"/>
                                </a:cubicBezTo>
                                <a:cubicBezTo>
                                  <a:pt x="2037" y="2257"/>
                                  <a:pt x="2039" y="2260"/>
                                  <a:pt x="2041" y="2266"/>
                                </a:cubicBezTo>
                                <a:cubicBezTo>
                                  <a:pt x="2044" y="2273"/>
                                  <a:pt x="2044" y="2276"/>
                                  <a:pt x="2043" y="2279"/>
                                </a:cubicBezTo>
                                <a:cubicBezTo>
                                  <a:pt x="2043" y="2280"/>
                                  <a:pt x="2043" y="2281"/>
                                  <a:pt x="2046" y="2282"/>
                                </a:cubicBezTo>
                                <a:cubicBezTo>
                                  <a:pt x="2051" y="2284"/>
                                  <a:pt x="2054" y="2285"/>
                                  <a:pt x="2058" y="2285"/>
                                </a:cubicBezTo>
                                <a:cubicBezTo>
                                  <a:pt x="2062" y="2286"/>
                                  <a:pt x="2065" y="2286"/>
                                  <a:pt x="2068" y="2289"/>
                                </a:cubicBezTo>
                                <a:cubicBezTo>
                                  <a:pt x="2070" y="2291"/>
                                  <a:pt x="2070" y="2292"/>
                                  <a:pt x="2071" y="2294"/>
                                </a:cubicBezTo>
                                <a:cubicBezTo>
                                  <a:pt x="2072" y="2296"/>
                                  <a:pt x="2073" y="2299"/>
                                  <a:pt x="2080" y="2302"/>
                                </a:cubicBezTo>
                                <a:cubicBezTo>
                                  <a:pt x="2086" y="2304"/>
                                  <a:pt x="2089" y="2304"/>
                                  <a:pt x="2092" y="2304"/>
                                </a:cubicBezTo>
                                <a:cubicBezTo>
                                  <a:pt x="2095" y="2304"/>
                                  <a:pt x="2099" y="2305"/>
                                  <a:pt x="2107" y="2307"/>
                                </a:cubicBezTo>
                                <a:cubicBezTo>
                                  <a:pt x="2112" y="2308"/>
                                  <a:pt x="2116" y="2310"/>
                                  <a:pt x="2119" y="2311"/>
                                </a:cubicBezTo>
                                <a:cubicBezTo>
                                  <a:pt x="2124" y="2310"/>
                                  <a:pt x="2129" y="2308"/>
                                  <a:pt x="2131" y="2308"/>
                                </a:cubicBezTo>
                                <a:cubicBezTo>
                                  <a:pt x="2136" y="2306"/>
                                  <a:pt x="2140" y="2305"/>
                                  <a:pt x="2143" y="2304"/>
                                </a:cubicBezTo>
                                <a:cubicBezTo>
                                  <a:pt x="2147" y="2302"/>
                                  <a:pt x="2146" y="2296"/>
                                  <a:pt x="2147" y="2292"/>
                                </a:cubicBezTo>
                                <a:cubicBezTo>
                                  <a:pt x="2148" y="2288"/>
                                  <a:pt x="2153" y="2288"/>
                                  <a:pt x="2157" y="2289"/>
                                </a:cubicBezTo>
                                <a:cubicBezTo>
                                  <a:pt x="2162" y="2291"/>
                                  <a:pt x="2160" y="2295"/>
                                  <a:pt x="2163" y="2298"/>
                                </a:cubicBezTo>
                                <a:cubicBezTo>
                                  <a:pt x="2166" y="2301"/>
                                  <a:pt x="2169" y="2301"/>
                                  <a:pt x="2175" y="2300"/>
                                </a:cubicBezTo>
                                <a:cubicBezTo>
                                  <a:pt x="2181" y="2299"/>
                                  <a:pt x="2179" y="2301"/>
                                  <a:pt x="2181" y="2304"/>
                                </a:cubicBezTo>
                                <a:cubicBezTo>
                                  <a:pt x="2183" y="2308"/>
                                  <a:pt x="2184" y="2305"/>
                                  <a:pt x="2189" y="2311"/>
                                </a:cubicBezTo>
                                <a:cubicBezTo>
                                  <a:pt x="2194" y="2316"/>
                                  <a:pt x="2193" y="2321"/>
                                  <a:pt x="2198" y="2320"/>
                                </a:cubicBezTo>
                                <a:cubicBezTo>
                                  <a:pt x="2203" y="2320"/>
                                  <a:pt x="2203" y="2317"/>
                                  <a:pt x="2208" y="2317"/>
                                </a:cubicBezTo>
                                <a:cubicBezTo>
                                  <a:pt x="2212" y="2316"/>
                                  <a:pt x="2214" y="2316"/>
                                  <a:pt x="2215" y="2314"/>
                                </a:cubicBezTo>
                                <a:cubicBezTo>
                                  <a:pt x="2216" y="2311"/>
                                  <a:pt x="2212" y="2310"/>
                                  <a:pt x="2212" y="2307"/>
                                </a:cubicBezTo>
                                <a:cubicBezTo>
                                  <a:pt x="2211" y="2304"/>
                                  <a:pt x="2213" y="2302"/>
                                  <a:pt x="2215" y="2300"/>
                                </a:cubicBezTo>
                                <a:cubicBezTo>
                                  <a:pt x="2217" y="2298"/>
                                  <a:pt x="2222" y="2300"/>
                                  <a:pt x="2224" y="2304"/>
                                </a:cubicBezTo>
                                <a:cubicBezTo>
                                  <a:pt x="2226" y="2308"/>
                                  <a:pt x="2227" y="2309"/>
                                  <a:pt x="2232" y="2312"/>
                                </a:cubicBezTo>
                                <a:cubicBezTo>
                                  <a:pt x="2237" y="2314"/>
                                  <a:pt x="2243" y="2315"/>
                                  <a:pt x="2242" y="2319"/>
                                </a:cubicBezTo>
                                <a:cubicBezTo>
                                  <a:pt x="2241" y="2323"/>
                                  <a:pt x="2237" y="2324"/>
                                  <a:pt x="2235" y="2328"/>
                                </a:cubicBezTo>
                                <a:cubicBezTo>
                                  <a:pt x="2233" y="2332"/>
                                  <a:pt x="2233" y="2334"/>
                                  <a:pt x="2230" y="2338"/>
                                </a:cubicBezTo>
                                <a:cubicBezTo>
                                  <a:pt x="2227" y="2341"/>
                                  <a:pt x="2227" y="2344"/>
                                  <a:pt x="2225" y="2348"/>
                                </a:cubicBezTo>
                                <a:cubicBezTo>
                                  <a:pt x="2224" y="2352"/>
                                  <a:pt x="2224" y="2364"/>
                                  <a:pt x="2226" y="2368"/>
                                </a:cubicBezTo>
                                <a:cubicBezTo>
                                  <a:pt x="2227" y="2372"/>
                                  <a:pt x="2235" y="2378"/>
                                  <a:pt x="2237" y="2383"/>
                                </a:cubicBezTo>
                                <a:cubicBezTo>
                                  <a:pt x="2238" y="2388"/>
                                  <a:pt x="2242" y="2396"/>
                                  <a:pt x="2244" y="2399"/>
                                </a:cubicBezTo>
                                <a:cubicBezTo>
                                  <a:pt x="2246" y="2402"/>
                                  <a:pt x="2251" y="2400"/>
                                  <a:pt x="2254" y="2400"/>
                                </a:cubicBezTo>
                                <a:cubicBezTo>
                                  <a:pt x="2258" y="2400"/>
                                  <a:pt x="2258" y="2396"/>
                                  <a:pt x="2263" y="2394"/>
                                </a:cubicBezTo>
                                <a:cubicBezTo>
                                  <a:pt x="2267" y="2391"/>
                                  <a:pt x="2272" y="2390"/>
                                  <a:pt x="2273" y="2387"/>
                                </a:cubicBezTo>
                                <a:cubicBezTo>
                                  <a:pt x="2274" y="2385"/>
                                  <a:pt x="2272" y="2382"/>
                                  <a:pt x="2270" y="2380"/>
                                </a:cubicBezTo>
                                <a:cubicBezTo>
                                  <a:pt x="2268" y="2378"/>
                                  <a:pt x="2265" y="2376"/>
                                  <a:pt x="2264" y="2372"/>
                                </a:cubicBezTo>
                                <a:cubicBezTo>
                                  <a:pt x="2263" y="2369"/>
                                  <a:pt x="2263" y="2366"/>
                                  <a:pt x="2260" y="2361"/>
                                </a:cubicBezTo>
                                <a:cubicBezTo>
                                  <a:pt x="2258" y="2357"/>
                                  <a:pt x="2255" y="2359"/>
                                  <a:pt x="2254" y="2355"/>
                                </a:cubicBezTo>
                                <a:cubicBezTo>
                                  <a:pt x="2253" y="2351"/>
                                  <a:pt x="2252" y="2347"/>
                                  <a:pt x="2254" y="2345"/>
                                </a:cubicBezTo>
                                <a:cubicBezTo>
                                  <a:pt x="2257" y="2342"/>
                                  <a:pt x="2261" y="2340"/>
                                  <a:pt x="2263" y="2338"/>
                                </a:cubicBezTo>
                                <a:cubicBezTo>
                                  <a:pt x="2265" y="2335"/>
                                  <a:pt x="2265" y="2333"/>
                                  <a:pt x="2264" y="2330"/>
                                </a:cubicBezTo>
                                <a:cubicBezTo>
                                  <a:pt x="2262" y="2328"/>
                                  <a:pt x="2262" y="2321"/>
                                  <a:pt x="2268" y="2320"/>
                                </a:cubicBezTo>
                                <a:cubicBezTo>
                                  <a:pt x="2273" y="2318"/>
                                  <a:pt x="2275" y="2326"/>
                                  <a:pt x="2278" y="2329"/>
                                </a:cubicBezTo>
                                <a:cubicBezTo>
                                  <a:pt x="2280" y="2333"/>
                                  <a:pt x="2282" y="2332"/>
                                  <a:pt x="2291" y="2329"/>
                                </a:cubicBezTo>
                                <a:cubicBezTo>
                                  <a:pt x="2299" y="2326"/>
                                  <a:pt x="2293" y="2325"/>
                                  <a:pt x="2299" y="2322"/>
                                </a:cubicBezTo>
                                <a:cubicBezTo>
                                  <a:pt x="2305" y="2320"/>
                                  <a:pt x="2313" y="2317"/>
                                  <a:pt x="2321" y="2314"/>
                                </a:cubicBezTo>
                                <a:cubicBezTo>
                                  <a:pt x="2329" y="2310"/>
                                  <a:pt x="2335" y="2308"/>
                                  <a:pt x="2340" y="2308"/>
                                </a:cubicBezTo>
                                <a:cubicBezTo>
                                  <a:pt x="2344" y="2308"/>
                                  <a:pt x="2352" y="2306"/>
                                  <a:pt x="2354" y="2304"/>
                                </a:cubicBezTo>
                                <a:cubicBezTo>
                                  <a:pt x="2356" y="2302"/>
                                  <a:pt x="2360" y="2303"/>
                                  <a:pt x="2362" y="2300"/>
                                </a:cubicBezTo>
                                <a:cubicBezTo>
                                  <a:pt x="2364" y="2297"/>
                                  <a:pt x="2364" y="2293"/>
                                  <a:pt x="2369" y="2293"/>
                                </a:cubicBezTo>
                                <a:cubicBezTo>
                                  <a:pt x="2374" y="2293"/>
                                  <a:pt x="2376" y="2295"/>
                                  <a:pt x="2378" y="2297"/>
                                </a:cubicBezTo>
                                <a:cubicBezTo>
                                  <a:pt x="2381" y="2300"/>
                                  <a:pt x="2386" y="2297"/>
                                  <a:pt x="2386" y="2293"/>
                                </a:cubicBezTo>
                                <a:cubicBezTo>
                                  <a:pt x="2386" y="2290"/>
                                  <a:pt x="2390" y="2282"/>
                                  <a:pt x="2393" y="2281"/>
                                </a:cubicBezTo>
                                <a:cubicBezTo>
                                  <a:pt x="2396" y="2281"/>
                                  <a:pt x="2397" y="2287"/>
                                  <a:pt x="2400" y="2288"/>
                                </a:cubicBezTo>
                                <a:cubicBezTo>
                                  <a:pt x="2403" y="2289"/>
                                  <a:pt x="2407" y="2289"/>
                                  <a:pt x="2411" y="2286"/>
                                </a:cubicBezTo>
                                <a:cubicBezTo>
                                  <a:pt x="2415" y="2284"/>
                                  <a:pt x="2420" y="2286"/>
                                  <a:pt x="2425" y="2286"/>
                                </a:cubicBezTo>
                                <a:cubicBezTo>
                                  <a:pt x="2430" y="2286"/>
                                  <a:pt x="2432" y="2283"/>
                                  <a:pt x="2436" y="2281"/>
                                </a:cubicBezTo>
                                <a:cubicBezTo>
                                  <a:pt x="2440" y="2278"/>
                                  <a:pt x="2446" y="2280"/>
                                  <a:pt x="2454" y="2279"/>
                                </a:cubicBezTo>
                                <a:cubicBezTo>
                                  <a:pt x="2462" y="2279"/>
                                  <a:pt x="2464" y="2271"/>
                                  <a:pt x="2466" y="2268"/>
                                </a:cubicBezTo>
                                <a:cubicBezTo>
                                  <a:pt x="2468" y="2266"/>
                                  <a:pt x="2464" y="2256"/>
                                  <a:pt x="2465" y="2253"/>
                                </a:cubicBezTo>
                                <a:cubicBezTo>
                                  <a:pt x="2465" y="2249"/>
                                  <a:pt x="2461" y="2240"/>
                                  <a:pt x="2458" y="2236"/>
                                </a:cubicBezTo>
                                <a:cubicBezTo>
                                  <a:pt x="2455" y="2231"/>
                                  <a:pt x="2453" y="2227"/>
                                  <a:pt x="2453" y="2225"/>
                                </a:cubicBezTo>
                                <a:cubicBezTo>
                                  <a:pt x="2452" y="2223"/>
                                  <a:pt x="2454" y="2218"/>
                                  <a:pt x="2456" y="2215"/>
                                </a:cubicBezTo>
                                <a:cubicBezTo>
                                  <a:pt x="2458" y="2213"/>
                                  <a:pt x="2465" y="2211"/>
                                  <a:pt x="2469" y="2210"/>
                                </a:cubicBezTo>
                                <a:cubicBezTo>
                                  <a:pt x="2473" y="2209"/>
                                  <a:pt x="2479" y="2210"/>
                                  <a:pt x="2481" y="2211"/>
                                </a:cubicBezTo>
                                <a:cubicBezTo>
                                  <a:pt x="2484" y="2212"/>
                                  <a:pt x="2483" y="2217"/>
                                  <a:pt x="2479" y="2219"/>
                                </a:cubicBezTo>
                                <a:cubicBezTo>
                                  <a:pt x="2476" y="2221"/>
                                  <a:pt x="2472" y="2222"/>
                                  <a:pt x="2470" y="2224"/>
                                </a:cubicBezTo>
                                <a:cubicBezTo>
                                  <a:pt x="2468" y="2225"/>
                                  <a:pt x="2471" y="2227"/>
                                  <a:pt x="2474" y="2233"/>
                                </a:cubicBezTo>
                                <a:cubicBezTo>
                                  <a:pt x="2478" y="2239"/>
                                  <a:pt x="2480" y="2241"/>
                                  <a:pt x="2484" y="2244"/>
                                </a:cubicBezTo>
                                <a:cubicBezTo>
                                  <a:pt x="2489" y="2248"/>
                                  <a:pt x="2491" y="2249"/>
                                  <a:pt x="2493" y="2253"/>
                                </a:cubicBezTo>
                                <a:cubicBezTo>
                                  <a:pt x="2494" y="2258"/>
                                  <a:pt x="2498" y="2258"/>
                                  <a:pt x="2503" y="2260"/>
                                </a:cubicBezTo>
                                <a:cubicBezTo>
                                  <a:pt x="2507" y="2262"/>
                                  <a:pt x="2511" y="2256"/>
                                  <a:pt x="2514" y="2255"/>
                                </a:cubicBezTo>
                                <a:cubicBezTo>
                                  <a:pt x="2517" y="2254"/>
                                  <a:pt x="2521" y="2255"/>
                                  <a:pt x="2524" y="2253"/>
                                </a:cubicBezTo>
                                <a:cubicBezTo>
                                  <a:pt x="2527" y="2252"/>
                                  <a:pt x="2526" y="2250"/>
                                  <a:pt x="2526" y="2246"/>
                                </a:cubicBezTo>
                                <a:cubicBezTo>
                                  <a:pt x="2526" y="2242"/>
                                  <a:pt x="2524" y="2242"/>
                                  <a:pt x="2525" y="2238"/>
                                </a:cubicBezTo>
                                <a:cubicBezTo>
                                  <a:pt x="2526" y="2234"/>
                                  <a:pt x="2537" y="2229"/>
                                  <a:pt x="2540" y="2230"/>
                                </a:cubicBezTo>
                                <a:cubicBezTo>
                                  <a:pt x="2543" y="2230"/>
                                  <a:pt x="2541" y="2234"/>
                                  <a:pt x="2540" y="2239"/>
                                </a:cubicBezTo>
                                <a:cubicBezTo>
                                  <a:pt x="2539" y="2244"/>
                                  <a:pt x="2543" y="2244"/>
                                  <a:pt x="2546" y="2246"/>
                                </a:cubicBezTo>
                                <a:cubicBezTo>
                                  <a:pt x="2549" y="2248"/>
                                  <a:pt x="2551" y="2245"/>
                                  <a:pt x="2555" y="2243"/>
                                </a:cubicBezTo>
                                <a:cubicBezTo>
                                  <a:pt x="2558" y="2241"/>
                                  <a:pt x="2558" y="2238"/>
                                  <a:pt x="2561" y="2233"/>
                                </a:cubicBezTo>
                                <a:cubicBezTo>
                                  <a:pt x="2564" y="2229"/>
                                  <a:pt x="2569" y="2228"/>
                                  <a:pt x="2572" y="2229"/>
                                </a:cubicBezTo>
                                <a:cubicBezTo>
                                  <a:pt x="2576" y="2230"/>
                                  <a:pt x="2575" y="2234"/>
                                  <a:pt x="2575" y="2238"/>
                                </a:cubicBezTo>
                                <a:cubicBezTo>
                                  <a:pt x="2576" y="2241"/>
                                  <a:pt x="2582" y="2239"/>
                                  <a:pt x="2584" y="2238"/>
                                </a:cubicBezTo>
                                <a:cubicBezTo>
                                  <a:pt x="2587" y="2236"/>
                                  <a:pt x="2583" y="2231"/>
                                  <a:pt x="2583" y="2227"/>
                                </a:cubicBezTo>
                                <a:cubicBezTo>
                                  <a:pt x="2583" y="2223"/>
                                  <a:pt x="2586" y="2222"/>
                                  <a:pt x="2590" y="2221"/>
                                </a:cubicBezTo>
                                <a:cubicBezTo>
                                  <a:pt x="2593" y="2221"/>
                                  <a:pt x="2597" y="2224"/>
                                  <a:pt x="2598" y="2228"/>
                                </a:cubicBezTo>
                                <a:cubicBezTo>
                                  <a:pt x="2600" y="2233"/>
                                  <a:pt x="2603" y="2235"/>
                                  <a:pt x="2607" y="2233"/>
                                </a:cubicBezTo>
                                <a:cubicBezTo>
                                  <a:pt x="2611" y="2231"/>
                                  <a:pt x="2611" y="2228"/>
                                  <a:pt x="2614" y="2225"/>
                                </a:cubicBezTo>
                                <a:cubicBezTo>
                                  <a:pt x="2616" y="2222"/>
                                  <a:pt x="2627" y="2222"/>
                                  <a:pt x="2631" y="2222"/>
                                </a:cubicBezTo>
                                <a:cubicBezTo>
                                  <a:pt x="2635" y="2222"/>
                                  <a:pt x="2641" y="2221"/>
                                  <a:pt x="2645" y="2218"/>
                                </a:cubicBezTo>
                                <a:cubicBezTo>
                                  <a:pt x="2649" y="2215"/>
                                  <a:pt x="2647" y="2213"/>
                                  <a:pt x="2650" y="2211"/>
                                </a:cubicBezTo>
                                <a:cubicBezTo>
                                  <a:pt x="2653" y="2208"/>
                                  <a:pt x="2655" y="2203"/>
                                  <a:pt x="2656" y="2198"/>
                                </a:cubicBezTo>
                                <a:cubicBezTo>
                                  <a:pt x="2656" y="2194"/>
                                  <a:pt x="2659" y="2193"/>
                                  <a:pt x="2661" y="2193"/>
                                </a:cubicBezTo>
                                <a:cubicBezTo>
                                  <a:pt x="2663" y="2192"/>
                                  <a:pt x="2667" y="2191"/>
                                  <a:pt x="2670" y="2187"/>
                                </a:cubicBezTo>
                                <a:cubicBezTo>
                                  <a:pt x="2672" y="2182"/>
                                  <a:pt x="2672" y="2179"/>
                                  <a:pt x="2677" y="2177"/>
                                </a:cubicBezTo>
                                <a:cubicBezTo>
                                  <a:pt x="2683" y="2176"/>
                                  <a:pt x="2683" y="2184"/>
                                  <a:pt x="2686" y="2183"/>
                                </a:cubicBezTo>
                                <a:cubicBezTo>
                                  <a:pt x="2689" y="2182"/>
                                  <a:pt x="2691" y="2177"/>
                                  <a:pt x="2693" y="2175"/>
                                </a:cubicBezTo>
                                <a:cubicBezTo>
                                  <a:pt x="2695" y="2173"/>
                                  <a:pt x="2700" y="2172"/>
                                  <a:pt x="2702" y="2168"/>
                                </a:cubicBezTo>
                                <a:cubicBezTo>
                                  <a:pt x="2704" y="2165"/>
                                  <a:pt x="2703" y="2162"/>
                                  <a:pt x="2703" y="2159"/>
                                </a:cubicBezTo>
                                <a:cubicBezTo>
                                  <a:pt x="2703" y="2156"/>
                                  <a:pt x="2708" y="2154"/>
                                  <a:pt x="2711" y="2156"/>
                                </a:cubicBezTo>
                                <a:cubicBezTo>
                                  <a:pt x="2715" y="2159"/>
                                  <a:pt x="2716" y="2162"/>
                                  <a:pt x="2719" y="2162"/>
                                </a:cubicBezTo>
                                <a:cubicBezTo>
                                  <a:pt x="2722" y="2162"/>
                                  <a:pt x="2724" y="2159"/>
                                  <a:pt x="2727" y="2154"/>
                                </a:cubicBezTo>
                                <a:cubicBezTo>
                                  <a:pt x="2730" y="2149"/>
                                  <a:pt x="2733" y="2147"/>
                                  <a:pt x="2740" y="2144"/>
                                </a:cubicBezTo>
                                <a:cubicBezTo>
                                  <a:pt x="2746" y="2141"/>
                                  <a:pt x="2746" y="2140"/>
                                  <a:pt x="2743" y="2134"/>
                                </a:cubicBezTo>
                                <a:cubicBezTo>
                                  <a:pt x="2740" y="2128"/>
                                  <a:pt x="2737" y="2131"/>
                                  <a:pt x="2733" y="2130"/>
                                </a:cubicBezTo>
                                <a:cubicBezTo>
                                  <a:pt x="2729" y="2129"/>
                                  <a:pt x="2725" y="2124"/>
                                  <a:pt x="2727" y="2121"/>
                                </a:cubicBezTo>
                                <a:cubicBezTo>
                                  <a:pt x="2729" y="2118"/>
                                  <a:pt x="2736" y="2121"/>
                                  <a:pt x="2740" y="2120"/>
                                </a:cubicBezTo>
                                <a:cubicBezTo>
                                  <a:pt x="2743" y="2118"/>
                                  <a:pt x="2746" y="2114"/>
                                  <a:pt x="2748" y="2112"/>
                                </a:cubicBezTo>
                                <a:cubicBezTo>
                                  <a:pt x="2751" y="2110"/>
                                  <a:pt x="2752" y="2114"/>
                                  <a:pt x="2756" y="2115"/>
                                </a:cubicBezTo>
                                <a:cubicBezTo>
                                  <a:pt x="2760" y="2116"/>
                                  <a:pt x="2765" y="2110"/>
                                  <a:pt x="2770" y="2109"/>
                                </a:cubicBezTo>
                                <a:cubicBezTo>
                                  <a:pt x="2775" y="2109"/>
                                  <a:pt x="2774" y="2114"/>
                                  <a:pt x="2777" y="2115"/>
                                </a:cubicBezTo>
                                <a:cubicBezTo>
                                  <a:pt x="2780" y="2116"/>
                                  <a:pt x="2783" y="2114"/>
                                  <a:pt x="2784" y="2107"/>
                                </a:cubicBezTo>
                                <a:cubicBezTo>
                                  <a:pt x="2784" y="2100"/>
                                  <a:pt x="2784" y="2101"/>
                                  <a:pt x="2788" y="2098"/>
                                </a:cubicBezTo>
                                <a:cubicBezTo>
                                  <a:pt x="2791" y="2096"/>
                                  <a:pt x="2796" y="2095"/>
                                  <a:pt x="2798" y="2092"/>
                                </a:cubicBezTo>
                                <a:cubicBezTo>
                                  <a:pt x="2799" y="2089"/>
                                  <a:pt x="2799" y="2084"/>
                                  <a:pt x="2799" y="2081"/>
                                </a:cubicBezTo>
                                <a:cubicBezTo>
                                  <a:pt x="2799" y="2078"/>
                                  <a:pt x="2802" y="2075"/>
                                  <a:pt x="2805" y="2073"/>
                                </a:cubicBezTo>
                                <a:cubicBezTo>
                                  <a:pt x="2809" y="2071"/>
                                  <a:pt x="2814" y="2071"/>
                                  <a:pt x="2815" y="2067"/>
                                </a:cubicBezTo>
                                <a:cubicBezTo>
                                  <a:pt x="2816" y="2064"/>
                                  <a:pt x="2816" y="2060"/>
                                  <a:pt x="2819" y="2055"/>
                                </a:cubicBezTo>
                                <a:cubicBezTo>
                                  <a:pt x="2822" y="2051"/>
                                  <a:pt x="2827" y="2053"/>
                                  <a:pt x="2828" y="2048"/>
                                </a:cubicBezTo>
                                <a:cubicBezTo>
                                  <a:pt x="2829" y="2043"/>
                                  <a:pt x="2834" y="2038"/>
                                  <a:pt x="2837" y="2034"/>
                                </a:cubicBezTo>
                                <a:cubicBezTo>
                                  <a:pt x="2839" y="2031"/>
                                  <a:pt x="2842" y="2029"/>
                                  <a:pt x="2843" y="2027"/>
                                </a:cubicBezTo>
                                <a:cubicBezTo>
                                  <a:pt x="2844" y="2024"/>
                                  <a:pt x="2843" y="2023"/>
                                  <a:pt x="2840" y="2022"/>
                                </a:cubicBezTo>
                                <a:cubicBezTo>
                                  <a:pt x="2837" y="2020"/>
                                  <a:pt x="2827" y="2027"/>
                                  <a:pt x="2823" y="2026"/>
                                </a:cubicBezTo>
                                <a:cubicBezTo>
                                  <a:pt x="2820" y="2026"/>
                                  <a:pt x="2816" y="2023"/>
                                  <a:pt x="2814" y="2020"/>
                                </a:cubicBezTo>
                                <a:cubicBezTo>
                                  <a:pt x="2811" y="2017"/>
                                  <a:pt x="2813" y="2013"/>
                                  <a:pt x="2816" y="2013"/>
                                </a:cubicBezTo>
                                <a:cubicBezTo>
                                  <a:pt x="2819" y="2012"/>
                                  <a:pt x="2826" y="2018"/>
                                  <a:pt x="2829" y="2018"/>
                                </a:cubicBezTo>
                                <a:cubicBezTo>
                                  <a:pt x="2832" y="2018"/>
                                  <a:pt x="2835" y="2016"/>
                                  <a:pt x="2836" y="2011"/>
                                </a:cubicBezTo>
                                <a:cubicBezTo>
                                  <a:pt x="2838" y="2006"/>
                                  <a:pt x="2841" y="2008"/>
                                  <a:pt x="2845" y="2006"/>
                                </a:cubicBezTo>
                                <a:cubicBezTo>
                                  <a:pt x="2849" y="2003"/>
                                  <a:pt x="2848" y="2001"/>
                                  <a:pt x="2846" y="1999"/>
                                </a:cubicBezTo>
                                <a:cubicBezTo>
                                  <a:pt x="2845" y="1996"/>
                                  <a:pt x="2841" y="1994"/>
                                  <a:pt x="2842" y="1991"/>
                                </a:cubicBezTo>
                                <a:cubicBezTo>
                                  <a:pt x="2843" y="1988"/>
                                  <a:pt x="2847" y="1986"/>
                                  <a:pt x="2846" y="1984"/>
                                </a:cubicBezTo>
                                <a:cubicBezTo>
                                  <a:pt x="2845" y="1981"/>
                                  <a:pt x="2841" y="1982"/>
                                  <a:pt x="2839" y="1980"/>
                                </a:cubicBezTo>
                                <a:cubicBezTo>
                                  <a:pt x="2838" y="1979"/>
                                  <a:pt x="2834" y="1971"/>
                                  <a:pt x="2836" y="1969"/>
                                </a:cubicBezTo>
                                <a:cubicBezTo>
                                  <a:pt x="2839" y="1967"/>
                                  <a:pt x="2851" y="1969"/>
                                  <a:pt x="2855" y="1970"/>
                                </a:cubicBezTo>
                                <a:cubicBezTo>
                                  <a:pt x="2858" y="1972"/>
                                  <a:pt x="2860" y="1973"/>
                                  <a:pt x="2864" y="1973"/>
                                </a:cubicBezTo>
                                <a:cubicBezTo>
                                  <a:pt x="2868" y="1973"/>
                                  <a:pt x="2863" y="1964"/>
                                  <a:pt x="2866" y="1963"/>
                                </a:cubicBezTo>
                                <a:cubicBezTo>
                                  <a:pt x="2870" y="1961"/>
                                  <a:pt x="2880" y="1953"/>
                                  <a:pt x="2881" y="1951"/>
                                </a:cubicBezTo>
                                <a:cubicBezTo>
                                  <a:pt x="2882" y="1950"/>
                                  <a:pt x="2883" y="1947"/>
                                  <a:pt x="2880" y="1944"/>
                                </a:cubicBezTo>
                                <a:cubicBezTo>
                                  <a:pt x="2877" y="1941"/>
                                  <a:pt x="2873" y="1938"/>
                                  <a:pt x="2873" y="1936"/>
                                </a:cubicBezTo>
                                <a:cubicBezTo>
                                  <a:pt x="2873" y="1933"/>
                                  <a:pt x="2884" y="1932"/>
                                  <a:pt x="2885" y="1935"/>
                                </a:cubicBezTo>
                                <a:cubicBezTo>
                                  <a:pt x="2886" y="1939"/>
                                  <a:pt x="2891" y="1939"/>
                                  <a:pt x="2893" y="1939"/>
                                </a:cubicBezTo>
                                <a:cubicBezTo>
                                  <a:pt x="2895" y="1939"/>
                                  <a:pt x="2897" y="1936"/>
                                  <a:pt x="2900" y="1933"/>
                                </a:cubicBezTo>
                                <a:cubicBezTo>
                                  <a:pt x="2903" y="1930"/>
                                  <a:pt x="2902" y="1927"/>
                                  <a:pt x="2902" y="1921"/>
                                </a:cubicBezTo>
                                <a:cubicBezTo>
                                  <a:pt x="2903" y="1915"/>
                                  <a:pt x="2905" y="1911"/>
                                  <a:pt x="2906" y="1908"/>
                                </a:cubicBezTo>
                                <a:cubicBezTo>
                                  <a:pt x="2908" y="1904"/>
                                  <a:pt x="2909" y="1900"/>
                                  <a:pt x="2907" y="1895"/>
                                </a:cubicBezTo>
                                <a:cubicBezTo>
                                  <a:pt x="2905" y="1891"/>
                                  <a:pt x="2902" y="1888"/>
                                  <a:pt x="2900" y="1886"/>
                                </a:cubicBezTo>
                                <a:cubicBezTo>
                                  <a:pt x="2898" y="1884"/>
                                  <a:pt x="2897" y="1877"/>
                                  <a:pt x="2901" y="1877"/>
                                </a:cubicBezTo>
                                <a:cubicBezTo>
                                  <a:pt x="2904" y="1877"/>
                                  <a:pt x="2912" y="1885"/>
                                  <a:pt x="2914" y="1885"/>
                                </a:cubicBezTo>
                                <a:cubicBezTo>
                                  <a:pt x="2916" y="1886"/>
                                  <a:pt x="2919" y="1885"/>
                                  <a:pt x="2922" y="1880"/>
                                </a:cubicBezTo>
                                <a:cubicBezTo>
                                  <a:pt x="2925" y="1875"/>
                                  <a:pt x="2931" y="1868"/>
                                  <a:pt x="2934" y="1866"/>
                                </a:cubicBezTo>
                                <a:cubicBezTo>
                                  <a:pt x="2936" y="1864"/>
                                  <a:pt x="2941" y="1865"/>
                                  <a:pt x="2942" y="1868"/>
                                </a:cubicBezTo>
                                <a:cubicBezTo>
                                  <a:pt x="2943" y="1871"/>
                                  <a:pt x="2946" y="1876"/>
                                  <a:pt x="2949" y="1877"/>
                                </a:cubicBezTo>
                                <a:cubicBezTo>
                                  <a:pt x="2952" y="1877"/>
                                  <a:pt x="2954" y="1874"/>
                                  <a:pt x="2958" y="1872"/>
                                </a:cubicBezTo>
                                <a:cubicBezTo>
                                  <a:pt x="2963" y="1870"/>
                                  <a:pt x="2965" y="1869"/>
                                  <a:pt x="2965" y="1864"/>
                                </a:cubicBezTo>
                                <a:cubicBezTo>
                                  <a:pt x="2965" y="1859"/>
                                  <a:pt x="2962" y="1854"/>
                                  <a:pt x="2959" y="1851"/>
                                </a:cubicBezTo>
                                <a:cubicBezTo>
                                  <a:pt x="2955" y="1848"/>
                                  <a:pt x="2950" y="1847"/>
                                  <a:pt x="2947" y="1846"/>
                                </a:cubicBezTo>
                                <a:cubicBezTo>
                                  <a:pt x="2945" y="1846"/>
                                  <a:pt x="2940" y="1842"/>
                                  <a:pt x="2937" y="1839"/>
                                </a:cubicBezTo>
                                <a:cubicBezTo>
                                  <a:pt x="2933" y="1837"/>
                                  <a:pt x="2933" y="1833"/>
                                  <a:pt x="2936" y="1831"/>
                                </a:cubicBezTo>
                                <a:cubicBezTo>
                                  <a:pt x="2939" y="1829"/>
                                  <a:pt x="2946" y="1837"/>
                                  <a:pt x="2947" y="1838"/>
                                </a:cubicBezTo>
                                <a:cubicBezTo>
                                  <a:pt x="2948" y="1839"/>
                                  <a:pt x="2954" y="1840"/>
                                  <a:pt x="2957" y="1839"/>
                                </a:cubicBezTo>
                                <a:cubicBezTo>
                                  <a:pt x="2959" y="1838"/>
                                  <a:pt x="2960" y="1835"/>
                                  <a:pt x="2960" y="1833"/>
                                </a:cubicBezTo>
                                <a:cubicBezTo>
                                  <a:pt x="2959" y="1830"/>
                                  <a:pt x="2961" y="1828"/>
                                  <a:pt x="2964" y="1826"/>
                                </a:cubicBezTo>
                                <a:cubicBezTo>
                                  <a:pt x="2967" y="1824"/>
                                  <a:pt x="2964" y="1820"/>
                                  <a:pt x="2961" y="1819"/>
                                </a:cubicBezTo>
                                <a:cubicBezTo>
                                  <a:pt x="2957" y="1817"/>
                                  <a:pt x="2954" y="1815"/>
                                  <a:pt x="2953" y="1813"/>
                                </a:cubicBezTo>
                                <a:cubicBezTo>
                                  <a:pt x="2952" y="1811"/>
                                  <a:pt x="2957" y="1806"/>
                                  <a:pt x="2960" y="1805"/>
                                </a:cubicBezTo>
                                <a:cubicBezTo>
                                  <a:pt x="2964" y="1804"/>
                                  <a:pt x="2966" y="1806"/>
                                  <a:pt x="2969" y="1806"/>
                                </a:cubicBezTo>
                                <a:cubicBezTo>
                                  <a:pt x="2972" y="1807"/>
                                  <a:pt x="2972" y="1803"/>
                                  <a:pt x="2975" y="1802"/>
                                </a:cubicBezTo>
                                <a:cubicBezTo>
                                  <a:pt x="2978" y="1800"/>
                                  <a:pt x="2982" y="1803"/>
                                  <a:pt x="2984" y="1801"/>
                                </a:cubicBezTo>
                                <a:cubicBezTo>
                                  <a:pt x="2985" y="1798"/>
                                  <a:pt x="2983" y="1791"/>
                                  <a:pt x="2980" y="1790"/>
                                </a:cubicBezTo>
                                <a:cubicBezTo>
                                  <a:pt x="2977" y="1789"/>
                                  <a:pt x="2976" y="1792"/>
                                  <a:pt x="2971" y="1794"/>
                                </a:cubicBezTo>
                                <a:cubicBezTo>
                                  <a:pt x="2967" y="1797"/>
                                  <a:pt x="2959" y="1794"/>
                                  <a:pt x="2956" y="1792"/>
                                </a:cubicBezTo>
                                <a:cubicBezTo>
                                  <a:pt x="2952" y="1790"/>
                                  <a:pt x="2955" y="1789"/>
                                  <a:pt x="2959" y="1787"/>
                                </a:cubicBezTo>
                                <a:cubicBezTo>
                                  <a:pt x="2963" y="1784"/>
                                  <a:pt x="2971" y="1783"/>
                                  <a:pt x="2973" y="1780"/>
                                </a:cubicBezTo>
                                <a:cubicBezTo>
                                  <a:pt x="2976" y="1776"/>
                                  <a:pt x="2981" y="1773"/>
                                  <a:pt x="2986" y="1772"/>
                                </a:cubicBezTo>
                                <a:cubicBezTo>
                                  <a:pt x="2990" y="1770"/>
                                  <a:pt x="2996" y="1763"/>
                                  <a:pt x="2996" y="1759"/>
                                </a:cubicBezTo>
                                <a:cubicBezTo>
                                  <a:pt x="2996" y="1755"/>
                                  <a:pt x="2986" y="1758"/>
                                  <a:pt x="2982" y="1757"/>
                                </a:cubicBezTo>
                                <a:cubicBezTo>
                                  <a:pt x="2978" y="1755"/>
                                  <a:pt x="2977" y="1754"/>
                                  <a:pt x="2972" y="1754"/>
                                </a:cubicBezTo>
                                <a:cubicBezTo>
                                  <a:pt x="2966" y="1754"/>
                                  <a:pt x="2963" y="1752"/>
                                  <a:pt x="2958" y="1748"/>
                                </a:cubicBezTo>
                                <a:cubicBezTo>
                                  <a:pt x="2953" y="1744"/>
                                  <a:pt x="2948" y="1737"/>
                                  <a:pt x="2941" y="1735"/>
                                </a:cubicBezTo>
                                <a:cubicBezTo>
                                  <a:pt x="2935" y="1734"/>
                                  <a:pt x="2933" y="1737"/>
                                  <a:pt x="2928" y="1739"/>
                                </a:cubicBezTo>
                                <a:cubicBezTo>
                                  <a:pt x="2923" y="1741"/>
                                  <a:pt x="2914" y="1746"/>
                                  <a:pt x="2909" y="1745"/>
                                </a:cubicBezTo>
                                <a:cubicBezTo>
                                  <a:pt x="2904" y="1745"/>
                                  <a:pt x="2902" y="1740"/>
                                  <a:pt x="2898" y="1737"/>
                                </a:cubicBezTo>
                                <a:cubicBezTo>
                                  <a:pt x="2895" y="1733"/>
                                  <a:pt x="2893" y="1736"/>
                                  <a:pt x="2887" y="1738"/>
                                </a:cubicBezTo>
                                <a:cubicBezTo>
                                  <a:pt x="2881" y="1739"/>
                                  <a:pt x="2878" y="1745"/>
                                  <a:pt x="2875" y="1742"/>
                                </a:cubicBezTo>
                                <a:cubicBezTo>
                                  <a:pt x="2872" y="1738"/>
                                  <a:pt x="2880" y="1734"/>
                                  <a:pt x="2882" y="1732"/>
                                </a:cubicBezTo>
                                <a:cubicBezTo>
                                  <a:pt x="2884" y="1730"/>
                                  <a:pt x="2888" y="1729"/>
                                  <a:pt x="2893" y="1729"/>
                                </a:cubicBezTo>
                                <a:cubicBezTo>
                                  <a:pt x="2898" y="1728"/>
                                  <a:pt x="2901" y="1730"/>
                                  <a:pt x="2906" y="1731"/>
                                </a:cubicBezTo>
                                <a:cubicBezTo>
                                  <a:pt x="2910" y="1732"/>
                                  <a:pt x="2915" y="1730"/>
                                  <a:pt x="2918" y="1729"/>
                                </a:cubicBezTo>
                                <a:cubicBezTo>
                                  <a:pt x="2920" y="1727"/>
                                  <a:pt x="2933" y="1717"/>
                                  <a:pt x="2938" y="1711"/>
                                </a:cubicBezTo>
                                <a:cubicBezTo>
                                  <a:pt x="2944" y="1704"/>
                                  <a:pt x="2953" y="1703"/>
                                  <a:pt x="2960" y="1700"/>
                                </a:cubicBezTo>
                                <a:cubicBezTo>
                                  <a:pt x="2966" y="1696"/>
                                  <a:pt x="2977" y="1691"/>
                                  <a:pt x="2976" y="1685"/>
                                </a:cubicBezTo>
                                <a:cubicBezTo>
                                  <a:pt x="2975" y="1678"/>
                                  <a:pt x="2973" y="1678"/>
                                  <a:pt x="2969" y="1672"/>
                                </a:cubicBezTo>
                                <a:cubicBezTo>
                                  <a:pt x="2965" y="1666"/>
                                  <a:pt x="2961" y="1662"/>
                                  <a:pt x="2957" y="1657"/>
                                </a:cubicBezTo>
                                <a:cubicBezTo>
                                  <a:pt x="2953" y="1653"/>
                                  <a:pt x="2947" y="1651"/>
                                  <a:pt x="2941" y="1648"/>
                                </a:cubicBezTo>
                                <a:cubicBezTo>
                                  <a:pt x="2936" y="1645"/>
                                  <a:pt x="2929" y="1643"/>
                                  <a:pt x="2925" y="1640"/>
                                </a:cubicBezTo>
                                <a:cubicBezTo>
                                  <a:pt x="2920" y="1637"/>
                                  <a:pt x="2915" y="1631"/>
                                  <a:pt x="2910" y="1626"/>
                                </a:cubicBezTo>
                                <a:cubicBezTo>
                                  <a:pt x="2904" y="1621"/>
                                  <a:pt x="2900" y="1622"/>
                                  <a:pt x="2893" y="1622"/>
                                </a:cubicBezTo>
                                <a:cubicBezTo>
                                  <a:pt x="2885" y="1622"/>
                                  <a:pt x="2883" y="1623"/>
                                  <a:pt x="2879" y="1625"/>
                                </a:cubicBezTo>
                                <a:cubicBezTo>
                                  <a:pt x="2875" y="1627"/>
                                  <a:pt x="2865" y="1627"/>
                                  <a:pt x="2858" y="1620"/>
                                </a:cubicBezTo>
                                <a:cubicBezTo>
                                  <a:pt x="2851" y="1613"/>
                                  <a:pt x="2847" y="1615"/>
                                  <a:pt x="2842" y="1611"/>
                                </a:cubicBezTo>
                                <a:cubicBezTo>
                                  <a:pt x="2837" y="1608"/>
                                  <a:pt x="2838" y="1600"/>
                                  <a:pt x="2840" y="1596"/>
                                </a:cubicBezTo>
                                <a:cubicBezTo>
                                  <a:pt x="2843" y="1592"/>
                                  <a:pt x="2847" y="1597"/>
                                  <a:pt x="2855" y="1601"/>
                                </a:cubicBezTo>
                                <a:cubicBezTo>
                                  <a:pt x="2864" y="1606"/>
                                  <a:pt x="2863" y="1611"/>
                                  <a:pt x="2866" y="1614"/>
                                </a:cubicBezTo>
                                <a:cubicBezTo>
                                  <a:pt x="2869" y="1618"/>
                                  <a:pt x="2876" y="1617"/>
                                  <a:pt x="2879" y="1614"/>
                                </a:cubicBezTo>
                                <a:cubicBezTo>
                                  <a:pt x="2883" y="1612"/>
                                  <a:pt x="2896" y="1614"/>
                                  <a:pt x="2903" y="1614"/>
                                </a:cubicBezTo>
                                <a:cubicBezTo>
                                  <a:pt x="2910" y="1615"/>
                                  <a:pt x="2912" y="1617"/>
                                  <a:pt x="2915" y="1621"/>
                                </a:cubicBezTo>
                                <a:cubicBezTo>
                                  <a:pt x="2918" y="1626"/>
                                  <a:pt x="2923" y="1627"/>
                                  <a:pt x="2930" y="1629"/>
                                </a:cubicBezTo>
                                <a:cubicBezTo>
                                  <a:pt x="2936" y="1630"/>
                                  <a:pt x="2942" y="1629"/>
                                  <a:pt x="2955" y="1629"/>
                                </a:cubicBezTo>
                                <a:cubicBezTo>
                                  <a:pt x="2968" y="1630"/>
                                  <a:pt x="2963" y="1634"/>
                                  <a:pt x="2969" y="1637"/>
                                </a:cubicBezTo>
                                <a:cubicBezTo>
                                  <a:pt x="2974" y="1640"/>
                                  <a:pt x="2980" y="1638"/>
                                  <a:pt x="2976" y="1632"/>
                                </a:cubicBezTo>
                                <a:cubicBezTo>
                                  <a:pt x="2972" y="1625"/>
                                  <a:pt x="2968" y="1618"/>
                                  <a:pt x="2965" y="1614"/>
                                </a:cubicBezTo>
                                <a:cubicBezTo>
                                  <a:pt x="2963" y="1609"/>
                                  <a:pt x="2953" y="1610"/>
                                  <a:pt x="2950" y="1607"/>
                                </a:cubicBezTo>
                                <a:cubicBezTo>
                                  <a:pt x="2947" y="1604"/>
                                  <a:pt x="2945" y="1592"/>
                                  <a:pt x="2942" y="1585"/>
                                </a:cubicBezTo>
                                <a:cubicBezTo>
                                  <a:pt x="2938" y="1579"/>
                                  <a:pt x="2933" y="1583"/>
                                  <a:pt x="2926" y="1580"/>
                                </a:cubicBezTo>
                                <a:cubicBezTo>
                                  <a:pt x="2920" y="1577"/>
                                  <a:pt x="2921" y="1575"/>
                                  <a:pt x="2918" y="1568"/>
                                </a:cubicBezTo>
                                <a:cubicBezTo>
                                  <a:pt x="2915" y="1561"/>
                                  <a:pt x="2918" y="1551"/>
                                  <a:pt x="2916" y="1542"/>
                                </a:cubicBezTo>
                                <a:cubicBezTo>
                                  <a:pt x="2913" y="1532"/>
                                  <a:pt x="2911" y="1528"/>
                                  <a:pt x="2905" y="1518"/>
                                </a:cubicBezTo>
                                <a:cubicBezTo>
                                  <a:pt x="2900" y="1508"/>
                                  <a:pt x="2899" y="1501"/>
                                  <a:pt x="2894" y="1487"/>
                                </a:cubicBezTo>
                                <a:cubicBezTo>
                                  <a:pt x="2888" y="1474"/>
                                  <a:pt x="2886" y="1471"/>
                                  <a:pt x="2882" y="1465"/>
                                </a:cubicBezTo>
                                <a:cubicBezTo>
                                  <a:pt x="2878" y="1459"/>
                                  <a:pt x="2873" y="1459"/>
                                  <a:pt x="2864" y="1456"/>
                                </a:cubicBezTo>
                                <a:cubicBezTo>
                                  <a:pt x="2856" y="1452"/>
                                  <a:pt x="2854" y="1453"/>
                                  <a:pt x="2849" y="1449"/>
                                </a:cubicBezTo>
                                <a:cubicBezTo>
                                  <a:pt x="2844" y="1445"/>
                                  <a:pt x="2838" y="1437"/>
                                  <a:pt x="2830" y="1433"/>
                                </a:cubicBezTo>
                                <a:cubicBezTo>
                                  <a:pt x="2822" y="1428"/>
                                  <a:pt x="2820" y="1432"/>
                                  <a:pt x="2817" y="1429"/>
                                </a:cubicBezTo>
                                <a:cubicBezTo>
                                  <a:pt x="2814" y="1427"/>
                                  <a:pt x="2814" y="1419"/>
                                  <a:pt x="2814" y="1414"/>
                                </a:cubicBezTo>
                                <a:cubicBezTo>
                                  <a:pt x="2814" y="1409"/>
                                  <a:pt x="2819" y="1405"/>
                                  <a:pt x="2822" y="1403"/>
                                </a:cubicBezTo>
                                <a:cubicBezTo>
                                  <a:pt x="2826" y="1401"/>
                                  <a:pt x="2833" y="1393"/>
                                  <a:pt x="2835" y="1386"/>
                                </a:cubicBezTo>
                                <a:cubicBezTo>
                                  <a:pt x="2838" y="1379"/>
                                  <a:pt x="2840" y="1371"/>
                                  <a:pt x="2846" y="1368"/>
                                </a:cubicBezTo>
                                <a:cubicBezTo>
                                  <a:pt x="2852" y="1365"/>
                                  <a:pt x="2859" y="1368"/>
                                  <a:pt x="2860" y="1364"/>
                                </a:cubicBezTo>
                                <a:cubicBezTo>
                                  <a:pt x="2861" y="1360"/>
                                  <a:pt x="2862" y="1355"/>
                                  <a:pt x="2869" y="1351"/>
                                </a:cubicBezTo>
                                <a:cubicBezTo>
                                  <a:pt x="2876" y="1346"/>
                                  <a:pt x="2878" y="1347"/>
                                  <a:pt x="2879" y="1346"/>
                                </a:cubicBezTo>
                                <a:cubicBezTo>
                                  <a:pt x="2879" y="1345"/>
                                  <a:pt x="2879" y="1341"/>
                                  <a:pt x="2878" y="1339"/>
                                </a:cubicBezTo>
                                <a:cubicBezTo>
                                  <a:pt x="2877" y="1338"/>
                                  <a:pt x="2870" y="1333"/>
                                  <a:pt x="2869" y="1330"/>
                                </a:cubicBezTo>
                                <a:cubicBezTo>
                                  <a:pt x="2867" y="1327"/>
                                  <a:pt x="2874" y="1321"/>
                                  <a:pt x="2879" y="1320"/>
                                </a:cubicBezTo>
                                <a:cubicBezTo>
                                  <a:pt x="2883" y="1319"/>
                                  <a:pt x="2888" y="1326"/>
                                  <a:pt x="2888" y="1331"/>
                                </a:cubicBezTo>
                                <a:cubicBezTo>
                                  <a:pt x="2888" y="1336"/>
                                  <a:pt x="2891" y="1334"/>
                                  <a:pt x="2895" y="1334"/>
                                </a:cubicBezTo>
                                <a:cubicBezTo>
                                  <a:pt x="2899" y="1334"/>
                                  <a:pt x="2904" y="1333"/>
                                  <a:pt x="2907" y="1330"/>
                                </a:cubicBezTo>
                                <a:cubicBezTo>
                                  <a:pt x="2910" y="1327"/>
                                  <a:pt x="2906" y="1322"/>
                                  <a:pt x="2906" y="1318"/>
                                </a:cubicBezTo>
                                <a:cubicBezTo>
                                  <a:pt x="2906" y="1313"/>
                                  <a:pt x="2913" y="1313"/>
                                  <a:pt x="2916" y="1312"/>
                                </a:cubicBezTo>
                                <a:cubicBezTo>
                                  <a:pt x="2919" y="1311"/>
                                  <a:pt x="2922" y="1307"/>
                                  <a:pt x="2920" y="1304"/>
                                </a:cubicBezTo>
                                <a:cubicBezTo>
                                  <a:pt x="2918" y="1300"/>
                                  <a:pt x="2914" y="1302"/>
                                  <a:pt x="2913" y="1299"/>
                                </a:cubicBezTo>
                                <a:cubicBezTo>
                                  <a:pt x="2913" y="1295"/>
                                  <a:pt x="2915" y="1293"/>
                                  <a:pt x="2920" y="1293"/>
                                </a:cubicBezTo>
                                <a:cubicBezTo>
                                  <a:pt x="2926" y="1293"/>
                                  <a:pt x="2930" y="1293"/>
                                  <a:pt x="2939" y="1291"/>
                                </a:cubicBezTo>
                                <a:cubicBezTo>
                                  <a:pt x="2948" y="1289"/>
                                  <a:pt x="2950" y="1286"/>
                                  <a:pt x="2960" y="1281"/>
                                </a:cubicBezTo>
                                <a:cubicBezTo>
                                  <a:pt x="2970" y="1275"/>
                                  <a:pt x="2976" y="1278"/>
                                  <a:pt x="2986" y="1273"/>
                                </a:cubicBezTo>
                                <a:cubicBezTo>
                                  <a:pt x="2997" y="1269"/>
                                  <a:pt x="2998" y="1266"/>
                                  <a:pt x="2999" y="1269"/>
                                </a:cubicBezTo>
                                <a:cubicBezTo>
                                  <a:pt x="3001" y="1271"/>
                                  <a:pt x="3004" y="1277"/>
                                  <a:pt x="3008" y="1277"/>
                                </a:cubicBezTo>
                                <a:cubicBezTo>
                                  <a:pt x="3012" y="1276"/>
                                  <a:pt x="3020" y="1275"/>
                                  <a:pt x="3019" y="1270"/>
                                </a:cubicBezTo>
                                <a:cubicBezTo>
                                  <a:pt x="3018" y="1266"/>
                                  <a:pt x="3017" y="1262"/>
                                  <a:pt x="3020" y="1255"/>
                                </a:cubicBezTo>
                                <a:cubicBezTo>
                                  <a:pt x="3023" y="1248"/>
                                  <a:pt x="3028" y="1239"/>
                                  <a:pt x="3023" y="1239"/>
                                </a:cubicBezTo>
                                <a:cubicBezTo>
                                  <a:pt x="3018" y="1238"/>
                                  <a:pt x="3013" y="1238"/>
                                  <a:pt x="3008" y="1237"/>
                                </a:cubicBezTo>
                                <a:cubicBezTo>
                                  <a:pt x="3002" y="1236"/>
                                  <a:pt x="2999" y="1232"/>
                                  <a:pt x="2996" y="1230"/>
                                </a:cubicBezTo>
                                <a:cubicBezTo>
                                  <a:pt x="2993" y="1228"/>
                                  <a:pt x="2990" y="1231"/>
                                  <a:pt x="2986" y="1235"/>
                                </a:cubicBezTo>
                                <a:cubicBezTo>
                                  <a:pt x="2982" y="1239"/>
                                  <a:pt x="2975" y="1238"/>
                                  <a:pt x="2968" y="1238"/>
                                </a:cubicBezTo>
                                <a:cubicBezTo>
                                  <a:pt x="2960" y="1239"/>
                                  <a:pt x="2956" y="1238"/>
                                  <a:pt x="2947" y="1232"/>
                                </a:cubicBezTo>
                                <a:cubicBezTo>
                                  <a:pt x="2938" y="1226"/>
                                  <a:pt x="2937" y="1224"/>
                                  <a:pt x="2932" y="1221"/>
                                </a:cubicBezTo>
                                <a:cubicBezTo>
                                  <a:pt x="2926" y="1218"/>
                                  <a:pt x="2912" y="1212"/>
                                  <a:pt x="2905" y="1212"/>
                                </a:cubicBezTo>
                                <a:cubicBezTo>
                                  <a:pt x="2899" y="1212"/>
                                  <a:pt x="2900" y="1216"/>
                                  <a:pt x="2893" y="1217"/>
                                </a:cubicBezTo>
                                <a:cubicBezTo>
                                  <a:pt x="2886" y="1217"/>
                                  <a:pt x="2883" y="1219"/>
                                  <a:pt x="2879" y="1221"/>
                                </a:cubicBezTo>
                                <a:cubicBezTo>
                                  <a:pt x="2875" y="1224"/>
                                  <a:pt x="2878" y="1228"/>
                                  <a:pt x="2876" y="1234"/>
                                </a:cubicBezTo>
                                <a:cubicBezTo>
                                  <a:pt x="2874" y="1239"/>
                                  <a:pt x="2872" y="1238"/>
                                  <a:pt x="2864" y="1240"/>
                                </a:cubicBezTo>
                                <a:cubicBezTo>
                                  <a:pt x="2857" y="1242"/>
                                  <a:pt x="2856" y="1246"/>
                                  <a:pt x="2851" y="1251"/>
                                </a:cubicBezTo>
                                <a:cubicBezTo>
                                  <a:pt x="2846" y="1255"/>
                                  <a:pt x="2838" y="1261"/>
                                  <a:pt x="2832" y="1259"/>
                                </a:cubicBezTo>
                                <a:cubicBezTo>
                                  <a:pt x="2826" y="1257"/>
                                  <a:pt x="2822" y="1253"/>
                                  <a:pt x="2816" y="1252"/>
                                </a:cubicBezTo>
                                <a:cubicBezTo>
                                  <a:pt x="2810" y="1251"/>
                                  <a:pt x="2804" y="1247"/>
                                  <a:pt x="2801" y="1242"/>
                                </a:cubicBezTo>
                                <a:cubicBezTo>
                                  <a:pt x="2799" y="1237"/>
                                  <a:pt x="2806" y="1219"/>
                                  <a:pt x="2806" y="1210"/>
                                </a:cubicBezTo>
                                <a:cubicBezTo>
                                  <a:pt x="2806" y="1201"/>
                                  <a:pt x="2805" y="1205"/>
                                  <a:pt x="2802" y="1197"/>
                                </a:cubicBezTo>
                                <a:cubicBezTo>
                                  <a:pt x="2799" y="1190"/>
                                  <a:pt x="2798" y="1191"/>
                                  <a:pt x="2795" y="1189"/>
                                </a:cubicBezTo>
                                <a:cubicBezTo>
                                  <a:pt x="2792" y="1186"/>
                                  <a:pt x="2787" y="1186"/>
                                  <a:pt x="2783" y="1188"/>
                                </a:cubicBezTo>
                                <a:cubicBezTo>
                                  <a:pt x="2779" y="1190"/>
                                  <a:pt x="2777" y="1197"/>
                                  <a:pt x="2772" y="1198"/>
                                </a:cubicBezTo>
                                <a:cubicBezTo>
                                  <a:pt x="2767" y="1198"/>
                                  <a:pt x="2767" y="1189"/>
                                  <a:pt x="2764" y="1187"/>
                                </a:cubicBezTo>
                                <a:cubicBezTo>
                                  <a:pt x="2761" y="1185"/>
                                  <a:pt x="2755" y="1187"/>
                                  <a:pt x="2750" y="1186"/>
                                </a:cubicBezTo>
                                <a:cubicBezTo>
                                  <a:pt x="2746" y="1186"/>
                                  <a:pt x="2737" y="1183"/>
                                  <a:pt x="2733" y="1181"/>
                                </a:cubicBezTo>
                                <a:cubicBezTo>
                                  <a:pt x="2728" y="1179"/>
                                  <a:pt x="2725" y="1170"/>
                                  <a:pt x="2722" y="1169"/>
                                </a:cubicBezTo>
                                <a:cubicBezTo>
                                  <a:pt x="2719" y="1167"/>
                                  <a:pt x="2712" y="1153"/>
                                  <a:pt x="2714" y="1147"/>
                                </a:cubicBezTo>
                                <a:cubicBezTo>
                                  <a:pt x="2716" y="1140"/>
                                  <a:pt x="2718" y="1136"/>
                                  <a:pt x="2722" y="1125"/>
                                </a:cubicBezTo>
                                <a:cubicBezTo>
                                  <a:pt x="2725" y="1115"/>
                                  <a:pt x="2735" y="1112"/>
                                  <a:pt x="2743" y="1112"/>
                                </a:cubicBezTo>
                                <a:cubicBezTo>
                                  <a:pt x="2751" y="1112"/>
                                  <a:pt x="2753" y="1123"/>
                                  <a:pt x="2761" y="1121"/>
                                </a:cubicBezTo>
                                <a:cubicBezTo>
                                  <a:pt x="2768" y="1119"/>
                                  <a:pt x="2776" y="1117"/>
                                  <a:pt x="2782" y="1118"/>
                                </a:cubicBezTo>
                                <a:cubicBezTo>
                                  <a:pt x="2788" y="1119"/>
                                  <a:pt x="2800" y="1112"/>
                                  <a:pt x="2804" y="1107"/>
                                </a:cubicBezTo>
                                <a:cubicBezTo>
                                  <a:pt x="2808" y="1102"/>
                                  <a:pt x="2823" y="1092"/>
                                  <a:pt x="2823" y="1087"/>
                                </a:cubicBezTo>
                                <a:cubicBezTo>
                                  <a:pt x="2824" y="1082"/>
                                  <a:pt x="2826" y="1074"/>
                                  <a:pt x="2830" y="1069"/>
                                </a:cubicBezTo>
                                <a:cubicBezTo>
                                  <a:pt x="2835" y="1064"/>
                                  <a:pt x="2848" y="1056"/>
                                  <a:pt x="2860" y="1051"/>
                                </a:cubicBezTo>
                                <a:cubicBezTo>
                                  <a:pt x="2872" y="1046"/>
                                  <a:pt x="2884" y="1039"/>
                                  <a:pt x="2893" y="1032"/>
                                </a:cubicBezTo>
                                <a:cubicBezTo>
                                  <a:pt x="2901" y="1026"/>
                                  <a:pt x="2917" y="1006"/>
                                  <a:pt x="2920" y="1000"/>
                                </a:cubicBezTo>
                                <a:cubicBezTo>
                                  <a:pt x="2924" y="994"/>
                                  <a:pt x="2935" y="990"/>
                                  <a:pt x="2941" y="990"/>
                                </a:cubicBezTo>
                                <a:cubicBezTo>
                                  <a:pt x="2947" y="990"/>
                                  <a:pt x="2961" y="992"/>
                                  <a:pt x="2965" y="990"/>
                                </a:cubicBezTo>
                                <a:cubicBezTo>
                                  <a:pt x="2969" y="989"/>
                                  <a:pt x="2974" y="982"/>
                                  <a:pt x="2977" y="982"/>
                                </a:cubicBezTo>
                                <a:cubicBezTo>
                                  <a:pt x="2981" y="982"/>
                                  <a:pt x="2978" y="984"/>
                                  <a:pt x="2976" y="991"/>
                                </a:cubicBezTo>
                                <a:cubicBezTo>
                                  <a:pt x="2975" y="997"/>
                                  <a:pt x="2983" y="996"/>
                                  <a:pt x="2987" y="998"/>
                                </a:cubicBezTo>
                                <a:cubicBezTo>
                                  <a:pt x="2992" y="999"/>
                                  <a:pt x="2996" y="1005"/>
                                  <a:pt x="2997" y="1008"/>
                                </a:cubicBezTo>
                                <a:cubicBezTo>
                                  <a:pt x="2999" y="1012"/>
                                  <a:pt x="3003" y="1014"/>
                                  <a:pt x="3005" y="1018"/>
                                </a:cubicBezTo>
                                <a:cubicBezTo>
                                  <a:pt x="3006" y="1021"/>
                                  <a:pt x="3000" y="1026"/>
                                  <a:pt x="2996" y="1030"/>
                                </a:cubicBezTo>
                                <a:cubicBezTo>
                                  <a:pt x="2991" y="1034"/>
                                  <a:pt x="2991" y="1038"/>
                                  <a:pt x="2986" y="1042"/>
                                </a:cubicBezTo>
                                <a:cubicBezTo>
                                  <a:pt x="2981" y="1047"/>
                                  <a:pt x="2980" y="1049"/>
                                  <a:pt x="2977" y="1056"/>
                                </a:cubicBezTo>
                                <a:cubicBezTo>
                                  <a:pt x="2974" y="1063"/>
                                  <a:pt x="2971" y="1063"/>
                                  <a:pt x="2967" y="1064"/>
                                </a:cubicBezTo>
                                <a:cubicBezTo>
                                  <a:pt x="2962" y="1065"/>
                                  <a:pt x="2957" y="1065"/>
                                  <a:pt x="2955" y="1068"/>
                                </a:cubicBezTo>
                                <a:cubicBezTo>
                                  <a:pt x="2953" y="1071"/>
                                  <a:pt x="2954" y="1075"/>
                                  <a:pt x="2953" y="1080"/>
                                </a:cubicBezTo>
                                <a:cubicBezTo>
                                  <a:pt x="2951" y="1084"/>
                                  <a:pt x="2943" y="1085"/>
                                  <a:pt x="2944" y="1089"/>
                                </a:cubicBezTo>
                                <a:cubicBezTo>
                                  <a:pt x="2945" y="1093"/>
                                  <a:pt x="2953" y="1098"/>
                                  <a:pt x="2957" y="1099"/>
                                </a:cubicBezTo>
                                <a:cubicBezTo>
                                  <a:pt x="2960" y="1100"/>
                                  <a:pt x="2965" y="1098"/>
                                  <a:pt x="2975" y="1096"/>
                                </a:cubicBezTo>
                                <a:cubicBezTo>
                                  <a:pt x="2984" y="1094"/>
                                  <a:pt x="2984" y="1097"/>
                                  <a:pt x="2980" y="1102"/>
                                </a:cubicBezTo>
                                <a:cubicBezTo>
                                  <a:pt x="2977" y="1106"/>
                                  <a:pt x="2974" y="1106"/>
                                  <a:pt x="2971" y="1109"/>
                                </a:cubicBezTo>
                                <a:cubicBezTo>
                                  <a:pt x="2969" y="1112"/>
                                  <a:pt x="2971" y="1115"/>
                                  <a:pt x="2971" y="1119"/>
                                </a:cubicBezTo>
                                <a:cubicBezTo>
                                  <a:pt x="2972" y="1124"/>
                                  <a:pt x="2970" y="1123"/>
                                  <a:pt x="2965" y="1123"/>
                                </a:cubicBezTo>
                                <a:cubicBezTo>
                                  <a:pt x="2961" y="1123"/>
                                  <a:pt x="2957" y="1123"/>
                                  <a:pt x="2950" y="1125"/>
                                </a:cubicBezTo>
                                <a:cubicBezTo>
                                  <a:pt x="2943" y="1128"/>
                                  <a:pt x="2935" y="1128"/>
                                  <a:pt x="2934" y="1132"/>
                                </a:cubicBezTo>
                                <a:cubicBezTo>
                                  <a:pt x="2932" y="1136"/>
                                  <a:pt x="2936" y="1143"/>
                                  <a:pt x="2941" y="1144"/>
                                </a:cubicBezTo>
                                <a:cubicBezTo>
                                  <a:pt x="2946" y="1145"/>
                                  <a:pt x="2955" y="1136"/>
                                  <a:pt x="2967" y="1129"/>
                                </a:cubicBezTo>
                                <a:cubicBezTo>
                                  <a:pt x="2979" y="1121"/>
                                  <a:pt x="2984" y="1119"/>
                                  <a:pt x="2992" y="1114"/>
                                </a:cubicBezTo>
                                <a:cubicBezTo>
                                  <a:pt x="2999" y="1108"/>
                                  <a:pt x="3016" y="1097"/>
                                  <a:pt x="3022" y="1092"/>
                                </a:cubicBezTo>
                                <a:cubicBezTo>
                                  <a:pt x="3029" y="1086"/>
                                  <a:pt x="3050" y="1077"/>
                                  <a:pt x="3057" y="1074"/>
                                </a:cubicBezTo>
                                <a:cubicBezTo>
                                  <a:pt x="3064" y="1070"/>
                                  <a:pt x="3071" y="1069"/>
                                  <a:pt x="3081" y="1068"/>
                                </a:cubicBezTo>
                                <a:cubicBezTo>
                                  <a:pt x="3092" y="1068"/>
                                  <a:pt x="3100" y="1068"/>
                                  <a:pt x="3111" y="1067"/>
                                </a:cubicBezTo>
                                <a:cubicBezTo>
                                  <a:pt x="3112" y="1067"/>
                                  <a:pt x="3113" y="1067"/>
                                  <a:pt x="3114" y="1067"/>
                                </a:cubicBezTo>
                                <a:cubicBezTo>
                                  <a:pt x="3116" y="1062"/>
                                  <a:pt x="3119" y="1057"/>
                                  <a:pt x="3123" y="1052"/>
                                </a:cubicBezTo>
                                <a:cubicBezTo>
                                  <a:pt x="3127" y="1046"/>
                                  <a:pt x="3133" y="1041"/>
                                  <a:pt x="3141" y="1036"/>
                                </a:cubicBezTo>
                                <a:cubicBezTo>
                                  <a:pt x="3141" y="1036"/>
                                  <a:pt x="3141" y="1036"/>
                                  <a:pt x="3141" y="1036"/>
                                </a:cubicBezTo>
                                <a:cubicBezTo>
                                  <a:pt x="3146" y="1034"/>
                                  <a:pt x="3148" y="1032"/>
                                  <a:pt x="3151" y="1031"/>
                                </a:cubicBezTo>
                                <a:cubicBezTo>
                                  <a:pt x="3167" y="1022"/>
                                  <a:pt x="3185" y="1012"/>
                                  <a:pt x="3196" y="1003"/>
                                </a:cubicBezTo>
                                <a:cubicBezTo>
                                  <a:pt x="3202" y="998"/>
                                  <a:pt x="3205" y="995"/>
                                  <a:pt x="3207" y="993"/>
                                </a:cubicBezTo>
                                <a:cubicBezTo>
                                  <a:pt x="3209" y="990"/>
                                  <a:pt x="3210" y="988"/>
                                  <a:pt x="3215" y="986"/>
                                </a:cubicBezTo>
                                <a:cubicBezTo>
                                  <a:pt x="3219" y="984"/>
                                  <a:pt x="3223" y="984"/>
                                  <a:pt x="3226" y="985"/>
                                </a:cubicBezTo>
                                <a:cubicBezTo>
                                  <a:pt x="3228" y="985"/>
                                  <a:pt x="3231" y="985"/>
                                  <a:pt x="3233" y="983"/>
                                </a:cubicBezTo>
                                <a:cubicBezTo>
                                  <a:pt x="3237" y="981"/>
                                  <a:pt x="3245" y="969"/>
                                  <a:pt x="3254" y="956"/>
                                </a:cubicBezTo>
                                <a:cubicBezTo>
                                  <a:pt x="3262" y="944"/>
                                  <a:pt x="3270" y="933"/>
                                  <a:pt x="3274" y="929"/>
                                </a:cubicBezTo>
                                <a:cubicBezTo>
                                  <a:pt x="3279" y="924"/>
                                  <a:pt x="3283" y="921"/>
                                  <a:pt x="3287" y="921"/>
                                </a:cubicBezTo>
                                <a:cubicBezTo>
                                  <a:pt x="3291" y="920"/>
                                  <a:pt x="3294" y="920"/>
                                  <a:pt x="3298" y="922"/>
                                </a:cubicBezTo>
                                <a:cubicBezTo>
                                  <a:pt x="3302" y="923"/>
                                  <a:pt x="3306" y="929"/>
                                  <a:pt x="3310" y="934"/>
                                </a:cubicBezTo>
                                <a:cubicBezTo>
                                  <a:pt x="3313" y="939"/>
                                  <a:pt x="3317" y="943"/>
                                  <a:pt x="3317" y="943"/>
                                </a:cubicBezTo>
                                <a:cubicBezTo>
                                  <a:pt x="3319" y="943"/>
                                  <a:pt x="3324" y="944"/>
                                  <a:pt x="3330" y="945"/>
                                </a:cubicBezTo>
                                <a:cubicBezTo>
                                  <a:pt x="3336" y="946"/>
                                  <a:pt x="3345" y="947"/>
                                  <a:pt x="3349" y="947"/>
                                </a:cubicBezTo>
                                <a:cubicBezTo>
                                  <a:pt x="3353" y="947"/>
                                  <a:pt x="3357" y="947"/>
                                  <a:pt x="3360" y="947"/>
                                </a:cubicBezTo>
                                <a:cubicBezTo>
                                  <a:pt x="3363" y="947"/>
                                  <a:pt x="3366" y="946"/>
                                  <a:pt x="3368" y="945"/>
                                </a:cubicBezTo>
                                <a:cubicBezTo>
                                  <a:pt x="3370" y="944"/>
                                  <a:pt x="3371" y="940"/>
                                  <a:pt x="3371" y="935"/>
                                </a:cubicBezTo>
                                <a:cubicBezTo>
                                  <a:pt x="3372" y="933"/>
                                  <a:pt x="3372" y="932"/>
                                  <a:pt x="3372" y="932"/>
                                </a:cubicBezTo>
                                <a:cubicBezTo>
                                  <a:pt x="3372" y="929"/>
                                  <a:pt x="3369" y="925"/>
                                  <a:pt x="3366" y="921"/>
                                </a:cubicBezTo>
                                <a:cubicBezTo>
                                  <a:pt x="3365" y="918"/>
                                  <a:pt x="3363" y="916"/>
                                  <a:pt x="3362" y="914"/>
                                </a:cubicBezTo>
                                <a:cubicBezTo>
                                  <a:pt x="3361" y="911"/>
                                  <a:pt x="3360" y="909"/>
                                  <a:pt x="3360" y="908"/>
                                </a:cubicBezTo>
                                <a:cubicBezTo>
                                  <a:pt x="3360" y="906"/>
                                  <a:pt x="3360" y="904"/>
                                  <a:pt x="3361" y="903"/>
                                </a:cubicBezTo>
                                <a:cubicBezTo>
                                  <a:pt x="3362" y="902"/>
                                  <a:pt x="3363" y="901"/>
                                  <a:pt x="3364" y="900"/>
                                </a:cubicBezTo>
                                <a:cubicBezTo>
                                  <a:pt x="3366" y="899"/>
                                  <a:pt x="3368" y="899"/>
                                  <a:pt x="3370" y="899"/>
                                </a:cubicBezTo>
                                <a:cubicBezTo>
                                  <a:pt x="3372" y="899"/>
                                  <a:pt x="3391" y="897"/>
                                  <a:pt x="3406" y="896"/>
                                </a:cubicBezTo>
                                <a:cubicBezTo>
                                  <a:pt x="3413" y="895"/>
                                  <a:pt x="3420" y="895"/>
                                  <a:pt x="3421" y="895"/>
                                </a:cubicBezTo>
                                <a:cubicBezTo>
                                  <a:pt x="3421" y="895"/>
                                  <a:pt x="3427" y="888"/>
                                  <a:pt x="3431" y="881"/>
                                </a:cubicBezTo>
                                <a:cubicBezTo>
                                  <a:pt x="3434" y="876"/>
                                  <a:pt x="3437" y="872"/>
                                  <a:pt x="3439" y="870"/>
                                </a:cubicBezTo>
                                <a:cubicBezTo>
                                  <a:pt x="3443" y="867"/>
                                  <a:pt x="3449" y="866"/>
                                  <a:pt x="3454" y="865"/>
                                </a:cubicBezTo>
                                <a:cubicBezTo>
                                  <a:pt x="3458" y="864"/>
                                  <a:pt x="3461" y="863"/>
                                  <a:pt x="3463" y="862"/>
                                </a:cubicBezTo>
                                <a:cubicBezTo>
                                  <a:pt x="3463" y="862"/>
                                  <a:pt x="3463" y="862"/>
                                  <a:pt x="3463" y="862"/>
                                </a:cubicBezTo>
                                <a:cubicBezTo>
                                  <a:pt x="3465" y="861"/>
                                  <a:pt x="3466" y="855"/>
                                  <a:pt x="3466" y="850"/>
                                </a:cubicBezTo>
                                <a:cubicBezTo>
                                  <a:pt x="3466" y="846"/>
                                  <a:pt x="3466" y="842"/>
                                  <a:pt x="3467" y="840"/>
                                </a:cubicBezTo>
                                <a:cubicBezTo>
                                  <a:pt x="3468" y="838"/>
                                  <a:pt x="3468" y="837"/>
                                  <a:pt x="3468" y="836"/>
                                </a:cubicBezTo>
                                <a:cubicBezTo>
                                  <a:pt x="3470" y="831"/>
                                  <a:pt x="3470" y="828"/>
                                  <a:pt x="3478" y="828"/>
                                </a:cubicBezTo>
                                <a:cubicBezTo>
                                  <a:pt x="3482" y="828"/>
                                  <a:pt x="3488" y="830"/>
                                  <a:pt x="3493" y="833"/>
                                </a:cubicBezTo>
                                <a:cubicBezTo>
                                  <a:pt x="3498" y="836"/>
                                  <a:pt x="3503" y="840"/>
                                  <a:pt x="3504" y="843"/>
                                </a:cubicBezTo>
                                <a:cubicBezTo>
                                  <a:pt x="3504" y="845"/>
                                  <a:pt x="3504" y="846"/>
                                  <a:pt x="3505" y="847"/>
                                </a:cubicBezTo>
                                <a:cubicBezTo>
                                  <a:pt x="3505" y="848"/>
                                  <a:pt x="3505" y="849"/>
                                  <a:pt x="3505" y="850"/>
                                </a:cubicBezTo>
                                <a:cubicBezTo>
                                  <a:pt x="3508" y="848"/>
                                  <a:pt x="3513" y="845"/>
                                  <a:pt x="3516" y="843"/>
                                </a:cubicBezTo>
                                <a:cubicBezTo>
                                  <a:pt x="3519" y="842"/>
                                  <a:pt x="3523" y="841"/>
                                  <a:pt x="3527" y="840"/>
                                </a:cubicBezTo>
                                <a:cubicBezTo>
                                  <a:pt x="3533" y="839"/>
                                  <a:pt x="3540" y="838"/>
                                  <a:pt x="3545" y="834"/>
                                </a:cubicBezTo>
                                <a:cubicBezTo>
                                  <a:pt x="3549" y="831"/>
                                  <a:pt x="3550" y="828"/>
                                  <a:pt x="3550" y="823"/>
                                </a:cubicBezTo>
                                <a:cubicBezTo>
                                  <a:pt x="3551" y="820"/>
                                  <a:pt x="3551" y="816"/>
                                  <a:pt x="3553" y="811"/>
                                </a:cubicBezTo>
                                <a:cubicBezTo>
                                  <a:pt x="3555" y="802"/>
                                  <a:pt x="3555" y="797"/>
                                  <a:pt x="3555" y="790"/>
                                </a:cubicBezTo>
                                <a:cubicBezTo>
                                  <a:pt x="3555" y="785"/>
                                  <a:pt x="3554" y="780"/>
                                  <a:pt x="3555" y="771"/>
                                </a:cubicBezTo>
                                <a:cubicBezTo>
                                  <a:pt x="3555" y="757"/>
                                  <a:pt x="3555" y="753"/>
                                  <a:pt x="3554" y="749"/>
                                </a:cubicBezTo>
                                <a:cubicBezTo>
                                  <a:pt x="3554" y="747"/>
                                  <a:pt x="3554" y="745"/>
                                  <a:pt x="3554" y="740"/>
                                </a:cubicBezTo>
                                <a:cubicBezTo>
                                  <a:pt x="3553" y="731"/>
                                  <a:pt x="3551" y="725"/>
                                  <a:pt x="3548" y="718"/>
                                </a:cubicBezTo>
                                <a:cubicBezTo>
                                  <a:pt x="3547" y="715"/>
                                  <a:pt x="3546" y="712"/>
                                  <a:pt x="3545" y="709"/>
                                </a:cubicBezTo>
                                <a:cubicBezTo>
                                  <a:pt x="3545" y="708"/>
                                  <a:pt x="3544" y="706"/>
                                  <a:pt x="3543" y="704"/>
                                </a:cubicBezTo>
                                <a:cubicBezTo>
                                  <a:pt x="3540" y="695"/>
                                  <a:pt x="3538" y="689"/>
                                  <a:pt x="3545" y="685"/>
                                </a:cubicBezTo>
                                <a:cubicBezTo>
                                  <a:pt x="3547" y="683"/>
                                  <a:pt x="3551" y="683"/>
                                  <a:pt x="3555" y="682"/>
                                </a:cubicBezTo>
                                <a:cubicBezTo>
                                  <a:pt x="3560" y="681"/>
                                  <a:pt x="3565" y="679"/>
                                  <a:pt x="3570" y="677"/>
                                </a:cubicBezTo>
                                <a:cubicBezTo>
                                  <a:pt x="3575" y="674"/>
                                  <a:pt x="3576" y="673"/>
                                  <a:pt x="3577" y="671"/>
                                </a:cubicBezTo>
                                <a:cubicBezTo>
                                  <a:pt x="3579" y="670"/>
                                  <a:pt x="3580" y="667"/>
                                  <a:pt x="3584" y="664"/>
                                </a:cubicBezTo>
                                <a:cubicBezTo>
                                  <a:pt x="3587" y="662"/>
                                  <a:pt x="3589" y="660"/>
                                  <a:pt x="3590" y="659"/>
                                </a:cubicBezTo>
                                <a:cubicBezTo>
                                  <a:pt x="3593" y="656"/>
                                  <a:pt x="3595" y="654"/>
                                  <a:pt x="3601" y="654"/>
                                </a:cubicBezTo>
                                <a:cubicBezTo>
                                  <a:pt x="3606" y="654"/>
                                  <a:pt x="3611" y="656"/>
                                  <a:pt x="3617" y="659"/>
                                </a:cubicBezTo>
                                <a:cubicBezTo>
                                  <a:pt x="3621" y="661"/>
                                  <a:pt x="3626" y="663"/>
                                  <a:pt x="3631" y="665"/>
                                </a:cubicBezTo>
                                <a:cubicBezTo>
                                  <a:pt x="3637" y="667"/>
                                  <a:pt x="3644" y="668"/>
                                  <a:pt x="3651" y="669"/>
                                </a:cubicBezTo>
                                <a:cubicBezTo>
                                  <a:pt x="3657" y="670"/>
                                  <a:pt x="3662" y="670"/>
                                  <a:pt x="3666" y="670"/>
                                </a:cubicBezTo>
                                <a:cubicBezTo>
                                  <a:pt x="3671" y="669"/>
                                  <a:pt x="3671" y="665"/>
                                  <a:pt x="3671" y="663"/>
                                </a:cubicBezTo>
                                <a:cubicBezTo>
                                  <a:pt x="3670" y="662"/>
                                  <a:pt x="3670" y="661"/>
                                  <a:pt x="3670" y="661"/>
                                </a:cubicBezTo>
                                <a:cubicBezTo>
                                  <a:pt x="3670" y="660"/>
                                  <a:pt x="3670" y="660"/>
                                  <a:pt x="3670" y="659"/>
                                </a:cubicBezTo>
                                <a:cubicBezTo>
                                  <a:pt x="3670" y="659"/>
                                  <a:pt x="3670" y="659"/>
                                  <a:pt x="3670" y="659"/>
                                </a:cubicBezTo>
                                <a:cubicBezTo>
                                  <a:pt x="3670" y="656"/>
                                  <a:pt x="3670" y="652"/>
                                  <a:pt x="3675" y="645"/>
                                </a:cubicBezTo>
                                <a:cubicBezTo>
                                  <a:pt x="3678" y="641"/>
                                  <a:pt x="3685" y="637"/>
                                  <a:pt x="3690" y="634"/>
                                </a:cubicBezTo>
                                <a:cubicBezTo>
                                  <a:pt x="3693" y="632"/>
                                  <a:pt x="3696" y="631"/>
                                  <a:pt x="3696" y="630"/>
                                </a:cubicBezTo>
                                <a:cubicBezTo>
                                  <a:pt x="3696" y="630"/>
                                  <a:pt x="3696" y="630"/>
                                  <a:pt x="3696" y="630"/>
                                </a:cubicBezTo>
                                <a:cubicBezTo>
                                  <a:pt x="3697" y="629"/>
                                  <a:pt x="3697" y="626"/>
                                  <a:pt x="3696" y="623"/>
                                </a:cubicBezTo>
                                <a:cubicBezTo>
                                  <a:pt x="3696" y="620"/>
                                  <a:pt x="3696" y="617"/>
                                  <a:pt x="3697" y="614"/>
                                </a:cubicBezTo>
                                <a:cubicBezTo>
                                  <a:pt x="3698" y="610"/>
                                  <a:pt x="3699" y="607"/>
                                  <a:pt x="3702" y="605"/>
                                </a:cubicBezTo>
                                <a:cubicBezTo>
                                  <a:pt x="3704" y="602"/>
                                  <a:pt x="3707" y="600"/>
                                  <a:pt x="3711" y="597"/>
                                </a:cubicBezTo>
                                <a:cubicBezTo>
                                  <a:pt x="3713" y="595"/>
                                  <a:pt x="3715" y="593"/>
                                  <a:pt x="3716" y="590"/>
                                </a:cubicBezTo>
                                <a:cubicBezTo>
                                  <a:pt x="3718" y="585"/>
                                  <a:pt x="3718" y="580"/>
                                  <a:pt x="3718" y="578"/>
                                </a:cubicBezTo>
                                <a:cubicBezTo>
                                  <a:pt x="3718" y="575"/>
                                  <a:pt x="3719" y="570"/>
                                  <a:pt x="3720" y="566"/>
                                </a:cubicBezTo>
                                <a:cubicBezTo>
                                  <a:pt x="3720" y="563"/>
                                  <a:pt x="3722" y="559"/>
                                  <a:pt x="3723" y="557"/>
                                </a:cubicBezTo>
                                <a:cubicBezTo>
                                  <a:pt x="3724" y="557"/>
                                  <a:pt x="3724" y="557"/>
                                  <a:pt x="3724" y="557"/>
                                </a:cubicBezTo>
                                <a:cubicBezTo>
                                  <a:pt x="3727" y="552"/>
                                  <a:pt x="3733" y="545"/>
                                  <a:pt x="3734" y="536"/>
                                </a:cubicBezTo>
                                <a:cubicBezTo>
                                  <a:pt x="3734" y="530"/>
                                  <a:pt x="3735" y="525"/>
                                  <a:pt x="3736" y="521"/>
                                </a:cubicBezTo>
                                <a:cubicBezTo>
                                  <a:pt x="3737" y="517"/>
                                  <a:pt x="3738" y="514"/>
                                  <a:pt x="3739" y="510"/>
                                </a:cubicBezTo>
                                <a:cubicBezTo>
                                  <a:pt x="3740" y="499"/>
                                  <a:pt x="3748" y="492"/>
                                  <a:pt x="3753" y="487"/>
                                </a:cubicBezTo>
                                <a:cubicBezTo>
                                  <a:pt x="3753" y="487"/>
                                  <a:pt x="3753" y="487"/>
                                  <a:pt x="3753" y="487"/>
                                </a:cubicBezTo>
                                <a:cubicBezTo>
                                  <a:pt x="3755" y="485"/>
                                  <a:pt x="3758" y="483"/>
                                  <a:pt x="3761" y="480"/>
                                </a:cubicBezTo>
                                <a:cubicBezTo>
                                  <a:pt x="3767" y="476"/>
                                  <a:pt x="3773" y="471"/>
                                  <a:pt x="3773" y="470"/>
                                </a:cubicBezTo>
                                <a:cubicBezTo>
                                  <a:pt x="3774" y="469"/>
                                  <a:pt x="3773" y="468"/>
                                  <a:pt x="3773" y="466"/>
                                </a:cubicBezTo>
                                <a:cubicBezTo>
                                  <a:pt x="3771" y="463"/>
                                  <a:pt x="3769" y="460"/>
                                  <a:pt x="3766" y="457"/>
                                </a:cubicBezTo>
                                <a:cubicBezTo>
                                  <a:pt x="3760" y="449"/>
                                  <a:pt x="3761" y="446"/>
                                  <a:pt x="3763" y="440"/>
                                </a:cubicBezTo>
                                <a:cubicBezTo>
                                  <a:pt x="3763" y="440"/>
                                  <a:pt x="3763" y="439"/>
                                  <a:pt x="3764" y="438"/>
                                </a:cubicBezTo>
                                <a:cubicBezTo>
                                  <a:pt x="3764" y="437"/>
                                  <a:pt x="3764" y="436"/>
                                  <a:pt x="3765" y="435"/>
                                </a:cubicBezTo>
                                <a:cubicBezTo>
                                  <a:pt x="3766" y="432"/>
                                  <a:pt x="3767" y="429"/>
                                  <a:pt x="3765" y="427"/>
                                </a:cubicBezTo>
                                <a:cubicBezTo>
                                  <a:pt x="3762" y="425"/>
                                  <a:pt x="3760" y="423"/>
                                  <a:pt x="3758" y="422"/>
                                </a:cubicBezTo>
                                <a:cubicBezTo>
                                  <a:pt x="3758" y="422"/>
                                  <a:pt x="3758" y="422"/>
                                  <a:pt x="3758" y="422"/>
                                </a:cubicBezTo>
                                <a:cubicBezTo>
                                  <a:pt x="3756" y="421"/>
                                  <a:pt x="3753" y="421"/>
                                  <a:pt x="3751" y="421"/>
                                </a:cubicBezTo>
                                <a:cubicBezTo>
                                  <a:pt x="3748" y="421"/>
                                  <a:pt x="3745" y="421"/>
                                  <a:pt x="3742" y="422"/>
                                </a:cubicBezTo>
                                <a:cubicBezTo>
                                  <a:pt x="3738" y="423"/>
                                  <a:pt x="3734" y="424"/>
                                  <a:pt x="3729" y="426"/>
                                </a:cubicBezTo>
                                <a:cubicBezTo>
                                  <a:pt x="3726" y="427"/>
                                  <a:pt x="3722" y="429"/>
                                  <a:pt x="3718" y="431"/>
                                </a:cubicBezTo>
                                <a:cubicBezTo>
                                  <a:pt x="3708" y="436"/>
                                  <a:pt x="3696" y="442"/>
                                  <a:pt x="3685" y="443"/>
                                </a:cubicBezTo>
                                <a:cubicBezTo>
                                  <a:pt x="3673" y="445"/>
                                  <a:pt x="3671" y="446"/>
                                  <a:pt x="3664" y="448"/>
                                </a:cubicBezTo>
                                <a:cubicBezTo>
                                  <a:pt x="3664" y="448"/>
                                  <a:pt x="3664" y="448"/>
                                  <a:pt x="3664" y="448"/>
                                </a:cubicBezTo>
                                <a:cubicBezTo>
                                  <a:pt x="3661" y="449"/>
                                  <a:pt x="3661" y="449"/>
                                  <a:pt x="3661" y="449"/>
                                </a:cubicBezTo>
                                <a:cubicBezTo>
                                  <a:pt x="3657" y="451"/>
                                  <a:pt x="3654" y="452"/>
                                  <a:pt x="3651" y="454"/>
                                </a:cubicBezTo>
                                <a:cubicBezTo>
                                  <a:pt x="3649" y="456"/>
                                  <a:pt x="3648" y="458"/>
                                  <a:pt x="3648" y="459"/>
                                </a:cubicBezTo>
                                <a:cubicBezTo>
                                  <a:pt x="3647" y="462"/>
                                  <a:pt x="3645" y="465"/>
                                  <a:pt x="3643" y="469"/>
                                </a:cubicBezTo>
                                <a:cubicBezTo>
                                  <a:pt x="3641" y="472"/>
                                  <a:pt x="3637" y="475"/>
                                  <a:pt x="3632" y="475"/>
                                </a:cubicBezTo>
                                <a:cubicBezTo>
                                  <a:pt x="3631" y="475"/>
                                  <a:pt x="3631" y="475"/>
                                  <a:pt x="3631" y="475"/>
                                </a:cubicBezTo>
                                <a:cubicBezTo>
                                  <a:pt x="3624" y="475"/>
                                  <a:pt x="3613" y="476"/>
                                  <a:pt x="3598" y="476"/>
                                </a:cubicBezTo>
                                <a:cubicBezTo>
                                  <a:pt x="3587" y="476"/>
                                  <a:pt x="3569" y="476"/>
                                  <a:pt x="3559" y="476"/>
                                </a:cubicBezTo>
                                <a:cubicBezTo>
                                  <a:pt x="3554" y="476"/>
                                  <a:pt x="3552" y="476"/>
                                  <a:pt x="3551" y="476"/>
                                </a:cubicBezTo>
                                <a:cubicBezTo>
                                  <a:pt x="3551" y="476"/>
                                  <a:pt x="3551" y="476"/>
                                  <a:pt x="3551" y="476"/>
                                </a:cubicBezTo>
                                <a:cubicBezTo>
                                  <a:pt x="3550" y="476"/>
                                  <a:pt x="3550" y="476"/>
                                  <a:pt x="3550" y="476"/>
                                </a:cubicBezTo>
                                <a:cubicBezTo>
                                  <a:pt x="3544" y="476"/>
                                  <a:pt x="3537" y="476"/>
                                  <a:pt x="3537" y="467"/>
                                </a:cubicBezTo>
                                <a:cubicBezTo>
                                  <a:pt x="3537" y="465"/>
                                  <a:pt x="3537" y="463"/>
                                  <a:pt x="3536" y="461"/>
                                </a:cubicBezTo>
                                <a:cubicBezTo>
                                  <a:pt x="3536" y="459"/>
                                  <a:pt x="3535" y="457"/>
                                  <a:pt x="3534" y="455"/>
                                </a:cubicBezTo>
                                <a:cubicBezTo>
                                  <a:pt x="3533" y="453"/>
                                  <a:pt x="3531" y="452"/>
                                  <a:pt x="3529" y="451"/>
                                </a:cubicBezTo>
                                <a:cubicBezTo>
                                  <a:pt x="3525" y="449"/>
                                  <a:pt x="3521" y="447"/>
                                  <a:pt x="3520" y="440"/>
                                </a:cubicBezTo>
                                <a:cubicBezTo>
                                  <a:pt x="3519" y="435"/>
                                  <a:pt x="3521" y="431"/>
                                  <a:pt x="3523" y="426"/>
                                </a:cubicBezTo>
                                <a:cubicBezTo>
                                  <a:pt x="3525" y="422"/>
                                  <a:pt x="3526" y="418"/>
                                  <a:pt x="3526" y="413"/>
                                </a:cubicBezTo>
                                <a:cubicBezTo>
                                  <a:pt x="3526" y="410"/>
                                  <a:pt x="3524" y="408"/>
                                  <a:pt x="3521" y="407"/>
                                </a:cubicBezTo>
                                <a:cubicBezTo>
                                  <a:pt x="3521" y="407"/>
                                  <a:pt x="3521" y="407"/>
                                  <a:pt x="3521" y="407"/>
                                </a:cubicBezTo>
                                <a:cubicBezTo>
                                  <a:pt x="3519" y="405"/>
                                  <a:pt x="3516" y="403"/>
                                  <a:pt x="3513" y="399"/>
                                </a:cubicBezTo>
                                <a:cubicBezTo>
                                  <a:pt x="3510" y="393"/>
                                  <a:pt x="3512" y="388"/>
                                  <a:pt x="3513" y="384"/>
                                </a:cubicBezTo>
                                <a:cubicBezTo>
                                  <a:pt x="3514" y="383"/>
                                  <a:pt x="3515" y="382"/>
                                  <a:pt x="3515" y="382"/>
                                </a:cubicBezTo>
                                <a:cubicBezTo>
                                  <a:pt x="3514" y="381"/>
                                  <a:pt x="3512" y="381"/>
                                  <a:pt x="3509" y="381"/>
                                </a:cubicBezTo>
                                <a:cubicBezTo>
                                  <a:pt x="3504" y="381"/>
                                  <a:pt x="3496" y="381"/>
                                  <a:pt x="3489" y="377"/>
                                </a:cubicBezTo>
                                <a:cubicBezTo>
                                  <a:pt x="3483" y="374"/>
                                  <a:pt x="3476" y="366"/>
                                  <a:pt x="3469" y="358"/>
                                </a:cubicBezTo>
                                <a:cubicBezTo>
                                  <a:pt x="3462" y="349"/>
                                  <a:pt x="3454" y="340"/>
                                  <a:pt x="3449" y="339"/>
                                </a:cubicBezTo>
                                <a:cubicBezTo>
                                  <a:pt x="3444" y="338"/>
                                  <a:pt x="3443" y="338"/>
                                  <a:pt x="3441" y="339"/>
                                </a:cubicBezTo>
                                <a:cubicBezTo>
                                  <a:pt x="3440" y="340"/>
                                  <a:pt x="3438" y="340"/>
                                  <a:pt x="3435" y="341"/>
                                </a:cubicBezTo>
                                <a:cubicBezTo>
                                  <a:pt x="3427" y="342"/>
                                  <a:pt x="3424" y="341"/>
                                  <a:pt x="3411" y="334"/>
                                </a:cubicBezTo>
                                <a:cubicBezTo>
                                  <a:pt x="3411" y="334"/>
                                  <a:pt x="3411" y="334"/>
                                  <a:pt x="3411" y="334"/>
                                </a:cubicBezTo>
                                <a:cubicBezTo>
                                  <a:pt x="3411" y="334"/>
                                  <a:pt x="3411" y="334"/>
                                  <a:pt x="3411" y="334"/>
                                </a:cubicBezTo>
                                <a:cubicBezTo>
                                  <a:pt x="3411" y="334"/>
                                  <a:pt x="3411" y="334"/>
                                  <a:pt x="3411" y="334"/>
                                </a:cubicBezTo>
                                <a:cubicBezTo>
                                  <a:pt x="3405" y="331"/>
                                  <a:pt x="3401" y="329"/>
                                  <a:pt x="3398" y="328"/>
                                </a:cubicBezTo>
                                <a:cubicBezTo>
                                  <a:pt x="3395" y="327"/>
                                  <a:pt x="3392" y="327"/>
                                  <a:pt x="3387" y="327"/>
                                </a:cubicBezTo>
                                <a:cubicBezTo>
                                  <a:pt x="3384" y="326"/>
                                  <a:pt x="3384" y="326"/>
                                  <a:pt x="3384" y="326"/>
                                </a:cubicBezTo>
                                <a:cubicBezTo>
                                  <a:pt x="3372" y="326"/>
                                  <a:pt x="3351" y="326"/>
                                  <a:pt x="3346" y="323"/>
                                </a:cubicBezTo>
                                <a:cubicBezTo>
                                  <a:pt x="3344" y="321"/>
                                  <a:pt x="3341" y="319"/>
                                  <a:pt x="3339" y="315"/>
                                </a:cubicBezTo>
                                <a:cubicBezTo>
                                  <a:pt x="3336" y="312"/>
                                  <a:pt x="3334" y="309"/>
                                  <a:pt x="3332" y="305"/>
                                </a:cubicBezTo>
                                <a:cubicBezTo>
                                  <a:pt x="3329" y="301"/>
                                  <a:pt x="3328" y="298"/>
                                  <a:pt x="3327" y="295"/>
                                </a:cubicBezTo>
                                <a:cubicBezTo>
                                  <a:pt x="3327" y="291"/>
                                  <a:pt x="3326" y="288"/>
                                  <a:pt x="3326" y="284"/>
                                </a:cubicBezTo>
                                <a:cubicBezTo>
                                  <a:pt x="3325" y="280"/>
                                  <a:pt x="3326" y="278"/>
                                  <a:pt x="3327" y="275"/>
                                </a:cubicBezTo>
                                <a:cubicBezTo>
                                  <a:pt x="3328" y="273"/>
                                  <a:pt x="3329" y="271"/>
                                  <a:pt x="3328" y="267"/>
                                </a:cubicBezTo>
                                <a:cubicBezTo>
                                  <a:pt x="3327" y="261"/>
                                  <a:pt x="3321" y="250"/>
                                  <a:pt x="3315" y="241"/>
                                </a:cubicBezTo>
                                <a:cubicBezTo>
                                  <a:pt x="3312" y="236"/>
                                  <a:pt x="3310" y="232"/>
                                  <a:pt x="3309" y="229"/>
                                </a:cubicBezTo>
                                <a:cubicBezTo>
                                  <a:pt x="3307" y="226"/>
                                  <a:pt x="3305" y="223"/>
                                  <a:pt x="3303" y="220"/>
                                </a:cubicBezTo>
                                <a:cubicBezTo>
                                  <a:pt x="3299" y="214"/>
                                  <a:pt x="3295" y="208"/>
                                  <a:pt x="3295" y="203"/>
                                </a:cubicBezTo>
                                <a:cubicBezTo>
                                  <a:pt x="3295" y="202"/>
                                  <a:pt x="3295" y="202"/>
                                  <a:pt x="3295" y="202"/>
                                </a:cubicBezTo>
                                <a:cubicBezTo>
                                  <a:pt x="3295" y="202"/>
                                  <a:pt x="3295" y="202"/>
                                  <a:pt x="3295" y="202"/>
                                </a:cubicBezTo>
                                <a:cubicBezTo>
                                  <a:pt x="3295" y="197"/>
                                  <a:pt x="3295" y="189"/>
                                  <a:pt x="3291" y="186"/>
                                </a:cubicBezTo>
                                <a:cubicBezTo>
                                  <a:pt x="3290" y="185"/>
                                  <a:pt x="3288" y="184"/>
                                  <a:pt x="3286" y="184"/>
                                </a:cubicBezTo>
                                <a:cubicBezTo>
                                  <a:pt x="3283" y="183"/>
                                  <a:pt x="3281" y="183"/>
                                  <a:pt x="3279" y="180"/>
                                </a:cubicBezTo>
                                <a:cubicBezTo>
                                  <a:pt x="3277" y="178"/>
                                  <a:pt x="3276" y="172"/>
                                  <a:pt x="3274" y="166"/>
                                </a:cubicBezTo>
                                <a:cubicBezTo>
                                  <a:pt x="3273" y="162"/>
                                  <a:pt x="3272" y="157"/>
                                  <a:pt x="3271" y="154"/>
                                </a:cubicBezTo>
                                <a:cubicBezTo>
                                  <a:pt x="3270" y="151"/>
                                  <a:pt x="3267" y="147"/>
                                  <a:pt x="3265" y="143"/>
                                </a:cubicBezTo>
                                <a:cubicBezTo>
                                  <a:pt x="3262" y="137"/>
                                  <a:pt x="3258" y="131"/>
                                  <a:pt x="3258" y="125"/>
                                </a:cubicBezTo>
                                <a:cubicBezTo>
                                  <a:pt x="3258" y="121"/>
                                  <a:pt x="3258" y="118"/>
                                  <a:pt x="3259" y="115"/>
                                </a:cubicBezTo>
                                <a:cubicBezTo>
                                  <a:pt x="3259" y="113"/>
                                  <a:pt x="3260" y="112"/>
                                  <a:pt x="3259" y="111"/>
                                </a:cubicBezTo>
                                <a:cubicBezTo>
                                  <a:pt x="3258" y="107"/>
                                  <a:pt x="3255" y="102"/>
                                  <a:pt x="3250" y="96"/>
                                </a:cubicBezTo>
                                <a:cubicBezTo>
                                  <a:pt x="3249" y="94"/>
                                  <a:pt x="3249" y="94"/>
                                  <a:pt x="3249" y="94"/>
                                </a:cubicBezTo>
                                <a:cubicBezTo>
                                  <a:pt x="3248" y="92"/>
                                  <a:pt x="3245" y="89"/>
                                  <a:pt x="3241" y="87"/>
                                </a:cubicBezTo>
                                <a:cubicBezTo>
                                  <a:pt x="3236" y="82"/>
                                  <a:pt x="3231" y="78"/>
                                  <a:pt x="3230" y="72"/>
                                </a:cubicBezTo>
                                <a:cubicBezTo>
                                  <a:pt x="3229" y="67"/>
                                  <a:pt x="3230" y="64"/>
                                  <a:pt x="3231" y="62"/>
                                </a:cubicBezTo>
                                <a:cubicBezTo>
                                  <a:pt x="3232" y="60"/>
                                  <a:pt x="3232" y="60"/>
                                  <a:pt x="3231" y="59"/>
                                </a:cubicBezTo>
                                <a:cubicBezTo>
                                  <a:pt x="3228" y="55"/>
                                  <a:pt x="3217" y="46"/>
                                  <a:pt x="3207" y="39"/>
                                </a:cubicBezTo>
                                <a:cubicBezTo>
                                  <a:pt x="3207" y="39"/>
                                  <a:pt x="3207" y="39"/>
                                  <a:pt x="3207" y="39"/>
                                </a:cubicBezTo>
                                <a:cubicBezTo>
                                  <a:pt x="3201" y="34"/>
                                  <a:pt x="3195" y="30"/>
                                  <a:pt x="3192" y="29"/>
                                </a:cubicBezTo>
                                <a:cubicBezTo>
                                  <a:pt x="3185" y="27"/>
                                  <a:pt x="3182" y="27"/>
                                  <a:pt x="3171" y="28"/>
                                </a:cubicBezTo>
                                <a:cubicBezTo>
                                  <a:pt x="3168" y="28"/>
                                  <a:pt x="3165" y="28"/>
                                  <a:pt x="3161" y="29"/>
                                </a:cubicBezTo>
                                <a:cubicBezTo>
                                  <a:pt x="3144" y="30"/>
                                  <a:pt x="3142" y="28"/>
                                  <a:pt x="3138" y="25"/>
                                </a:cubicBezTo>
                                <a:cubicBezTo>
                                  <a:pt x="3137" y="24"/>
                                  <a:pt x="3135" y="23"/>
                                  <a:pt x="3134" y="22"/>
                                </a:cubicBezTo>
                                <a:cubicBezTo>
                                  <a:pt x="3130" y="20"/>
                                  <a:pt x="3125" y="18"/>
                                  <a:pt x="3120" y="15"/>
                                </a:cubicBezTo>
                                <a:cubicBezTo>
                                  <a:pt x="3114" y="12"/>
                                  <a:pt x="3107" y="9"/>
                                  <a:pt x="3102" y="7"/>
                                </a:cubicBezTo>
                                <a:cubicBezTo>
                                  <a:pt x="3096" y="4"/>
                                  <a:pt x="3092" y="2"/>
                                  <a:pt x="3087" y="1"/>
                                </a:cubicBezTo>
                                <a:cubicBezTo>
                                  <a:pt x="3083" y="1"/>
                                  <a:pt x="3078" y="0"/>
                                  <a:pt x="3074" y="1"/>
                                </a:cubicBezTo>
                                <a:cubicBezTo>
                                  <a:pt x="3068" y="1"/>
                                  <a:pt x="3045" y="3"/>
                                  <a:pt x="3025" y="6"/>
                                </a:cubicBezTo>
                                <a:cubicBezTo>
                                  <a:pt x="3013" y="7"/>
                                  <a:pt x="3002" y="9"/>
                                  <a:pt x="2998" y="10"/>
                                </a:cubicBezTo>
                                <a:cubicBezTo>
                                  <a:pt x="2997" y="10"/>
                                  <a:pt x="2997" y="10"/>
                                  <a:pt x="2997" y="10"/>
                                </a:cubicBezTo>
                                <a:cubicBezTo>
                                  <a:pt x="2983" y="14"/>
                                  <a:pt x="2951" y="23"/>
                                  <a:pt x="2938" y="21"/>
                                </a:cubicBezTo>
                                <a:cubicBezTo>
                                  <a:pt x="2932" y="20"/>
                                  <a:pt x="2928" y="21"/>
                                  <a:pt x="2924" y="23"/>
                                </a:cubicBezTo>
                                <a:cubicBezTo>
                                  <a:pt x="2920" y="24"/>
                                  <a:pt x="2916" y="26"/>
                                  <a:pt x="2913" y="28"/>
                                </a:cubicBezTo>
                                <a:cubicBezTo>
                                  <a:pt x="2909" y="30"/>
                                  <a:pt x="2896" y="41"/>
                                  <a:pt x="2885" y="51"/>
                                </a:cubicBezTo>
                                <a:cubicBezTo>
                                  <a:pt x="2878" y="57"/>
                                  <a:pt x="2872" y="62"/>
                                  <a:pt x="2872" y="64"/>
                                </a:cubicBezTo>
                                <a:cubicBezTo>
                                  <a:pt x="2871" y="66"/>
                                  <a:pt x="2872" y="68"/>
                                  <a:pt x="2873" y="69"/>
                                </a:cubicBezTo>
                                <a:cubicBezTo>
                                  <a:pt x="2874" y="71"/>
                                  <a:pt x="2875" y="72"/>
                                  <a:pt x="2877" y="72"/>
                                </a:cubicBezTo>
                                <a:cubicBezTo>
                                  <a:pt x="2877" y="73"/>
                                  <a:pt x="2879" y="73"/>
                                  <a:pt x="2881" y="73"/>
                                </a:cubicBezTo>
                                <a:cubicBezTo>
                                  <a:pt x="2884" y="73"/>
                                  <a:pt x="2888" y="72"/>
                                  <a:pt x="2892" y="72"/>
                                </a:cubicBezTo>
                                <a:cubicBezTo>
                                  <a:pt x="2892" y="72"/>
                                  <a:pt x="2892" y="72"/>
                                  <a:pt x="2893" y="72"/>
                                </a:cubicBezTo>
                                <a:cubicBezTo>
                                  <a:pt x="2897" y="71"/>
                                  <a:pt x="2901" y="72"/>
                                  <a:pt x="2904" y="73"/>
                                </a:cubicBezTo>
                                <a:cubicBezTo>
                                  <a:pt x="2907" y="75"/>
                                  <a:pt x="2909" y="78"/>
                                  <a:pt x="2910" y="82"/>
                                </a:cubicBezTo>
                                <a:cubicBezTo>
                                  <a:pt x="2910" y="82"/>
                                  <a:pt x="2910" y="82"/>
                                  <a:pt x="2910" y="82"/>
                                </a:cubicBezTo>
                                <a:cubicBezTo>
                                  <a:pt x="2910" y="82"/>
                                  <a:pt x="2910" y="82"/>
                                  <a:pt x="2910" y="82"/>
                                </a:cubicBezTo>
                                <a:cubicBezTo>
                                  <a:pt x="2910" y="82"/>
                                  <a:pt x="2910" y="82"/>
                                  <a:pt x="2910" y="82"/>
                                </a:cubicBezTo>
                                <a:cubicBezTo>
                                  <a:pt x="2910" y="85"/>
                                  <a:pt x="2910" y="88"/>
                                  <a:pt x="2909" y="91"/>
                                </a:cubicBezTo>
                                <a:cubicBezTo>
                                  <a:pt x="2909" y="94"/>
                                  <a:pt x="2909" y="97"/>
                                  <a:pt x="2909" y="101"/>
                                </a:cubicBezTo>
                                <a:cubicBezTo>
                                  <a:pt x="2910" y="104"/>
                                  <a:pt x="2911" y="106"/>
                                  <a:pt x="2911" y="107"/>
                                </a:cubicBezTo>
                                <a:cubicBezTo>
                                  <a:pt x="2913" y="110"/>
                                  <a:pt x="2914" y="112"/>
                                  <a:pt x="2911" y="118"/>
                                </a:cubicBezTo>
                                <a:cubicBezTo>
                                  <a:pt x="2909" y="123"/>
                                  <a:pt x="2898" y="134"/>
                                  <a:pt x="2888" y="145"/>
                                </a:cubicBezTo>
                                <a:cubicBezTo>
                                  <a:pt x="2882" y="150"/>
                                  <a:pt x="2877" y="155"/>
                                  <a:pt x="2874" y="159"/>
                                </a:cubicBezTo>
                                <a:cubicBezTo>
                                  <a:pt x="2870" y="164"/>
                                  <a:pt x="2865" y="170"/>
                                  <a:pt x="2861" y="177"/>
                                </a:cubicBezTo>
                                <a:cubicBezTo>
                                  <a:pt x="2856" y="185"/>
                                  <a:pt x="2852" y="193"/>
                                  <a:pt x="2847" y="201"/>
                                </a:cubicBezTo>
                                <a:cubicBezTo>
                                  <a:pt x="2845" y="205"/>
                                  <a:pt x="2843" y="209"/>
                                  <a:pt x="2840" y="212"/>
                                </a:cubicBezTo>
                                <a:cubicBezTo>
                                  <a:pt x="2835" y="222"/>
                                  <a:pt x="2830" y="230"/>
                                  <a:pt x="2828" y="238"/>
                                </a:cubicBezTo>
                                <a:cubicBezTo>
                                  <a:pt x="2827" y="243"/>
                                  <a:pt x="2827" y="249"/>
                                  <a:pt x="2828" y="254"/>
                                </a:cubicBezTo>
                                <a:cubicBezTo>
                                  <a:pt x="2829" y="260"/>
                                  <a:pt x="2829" y="264"/>
                                  <a:pt x="2828" y="269"/>
                                </a:cubicBezTo>
                                <a:cubicBezTo>
                                  <a:pt x="2827" y="273"/>
                                  <a:pt x="2825" y="278"/>
                                  <a:pt x="2820" y="282"/>
                                </a:cubicBezTo>
                                <a:cubicBezTo>
                                  <a:pt x="2816" y="287"/>
                                  <a:pt x="2811" y="291"/>
                                  <a:pt x="2802" y="294"/>
                                </a:cubicBezTo>
                                <a:cubicBezTo>
                                  <a:pt x="2792" y="296"/>
                                  <a:pt x="2787" y="296"/>
                                  <a:pt x="2782" y="296"/>
                                </a:cubicBezTo>
                                <a:cubicBezTo>
                                  <a:pt x="2779" y="296"/>
                                  <a:pt x="2776" y="296"/>
                                  <a:pt x="2772" y="297"/>
                                </a:cubicBezTo>
                                <a:cubicBezTo>
                                  <a:pt x="2768" y="299"/>
                                  <a:pt x="2762" y="305"/>
                                  <a:pt x="2755" y="311"/>
                                </a:cubicBezTo>
                                <a:cubicBezTo>
                                  <a:pt x="2747" y="318"/>
                                  <a:pt x="2739" y="325"/>
                                  <a:pt x="2733" y="326"/>
                                </a:cubicBezTo>
                                <a:cubicBezTo>
                                  <a:pt x="2727" y="327"/>
                                  <a:pt x="2710" y="321"/>
                                  <a:pt x="2694" y="315"/>
                                </a:cubicBezTo>
                                <a:cubicBezTo>
                                  <a:pt x="2686" y="312"/>
                                  <a:pt x="2679" y="309"/>
                                  <a:pt x="2673" y="308"/>
                                </a:cubicBezTo>
                                <a:cubicBezTo>
                                  <a:pt x="2670" y="307"/>
                                  <a:pt x="2667" y="306"/>
                                  <a:pt x="2665" y="305"/>
                                </a:cubicBezTo>
                                <a:cubicBezTo>
                                  <a:pt x="2660" y="312"/>
                                  <a:pt x="2648" y="334"/>
                                  <a:pt x="2636" y="354"/>
                                </a:cubicBezTo>
                                <a:cubicBezTo>
                                  <a:pt x="2626" y="373"/>
                                  <a:pt x="2616" y="391"/>
                                  <a:pt x="2615" y="395"/>
                                </a:cubicBezTo>
                                <a:cubicBezTo>
                                  <a:pt x="2614" y="398"/>
                                  <a:pt x="2613" y="400"/>
                                  <a:pt x="2612" y="402"/>
                                </a:cubicBezTo>
                                <a:cubicBezTo>
                                  <a:pt x="2610" y="405"/>
                                  <a:pt x="2609" y="407"/>
                                  <a:pt x="2609" y="413"/>
                                </a:cubicBezTo>
                                <a:cubicBezTo>
                                  <a:pt x="2609" y="414"/>
                                  <a:pt x="2609" y="415"/>
                                  <a:pt x="2610" y="416"/>
                                </a:cubicBezTo>
                                <a:cubicBezTo>
                                  <a:pt x="2610" y="420"/>
                                  <a:pt x="2610" y="422"/>
                                  <a:pt x="2609" y="424"/>
                                </a:cubicBezTo>
                                <a:cubicBezTo>
                                  <a:pt x="2608" y="427"/>
                                  <a:pt x="2607" y="428"/>
                                  <a:pt x="2605" y="432"/>
                                </a:cubicBezTo>
                                <a:cubicBezTo>
                                  <a:pt x="2603" y="434"/>
                                  <a:pt x="2603" y="434"/>
                                  <a:pt x="2603" y="434"/>
                                </a:cubicBezTo>
                                <a:cubicBezTo>
                                  <a:pt x="2601" y="437"/>
                                  <a:pt x="2599" y="439"/>
                                  <a:pt x="2598" y="440"/>
                                </a:cubicBezTo>
                                <a:cubicBezTo>
                                  <a:pt x="2598" y="440"/>
                                  <a:pt x="2598" y="440"/>
                                  <a:pt x="2598" y="440"/>
                                </a:cubicBezTo>
                                <a:cubicBezTo>
                                  <a:pt x="2595" y="443"/>
                                  <a:pt x="2594" y="444"/>
                                  <a:pt x="2596" y="448"/>
                                </a:cubicBezTo>
                                <a:cubicBezTo>
                                  <a:pt x="2597" y="449"/>
                                  <a:pt x="2597" y="450"/>
                                  <a:pt x="2598" y="451"/>
                                </a:cubicBezTo>
                                <a:cubicBezTo>
                                  <a:pt x="2602" y="458"/>
                                  <a:pt x="2605" y="465"/>
                                  <a:pt x="2611" y="467"/>
                                </a:cubicBezTo>
                                <a:cubicBezTo>
                                  <a:pt x="2614" y="468"/>
                                  <a:pt x="2620" y="466"/>
                                  <a:pt x="2625" y="464"/>
                                </a:cubicBezTo>
                                <a:cubicBezTo>
                                  <a:pt x="2630" y="462"/>
                                  <a:pt x="2634" y="460"/>
                                  <a:pt x="2638" y="460"/>
                                </a:cubicBezTo>
                                <a:cubicBezTo>
                                  <a:pt x="2642" y="459"/>
                                  <a:pt x="2646" y="459"/>
                                  <a:pt x="2651" y="458"/>
                                </a:cubicBezTo>
                                <a:cubicBezTo>
                                  <a:pt x="2656" y="457"/>
                                  <a:pt x="2662" y="457"/>
                                  <a:pt x="2667" y="457"/>
                                </a:cubicBezTo>
                                <a:cubicBezTo>
                                  <a:pt x="2673" y="457"/>
                                  <a:pt x="2680" y="461"/>
                                  <a:pt x="2687" y="465"/>
                                </a:cubicBezTo>
                                <a:cubicBezTo>
                                  <a:pt x="2692" y="468"/>
                                  <a:pt x="2698" y="472"/>
                                  <a:pt x="2700" y="472"/>
                                </a:cubicBezTo>
                                <a:cubicBezTo>
                                  <a:pt x="2702" y="471"/>
                                  <a:pt x="2703" y="469"/>
                                  <a:pt x="2705" y="467"/>
                                </a:cubicBezTo>
                                <a:cubicBezTo>
                                  <a:pt x="2708" y="462"/>
                                  <a:pt x="2713" y="456"/>
                                  <a:pt x="2721" y="452"/>
                                </a:cubicBezTo>
                                <a:cubicBezTo>
                                  <a:pt x="2729" y="449"/>
                                  <a:pt x="2739" y="447"/>
                                  <a:pt x="2749" y="447"/>
                                </a:cubicBezTo>
                                <a:cubicBezTo>
                                  <a:pt x="2759" y="446"/>
                                  <a:pt x="2770" y="447"/>
                                  <a:pt x="2778" y="449"/>
                                </a:cubicBezTo>
                                <a:cubicBezTo>
                                  <a:pt x="2785" y="451"/>
                                  <a:pt x="2798" y="461"/>
                                  <a:pt x="2811" y="473"/>
                                </a:cubicBezTo>
                                <a:cubicBezTo>
                                  <a:pt x="2830" y="491"/>
                                  <a:pt x="2850" y="512"/>
                                  <a:pt x="2856" y="520"/>
                                </a:cubicBezTo>
                                <a:cubicBezTo>
                                  <a:pt x="2860" y="527"/>
                                  <a:pt x="2864" y="533"/>
                                  <a:pt x="2865" y="538"/>
                                </a:cubicBezTo>
                                <a:cubicBezTo>
                                  <a:pt x="2867" y="545"/>
                                  <a:pt x="2865" y="550"/>
                                  <a:pt x="2857" y="553"/>
                                </a:cubicBezTo>
                                <a:cubicBezTo>
                                  <a:pt x="2850" y="556"/>
                                  <a:pt x="2825" y="555"/>
                                  <a:pt x="2803" y="554"/>
                                </a:cubicBezTo>
                                <a:cubicBezTo>
                                  <a:pt x="2789" y="554"/>
                                  <a:pt x="2777" y="554"/>
                                  <a:pt x="2771" y="554"/>
                                </a:cubicBezTo>
                                <a:cubicBezTo>
                                  <a:pt x="2763" y="555"/>
                                  <a:pt x="2746" y="562"/>
                                  <a:pt x="2731" y="568"/>
                                </a:cubicBezTo>
                                <a:cubicBezTo>
                                  <a:pt x="2721" y="572"/>
                                  <a:pt x="2712" y="576"/>
                                  <a:pt x="2708" y="577"/>
                                </a:cubicBezTo>
                                <a:cubicBezTo>
                                  <a:pt x="2700" y="578"/>
                                  <a:pt x="2675" y="578"/>
                                  <a:pt x="2666" y="579"/>
                                </a:cubicBezTo>
                                <a:cubicBezTo>
                                  <a:pt x="2665" y="579"/>
                                  <a:pt x="2665" y="579"/>
                                  <a:pt x="2665" y="579"/>
                                </a:cubicBezTo>
                                <a:cubicBezTo>
                                  <a:pt x="2662" y="579"/>
                                  <a:pt x="2657" y="582"/>
                                  <a:pt x="2652" y="587"/>
                                </a:cubicBezTo>
                                <a:cubicBezTo>
                                  <a:pt x="2646" y="593"/>
                                  <a:pt x="2640" y="600"/>
                                  <a:pt x="2638" y="604"/>
                                </a:cubicBezTo>
                                <a:cubicBezTo>
                                  <a:pt x="2636" y="608"/>
                                  <a:pt x="2637" y="611"/>
                                  <a:pt x="2637" y="613"/>
                                </a:cubicBezTo>
                                <a:cubicBezTo>
                                  <a:pt x="2637" y="618"/>
                                  <a:pt x="2637" y="622"/>
                                  <a:pt x="2632" y="626"/>
                                </a:cubicBezTo>
                                <a:cubicBezTo>
                                  <a:pt x="2628" y="629"/>
                                  <a:pt x="2622" y="634"/>
                                  <a:pt x="2617" y="637"/>
                                </a:cubicBezTo>
                                <a:cubicBezTo>
                                  <a:pt x="2617" y="637"/>
                                  <a:pt x="2617" y="637"/>
                                  <a:pt x="2617" y="637"/>
                                </a:cubicBezTo>
                                <a:cubicBezTo>
                                  <a:pt x="2612" y="640"/>
                                  <a:pt x="2608" y="643"/>
                                  <a:pt x="2603" y="645"/>
                                </a:cubicBezTo>
                                <a:cubicBezTo>
                                  <a:pt x="2597" y="648"/>
                                  <a:pt x="2577" y="649"/>
                                  <a:pt x="2561" y="649"/>
                                </a:cubicBezTo>
                                <a:cubicBezTo>
                                  <a:pt x="2552" y="649"/>
                                  <a:pt x="2544" y="650"/>
                                  <a:pt x="2540" y="650"/>
                                </a:cubicBezTo>
                                <a:cubicBezTo>
                                  <a:pt x="2531" y="652"/>
                                  <a:pt x="2495" y="682"/>
                                  <a:pt x="2483" y="692"/>
                                </a:cubicBezTo>
                                <a:cubicBezTo>
                                  <a:pt x="2480" y="694"/>
                                  <a:pt x="2480" y="694"/>
                                  <a:pt x="2480" y="694"/>
                                </a:cubicBezTo>
                                <a:cubicBezTo>
                                  <a:pt x="2480" y="694"/>
                                  <a:pt x="2480" y="694"/>
                                  <a:pt x="2480" y="694"/>
                                </a:cubicBezTo>
                                <a:cubicBezTo>
                                  <a:pt x="2476" y="698"/>
                                  <a:pt x="2470" y="700"/>
                                  <a:pt x="2465" y="702"/>
                                </a:cubicBezTo>
                                <a:cubicBezTo>
                                  <a:pt x="2459" y="703"/>
                                  <a:pt x="2453" y="703"/>
                                  <a:pt x="2449" y="702"/>
                                </a:cubicBezTo>
                                <a:cubicBezTo>
                                  <a:pt x="2445" y="701"/>
                                  <a:pt x="2436" y="698"/>
                                  <a:pt x="2426" y="693"/>
                                </a:cubicBezTo>
                                <a:cubicBezTo>
                                  <a:pt x="2418" y="690"/>
                                  <a:pt x="2409" y="686"/>
                                  <a:pt x="2402" y="683"/>
                                </a:cubicBezTo>
                                <a:cubicBezTo>
                                  <a:pt x="2395" y="679"/>
                                  <a:pt x="2389" y="677"/>
                                  <a:pt x="2383" y="677"/>
                                </a:cubicBezTo>
                                <a:cubicBezTo>
                                  <a:pt x="2377" y="677"/>
                                  <a:pt x="2371" y="678"/>
                                  <a:pt x="2368" y="681"/>
                                </a:cubicBezTo>
                                <a:cubicBezTo>
                                  <a:pt x="2364" y="684"/>
                                  <a:pt x="2356" y="693"/>
                                  <a:pt x="2349" y="703"/>
                                </a:cubicBezTo>
                                <a:cubicBezTo>
                                  <a:pt x="2343" y="712"/>
                                  <a:pt x="2339" y="720"/>
                                  <a:pt x="2339" y="723"/>
                                </a:cubicBezTo>
                                <a:cubicBezTo>
                                  <a:pt x="2339" y="726"/>
                                  <a:pt x="2347" y="737"/>
                                  <a:pt x="2354" y="747"/>
                                </a:cubicBezTo>
                                <a:cubicBezTo>
                                  <a:pt x="2361" y="756"/>
                                  <a:pt x="2367" y="765"/>
                                  <a:pt x="2368" y="769"/>
                                </a:cubicBezTo>
                                <a:cubicBezTo>
                                  <a:pt x="2368" y="773"/>
                                  <a:pt x="2366" y="777"/>
                                  <a:pt x="2362" y="781"/>
                                </a:cubicBezTo>
                                <a:cubicBezTo>
                                  <a:pt x="2359" y="784"/>
                                  <a:pt x="2355" y="786"/>
                                  <a:pt x="2350" y="789"/>
                                </a:cubicBezTo>
                                <a:cubicBezTo>
                                  <a:pt x="2349" y="790"/>
                                  <a:pt x="2347" y="791"/>
                                  <a:pt x="2344" y="793"/>
                                </a:cubicBezTo>
                                <a:cubicBezTo>
                                  <a:pt x="2331" y="800"/>
                                  <a:pt x="2306" y="815"/>
                                  <a:pt x="2295" y="825"/>
                                </a:cubicBezTo>
                                <a:cubicBezTo>
                                  <a:pt x="2289" y="831"/>
                                  <a:pt x="2286" y="835"/>
                                  <a:pt x="2283" y="839"/>
                                </a:cubicBezTo>
                                <a:cubicBezTo>
                                  <a:pt x="2280" y="842"/>
                                  <a:pt x="2278" y="845"/>
                                  <a:pt x="2274" y="849"/>
                                </a:cubicBezTo>
                                <a:cubicBezTo>
                                  <a:pt x="2270" y="853"/>
                                  <a:pt x="2257" y="860"/>
                                  <a:pt x="2244" y="865"/>
                                </a:cubicBezTo>
                                <a:cubicBezTo>
                                  <a:pt x="2231" y="870"/>
                                  <a:pt x="2218" y="875"/>
                                  <a:pt x="2210" y="875"/>
                                </a:cubicBezTo>
                                <a:cubicBezTo>
                                  <a:pt x="2204" y="876"/>
                                  <a:pt x="2192" y="876"/>
                                  <a:pt x="2176" y="877"/>
                                </a:cubicBezTo>
                                <a:cubicBezTo>
                                  <a:pt x="2151" y="878"/>
                                  <a:pt x="2119" y="879"/>
                                  <a:pt x="2108" y="880"/>
                                </a:cubicBezTo>
                                <a:cubicBezTo>
                                  <a:pt x="2103" y="881"/>
                                  <a:pt x="2098" y="882"/>
                                  <a:pt x="2092" y="882"/>
                                </a:cubicBezTo>
                                <a:cubicBezTo>
                                  <a:pt x="2073" y="884"/>
                                  <a:pt x="2045" y="886"/>
                                  <a:pt x="2025" y="898"/>
                                </a:cubicBezTo>
                                <a:cubicBezTo>
                                  <a:pt x="2009" y="906"/>
                                  <a:pt x="1991" y="914"/>
                                  <a:pt x="1976" y="921"/>
                                </a:cubicBezTo>
                                <a:cubicBezTo>
                                  <a:pt x="1964" y="927"/>
                                  <a:pt x="1954" y="931"/>
                                  <a:pt x="1948" y="935"/>
                                </a:cubicBezTo>
                                <a:cubicBezTo>
                                  <a:pt x="1934" y="942"/>
                                  <a:pt x="1921" y="939"/>
                                  <a:pt x="1912" y="936"/>
                                </a:cubicBezTo>
                                <a:cubicBezTo>
                                  <a:pt x="1911" y="935"/>
                                  <a:pt x="1911" y="935"/>
                                  <a:pt x="1911" y="935"/>
                                </a:cubicBezTo>
                                <a:cubicBezTo>
                                  <a:pt x="1911" y="935"/>
                                  <a:pt x="1911" y="935"/>
                                  <a:pt x="1911" y="935"/>
                                </a:cubicBezTo>
                                <a:cubicBezTo>
                                  <a:pt x="1906" y="934"/>
                                  <a:pt x="1904" y="932"/>
                                  <a:pt x="1902" y="929"/>
                                </a:cubicBezTo>
                                <a:cubicBezTo>
                                  <a:pt x="1899" y="927"/>
                                  <a:pt x="1897" y="924"/>
                                  <a:pt x="1891" y="924"/>
                                </a:cubicBezTo>
                                <a:cubicBezTo>
                                  <a:pt x="1885" y="924"/>
                                  <a:pt x="1882" y="925"/>
                                  <a:pt x="1879" y="926"/>
                                </a:cubicBezTo>
                                <a:cubicBezTo>
                                  <a:pt x="1879" y="926"/>
                                  <a:pt x="1879" y="926"/>
                                  <a:pt x="1879" y="926"/>
                                </a:cubicBezTo>
                                <a:cubicBezTo>
                                  <a:pt x="1873" y="928"/>
                                  <a:pt x="1868" y="929"/>
                                  <a:pt x="1858" y="927"/>
                                </a:cubicBezTo>
                                <a:cubicBezTo>
                                  <a:pt x="1852" y="925"/>
                                  <a:pt x="1838" y="921"/>
                                  <a:pt x="1822" y="916"/>
                                </a:cubicBezTo>
                                <a:cubicBezTo>
                                  <a:pt x="1799" y="909"/>
                                  <a:pt x="1774" y="901"/>
                                  <a:pt x="1767" y="901"/>
                                </a:cubicBezTo>
                                <a:cubicBezTo>
                                  <a:pt x="1759" y="900"/>
                                  <a:pt x="1755" y="894"/>
                                  <a:pt x="1750" y="888"/>
                                </a:cubicBezTo>
                                <a:cubicBezTo>
                                  <a:pt x="1750" y="888"/>
                                  <a:pt x="1750" y="888"/>
                                  <a:pt x="1750" y="888"/>
                                </a:cubicBezTo>
                                <a:cubicBezTo>
                                  <a:pt x="1747" y="884"/>
                                  <a:pt x="1744" y="879"/>
                                  <a:pt x="1740" y="879"/>
                                </a:cubicBezTo>
                                <a:cubicBezTo>
                                  <a:pt x="1735" y="879"/>
                                  <a:pt x="1721" y="876"/>
                                  <a:pt x="1705" y="873"/>
                                </a:cubicBezTo>
                                <a:cubicBezTo>
                                  <a:pt x="1674" y="867"/>
                                  <a:pt x="1635" y="859"/>
                                  <a:pt x="1628" y="861"/>
                                </a:cubicBezTo>
                                <a:cubicBezTo>
                                  <a:pt x="1624" y="862"/>
                                  <a:pt x="1620" y="863"/>
                                  <a:pt x="1617" y="865"/>
                                </a:cubicBezTo>
                                <a:cubicBezTo>
                                  <a:pt x="1611" y="867"/>
                                  <a:pt x="1606" y="869"/>
                                  <a:pt x="1599" y="869"/>
                                </a:cubicBezTo>
                                <a:cubicBezTo>
                                  <a:pt x="1593" y="869"/>
                                  <a:pt x="1580" y="868"/>
                                  <a:pt x="1564" y="866"/>
                                </a:cubicBezTo>
                                <a:cubicBezTo>
                                  <a:pt x="1550" y="865"/>
                                  <a:pt x="1533" y="863"/>
                                  <a:pt x="1520" y="861"/>
                                </a:cubicBezTo>
                                <a:cubicBezTo>
                                  <a:pt x="1511" y="859"/>
                                  <a:pt x="1504" y="858"/>
                                  <a:pt x="1497" y="856"/>
                                </a:cubicBezTo>
                                <a:cubicBezTo>
                                  <a:pt x="1485" y="854"/>
                                  <a:pt x="1475" y="852"/>
                                  <a:pt x="1458" y="851"/>
                                </a:cubicBezTo>
                                <a:cubicBezTo>
                                  <a:pt x="1445" y="850"/>
                                  <a:pt x="1437" y="853"/>
                                  <a:pt x="1430" y="854"/>
                                </a:cubicBezTo>
                                <a:cubicBezTo>
                                  <a:pt x="1423" y="856"/>
                                  <a:pt x="1417" y="858"/>
                                  <a:pt x="1409" y="856"/>
                                </a:cubicBezTo>
                                <a:cubicBezTo>
                                  <a:pt x="1398" y="853"/>
                                  <a:pt x="1395" y="848"/>
                                  <a:pt x="1391" y="841"/>
                                </a:cubicBezTo>
                                <a:cubicBezTo>
                                  <a:pt x="1390" y="839"/>
                                  <a:pt x="1388" y="836"/>
                                  <a:pt x="1386" y="833"/>
                                </a:cubicBezTo>
                                <a:cubicBezTo>
                                  <a:pt x="1383" y="829"/>
                                  <a:pt x="1380" y="827"/>
                                  <a:pt x="1378" y="824"/>
                                </a:cubicBezTo>
                                <a:cubicBezTo>
                                  <a:pt x="1374" y="821"/>
                                  <a:pt x="1370" y="817"/>
                                  <a:pt x="1367" y="811"/>
                                </a:cubicBezTo>
                                <a:cubicBezTo>
                                  <a:pt x="1365" y="805"/>
                                  <a:pt x="1364" y="799"/>
                                  <a:pt x="1362" y="793"/>
                                </a:cubicBezTo>
                                <a:cubicBezTo>
                                  <a:pt x="1360" y="788"/>
                                  <a:pt x="1359" y="782"/>
                                  <a:pt x="1357" y="777"/>
                                </a:cubicBezTo>
                                <a:cubicBezTo>
                                  <a:pt x="1355" y="771"/>
                                  <a:pt x="1352" y="769"/>
                                  <a:pt x="1349" y="766"/>
                                </a:cubicBezTo>
                                <a:cubicBezTo>
                                  <a:pt x="1347" y="765"/>
                                  <a:pt x="1345" y="763"/>
                                  <a:pt x="1343" y="761"/>
                                </a:cubicBezTo>
                                <a:cubicBezTo>
                                  <a:pt x="1339" y="757"/>
                                  <a:pt x="1339" y="753"/>
                                  <a:pt x="1339" y="749"/>
                                </a:cubicBezTo>
                                <a:cubicBezTo>
                                  <a:pt x="1339" y="746"/>
                                  <a:pt x="1339" y="744"/>
                                  <a:pt x="1337" y="742"/>
                                </a:cubicBezTo>
                                <a:cubicBezTo>
                                  <a:pt x="1336" y="740"/>
                                  <a:pt x="1334" y="741"/>
                                  <a:pt x="1330" y="741"/>
                                </a:cubicBezTo>
                                <a:cubicBezTo>
                                  <a:pt x="1326" y="741"/>
                                  <a:pt x="1319" y="742"/>
                                  <a:pt x="1311" y="739"/>
                                </a:cubicBezTo>
                                <a:cubicBezTo>
                                  <a:pt x="1303" y="736"/>
                                  <a:pt x="1299" y="732"/>
                                  <a:pt x="1293" y="728"/>
                                </a:cubicBezTo>
                                <a:cubicBezTo>
                                  <a:pt x="1288" y="724"/>
                                  <a:pt x="1282" y="719"/>
                                  <a:pt x="1272" y="713"/>
                                </a:cubicBezTo>
                                <a:cubicBezTo>
                                  <a:pt x="1264" y="709"/>
                                  <a:pt x="1260" y="704"/>
                                  <a:pt x="1255" y="700"/>
                                </a:cubicBezTo>
                                <a:cubicBezTo>
                                  <a:pt x="1248" y="693"/>
                                  <a:pt x="1243" y="687"/>
                                  <a:pt x="1219" y="684"/>
                                </a:cubicBezTo>
                                <a:cubicBezTo>
                                  <a:pt x="1201" y="682"/>
                                  <a:pt x="1183" y="680"/>
                                  <a:pt x="1168" y="679"/>
                                </a:cubicBezTo>
                                <a:cubicBezTo>
                                  <a:pt x="1151" y="678"/>
                                  <a:pt x="1137" y="678"/>
                                  <a:pt x="1124" y="678"/>
                                </a:cubicBezTo>
                                <a:cubicBezTo>
                                  <a:pt x="1110" y="677"/>
                                  <a:pt x="1098" y="676"/>
                                  <a:pt x="1088" y="675"/>
                                </a:cubicBezTo>
                                <a:cubicBezTo>
                                  <a:pt x="1079" y="673"/>
                                  <a:pt x="1072" y="671"/>
                                  <a:pt x="1068" y="667"/>
                                </a:cubicBezTo>
                                <a:cubicBezTo>
                                  <a:pt x="1067" y="667"/>
                                  <a:pt x="1066" y="666"/>
                                  <a:pt x="1065" y="665"/>
                                </a:cubicBezTo>
                                <a:cubicBezTo>
                                  <a:pt x="1058" y="659"/>
                                  <a:pt x="1050" y="653"/>
                                  <a:pt x="1050" y="643"/>
                                </a:cubicBezTo>
                                <a:cubicBezTo>
                                  <a:pt x="1050" y="637"/>
                                  <a:pt x="1051" y="633"/>
                                  <a:pt x="1052" y="628"/>
                                </a:cubicBezTo>
                                <a:cubicBezTo>
                                  <a:pt x="1054" y="624"/>
                                  <a:pt x="1056" y="620"/>
                                  <a:pt x="1060" y="616"/>
                                </a:cubicBezTo>
                                <a:cubicBezTo>
                                  <a:pt x="1063" y="611"/>
                                  <a:pt x="1066" y="608"/>
                                  <a:pt x="1067" y="604"/>
                                </a:cubicBezTo>
                                <a:cubicBezTo>
                                  <a:pt x="1068" y="601"/>
                                  <a:pt x="1069" y="598"/>
                                  <a:pt x="1069" y="596"/>
                                </a:cubicBezTo>
                                <a:cubicBezTo>
                                  <a:pt x="1068" y="594"/>
                                  <a:pt x="1068" y="592"/>
                                  <a:pt x="1067" y="591"/>
                                </a:cubicBezTo>
                                <a:cubicBezTo>
                                  <a:pt x="1066" y="586"/>
                                  <a:pt x="1064" y="581"/>
                                  <a:pt x="1067" y="573"/>
                                </a:cubicBezTo>
                                <a:cubicBezTo>
                                  <a:pt x="1069" y="569"/>
                                  <a:pt x="1070" y="562"/>
                                  <a:pt x="1069" y="556"/>
                                </a:cubicBezTo>
                                <a:cubicBezTo>
                                  <a:pt x="1069" y="551"/>
                                  <a:pt x="1068" y="546"/>
                                  <a:pt x="1066" y="544"/>
                                </a:cubicBezTo>
                                <a:cubicBezTo>
                                  <a:pt x="1065" y="542"/>
                                  <a:pt x="1063" y="541"/>
                                  <a:pt x="1061" y="539"/>
                                </a:cubicBezTo>
                                <a:cubicBezTo>
                                  <a:pt x="1055" y="532"/>
                                  <a:pt x="1046" y="523"/>
                                  <a:pt x="1041" y="510"/>
                                </a:cubicBezTo>
                                <a:cubicBezTo>
                                  <a:pt x="1038" y="503"/>
                                  <a:pt x="1036" y="498"/>
                                  <a:pt x="1035" y="493"/>
                                </a:cubicBezTo>
                                <a:cubicBezTo>
                                  <a:pt x="1034" y="488"/>
                                  <a:pt x="1033" y="484"/>
                                  <a:pt x="1030" y="479"/>
                                </a:cubicBezTo>
                                <a:cubicBezTo>
                                  <a:pt x="1027" y="474"/>
                                  <a:pt x="1025" y="471"/>
                                  <a:pt x="1022" y="469"/>
                                </a:cubicBezTo>
                                <a:cubicBezTo>
                                  <a:pt x="1018" y="467"/>
                                  <a:pt x="1014" y="465"/>
                                  <a:pt x="1007" y="463"/>
                                </a:cubicBezTo>
                                <a:cubicBezTo>
                                  <a:pt x="999" y="461"/>
                                  <a:pt x="994" y="458"/>
                                  <a:pt x="989" y="456"/>
                                </a:cubicBezTo>
                                <a:cubicBezTo>
                                  <a:pt x="984" y="453"/>
                                  <a:pt x="981" y="451"/>
                                  <a:pt x="977" y="449"/>
                                </a:cubicBezTo>
                                <a:cubicBezTo>
                                  <a:pt x="976" y="448"/>
                                  <a:pt x="971" y="449"/>
                                  <a:pt x="966" y="450"/>
                                </a:cubicBezTo>
                                <a:cubicBezTo>
                                  <a:pt x="958" y="452"/>
                                  <a:pt x="950" y="453"/>
                                  <a:pt x="945" y="450"/>
                                </a:cubicBezTo>
                                <a:cubicBezTo>
                                  <a:pt x="943" y="448"/>
                                  <a:pt x="941" y="448"/>
                                  <a:pt x="939" y="447"/>
                                </a:cubicBezTo>
                                <a:cubicBezTo>
                                  <a:pt x="933" y="445"/>
                                  <a:pt x="929" y="443"/>
                                  <a:pt x="925" y="435"/>
                                </a:cubicBezTo>
                                <a:cubicBezTo>
                                  <a:pt x="923" y="431"/>
                                  <a:pt x="922" y="428"/>
                                  <a:pt x="922" y="426"/>
                                </a:cubicBezTo>
                                <a:cubicBezTo>
                                  <a:pt x="922" y="424"/>
                                  <a:pt x="922" y="423"/>
                                  <a:pt x="913" y="419"/>
                                </a:cubicBezTo>
                                <a:cubicBezTo>
                                  <a:pt x="913" y="419"/>
                                  <a:pt x="913" y="419"/>
                                  <a:pt x="913" y="419"/>
                                </a:cubicBezTo>
                                <a:cubicBezTo>
                                  <a:pt x="906" y="415"/>
                                  <a:pt x="901" y="413"/>
                                  <a:pt x="897" y="410"/>
                                </a:cubicBezTo>
                                <a:cubicBezTo>
                                  <a:pt x="893" y="408"/>
                                  <a:pt x="890" y="405"/>
                                  <a:pt x="887" y="403"/>
                                </a:cubicBezTo>
                                <a:cubicBezTo>
                                  <a:pt x="883" y="399"/>
                                  <a:pt x="883" y="396"/>
                                  <a:pt x="883" y="394"/>
                                </a:cubicBezTo>
                                <a:cubicBezTo>
                                  <a:pt x="883" y="394"/>
                                  <a:pt x="883" y="394"/>
                                  <a:pt x="883" y="394"/>
                                </a:cubicBezTo>
                                <a:cubicBezTo>
                                  <a:pt x="883" y="393"/>
                                  <a:pt x="883" y="393"/>
                                  <a:pt x="882" y="392"/>
                                </a:cubicBezTo>
                                <a:cubicBezTo>
                                  <a:pt x="881" y="391"/>
                                  <a:pt x="881" y="391"/>
                                  <a:pt x="880" y="390"/>
                                </a:cubicBezTo>
                                <a:cubicBezTo>
                                  <a:pt x="877" y="389"/>
                                  <a:pt x="874" y="387"/>
                                  <a:pt x="872" y="381"/>
                                </a:cubicBezTo>
                                <a:cubicBezTo>
                                  <a:pt x="870" y="374"/>
                                  <a:pt x="871" y="370"/>
                                  <a:pt x="872" y="367"/>
                                </a:cubicBezTo>
                                <a:cubicBezTo>
                                  <a:pt x="872" y="366"/>
                                  <a:pt x="872" y="365"/>
                                  <a:pt x="872" y="364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37" name="Freeform 304"/>
                          <p:cNvSpPr>
                            <a:spLocks noEditPoints="1"/>
                          </p:cNvSpPr>
                          <p:nvPr/>
                        </p:nvSpPr>
                        <p:spPr bwMode="auto">
                          <a:xfrm>
                            <a:off x="6623559" y="4603644"/>
                            <a:ext cx="240506" cy="207169"/>
                          </a:xfrm>
                          <a:custGeom>
                            <a:avLst/>
                            <a:gdLst>
                              <a:gd name="T0" fmla="*/ 838 w 841"/>
                              <a:gd name="T1" fmla="*/ 722 h 722"/>
                              <a:gd name="T2" fmla="*/ 840 w 841"/>
                              <a:gd name="T3" fmla="*/ 508 h 722"/>
                              <a:gd name="T4" fmla="*/ 745 w 841"/>
                              <a:gd name="T5" fmla="*/ 293 h 722"/>
                              <a:gd name="T6" fmla="*/ 620 w 841"/>
                              <a:gd name="T7" fmla="*/ 265 h 722"/>
                              <a:gd name="T8" fmla="*/ 559 w 841"/>
                              <a:gd name="T9" fmla="*/ 297 h 722"/>
                              <a:gd name="T10" fmla="*/ 478 w 841"/>
                              <a:gd name="T11" fmla="*/ 361 h 722"/>
                              <a:gd name="T12" fmla="*/ 442 w 841"/>
                              <a:gd name="T13" fmla="*/ 330 h 722"/>
                              <a:gd name="T14" fmla="*/ 420 w 841"/>
                              <a:gd name="T15" fmla="*/ 267 h 722"/>
                              <a:gd name="T16" fmla="*/ 414 w 841"/>
                              <a:gd name="T17" fmla="*/ 208 h 722"/>
                              <a:gd name="T18" fmla="*/ 329 w 841"/>
                              <a:gd name="T19" fmla="*/ 181 h 722"/>
                              <a:gd name="T20" fmla="*/ 255 w 841"/>
                              <a:gd name="T21" fmla="*/ 204 h 722"/>
                              <a:gd name="T22" fmla="*/ 231 w 841"/>
                              <a:gd name="T23" fmla="*/ 242 h 722"/>
                              <a:gd name="T24" fmla="*/ 287 w 841"/>
                              <a:gd name="T25" fmla="*/ 275 h 722"/>
                              <a:gd name="T26" fmla="*/ 361 w 841"/>
                              <a:gd name="T27" fmla="*/ 293 h 722"/>
                              <a:gd name="T28" fmla="*/ 402 w 841"/>
                              <a:gd name="T29" fmla="*/ 316 h 722"/>
                              <a:gd name="T30" fmla="*/ 360 w 841"/>
                              <a:gd name="T31" fmla="*/ 310 h 722"/>
                              <a:gd name="T32" fmla="*/ 294 w 841"/>
                              <a:gd name="T33" fmla="*/ 332 h 722"/>
                              <a:gd name="T34" fmla="*/ 338 w 841"/>
                              <a:gd name="T35" fmla="*/ 394 h 722"/>
                              <a:gd name="T36" fmla="*/ 385 w 841"/>
                              <a:gd name="T37" fmla="*/ 363 h 722"/>
                              <a:gd name="T38" fmla="*/ 394 w 841"/>
                              <a:gd name="T39" fmla="*/ 365 h 722"/>
                              <a:gd name="T40" fmla="*/ 429 w 841"/>
                              <a:gd name="T41" fmla="*/ 394 h 722"/>
                              <a:gd name="T42" fmla="*/ 457 w 841"/>
                              <a:gd name="T43" fmla="*/ 410 h 722"/>
                              <a:gd name="T44" fmla="*/ 629 w 841"/>
                              <a:gd name="T45" fmla="*/ 472 h 722"/>
                              <a:gd name="T46" fmla="*/ 684 w 841"/>
                              <a:gd name="T47" fmla="*/ 518 h 722"/>
                              <a:gd name="T48" fmla="*/ 719 w 841"/>
                              <a:gd name="T49" fmla="*/ 577 h 722"/>
                              <a:gd name="T50" fmla="*/ 712 w 841"/>
                              <a:gd name="T51" fmla="*/ 594 h 722"/>
                              <a:gd name="T52" fmla="*/ 708 w 841"/>
                              <a:gd name="T53" fmla="*/ 610 h 722"/>
                              <a:gd name="T54" fmla="*/ 713 w 841"/>
                              <a:gd name="T55" fmla="*/ 659 h 722"/>
                              <a:gd name="T56" fmla="*/ 738 w 841"/>
                              <a:gd name="T57" fmla="*/ 658 h 722"/>
                              <a:gd name="T58" fmla="*/ 790 w 841"/>
                              <a:gd name="T59" fmla="*/ 647 h 722"/>
                              <a:gd name="T60" fmla="*/ 32 w 841"/>
                              <a:gd name="T61" fmla="*/ 24 h 722"/>
                              <a:gd name="T62" fmla="*/ 33 w 841"/>
                              <a:gd name="T63" fmla="*/ 74 h 722"/>
                              <a:gd name="T64" fmla="*/ 15 w 841"/>
                              <a:gd name="T65" fmla="*/ 53 h 722"/>
                              <a:gd name="T66" fmla="*/ 19 w 841"/>
                              <a:gd name="T67" fmla="*/ 94 h 722"/>
                              <a:gd name="T68" fmla="*/ 68 w 841"/>
                              <a:gd name="T69" fmla="*/ 19 h 722"/>
                              <a:gd name="T70" fmla="*/ 37 w 841"/>
                              <a:gd name="T71" fmla="*/ 173 h 722"/>
                              <a:gd name="T72" fmla="*/ 54 w 841"/>
                              <a:gd name="T73" fmla="*/ 133 h 722"/>
                              <a:gd name="T74" fmla="*/ 52 w 841"/>
                              <a:gd name="T75" fmla="*/ 111 h 722"/>
                              <a:gd name="T76" fmla="*/ 81 w 841"/>
                              <a:gd name="T77" fmla="*/ 65 h 722"/>
                              <a:gd name="T78" fmla="*/ 46 w 841"/>
                              <a:gd name="T79" fmla="*/ 89 h 722"/>
                              <a:gd name="T80" fmla="*/ 13 w 841"/>
                              <a:gd name="T81" fmla="*/ 112 h 722"/>
                              <a:gd name="T82" fmla="*/ 20 w 841"/>
                              <a:gd name="T83" fmla="*/ 145 h 722"/>
                              <a:gd name="T84" fmla="*/ 55 w 841"/>
                              <a:gd name="T85" fmla="*/ 204 h 722"/>
                              <a:gd name="T86" fmla="*/ 476 w 841"/>
                              <a:gd name="T87" fmla="*/ 248 h 722"/>
                              <a:gd name="T88" fmla="*/ 465 w 841"/>
                              <a:gd name="T89" fmla="*/ 228 h 722"/>
                              <a:gd name="T90" fmla="*/ 516 w 841"/>
                              <a:gd name="T91" fmla="*/ 258 h 722"/>
                              <a:gd name="T92" fmla="*/ 570 w 841"/>
                              <a:gd name="T93" fmla="*/ 272 h 722"/>
                              <a:gd name="T94" fmla="*/ 547 w 841"/>
                              <a:gd name="T95" fmla="*/ 221 h 722"/>
                              <a:gd name="T96" fmla="*/ 518 w 841"/>
                              <a:gd name="T97" fmla="*/ 208 h 722"/>
                              <a:gd name="T98" fmla="*/ 554 w 841"/>
                              <a:gd name="T99" fmla="*/ 226 h 722"/>
                              <a:gd name="T100" fmla="*/ 127 w 841"/>
                              <a:gd name="T101" fmla="*/ 166 h 722"/>
                              <a:gd name="T102" fmla="*/ 178 w 841"/>
                              <a:gd name="T103" fmla="*/ 280 h 722"/>
                              <a:gd name="T104" fmla="*/ 157 w 841"/>
                              <a:gd name="T105" fmla="*/ 269 h 722"/>
                              <a:gd name="T106" fmla="*/ 154 w 841"/>
                              <a:gd name="T107" fmla="*/ 231 h 722"/>
                              <a:gd name="T108" fmla="*/ 205 w 841"/>
                              <a:gd name="T109" fmla="*/ 221 h 722"/>
                              <a:gd name="T110" fmla="*/ 204 w 841"/>
                              <a:gd name="T111" fmla="*/ 172 h 722"/>
                              <a:gd name="T112" fmla="*/ 204 w 841"/>
                              <a:gd name="T113" fmla="*/ 172 h 722"/>
                              <a:gd name="T114" fmla="*/ 212 w 841"/>
                              <a:gd name="T115" fmla="*/ 166 h 722"/>
                              <a:gd name="T116" fmla="*/ 188 w 841"/>
                              <a:gd name="T117" fmla="*/ 210 h 722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</a:cxnLst>
                            <a:rect l="0" t="0" r="r" b="b"/>
                            <a:pathLst>
                              <a:path w="841" h="722">
                                <a:moveTo>
                                  <a:pt x="782" y="664"/>
                                </a:moveTo>
                                <a:cubicBezTo>
                                  <a:pt x="780" y="669"/>
                                  <a:pt x="787" y="672"/>
                                  <a:pt x="790" y="677"/>
                                </a:cubicBezTo>
                                <a:cubicBezTo>
                                  <a:pt x="793" y="682"/>
                                  <a:pt x="805" y="692"/>
                                  <a:pt x="813" y="697"/>
                                </a:cubicBezTo>
                                <a:cubicBezTo>
                                  <a:pt x="822" y="703"/>
                                  <a:pt x="827" y="706"/>
                                  <a:pt x="831" y="715"/>
                                </a:cubicBezTo>
                                <a:cubicBezTo>
                                  <a:pt x="834" y="719"/>
                                  <a:pt x="836" y="721"/>
                                  <a:pt x="838" y="722"/>
                                </a:cubicBezTo>
                                <a:cubicBezTo>
                                  <a:pt x="839" y="680"/>
                                  <a:pt x="840" y="600"/>
                                  <a:pt x="839" y="594"/>
                                </a:cubicBezTo>
                                <a:cubicBezTo>
                                  <a:pt x="839" y="592"/>
                                  <a:pt x="838" y="590"/>
                                  <a:pt x="836" y="588"/>
                                </a:cubicBezTo>
                                <a:cubicBezTo>
                                  <a:pt x="834" y="584"/>
                                  <a:pt x="831" y="579"/>
                                  <a:pt x="831" y="570"/>
                                </a:cubicBezTo>
                                <a:cubicBezTo>
                                  <a:pt x="830" y="562"/>
                                  <a:pt x="832" y="550"/>
                                  <a:pt x="835" y="539"/>
                                </a:cubicBezTo>
                                <a:cubicBezTo>
                                  <a:pt x="837" y="528"/>
                                  <a:pt x="839" y="517"/>
                                  <a:pt x="840" y="508"/>
                                </a:cubicBezTo>
                                <a:cubicBezTo>
                                  <a:pt x="840" y="493"/>
                                  <a:pt x="840" y="367"/>
                                  <a:pt x="841" y="317"/>
                                </a:cubicBezTo>
                                <a:cubicBezTo>
                                  <a:pt x="838" y="317"/>
                                  <a:pt x="835" y="318"/>
                                  <a:pt x="829" y="316"/>
                                </a:cubicBezTo>
                                <a:cubicBezTo>
                                  <a:pt x="817" y="312"/>
                                  <a:pt x="817" y="310"/>
                                  <a:pt x="807" y="305"/>
                                </a:cubicBezTo>
                                <a:cubicBezTo>
                                  <a:pt x="797" y="300"/>
                                  <a:pt x="787" y="299"/>
                                  <a:pt x="765" y="300"/>
                                </a:cubicBezTo>
                                <a:cubicBezTo>
                                  <a:pt x="743" y="301"/>
                                  <a:pt x="757" y="298"/>
                                  <a:pt x="745" y="293"/>
                                </a:cubicBezTo>
                                <a:cubicBezTo>
                                  <a:pt x="733" y="289"/>
                                  <a:pt x="735" y="292"/>
                                  <a:pt x="723" y="283"/>
                                </a:cubicBezTo>
                                <a:cubicBezTo>
                                  <a:pt x="710" y="275"/>
                                  <a:pt x="708" y="278"/>
                                  <a:pt x="685" y="267"/>
                                </a:cubicBezTo>
                                <a:cubicBezTo>
                                  <a:pt x="663" y="256"/>
                                  <a:pt x="677" y="261"/>
                                  <a:pt x="669" y="254"/>
                                </a:cubicBezTo>
                                <a:cubicBezTo>
                                  <a:pt x="660" y="246"/>
                                  <a:pt x="654" y="249"/>
                                  <a:pt x="643" y="253"/>
                                </a:cubicBezTo>
                                <a:cubicBezTo>
                                  <a:pt x="632" y="257"/>
                                  <a:pt x="640" y="265"/>
                                  <a:pt x="620" y="265"/>
                                </a:cubicBezTo>
                                <a:cubicBezTo>
                                  <a:pt x="600" y="265"/>
                                  <a:pt x="610" y="266"/>
                                  <a:pt x="609" y="271"/>
                                </a:cubicBezTo>
                                <a:cubicBezTo>
                                  <a:pt x="609" y="275"/>
                                  <a:pt x="611" y="278"/>
                                  <a:pt x="612" y="283"/>
                                </a:cubicBezTo>
                                <a:cubicBezTo>
                                  <a:pt x="612" y="289"/>
                                  <a:pt x="608" y="289"/>
                                  <a:pt x="598" y="289"/>
                                </a:cubicBezTo>
                                <a:cubicBezTo>
                                  <a:pt x="588" y="289"/>
                                  <a:pt x="591" y="294"/>
                                  <a:pt x="580" y="296"/>
                                </a:cubicBezTo>
                                <a:cubicBezTo>
                                  <a:pt x="570" y="298"/>
                                  <a:pt x="566" y="294"/>
                                  <a:pt x="559" y="297"/>
                                </a:cubicBezTo>
                                <a:cubicBezTo>
                                  <a:pt x="553" y="300"/>
                                  <a:pt x="536" y="315"/>
                                  <a:pt x="531" y="324"/>
                                </a:cubicBezTo>
                                <a:cubicBezTo>
                                  <a:pt x="527" y="334"/>
                                  <a:pt x="530" y="332"/>
                                  <a:pt x="523" y="339"/>
                                </a:cubicBezTo>
                                <a:cubicBezTo>
                                  <a:pt x="516" y="345"/>
                                  <a:pt x="511" y="348"/>
                                  <a:pt x="509" y="357"/>
                                </a:cubicBezTo>
                                <a:cubicBezTo>
                                  <a:pt x="506" y="365"/>
                                  <a:pt x="497" y="361"/>
                                  <a:pt x="492" y="363"/>
                                </a:cubicBezTo>
                                <a:cubicBezTo>
                                  <a:pt x="488" y="364"/>
                                  <a:pt x="483" y="363"/>
                                  <a:pt x="478" y="361"/>
                                </a:cubicBezTo>
                                <a:cubicBezTo>
                                  <a:pt x="473" y="359"/>
                                  <a:pt x="471" y="360"/>
                                  <a:pt x="468" y="354"/>
                                </a:cubicBezTo>
                                <a:cubicBezTo>
                                  <a:pt x="465" y="349"/>
                                  <a:pt x="467" y="345"/>
                                  <a:pt x="462" y="341"/>
                                </a:cubicBezTo>
                                <a:cubicBezTo>
                                  <a:pt x="458" y="337"/>
                                  <a:pt x="457" y="338"/>
                                  <a:pt x="455" y="331"/>
                                </a:cubicBezTo>
                                <a:cubicBezTo>
                                  <a:pt x="452" y="324"/>
                                  <a:pt x="451" y="321"/>
                                  <a:pt x="445" y="313"/>
                                </a:cubicBezTo>
                                <a:cubicBezTo>
                                  <a:pt x="439" y="306"/>
                                  <a:pt x="443" y="318"/>
                                  <a:pt x="442" y="330"/>
                                </a:cubicBezTo>
                                <a:cubicBezTo>
                                  <a:pt x="441" y="341"/>
                                  <a:pt x="437" y="331"/>
                                  <a:pt x="434" y="326"/>
                                </a:cubicBezTo>
                                <a:cubicBezTo>
                                  <a:pt x="430" y="321"/>
                                  <a:pt x="430" y="313"/>
                                  <a:pt x="430" y="305"/>
                                </a:cubicBezTo>
                                <a:cubicBezTo>
                                  <a:pt x="430" y="298"/>
                                  <a:pt x="430" y="296"/>
                                  <a:pt x="429" y="289"/>
                                </a:cubicBezTo>
                                <a:cubicBezTo>
                                  <a:pt x="428" y="281"/>
                                  <a:pt x="425" y="285"/>
                                  <a:pt x="423" y="280"/>
                                </a:cubicBezTo>
                                <a:cubicBezTo>
                                  <a:pt x="422" y="276"/>
                                  <a:pt x="424" y="274"/>
                                  <a:pt x="420" y="267"/>
                                </a:cubicBezTo>
                                <a:cubicBezTo>
                                  <a:pt x="416" y="259"/>
                                  <a:pt x="417" y="263"/>
                                  <a:pt x="418" y="255"/>
                                </a:cubicBezTo>
                                <a:cubicBezTo>
                                  <a:pt x="418" y="247"/>
                                  <a:pt x="422" y="253"/>
                                  <a:pt x="425" y="243"/>
                                </a:cubicBezTo>
                                <a:cubicBezTo>
                                  <a:pt x="428" y="234"/>
                                  <a:pt x="425" y="238"/>
                                  <a:pt x="420" y="228"/>
                                </a:cubicBezTo>
                                <a:cubicBezTo>
                                  <a:pt x="414" y="219"/>
                                  <a:pt x="416" y="227"/>
                                  <a:pt x="411" y="219"/>
                                </a:cubicBezTo>
                                <a:cubicBezTo>
                                  <a:pt x="407" y="211"/>
                                  <a:pt x="414" y="215"/>
                                  <a:pt x="414" y="208"/>
                                </a:cubicBezTo>
                                <a:cubicBezTo>
                                  <a:pt x="415" y="202"/>
                                  <a:pt x="407" y="207"/>
                                  <a:pt x="401" y="206"/>
                                </a:cubicBezTo>
                                <a:cubicBezTo>
                                  <a:pt x="395" y="206"/>
                                  <a:pt x="387" y="206"/>
                                  <a:pt x="374" y="204"/>
                                </a:cubicBezTo>
                                <a:cubicBezTo>
                                  <a:pt x="361" y="202"/>
                                  <a:pt x="365" y="204"/>
                                  <a:pt x="350" y="191"/>
                                </a:cubicBezTo>
                                <a:cubicBezTo>
                                  <a:pt x="348" y="189"/>
                                  <a:pt x="345" y="186"/>
                                  <a:pt x="338" y="184"/>
                                </a:cubicBezTo>
                                <a:cubicBezTo>
                                  <a:pt x="331" y="183"/>
                                  <a:pt x="332" y="184"/>
                                  <a:pt x="329" y="181"/>
                                </a:cubicBezTo>
                                <a:cubicBezTo>
                                  <a:pt x="326" y="178"/>
                                  <a:pt x="323" y="178"/>
                                  <a:pt x="317" y="177"/>
                                </a:cubicBezTo>
                                <a:cubicBezTo>
                                  <a:pt x="311" y="177"/>
                                  <a:pt x="309" y="179"/>
                                  <a:pt x="300" y="183"/>
                                </a:cubicBezTo>
                                <a:cubicBezTo>
                                  <a:pt x="291" y="186"/>
                                  <a:pt x="293" y="189"/>
                                  <a:pt x="286" y="194"/>
                                </a:cubicBezTo>
                                <a:cubicBezTo>
                                  <a:pt x="280" y="198"/>
                                  <a:pt x="278" y="198"/>
                                  <a:pt x="272" y="199"/>
                                </a:cubicBezTo>
                                <a:cubicBezTo>
                                  <a:pt x="266" y="201"/>
                                  <a:pt x="262" y="204"/>
                                  <a:pt x="255" y="204"/>
                                </a:cubicBezTo>
                                <a:cubicBezTo>
                                  <a:pt x="247" y="204"/>
                                  <a:pt x="245" y="204"/>
                                  <a:pt x="240" y="207"/>
                                </a:cubicBezTo>
                                <a:cubicBezTo>
                                  <a:pt x="235" y="210"/>
                                  <a:pt x="239" y="213"/>
                                  <a:pt x="239" y="219"/>
                                </a:cubicBezTo>
                                <a:cubicBezTo>
                                  <a:pt x="239" y="225"/>
                                  <a:pt x="237" y="227"/>
                                  <a:pt x="233" y="231"/>
                                </a:cubicBezTo>
                                <a:cubicBezTo>
                                  <a:pt x="228" y="234"/>
                                  <a:pt x="227" y="235"/>
                                  <a:pt x="223" y="239"/>
                                </a:cubicBezTo>
                                <a:cubicBezTo>
                                  <a:pt x="220" y="243"/>
                                  <a:pt x="224" y="242"/>
                                  <a:pt x="231" y="242"/>
                                </a:cubicBezTo>
                                <a:cubicBezTo>
                                  <a:pt x="237" y="242"/>
                                  <a:pt x="240" y="243"/>
                                  <a:pt x="247" y="246"/>
                                </a:cubicBezTo>
                                <a:cubicBezTo>
                                  <a:pt x="254" y="250"/>
                                  <a:pt x="253" y="248"/>
                                  <a:pt x="263" y="247"/>
                                </a:cubicBezTo>
                                <a:cubicBezTo>
                                  <a:pt x="273" y="246"/>
                                  <a:pt x="275" y="248"/>
                                  <a:pt x="281" y="250"/>
                                </a:cubicBezTo>
                                <a:cubicBezTo>
                                  <a:pt x="287" y="252"/>
                                  <a:pt x="284" y="253"/>
                                  <a:pt x="283" y="259"/>
                                </a:cubicBezTo>
                                <a:cubicBezTo>
                                  <a:pt x="282" y="266"/>
                                  <a:pt x="285" y="268"/>
                                  <a:pt x="287" y="275"/>
                                </a:cubicBezTo>
                                <a:cubicBezTo>
                                  <a:pt x="289" y="282"/>
                                  <a:pt x="295" y="286"/>
                                  <a:pt x="301" y="293"/>
                                </a:cubicBezTo>
                                <a:cubicBezTo>
                                  <a:pt x="308" y="300"/>
                                  <a:pt x="312" y="296"/>
                                  <a:pt x="317" y="294"/>
                                </a:cubicBezTo>
                                <a:cubicBezTo>
                                  <a:pt x="323" y="293"/>
                                  <a:pt x="325" y="294"/>
                                  <a:pt x="333" y="291"/>
                                </a:cubicBezTo>
                                <a:cubicBezTo>
                                  <a:pt x="342" y="288"/>
                                  <a:pt x="343" y="295"/>
                                  <a:pt x="348" y="296"/>
                                </a:cubicBezTo>
                                <a:cubicBezTo>
                                  <a:pt x="354" y="298"/>
                                  <a:pt x="354" y="296"/>
                                  <a:pt x="361" y="293"/>
                                </a:cubicBezTo>
                                <a:cubicBezTo>
                                  <a:pt x="368" y="291"/>
                                  <a:pt x="372" y="294"/>
                                  <a:pt x="381" y="291"/>
                                </a:cubicBezTo>
                                <a:cubicBezTo>
                                  <a:pt x="389" y="288"/>
                                  <a:pt x="393" y="290"/>
                                  <a:pt x="397" y="290"/>
                                </a:cubicBezTo>
                                <a:cubicBezTo>
                                  <a:pt x="401" y="291"/>
                                  <a:pt x="402" y="293"/>
                                  <a:pt x="404" y="296"/>
                                </a:cubicBezTo>
                                <a:cubicBezTo>
                                  <a:pt x="406" y="299"/>
                                  <a:pt x="407" y="302"/>
                                  <a:pt x="408" y="306"/>
                                </a:cubicBezTo>
                                <a:cubicBezTo>
                                  <a:pt x="409" y="310"/>
                                  <a:pt x="405" y="313"/>
                                  <a:pt x="402" y="316"/>
                                </a:cubicBezTo>
                                <a:cubicBezTo>
                                  <a:pt x="399" y="320"/>
                                  <a:pt x="398" y="323"/>
                                  <a:pt x="393" y="324"/>
                                </a:cubicBezTo>
                                <a:cubicBezTo>
                                  <a:pt x="387" y="325"/>
                                  <a:pt x="388" y="320"/>
                                  <a:pt x="383" y="318"/>
                                </a:cubicBezTo>
                                <a:cubicBezTo>
                                  <a:pt x="378" y="317"/>
                                  <a:pt x="379" y="323"/>
                                  <a:pt x="374" y="324"/>
                                </a:cubicBezTo>
                                <a:cubicBezTo>
                                  <a:pt x="369" y="325"/>
                                  <a:pt x="370" y="321"/>
                                  <a:pt x="369" y="316"/>
                                </a:cubicBezTo>
                                <a:cubicBezTo>
                                  <a:pt x="369" y="310"/>
                                  <a:pt x="366" y="312"/>
                                  <a:pt x="360" y="310"/>
                                </a:cubicBezTo>
                                <a:cubicBezTo>
                                  <a:pt x="353" y="309"/>
                                  <a:pt x="351" y="312"/>
                                  <a:pt x="346" y="315"/>
                                </a:cubicBezTo>
                                <a:cubicBezTo>
                                  <a:pt x="342" y="319"/>
                                  <a:pt x="336" y="329"/>
                                  <a:pt x="331" y="331"/>
                                </a:cubicBezTo>
                                <a:cubicBezTo>
                                  <a:pt x="325" y="333"/>
                                  <a:pt x="323" y="328"/>
                                  <a:pt x="315" y="323"/>
                                </a:cubicBezTo>
                                <a:cubicBezTo>
                                  <a:pt x="308" y="319"/>
                                  <a:pt x="309" y="325"/>
                                  <a:pt x="302" y="325"/>
                                </a:cubicBezTo>
                                <a:cubicBezTo>
                                  <a:pt x="295" y="326"/>
                                  <a:pt x="295" y="326"/>
                                  <a:pt x="294" y="332"/>
                                </a:cubicBezTo>
                                <a:cubicBezTo>
                                  <a:pt x="292" y="337"/>
                                  <a:pt x="303" y="337"/>
                                  <a:pt x="310" y="340"/>
                                </a:cubicBezTo>
                                <a:cubicBezTo>
                                  <a:pt x="317" y="343"/>
                                  <a:pt x="318" y="346"/>
                                  <a:pt x="320" y="350"/>
                                </a:cubicBezTo>
                                <a:cubicBezTo>
                                  <a:pt x="323" y="355"/>
                                  <a:pt x="326" y="358"/>
                                  <a:pt x="331" y="362"/>
                                </a:cubicBezTo>
                                <a:cubicBezTo>
                                  <a:pt x="336" y="367"/>
                                  <a:pt x="338" y="368"/>
                                  <a:pt x="341" y="374"/>
                                </a:cubicBezTo>
                                <a:cubicBezTo>
                                  <a:pt x="345" y="381"/>
                                  <a:pt x="342" y="386"/>
                                  <a:pt x="338" y="394"/>
                                </a:cubicBezTo>
                                <a:cubicBezTo>
                                  <a:pt x="334" y="401"/>
                                  <a:pt x="341" y="403"/>
                                  <a:pt x="346" y="407"/>
                                </a:cubicBezTo>
                                <a:cubicBezTo>
                                  <a:pt x="351" y="411"/>
                                  <a:pt x="356" y="407"/>
                                  <a:pt x="363" y="404"/>
                                </a:cubicBezTo>
                                <a:cubicBezTo>
                                  <a:pt x="369" y="402"/>
                                  <a:pt x="371" y="400"/>
                                  <a:pt x="372" y="393"/>
                                </a:cubicBezTo>
                                <a:cubicBezTo>
                                  <a:pt x="373" y="386"/>
                                  <a:pt x="374" y="384"/>
                                  <a:pt x="378" y="378"/>
                                </a:cubicBezTo>
                                <a:cubicBezTo>
                                  <a:pt x="381" y="371"/>
                                  <a:pt x="384" y="371"/>
                                  <a:pt x="385" y="363"/>
                                </a:cubicBezTo>
                                <a:cubicBezTo>
                                  <a:pt x="386" y="354"/>
                                  <a:pt x="387" y="357"/>
                                  <a:pt x="392" y="347"/>
                                </a:cubicBezTo>
                                <a:cubicBezTo>
                                  <a:pt x="397" y="338"/>
                                  <a:pt x="397" y="342"/>
                                  <a:pt x="402" y="340"/>
                                </a:cubicBezTo>
                                <a:cubicBezTo>
                                  <a:pt x="407" y="338"/>
                                  <a:pt x="406" y="343"/>
                                  <a:pt x="402" y="345"/>
                                </a:cubicBezTo>
                                <a:cubicBezTo>
                                  <a:pt x="399" y="348"/>
                                  <a:pt x="398" y="350"/>
                                  <a:pt x="397" y="355"/>
                                </a:cubicBezTo>
                                <a:cubicBezTo>
                                  <a:pt x="396" y="360"/>
                                  <a:pt x="395" y="361"/>
                                  <a:pt x="394" y="365"/>
                                </a:cubicBezTo>
                                <a:cubicBezTo>
                                  <a:pt x="393" y="369"/>
                                  <a:pt x="392" y="371"/>
                                  <a:pt x="394" y="373"/>
                                </a:cubicBezTo>
                                <a:cubicBezTo>
                                  <a:pt x="397" y="376"/>
                                  <a:pt x="398" y="373"/>
                                  <a:pt x="401" y="377"/>
                                </a:cubicBezTo>
                                <a:cubicBezTo>
                                  <a:pt x="403" y="380"/>
                                  <a:pt x="403" y="384"/>
                                  <a:pt x="409" y="388"/>
                                </a:cubicBezTo>
                                <a:cubicBezTo>
                                  <a:pt x="415" y="391"/>
                                  <a:pt x="420" y="386"/>
                                  <a:pt x="422" y="388"/>
                                </a:cubicBezTo>
                                <a:cubicBezTo>
                                  <a:pt x="424" y="390"/>
                                  <a:pt x="423" y="391"/>
                                  <a:pt x="429" y="394"/>
                                </a:cubicBezTo>
                                <a:cubicBezTo>
                                  <a:pt x="434" y="396"/>
                                  <a:pt x="434" y="395"/>
                                  <a:pt x="442" y="399"/>
                                </a:cubicBezTo>
                                <a:cubicBezTo>
                                  <a:pt x="449" y="404"/>
                                  <a:pt x="450" y="401"/>
                                  <a:pt x="455" y="398"/>
                                </a:cubicBezTo>
                                <a:cubicBezTo>
                                  <a:pt x="461" y="395"/>
                                  <a:pt x="463" y="398"/>
                                  <a:pt x="466" y="399"/>
                                </a:cubicBezTo>
                                <a:cubicBezTo>
                                  <a:pt x="470" y="401"/>
                                  <a:pt x="466" y="402"/>
                                  <a:pt x="464" y="404"/>
                                </a:cubicBezTo>
                                <a:cubicBezTo>
                                  <a:pt x="461" y="407"/>
                                  <a:pt x="458" y="406"/>
                                  <a:pt x="457" y="410"/>
                                </a:cubicBezTo>
                                <a:cubicBezTo>
                                  <a:pt x="455" y="413"/>
                                  <a:pt x="459" y="414"/>
                                  <a:pt x="466" y="419"/>
                                </a:cubicBezTo>
                                <a:cubicBezTo>
                                  <a:pt x="473" y="423"/>
                                  <a:pt x="483" y="425"/>
                                  <a:pt x="501" y="430"/>
                                </a:cubicBezTo>
                                <a:cubicBezTo>
                                  <a:pt x="518" y="435"/>
                                  <a:pt x="524" y="438"/>
                                  <a:pt x="544" y="444"/>
                                </a:cubicBezTo>
                                <a:cubicBezTo>
                                  <a:pt x="565" y="450"/>
                                  <a:pt x="592" y="460"/>
                                  <a:pt x="600" y="462"/>
                                </a:cubicBezTo>
                                <a:cubicBezTo>
                                  <a:pt x="607" y="463"/>
                                  <a:pt x="616" y="467"/>
                                  <a:pt x="629" y="472"/>
                                </a:cubicBezTo>
                                <a:cubicBezTo>
                                  <a:pt x="642" y="478"/>
                                  <a:pt x="653" y="481"/>
                                  <a:pt x="658" y="486"/>
                                </a:cubicBezTo>
                                <a:cubicBezTo>
                                  <a:pt x="663" y="492"/>
                                  <a:pt x="660" y="493"/>
                                  <a:pt x="661" y="498"/>
                                </a:cubicBezTo>
                                <a:cubicBezTo>
                                  <a:pt x="662" y="503"/>
                                  <a:pt x="665" y="502"/>
                                  <a:pt x="669" y="504"/>
                                </a:cubicBezTo>
                                <a:cubicBezTo>
                                  <a:pt x="674" y="505"/>
                                  <a:pt x="678" y="505"/>
                                  <a:pt x="679" y="509"/>
                                </a:cubicBezTo>
                                <a:cubicBezTo>
                                  <a:pt x="681" y="512"/>
                                  <a:pt x="682" y="513"/>
                                  <a:pt x="684" y="518"/>
                                </a:cubicBezTo>
                                <a:cubicBezTo>
                                  <a:pt x="686" y="522"/>
                                  <a:pt x="684" y="520"/>
                                  <a:pt x="679" y="524"/>
                                </a:cubicBezTo>
                                <a:cubicBezTo>
                                  <a:pt x="674" y="528"/>
                                  <a:pt x="680" y="531"/>
                                  <a:pt x="680" y="538"/>
                                </a:cubicBezTo>
                                <a:cubicBezTo>
                                  <a:pt x="680" y="545"/>
                                  <a:pt x="685" y="549"/>
                                  <a:pt x="689" y="552"/>
                                </a:cubicBezTo>
                                <a:cubicBezTo>
                                  <a:pt x="694" y="555"/>
                                  <a:pt x="700" y="561"/>
                                  <a:pt x="701" y="564"/>
                                </a:cubicBezTo>
                                <a:cubicBezTo>
                                  <a:pt x="703" y="568"/>
                                  <a:pt x="713" y="573"/>
                                  <a:pt x="719" y="577"/>
                                </a:cubicBezTo>
                                <a:cubicBezTo>
                                  <a:pt x="724" y="581"/>
                                  <a:pt x="728" y="583"/>
                                  <a:pt x="732" y="584"/>
                                </a:cubicBezTo>
                                <a:cubicBezTo>
                                  <a:pt x="736" y="586"/>
                                  <a:pt x="733" y="587"/>
                                  <a:pt x="728" y="590"/>
                                </a:cubicBezTo>
                                <a:cubicBezTo>
                                  <a:pt x="723" y="592"/>
                                  <a:pt x="720" y="587"/>
                                  <a:pt x="715" y="585"/>
                                </a:cubicBezTo>
                                <a:cubicBezTo>
                                  <a:pt x="710" y="582"/>
                                  <a:pt x="705" y="586"/>
                                  <a:pt x="702" y="588"/>
                                </a:cubicBezTo>
                                <a:cubicBezTo>
                                  <a:pt x="700" y="589"/>
                                  <a:pt x="707" y="593"/>
                                  <a:pt x="712" y="594"/>
                                </a:cubicBezTo>
                                <a:cubicBezTo>
                                  <a:pt x="716" y="595"/>
                                  <a:pt x="721" y="598"/>
                                  <a:pt x="725" y="599"/>
                                </a:cubicBezTo>
                                <a:cubicBezTo>
                                  <a:pt x="729" y="600"/>
                                  <a:pt x="733" y="600"/>
                                  <a:pt x="736" y="604"/>
                                </a:cubicBezTo>
                                <a:cubicBezTo>
                                  <a:pt x="739" y="608"/>
                                  <a:pt x="735" y="608"/>
                                  <a:pt x="730" y="609"/>
                                </a:cubicBezTo>
                                <a:cubicBezTo>
                                  <a:pt x="724" y="610"/>
                                  <a:pt x="722" y="609"/>
                                  <a:pt x="716" y="606"/>
                                </a:cubicBezTo>
                                <a:cubicBezTo>
                                  <a:pt x="710" y="603"/>
                                  <a:pt x="710" y="606"/>
                                  <a:pt x="708" y="610"/>
                                </a:cubicBezTo>
                                <a:cubicBezTo>
                                  <a:pt x="707" y="614"/>
                                  <a:pt x="712" y="614"/>
                                  <a:pt x="718" y="618"/>
                                </a:cubicBezTo>
                                <a:cubicBezTo>
                                  <a:pt x="724" y="621"/>
                                  <a:pt x="723" y="621"/>
                                  <a:pt x="726" y="625"/>
                                </a:cubicBezTo>
                                <a:cubicBezTo>
                                  <a:pt x="729" y="628"/>
                                  <a:pt x="728" y="629"/>
                                  <a:pt x="723" y="634"/>
                                </a:cubicBezTo>
                                <a:cubicBezTo>
                                  <a:pt x="718" y="639"/>
                                  <a:pt x="723" y="641"/>
                                  <a:pt x="723" y="646"/>
                                </a:cubicBezTo>
                                <a:cubicBezTo>
                                  <a:pt x="723" y="651"/>
                                  <a:pt x="718" y="655"/>
                                  <a:pt x="713" y="659"/>
                                </a:cubicBezTo>
                                <a:cubicBezTo>
                                  <a:pt x="709" y="663"/>
                                  <a:pt x="712" y="663"/>
                                  <a:pt x="716" y="666"/>
                                </a:cubicBezTo>
                                <a:cubicBezTo>
                                  <a:pt x="720" y="669"/>
                                  <a:pt x="721" y="664"/>
                                  <a:pt x="724" y="662"/>
                                </a:cubicBezTo>
                                <a:cubicBezTo>
                                  <a:pt x="726" y="661"/>
                                  <a:pt x="733" y="661"/>
                                  <a:pt x="734" y="658"/>
                                </a:cubicBezTo>
                                <a:cubicBezTo>
                                  <a:pt x="735" y="655"/>
                                  <a:pt x="734" y="653"/>
                                  <a:pt x="734" y="650"/>
                                </a:cubicBezTo>
                                <a:cubicBezTo>
                                  <a:pt x="735" y="648"/>
                                  <a:pt x="738" y="653"/>
                                  <a:pt x="738" y="658"/>
                                </a:cubicBezTo>
                                <a:cubicBezTo>
                                  <a:pt x="739" y="663"/>
                                  <a:pt x="741" y="663"/>
                                  <a:pt x="745" y="664"/>
                                </a:cubicBezTo>
                                <a:cubicBezTo>
                                  <a:pt x="749" y="666"/>
                                  <a:pt x="752" y="665"/>
                                  <a:pt x="757" y="662"/>
                                </a:cubicBezTo>
                                <a:cubicBezTo>
                                  <a:pt x="761" y="659"/>
                                  <a:pt x="763" y="662"/>
                                  <a:pt x="771" y="662"/>
                                </a:cubicBezTo>
                                <a:cubicBezTo>
                                  <a:pt x="779" y="663"/>
                                  <a:pt x="777" y="657"/>
                                  <a:pt x="782" y="651"/>
                                </a:cubicBezTo>
                                <a:cubicBezTo>
                                  <a:pt x="787" y="645"/>
                                  <a:pt x="786" y="647"/>
                                  <a:pt x="790" y="647"/>
                                </a:cubicBezTo>
                                <a:cubicBezTo>
                                  <a:pt x="794" y="648"/>
                                  <a:pt x="789" y="653"/>
                                  <a:pt x="789" y="655"/>
                                </a:cubicBezTo>
                                <a:cubicBezTo>
                                  <a:pt x="788" y="656"/>
                                  <a:pt x="785" y="660"/>
                                  <a:pt x="782" y="664"/>
                                </a:cubicBezTo>
                                <a:close/>
                                <a:moveTo>
                                  <a:pt x="39" y="27"/>
                                </a:moveTo>
                                <a:cubicBezTo>
                                  <a:pt x="41" y="24"/>
                                  <a:pt x="42" y="15"/>
                                  <a:pt x="39" y="21"/>
                                </a:cubicBezTo>
                                <a:cubicBezTo>
                                  <a:pt x="38" y="23"/>
                                  <a:pt x="32" y="21"/>
                                  <a:pt x="32" y="24"/>
                                </a:cubicBezTo>
                                <a:cubicBezTo>
                                  <a:pt x="31" y="27"/>
                                  <a:pt x="31" y="31"/>
                                  <a:pt x="34" y="30"/>
                                </a:cubicBezTo>
                                <a:cubicBezTo>
                                  <a:pt x="37" y="29"/>
                                  <a:pt x="38" y="30"/>
                                  <a:pt x="39" y="27"/>
                                </a:cubicBezTo>
                                <a:close/>
                                <a:moveTo>
                                  <a:pt x="19" y="94"/>
                                </a:moveTo>
                                <a:cubicBezTo>
                                  <a:pt x="24" y="90"/>
                                  <a:pt x="25" y="87"/>
                                  <a:pt x="27" y="83"/>
                                </a:cubicBezTo>
                                <a:cubicBezTo>
                                  <a:pt x="30" y="78"/>
                                  <a:pt x="29" y="78"/>
                                  <a:pt x="33" y="74"/>
                                </a:cubicBezTo>
                                <a:cubicBezTo>
                                  <a:pt x="36" y="71"/>
                                  <a:pt x="37" y="69"/>
                                  <a:pt x="37" y="64"/>
                                </a:cubicBezTo>
                                <a:cubicBezTo>
                                  <a:pt x="37" y="58"/>
                                  <a:pt x="36" y="56"/>
                                  <a:pt x="33" y="51"/>
                                </a:cubicBezTo>
                                <a:cubicBezTo>
                                  <a:pt x="31" y="46"/>
                                  <a:pt x="31" y="46"/>
                                  <a:pt x="30" y="40"/>
                                </a:cubicBezTo>
                                <a:cubicBezTo>
                                  <a:pt x="29" y="35"/>
                                  <a:pt x="19" y="37"/>
                                  <a:pt x="20" y="42"/>
                                </a:cubicBezTo>
                                <a:cubicBezTo>
                                  <a:pt x="19" y="48"/>
                                  <a:pt x="19" y="49"/>
                                  <a:pt x="15" y="53"/>
                                </a:cubicBezTo>
                                <a:cubicBezTo>
                                  <a:pt x="12" y="57"/>
                                  <a:pt x="10" y="57"/>
                                  <a:pt x="10" y="64"/>
                                </a:cubicBezTo>
                                <a:cubicBezTo>
                                  <a:pt x="10" y="71"/>
                                  <a:pt x="9" y="72"/>
                                  <a:pt x="6" y="75"/>
                                </a:cubicBezTo>
                                <a:cubicBezTo>
                                  <a:pt x="2" y="79"/>
                                  <a:pt x="0" y="79"/>
                                  <a:pt x="3" y="85"/>
                                </a:cubicBezTo>
                                <a:cubicBezTo>
                                  <a:pt x="5" y="90"/>
                                  <a:pt x="3" y="90"/>
                                  <a:pt x="8" y="93"/>
                                </a:cubicBezTo>
                                <a:cubicBezTo>
                                  <a:pt x="14" y="96"/>
                                  <a:pt x="15" y="98"/>
                                  <a:pt x="19" y="94"/>
                                </a:cubicBezTo>
                                <a:close/>
                                <a:moveTo>
                                  <a:pt x="64" y="6"/>
                                </a:moveTo>
                                <a:cubicBezTo>
                                  <a:pt x="58" y="11"/>
                                  <a:pt x="55" y="7"/>
                                  <a:pt x="54" y="13"/>
                                </a:cubicBezTo>
                                <a:cubicBezTo>
                                  <a:pt x="53" y="18"/>
                                  <a:pt x="52" y="18"/>
                                  <a:pt x="55" y="23"/>
                                </a:cubicBezTo>
                                <a:cubicBezTo>
                                  <a:pt x="57" y="29"/>
                                  <a:pt x="57" y="33"/>
                                  <a:pt x="61" y="29"/>
                                </a:cubicBezTo>
                                <a:cubicBezTo>
                                  <a:pt x="65" y="24"/>
                                  <a:pt x="65" y="23"/>
                                  <a:pt x="68" y="19"/>
                                </a:cubicBezTo>
                                <a:cubicBezTo>
                                  <a:pt x="71" y="15"/>
                                  <a:pt x="73" y="21"/>
                                  <a:pt x="72" y="12"/>
                                </a:cubicBezTo>
                                <a:cubicBezTo>
                                  <a:pt x="71" y="2"/>
                                  <a:pt x="69" y="0"/>
                                  <a:pt x="64" y="6"/>
                                </a:cubicBezTo>
                                <a:close/>
                                <a:moveTo>
                                  <a:pt x="61" y="202"/>
                                </a:moveTo>
                                <a:cubicBezTo>
                                  <a:pt x="60" y="199"/>
                                  <a:pt x="53" y="193"/>
                                  <a:pt x="49" y="188"/>
                                </a:cubicBezTo>
                                <a:cubicBezTo>
                                  <a:pt x="46" y="184"/>
                                  <a:pt x="39" y="177"/>
                                  <a:pt x="37" y="173"/>
                                </a:cubicBezTo>
                                <a:cubicBezTo>
                                  <a:pt x="35" y="169"/>
                                  <a:pt x="34" y="165"/>
                                  <a:pt x="33" y="162"/>
                                </a:cubicBezTo>
                                <a:cubicBezTo>
                                  <a:pt x="33" y="159"/>
                                  <a:pt x="29" y="156"/>
                                  <a:pt x="31" y="153"/>
                                </a:cubicBezTo>
                                <a:cubicBezTo>
                                  <a:pt x="33" y="150"/>
                                  <a:pt x="34" y="146"/>
                                  <a:pt x="34" y="142"/>
                                </a:cubicBezTo>
                                <a:cubicBezTo>
                                  <a:pt x="33" y="139"/>
                                  <a:pt x="30" y="135"/>
                                  <a:pt x="32" y="130"/>
                                </a:cubicBezTo>
                                <a:cubicBezTo>
                                  <a:pt x="35" y="128"/>
                                  <a:pt x="46" y="133"/>
                                  <a:pt x="54" y="133"/>
                                </a:cubicBezTo>
                                <a:cubicBezTo>
                                  <a:pt x="61" y="134"/>
                                  <a:pt x="72" y="139"/>
                                  <a:pt x="77" y="140"/>
                                </a:cubicBezTo>
                                <a:cubicBezTo>
                                  <a:pt x="82" y="142"/>
                                  <a:pt x="87" y="142"/>
                                  <a:pt x="85" y="139"/>
                                </a:cubicBezTo>
                                <a:cubicBezTo>
                                  <a:pt x="83" y="135"/>
                                  <a:pt x="79" y="134"/>
                                  <a:pt x="77" y="130"/>
                                </a:cubicBezTo>
                                <a:cubicBezTo>
                                  <a:pt x="75" y="125"/>
                                  <a:pt x="70" y="122"/>
                                  <a:pt x="66" y="120"/>
                                </a:cubicBezTo>
                                <a:cubicBezTo>
                                  <a:pt x="63" y="119"/>
                                  <a:pt x="51" y="115"/>
                                  <a:pt x="52" y="111"/>
                                </a:cubicBezTo>
                                <a:cubicBezTo>
                                  <a:pt x="53" y="106"/>
                                  <a:pt x="51" y="102"/>
                                  <a:pt x="55" y="101"/>
                                </a:cubicBezTo>
                                <a:cubicBezTo>
                                  <a:pt x="60" y="99"/>
                                  <a:pt x="61" y="100"/>
                                  <a:pt x="67" y="96"/>
                                </a:cubicBezTo>
                                <a:cubicBezTo>
                                  <a:pt x="73" y="93"/>
                                  <a:pt x="75" y="94"/>
                                  <a:pt x="78" y="89"/>
                                </a:cubicBezTo>
                                <a:cubicBezTo>
                                  <a:pt x="81" y="84"/>
                                  <a:pt x="83" y="86"/>
                                  <a:pt x="83" y="78"/>
                                </a:cubicBezTo>
                                <a:cubicBezTo>
                                  <a:pt x="82" y="70"/>
                                  <a:pt x="85" y="68"/>
                                  <a:pt x="81" y="65"/>
                                </a:cubicBezTo>
                                <a:cubicBezTo>
                                  <a:pt x="77" y="62"/>
                                  <a:pt x="78" y="60"/>
                                  <a:pt x="71" y="63"/>
                                </a:cubicBezTo>
                                <a:cubicBezTo>
                                  <a:pt x="65" y="66"/>
                                  <a:pt x="64" y="63"/>
                                  <a:pt x="59" y="66"/>
                                </a:cubicBezTo>
                                <a:cubicBezTo>
                                  <a:pt x="55" y="70"/>
                                  <a:pt x="53" y="67"/>
                                  <a:pt x="52" y="72"/>
                                </a:cubicBezTo>
                                <a:cubicBezTo>
                                  <a:pt x="51" y="76"/>
                                  <a:pt x="49" y="75"/>
                                  <a:pt x="49" y="81"/>
                                </a:cubicBezTo>
                                <a:cubicBezTo>
                                  <a:pt x="49" y="86"/>
                                  <a:pt x="50" y="87"/>
                                  <a:pt x="46" y="89"/>
                                </a:cubicBezTo>
                                <a:cubicBezTo>
                                  <a:pt x="42" y="91"/>
                                  <a:pt x="40" y="89"/>
                                  <a:pt x="38" y="93"/>
                                </a:cubicBezTo>
                                <a:cubicBezTo>
                                  <a:pt x="35" y="97"/>
                                  <a:pt x="34" y="100"/>
                                  <a:pt x="34" y="104"/>
                                </a:cubicBezTo>
                                <a:cubicBezTo>
                                  <a:pt x="33" y="108"/>
                                  <a:pt x="32" y="109"/>
                                  <a:pt x="28" y="108"/>
                                </a:cubicBezTo>
                                <a:cubicBezTo>
                                  <a:pt x="24" y="107"/>
                                  <a:pt x="23" y="105"/>
                                  <a:pt x="20" y="106"/>
                                </a:cubicBezTo>
                                <a:cubicBezTo>
                                  <a:pt x="16" y="108"/>
                                  <a:pt x="13" y="108"/>
                                  <a:pt x="13" y="112"/>
                                </a:cubicBezTo>
                                <a:cubicBezTo>
                                  <a:pt x="13" y="116"/>
                                  <a:pt x="14" y="114"/>
                                  <a:pt x="13" y="118"/>
                                </a:cubicBezTo>
                                <a:cubicBezTo>
                                  <a:pt x="11" y="122"/>
                                  <a:pt x="9" y="120"/>
                                  <a:pt x="12" y="125"/>
                                </a:cubicBezTo>
                                <a:cubicBezTo>
                                  <a:pt x="14" y="129"/>
                                  <a:pt x="13" y="128"/>
                                  <a:pt x="16" y="131"/>
                                </a:cubicBezTo>
                                <a:cubicBezTo>
                                  <a:pt x="20" y="133"/>
                                  <a:pt x="20" y="129"/>
                                  <a:pt x="20" y="135"/>
                                </a:cubicBezTo>
                                <a:cubicBezTo>
                                  <a:pt x="20" y="141"/>
                                  <a:pt x="20" y="141"/>
                                  <a:pt x="20" y="145"/>
                                </a:cubicBezTo>
                                <a:cubicBezTo>
                                  <a:pt x="20" y="149"/>
                                  <a:pt x="22" y="153"/>
                                  <a:pt x="21" y="159"/>
                                </a:cubicBezTo>
                                <a:cubicBezTo>
                                  <a:pt x="22" y="166"/>
                                  <a:pt x="21" y="166"/>
                                  <a:pt x="21" y="170"/>
                                </a:cubicBezTo>
                                <a:cubicBezTo>
                                  <a:pt x="21" y="175"/>
                                  <a:pt x="23" y="178"/>
                                  <a:pt x="26" y="181"/>
                                </a:cubicBezTo>
                                <a:cubicBezTo>
                                  <a:pt x="30" y="184"/>
                                  <a:pt x="34" y="188"/>
                                  <a:pt x="38" y="193"/>
                                </a:cubicBezTo>
                                <a:cubicBezTo>
                                  <a:pt x="41" y="197"/>
                                  <a:pt x="49" y="202"/>
                                  <a:pt x="55" y="204"/>
                                </a:cubicBezTo>
                                <a:cubicBezTo>
                                  <a:pt x="61" y="207"/>
                                  <a:pt x="62" y="206"/>
                                  <a:pt x="61" y="202"/>
                                </a:cubicBezTo>
                                <a:close/>
                                <a:moveTo>
                                  <a:pt x="487" y="252"/>
                                </a:moveTo>
                                <a:cubicBezTo>
                                  <a:pt x="489" y="252"/>
                                  <a:pt x="492" y="251"/>
                                  <a:pt x="492" y="249"/>
                                </a:cubicBezTo>
                                <a:cubicBezTo>
                                  <a:pt x="492" y="246"/>
                                  <a:pt x="489" y="246"/>
                                  <a:pt x="486" y="246"/>
                                </a:cubicBezTo>
                                <a:cubicBezTo>
                                  <a:pt x="481" y="246"/>
                                  <a:pt x="476" y="247"/>
                                  <a:pt x="476" y="248"/>
                                </a:cubicBezTo>
                                <a:cubicBezTo>
                                  <a:pt x="476" y="249"/>
                                  <a:pt x="476" y="250"/>
                                  <a:pt x="478" y="251"/>
                                </a:cubicBezTo>
                                <a:cubicBezTo>
                                  <a:pt x="480" y="252"/>
                                  <a:pt x="486" y="252"/>
                                  <a:pt x="487" y="252"/>
                                </a:cubicBezTo>
                                <a:close/>
                                <a:moveTo>
                                  <a:pt x="462" y="215"/>
                                </a:moveTo>
                                <a:cubicBezTo>
                                  <a:pt x="461" y="216"/>
                                  <a:pt x="458" y="217"/>
                                  <a:pt x="459" y="220"/>
                                </a:cubicBezTo>
                                <a:cubicBezTo>
                                  <a:pt x="461" y="224"/>
                                  <a:pt x="462" y="227"/>
                                  <a:pt x="465" y="228"/>
                                </a:cubicBezTo>
                                <a:cubicBezTo>
                                  <a:pt x="468" y="228"/>
                                  <a:pt x="472" y="229"/>
                                  <a:pt x="473" y="226"/>
                                </a:cubicBezTo>
                                <a:cubicBezTo>
                                  <a:pt x="473" y="224"/>
                                  <a:pt x="469" y="223"/>
                                  <a:pt x="470" y="220"/>
                                </a:cubicBezTo>
                                <a:cubicBezTo>
                                  <a:pt x="470" y="218"/>
                                  <a:pt x="466" y="214"/>
                                  <a:pt x="462" y="215"/>
                                </a:cubicBezTo>
                                <a:close/>
                                <a:moveTo>
                                  <a:pt x="530" y="260"/>
                                </a:moveTo>
                                <a:cubicBezTo>
                                  <a:pt x="523" y="259"/>
                                  <a:pt x="523" y="258"/>
                                  <a:pt x="516" y="258"/>
                                </a:cubicBezTo>
                                <a:cubicBezTo>
                                  <a:pt x="510" y="258"/>
                                  <a:pt x="513" y="260"/>
                                  <a:pt x="515" y="262"/>
                                </a:cubicBezTo>
                                <a:cubicBezTo>
                                  <a:pt x="517" y="264"/>
                                  <a:pt x="526" y="266"/>
                                  <a:pt x="532" y="267"/>
                                </a:cubicBezTo>
                                <a:cubicBezTo>
                                  <a:pt x="538" y="268"/>
                                  <a:pt x="537" y="270"/>
                                  <a:pt x="540" y="274"/>
                                </a:cubicBezTo>
                                <a:cubicBezTo>
                                  <a:pt x="543" y="277"/>
                                  <a:pt x="551" y="277"/>
                                  <a:pt x="555" y="274"/>
                                </a:cubicBezTo>
                                <a:cubicBezTo>
                                  <a:pt x="560" y="271"/>
                                  <a:pt x="564" y="272"/>
                                  <a:pt x="570" y="272"/>
                                </a:cubicBezTo>
                                <a:cubicBezTo>
                                  <a:pt x="576" y="271"/>
                                  <a:pt x="581" y="270"/>
                                  <a:pt x="585" y="268"/>
                                </a:cubicBezTo>
                                <a:cubicBezTo>
                                  <a:pt x="588" y="266"/>
                                  <a:pt x="580" y="265"/>
                                  <a:pt x="572" y="265"/>
                                </a:cubicBezTo>
                                <a:cubicBezTo>
                                  <a:pt x="564" y="264"/>
                                  <a:pt x="561" y="264"/>
                                  <a:pt x="551" y="262"/>
                                </a:cubicBezTo>
                                <a:cubicBezTo>
                                  <a:pt x="546" y="261"/>
                                  <a:pt x="536" y="262"/>
                                  <a:pt x="530" y="260"/>
                                </a:cubicBezTo>
                                <a:close/>
                                <a:moveTo>
                                  <a:pt x="547" y="221"/>
                                </a:moveTo>
                                <a:cubicBezTo>
                                  <a:pt x="542" y="220"/>
                                  <a:pt x="535" y="215"/>
                                  <a:pt x="534" y="212"/>
                                </a:cubicBezTo>
                                <a:cubicBezTo>
                                  <a:pt x="532" y="208"/>
                                  <a:pt x="535" y="208"/>
                                  <a:pt x="527" y="205"/>
                                </a:cubicBezTo>
                                <a:cubicBezTo>
                                  <a:pt x="519" y="203"/>
                                  <a:pt x="517" y="204"/>
                                  <a:pt x="514" y="201"/>
                                </a:cubicBezTo>
                                <a:cubicBezTo>
                                  <a:pt x="511" y="198"/>
                                  <a:pt x="502" y="196"/>
                                  <a:pt x="506" y="200"/>
                                </a:cubicBezTo>
                                <a:cubicBezTo>
                                  <a:pt x="512" y="205"/>
                                  <a:pt x="515" y="205"/>
                                  <a:pt x="518" y="208"/>
                                </a:cubicBezTo>
                                <a:cubicBezTo>
                                  <a:pt x="522" y="211"/>
                                  <a:pt x="522" y="209"/>
                                  <a:pt x="523" y="216"/>
                                </a:cubicBezTo>
                                <a:cubicBezTo>
                                  <a:pt x="524" y="223"/>
                                  <a:pt x="520" y="222"/>
                                  <a:pt x="524" y="227"/>
                                </a:cubicBezTo>
                                <a:cubicBezTo>
                                  <a:pt x="528" y="232"/>
                                  <a:pt x="529" y="233"/>
                                  <a:pt x="534" y="233"/>
                                </a:cubicBezTo>
                                <a:cubicBezTo>
                                  <a:pt x="538" y="233"/>
                                  <a:pt x="541" y="234"/>
                                  <a:pt x="544" y="231"/>
                                </a:cubicBezTo>
                                <a:cubicBezTo>
                                  <a:pt x="548" y="228"/>
                                  <a:pt x="555" y="230"/>
                                  <a:pt x="554" y="226"/>
                                </a:cubicBezTo>
                                <a:cubicBezTo>
                                  <a:pt x="553" y="222"/>
                                  <a:pt x="552" y="223"/>
                                  <a:pt x="547" y="221"/>
                                </a:cubicBezTo>
                                <a:close/>
                                <a:moveTo>
                                  <a:pt x="129" y="160"/>
                                </a:moveTo>
                                <a:cubicBezTo>
                                  <a:pt x="128" y="157"/>
                                  <a:pt x="119" y="147"/>
                                  <a:pt x="120" y="154"/>
                                </a:cubicBezTo>
                                <a:cubicBezTo>
                                  <a:pt x="120" y="157"/>
                                  <a:pt x="120" y="155"/>
                                  <a:pt x="123" y="160"/>
                                </a:cubicBezTo>
                                <a:cubicBezTo>
                                  <a:pt x="126" y="164"/>
                                  <a:pt x="123" y="165"/>
                                  <a:pt x="127" y="166"/>
                                </a:cubicBezTo>
                                <a:cubicBezTo>
                                  <a:pt x="131" y="167"/>
                                  <a:pt x="133" y="169"/>
                                  <a:pt x="132" y="166"/>
                                </a:cubicBezTo>
                                <a:cubicBezTo>
                                  <a:pt x="132" y="163"/>
                                  <a:pt x="130" y="163"/>
                                  <a:pt x="129" y="160"/>
                                </a:cubicBezTo>
                                <a:close/>
                                <a:moveTo>
                                  <a:pt x="162" y="279"/>
                                </a:moveTo>
                                <a:cubicBezTo>
                                  <a:pt x="167" y="283"/>
                                  <a:pt x="170" y="284"/>
                                  <a:pt x="173" y="284"/>
                                </a:cubicBezTo>
                                <a:cubicBezTo>
                                  <a:pt x="176" y="283"/>
                                  <a:pt x="174" y="281"/>
                                  <a:pt x="178" y="280"/>
                                </a:cubicBezTo>
                                <a:cubicBezTo>
                                  <a:pt x="181" y="279"/>
                                  <a:pt x="184" y="279"/>
                                  <a:pt x="185" y="277"/>
                                </a:cubicBezTo>
                                <a:cubicBezTo>
                                  <a:pt x="187" y="276"/>
                                  <a:pt x="187" y="273"/>
                                  <a:pt x="185" y="270"/>
                                </a:cubicBezTo>
                                <a:cubicBezTo>
                                  <a:pt x="183" y="266"/>
                                  <a:pt x="183" y="264"/>
                                  <a:pt x="182" y="264"/>
                                </a:cubicBezTo>
                                <a:cubicBezTo>
                                  <a:pt x="180" y="263"/>
                                  <a:pt x="172" y="260"/>
                                  <a:pt x="170" y="265"/>
                                </a:cubicBezTo>
                                <a:cubicBezTo>
                                  <a:pt x="165" y="269"/>
                                  <a:pt x="162" y="268"/>
                                  <a:pt x="157" y="269"/>
                                </a:cubicBezTo>
                                <a:cubicBezTo>
                                  <a:pt x="152" y="271"/>
                                  <a:pt x="150" y="272"/>
                                  <a:pt x="154" y="276"/>
                                </a:cubicBezTo>
                                <a:cubicBezTo>
                                  <a:pt x="157" y="279"/>
                                  <a:pt x="157" y="276"/>
                                  <a:pt x="162" y="279"/>
                                </a:cubicBezTo>
                                <a:close/>
                                <a:moveTo>
                                  <a:pt x="150" y="227"/>
                                </a:moveTo>
                                <a:cubicBezTo>
                                  <a:pt x="146" y="230"/>
                                  <a:pt x="140" y="234"/>
                                  <a:pt x="145" y="234"/>
                                </a:cubicBezTo>
                                <a:cubicBezTo>
                                  <a:pt x="149" y="234"/>
                                  <a:pt x="152" y="234"/>
                                  <a:pt x="154" y="231"/>
                                </a:cubicBezTo>
                                <a:cubicBezTo>
                                  <a:pt x="156" y="228"/>
                                  <a:pt x="154" y="226"/>
                                  <a:pt x="150" y="227"/>
                                </a:cubicBezTo>
                                <a:close/>
                                <a:moveTo>
                                  <a:pt x="226" y="220"/>
                                </a:moveTo>
                                <a:cubicBezTo>
                                  <a:pt x="225" y="216"/>
                                  <a:pt x="224" y="212"/>
                                  <a:pt x="219" y="214"/>
                                </a:cubicBezTo>
                                <a:cubicBezTo>
                                  <a:pt x="214" y="215"/>
                                  <a:pt x="212" y="215"/>
                                  <a:pt x="209" y="215"/>
                                </a:cubicBezTo>
                                <a:cubicBezTo>
                                  <a:pt x="206" y="216"/>
                                  <a:pt x="203" y="216"/>
                                  <a:pt x="205" y="221"/>
                                </a:cubicBezTo>
                                <a:cubicBezTo>
                                  <a:pt x="207" y="227"/>
                                  <a:pt x="208" y="227"/>
                                  <a:pt x="209" y="231"/>
                                </a:cubicBezTo>
                                <a:cubicBezTo>
                                  <a:pt x="210" y="235"/>
                                  <a:pt x="213" y="238"/>
                                  <a:pt x="216" y="235"/>
                                </a:cubicBezTo>
                                <a:cubicBezTo>
                                  <a:pt x="218" y="232"/>
                                  <a:pt x="216" y="230"/>
                                  <a:pt x="220" y="228"/>
                                </a:cubicBezTo>
                                <a:cubicBezTo>
                                  <a:pt x="224" y="225"/>
                                  <a:pt x="226" y="225"/>
                                  <a:pt x="226" y="220"/>
                                </a:cubicBezTo>
                                <a:close/>
                                <a:moveTo>
                                  <a:pt x="204" y="172"/>
                                </a:moveTo>
                                <a:cubicBezTo>
                                  <a:pt x="201" y="168"/>
                                  <a:pt x="197" y="164"/>
                                  <a:pt x="195" y="163"/>
                                </a:cubicBezTo>
                                <a:cubicBezTo>
                                  <a:pt x="193" y="162"/>
                                  <a:pt x="189" y="161"/>
                                  <a:pt x="187" y="167"/>
                                </a:cubicBezTo>
                                <a:cubicBezTo>
                                  <a:pt x="186" y="170"/>
                                  <a:pt x="186" y="170"/>
                                  <a:pt x="191" y="171"/>
                                </a:cubicBezTo>
                                <a:cubicBezTo>
                                  <a:pt x="196" y="172"/>
                                  <a:pt x="193" y="174"/>
                                  <a:pt x="198" y="175"/>
                                </a:cubicBezTo>
                                <a:cubicBezTo>
                                  <a:pt x="202" y="176"/>
                                  <a:pt x="207" y="177"/>
                                  <a:pt x="204" y="172"/>
                                </a:cubicBezTo>
                                <a:close/>
                                <a:moveTo>
                                  <a:pt x="243" y="176"/>
                                </a:moveTo>
                                <a:cubicBezTo>
                                  <a:pt x="243" y="172"/>
                                  <a:pt x="245" y="173"/>
                                  <a:pt x="238" y="169"/>
                                </a:cubicBezTo>
                                <a:cubicBezTo>
                                  <a:pt x="231" y="166"/>
                                  <a:pt x="229" y="166"/>
                                  <a:pt x="226" y="163"/>
                                </a:cubicBezTo>
                                <a:cubicBezTo>
                                  <a:pt x="224" y="159"/>
                                  <a:pt x="216" y="159"/>
                                  <a:pt x="213" y="160"/>
                                </a:cubicBezTo>
                                <a:cubicBezTo>
                                  <a:pt x="210" y="163"/>
                                  <a:pt x="207" y="163"/>
                                  <a:pt x="212" y="166"/>
                                </a:cubicBezTo>
                                <a:cubicBezTo>
                                  <a:pt x="216" y="169"/>
                                  <a:pt x="217" y="168"/>
                                  <a:pt x="220" y="173"/>
                                </a:cubicBezTo>
                                <a:cubicBezTo>
                                  <a:pt x="224" y="178"/>
                                  <a:pt x="227" y="180"/>
                                  <a:pt x="233" y="180"/>
                                </a:cubicBezTo>
                                <a:cubicBezTo>
                                  <a:pt x="238" y="180"/>
                                  <a:pt x="244" y="180"/>
                                  <a:pt x="243" y="176"/>
                                </a:cubicBezTo>
                                <a:close/>
                                <a:moveTo>
                                  <a:pt x="191" y="204"/>
                                </a:moveTo>
                                <a:cubicBezTo>
                                  <a:pt x="188" y="206"/>
                                  <a:pt x="187" y="206"/>
                                  <a:pt x="188" y="210"/>
                                </a:cubicBezTo>
                                <a:cubicBezTo>
                                  <a:pt x="190" y="212"/>
                                  <a:pt x="202" y="209"/>
                                  <a:pt x="202" y="206"/>
                                </a:cubicBezTo>
                                <a:cubicBezTo>
                                  <a:pt x="202" y="204"/>
                                  <a:pt x="195" y="203"/>
                                  <a:pt x="191" y="204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38" name="Freeform 311"/>
                          <p:cNvSpPr>
                            <a:spLocks noEditPoints="1"/>
                          </p:cNvSpPr>
                          <p:nvPr/>
                        </p:nvSpPr>
                        <p:spPr bwMode="auto">
                          <a:xfrm>
                            <a:off x="6367575" y="4839388"/>
                            <a:ext cx="721519" cy="635794"/>
                          </a:xfrm>
                          <a:custGeom>
                            <a:avLst/>
                            <a:gdLst>
                              <a:gd name="T0" fmla="*/ 2464 w 2515"/>
                              <a:gd name="T1" fmla="*/ 934 h 2217"/>
                              <a:gd name="T2" fmla="*/ 2339 w 2515"/>
                              <a:gd name="T3" fmla="*/ 763 h 2217"/>
                              <a:gd name="T4" fmla="*/ 2252 w 2515"/>
                              <a:gd name="T5" fmla="*/ 689 h 2217"/>
                              <a:gd name="T6" fmla="*/ 2134 w 2515"/>
                              <a:gd name="T7" fmla="*/ 552 h 2217"/>
                              <a:gd name="T8" fmla="*/ 2022 w 2515"/>
                              <a:gd name="T9" fmla="*/ 380 h 2217"/>
                              <a:gd name="T10" fmla="*/ 1902 w 2515"/>
                              <a:gd name="T11" fmla="*/ 210 h 2217"/>
                              <a:gd name="T12" fmla="*/ 1842 w 2515"/>
                              <a:gd name="T13" fmla="*/ 42 h 2217"/>
                              <a:gd name="T14" fmla="*/ 1790 w 2515"/>
                              <a:gd name="T15" fmla="*/ 142 h 2217"/>
                              <a:gd name="T16" fmla="*/ 1724 w 2515"/>
                              <a:gd name="T17" fmla="*/ 425 h 2217"/>
                              <a:gd name="T18" fmla="*/ 1418 w 2515"/>
                              <a:gd name="T19" fmla="*/ 290 h 2217"/>
                              <a:gd name="T20" fmla="*/ 1454 w 2515"/>
                              <a:gd name="T21" fmla="*/ 154 h 2217"/>
                              <a:gd name="T22" fmla="*/ 1446 w 2515"/>
                              <a:gd name="T23" fmla="*/ 89 h 2217"/>
                              <a:gd name="T24" fmla="*/ 1357 w 2515"/>
                              <a:gd name="T25" fmla="*/ 86 h 2217"/>
                              <a:gd name="T26" fmla="*/ 1215 w 2515"/>
                              <a:gd name="T27" fmla="*/ 46 h 2217"/>
                              <a:gd name="T28" fmla="*/ 1217 w 2515"/>
                              <a:gd name="T29" fmla="*/ 69 h 2217"/>
                              <a:gd name="T30" fmla="*/ 1115 w 2515"/>
                              <a:gd name="T31" fmla="*/ 113 h 2217"/>
                              <a:gd name="T32" fmla="*/ 1057 w 2515"/>
                              <a:gd name="T33" fmla="*/ 178 h 2217"/>
                              <a:gd name="T34" fmla="*/ 1036 w 2515"/>
                              <a:gd name="T35" fmla="*/ 279 h 2217"/>
                              <a:gd name="T36" fmla="*/ 947 w 2515"/>
                              <a:gd name="T37" fmla="*/ 287 h 2217"/>
                              <a:gd name="T38" fmla="*/ 900 w 2515"/>
                              <a:gd name="T39" fmla="*/ 212 h 2217"/>
                              <a:gd name="T40" fmla="*/ 796 w 2515"/>
                              <a:gd name="T41" fmla="*/ 244 h 2217"/>
                              <a:gd name="T42" fmla="*/ 752 w 2515"/>
                              <a:gd name="T43" fmla="*/ 299 h 2217"/>
                              <a:gd name="T44" fmla="*/ 708 w 2515"/>
                              <a:gd name="T45" fmla="*/ 350 h 2217"/>
                              <a:gd name="T46" fmla="*/ 669 w 2515"/>
                              <a:gd name="T47" fmla="*/ 385 h 2217"/>
                              <a:gd name="T48" fmla="*/ 618 w 2515"/>
                              <a:gd name="T49" fmla="*/ 368 h 2217"/>
                              <a:gd name="T50" fmla="*/ 476 w 2515"/>
                              <a:gd name="T51" fmla="*/ 577 h 2217"/>
                              <a:gd name="T52" fmla="*/ 106 w 2515"/>
                              <a:gd name="T53" fmla="*/ 711 h 2217"/>
                              <a:gd name="T54" fmla="*/ 27 w 2515"/>
                              <a:gd name="T55" fmla="*/ 870 h 2217"/>
                              <a:gd name="T56" fmla="*/ 43 w 2515"/>
                              <a:gd name="T57" fmla="*/ 1024 h 2217"/>
                              <a:gd name="T58" fmla="*/ 76 w 2515"/>
                              <a:gd name="T59" fmla="*/ 1127 h 2217"/>
                              <a:gd name="T60" fmla="*/ 166 w 2515"/>
                              <a:gd name="T61" fmla="*/ 1479 h 2217"/>
                              <a:gd name="T62" fmla="*/ 345 w 2515"/>
                              <a:gd name="T63" fmla="*/ 1579 h 2217"/>
                              <a:gd name="T64" fmla="*/ 656 w 2515"/>
                              <a:gd name="T65" fmla="*/ 1513 h 2217"/>
                              <a:gd name="T66" fmla="*/ 1106 w 2515"/>
                              <a:gd name="T67" fmla="*/ 1361 h 2217"/>
                              <a:gd name="T68" fmla="*/ 1313 w 2515"/>
                              <a:gd name="T69" fmla="*/ 1438 h 2217"/>
                              <a:gd name="T70" fmla="*/ 1406 w 2515"/>
                              <a:gd name="T71" fmla="*/ 1586 h 2217"/>
                              <a:gd name="T72" fmla="*/ 1541 w 2515"/>
                              <a:gd name="T73" fmla="*/ 1438 h 2217"/>
                              <a:gd name="T74" fmla="*/ 1510 w 2515"/>
                              <a:gd name="T75" fmla="*/ 1602 h 2217"/>
                              <a:gd name="T76" fmla="*/ 1612 w 2515"/>
                              <a:gd name="T77" fmla="*/ 1629 h 2217"/>
                              <a:gd name="T78" fmla="*/ 1739 w 2515"/>
                              <a:gd name="T79" fmla="*/ 1811 h 2217"/>
                              <a:gd name="T80" fmla="*/ 1952 w 2515"/>
                              <a:gd name="T81" fmla="*/ 1809 h 2217"/>
                              <a:gd name="T82" fmla="*/ 2038 w 2515"/>
                              <a:gd name="T83" fmla="*/ 1869 h 2217"/>
                              <a:gd name="T84" fmla="*/ 2257 w 2515"/>
                              <a:gd name="T85" fmla="*/ 1783 h 2217"/>
                              <a:gd name="T86" fmla="*/ 2363 w 2515"/>
                              <a:gd name="T87" fmla="*/ 1526 h 2217"/>
                              <a:gd name="T88" fmla="*/ 2474 w 2515"/>
                              <a:gd name="T89" fmla="*/ 1328 h 2217"/>
                              <a:gd name="T90" fmla="*/ 1448 w 2515"/>
                              <a:gd name="T91" fmla="*/ 218 h 2217"/>
                              <a:gd name="T92" fmla="*/ 1462 w 2515"/>
                              <a:gd name="T93" fmla="*/ 38 h 2217"/>
                              <a:gd name="T94" fmla="*/ 1072 w 2515"/>
                              <a:gd name="T95" fmla="*/ 70 h 2217"/>
                              <a:gd name="T96" fmla="*/ 1090 w 2515"/>
                              <a:gd name="T97" fmla="*/ 44 h 2217"/>
                              <a:gd name="T98" fmla="*/ 1631 w 2515"/>
                              <a:gd name="T99" fmla="*/ 380 h 2217"/>
                              <a:gd name="T100" fmla="*/ 2318 w 2515"/>
                              <a:gd name="T101" fmla="*/ 743 h 2217"/>
                              <a:gd name="T102" fmla="*/ 1968 w 2515"/>
                              <a:gd name="T103" fmla="*/ 1980 h 2217"/>
                              <a:gd name="T104" fmla="*/ 1374 w 2515"/>
                              <a:gd name="T105" fmla="*/ 1560 h 2217"/>
                              <a:gd name="T106" fmla="*/ 2066 w 2515"/>
                              <a:gd name="T107" fmla="*/ 2039 h 2217"/>
                              <a:gd name="T108" fmla="*/ 2004 w 2515"/>
                              <a:gd name="T109" fmla="*/ 2131 h 2217"/>
                              <a:gd name="T110" fmla="*/ 2108 w 2515"/>
                              <a:gd name="T111" fmla="*/ 2183 h 2217"/>
                              <a:gd name="T112" fmla="*/ 2173 w 2515"/>
                              <a:gd name="T113" fmla="*/ 2146 h 2217"/>
                              <a:gd name="T114" fmla="*/ 1550 w 2515"/>
                              <a:gd name="T115" fmla="*/ 1646 h 2217"/>
                              <a:gd name="T116" fmla="*/ 1548 w 2515"/>
                              <a:gd name="T117" fmla="*/ 1656 h 2217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</a:cxnLst>
                            <a:rect l="0" t="0" r="r" b="b"/>
                            <a:pathLst>
                              <a:path w="2515" h="2217">
                                <a:moveTo>
                                  <a:pt x="2511" y="1123"/>
                                </a:moveTo>
                                <a:cubicBezTo>
                                  <a:pt x="2511" y="1119"/>
                                  <a:pt x="2504" y="1106"/>
                                  <a:pt x="2503" y="1099"/>
                                </a:cubicBezTo>
                                <a:cubicBezTo>
                                  <a:pt x="2503" y="1092"/>
                                  <a:pt x="2506" y="1092"/>
                                  <a:pt x="2505" y="1090"/>
                                </a:cubicBezTo>
                                <a:cubicBezTo>
                                  <a:pt x="2504" y="1088"/>
                                  <a:pt x="2500" y="1091"/>
                                  <a:pt x="2495" y="1091"/>
                                </a:cubicBezTo>
                                <a:cubicBezTo>
                                  <a:pt x="2490" y="1091"/>
                                  <a:pt x="2491" y="1086"/>
                                  <a:pt x="2486" y="1076"/>
                                </a:cubicBezTo>
                                <a:cubicBezTo>
                                  <a:pt x="2481" y="1067"/>
                                  <a:pt x="2483" y="1065"/>
                                  <a:pt x="2484" y="1061"/>
                                </a:cubicBezTo>
                                <a:cubicBezTo>
                                  <a:pt x="2485" y="1057"/>
                                  <a:pt x="2490" y="1059"/>
                                  <a:pt x="2492" y="1053"/>
                                </a:cubicBezTo>
                                <a:cubicBezTo>
                                  <a:pt x="2495" y="1047"/>
                                  <a:pt x="2493" y="1035"/>
                                  <a:pt x="2492" y="1032"/>
                                </a:cubicBezTo>
                                <a:cubicBezTo>
                                  <a:pt x="2491" y="1028"/>
                                  <a:pt x="2484" y="1015"/>
                                  <a:pt x="2483" y="1006"/>
                                </a:cubicBezTo>
                                <a:cubicBezTo>
                                  <a:pt x="2483" y="998"/>
                                  <a:pt x="2487" y="995"/>
                                  <a:pt x="2488" y="990"/>
                                </a:cubicBezTo>
                                <a:cubicBezTo>
                                  <a:pt x="2489" y="984"/>
                                  <a:pt x="2488" y="981"/>
                                  <a:pt x="2485" y="978"/>
                                </a:cubicBezTo>
                                <a:cubicBezTo>
                                  <a:pt x="2482" y="974"/>
                                  <a:pt x="2480" y="975"/>
                                  <a:pt x="2474" y="968"/>
                                </a:cubicBezTo>
                                <a:cubicBezTo>
                                  <a:pt x="2468" y="961"/>
                                  <a:pt x="2469" y="961"/>
                                  <a:pt x="2469" y="949"/>
                                </a:cubicBezTo>
                                <a:cubicBezTo>
                                  <a:pt x="2468" y="938"/>
                                  <a:pt x="2468" y="938"/>
                                  <a:pt x="2464" y="934"/>
                                </a:cubicBezTo>
                                <a:cubicBezTo>
                                  <a:pt x="2459" y="929"/>
                                  <a:pt x="2454" y="928"/>
                                  <a:pt x="2452" y="926"/>
                                </a:cubicBezTo>
                                <a:cubicBezTo>
                                  <a:pt x="2450" y="924"/>
                                  <a:pt x="2449" y="917"/>
                                  <a:pt x="2447" y="912"/>
                                </a:cubicBezTo>
                                <a:cubicBezTo>
                                  <a:pt x="2446" y="907"/>
                                  <a:pt x="2442" y="904"/>
                                  <a:pt x="2435" y="899"/>
                                </a:cubicBezTo>
                                <a:cubicBezTo>
                                  <a:pt x="2429" y="894"/>
                                  <a:pt x="2426" y="892"/>
                                  <a:pt x="2419" y="885"/>
                                </a:cubicBezTo>
                                <a:cubicBezTo>
                                  <a:pt x="2412" y="877"/>
                                  <a:pt x="2411" y="872"/>
                                  <a:pt x="2408" y="867"/>
                                </a:cubicBezTo>
                                <a:cubicBezTo>
                                  <a:pt x="2406" y="861"/>
                                  <a:pt x="2403" y="858"/>
                                  <a:pt x="2400" y="857"/>
                                </a:cubicBezTo>
                                <a:cubicBezTo>
                                  <a:pt x="2396" y="856"/>
                                  <a:pt x="2388" y="855"/>
                                  <a:pt x="2383" y="851"/>
                                </a:cubicBezTo>
                                <a:cubicBezTo>
                                  <a:pt x="2377" y="847"/>
                                  <a:pt x="2373" y="846"/>
                                  <a:pt x="2370" y="839"/>
                                </a:cubicBezTo>
                                <a:cubicBezTo>
                                  <a:pt x="2366" y="833"/>
                                  <a:pt x="2363" y="834"/>
                                  <a:pt x="2356" y="830"/>
                                </a:cubicBezTo>
                                <a:cubicBezTo>
                                  <a:pt x="2349" y="826"/>
                                  <a:pt x="2345" y="825"/>
                                  <a:pt x="2341" y="821"/>
                                </a:cubicBezTo>
                                <a:cubicBezTo>
                                  <a:pt x="2337" y="816"/>
                                  <a:pt x="2342" y="811"/>
                                  <a:pt x="2341" y="803"/>
                                </a:cubicBezTo>
                                <a:cubicBezTo>
                                  <a:pt x="2340" y="796"/>
                                  <a:pt x="2337" y="791"/>
                                  <a:pt x="2336" y="788"/>
                                </a:cubicBezTo>
                                <a:cubicBezTo>
                                  <a:pt x="2335" y="786"/>
                                  <a:pt x="2337" y="776"/>
                                  <a:pt x="2339" y="773"/>
                                </a:cubicBezTo>
                                <a:cubicBezTo>
                                  <a:pt x="2341" y="771"/>
                                  <a:pt x="2341" y="768"/>
                                  <a:pt x="2339" y="763"/>
                                </a:cubicBezTo>
                                <a:cubicBezTo>
                                  <a:pt x="2338" y="758"/>
                                  <a:pt x="2337" y="759"/>
                                  <a:pt x="2336" y="754"/>
                                </a:cubicBezTo>
                                <a:cubicBezTo>
                                  <a:pt x="2335" y="748"/>
                                  <a:pt x="2331" y="749"/>
                                  <a:pt x="2329" y="751"/>
                                </a:cubicBezTo>
                                <a:cubicBezTo>
                                  <a:pt x="2328" y="754"/>
                                  <a:pt x="2329" y="756"/>
                                  <a:pt x="2325" y="759"/>
                                </a:cubicBezTo>
                                <a:cubicBezTo>
                                  <a:pt x="2321" y="762"/>
                                  <a:pt x="2321" y="758"/>
                                  <a:pt x="2317" y="756"/>
                                </a:cubicBezTo>
                                <a:cubicBezTo>
                                  <a:pt x="2313" y="754"/>
                                  <a:pt x="2309" y="753"/>
                                  <a:pt x="2306" y="747"/>
                                </a:cubicBezTo>
                                <a:cubicBezTo>
                                  <a:pt x="2303" y="741"/>
                                  <a:pt x="2300" y="739"/>
                                  <a:pt x="2297" y="739"/>
                                </a:cubicBezTo>
                                <a:cubicBezTo>
                                  <a:pt x="2294" y="739"/>
                                  <a:pt x="2294" y="741"/>
                                  <a:pt x="2294" y="744"/>
                                </a:cubicBezTo>
                                <a:cubicBezTo>
                                  <a:pt x="2295" y="747"/>
                                  <a:pt x="2295" y="753"/>
                                  <a:pt x="2292" y="755"/>
                                </a:cubicBezTo>
                                <a:cubicBezTo>
                                  <a:pt x="2290" y="757"/>
                                  <a:pt x="2289" y="755"/>
                                  <a:pt x="2286" y="753"/>
                                </a:cubicBezTo>
                                <a:cubicBezTo>
                                  <a:pt x="2283" y="751"/>
                                  <a:pt x="2279" y="752"/>
                                  <a:pt x="2275" y="750"/>
                                </a:cubicBezTo>
                                <a:cubicBezTo>
                                  <a:pt x="2271" y="749"/>
                                  <a:pt x="2270" y="747"/>
                                  <a:pt x="2269" y="743"/>
                                </a:cubicBezTo>
                                <a:cubicBezTo>
                                  <a:pt x="2268" y="739"/>
                                  <a:pt x="2267" y="733"/>
                                  <a:pt x="2265" y="722"/>
                                </a:cubicBezTo>
                                <a:cubicBezTo>
                                  <a:pt x="2263" y="711"/>
                                  <a:pt x="2262" y="706"/>
                                  <a:pt x="2261" y="703"/>
                                </a:cubicBezTo>
                                <a:cubicBezTo>
                                  <a:pt x="2260" y="699"/>
                                  <a:pt x="2258" y="695"/>
                                  <a:pt x="2252" y="689"/>
                                </a:cubicBezTo>
                                <a:cubicBezTo>
                                  <a:pt x="2247" y="683"/>
                                  <a:pt x="2248" y="681"/>
                                  <a:pt x="2246" y="675"/>
                                </a:cubicBezTo>
                                <a:cubicBezTo>
                                  <a:pt x="2245" y="669"/>
                                  <a:pt x="2247" y="666"/>
                                  <a:pt x="2243" y="661"/>
                                </a:cubicBezTo>
                                <a:cubicBezTo>
                                  <a:pt x="2239" y="656"/>
                                  <a:pt x="2232" y="653"/>
                                  <a:pt x="2229" y="650"/>
                                </a:cubicBezTo>
                                <a:cubicBezTo>
                                  <a:pt x="2226" y="647"/>
                                  <a:pt x="2214" y="640"/>
                                  <a:pt x="2213" y="635"/>
                                </a:cubicBezTo>
                                <a:cubicBezTo>
                                  <a:pt x="2213" y="630"/>
                                  <a:pt x="2218" y="629"/>
                                  <a:pt x="2220" y="622"/>
                                </a:cubicBezTo>
                                <a:cubicBezTo>
                                  <a:pt x="2223" y="615"/>
                                  <a:pt x="2218" y="618"/>
                                  <a:pt x="2216" y="614"/>
                                </a:cubicBezTo>
                                <a:cubicBezTo>
                                  <a:pt x="2214" y="609"/>
                                  <a:pt x="2210" y="606"/>
                                  <a:pt x="2206" y="602"/>
                                </a:cubicBezTo>
                                <a:cubicBezTo>
                                  <a:pt x="2203" y="598"/>
                                  <a:pt x="2199" y="600"/>
                                  <a:pt x="2196" y="601"/>
                                </a:cubicBezTo>
                                <a:cubicBezTo>
                                  <a:pt x="2192" y="602"/>
                                  <a:pt x="2188" y="599"/>
                                  <a:pt x="2185" y="595"/>
                                </a:cubicBezTo>
                                <a:cubicBezTo>
                                  <a:pt x="2181" y="591"/>
                                  <a:pt x="2177" y="588"/>
                                  <a:pt x="2173" y="583"/>
                                </a:cubicBezTo>
                                <a:cubicBezTo>
                                  <a:pt x="2168" y="578"/>
                                  <a:pt x="2164" y="577"/>
                                  <a:pt x="2157" y="576"/>
                                </a:cubicBezTo>
                                <a:cubicBezTo>
                                  <a:pt x="2151" y="576"/>
                                  <a:pt x="2151" y="578"/>
                                  <a:pt x="2145" y="576"/>
                                </a:cubicBezTo>
                                <a:cubicBezTo>
                                  <a:pt x="2139" y="573"/>
                                  <a:pt x="2142" y="571"/>
                                  <a:pt x="2140" y="563"/>
                                </a:cubicBezTo>
                                <a:cubicBezTo>
                                  <a:pt x="2138" y="556"/>
                                  <a:pt x="2137" y="554"/>
                                  <a:pt x="2134" y="552"/>
                                </a:cubicBezTo>
                                <a:cubicBezTo>
                                  <a:pt x="2132" y="550"/>
                                  <a:pt x="2126" y="552"/>
                                  <a:pt x="2120" y="552"/>
                                </a:cubicBezTo>
                                <a:cubicBezTo>
                                  <a:pt x="2115" y="552"/>
                                  <a:pt x="2113" y="548"/>
                                  <a:pt x="2110" y="545"/>
                                </a:cubicBezTo>
                                <a:cubicBezTo>
                                  <a:pt x="2107" y="543"/>
                                  <a:pt x="2102" y="544"/>
                                  <a:pt x="2096" y="544"/>
                                </a:cubicBezTo>
                                <a:cubicBezTo>
                                  <a:pt x="2090" y="544"/>
                                  <a:pt x="2087" y="541"/>
                                  <a:pt x="2081" y="538"/>
                                </a:cubicBezTo>
                                <a:cubicBezTo>
                                  <a:pt x="2075" y="534"/>
                                  <a:pt x="2068" y="528"/>
                                  <a:pt x="2064" y="523"/>
                                </a:cubicBezTo>
                                <a:cubicBezTo>
                                  <a:pt x="2060" y="518"/>
                                  <a:pt x="2064" y="514"/>
                                  <a:pt x="2065" y="509"/>
                                </a:cubicBezTo>
                                <a:cubicBezTo>
                                  <a:pt x="2067" y="505"/>
                                  <a:pt x="2067" y="500"/>
                                  <a:pt x="2063" y="497"/>
                                </a:cubicBezTo>
                                <a:cubicBezTo>
                                  <a:pt x="2060" y="494"/>
                                  <a:pt x="2057" y="492"/>
                                  <a:pt x="2053" y="488"/>
                                </a:cubicBezTo>
                                <a:cubicBezTo>
                                  <a:pt x="2050" y="483"/>
                                  <a:pt x="2050" y="480"/>
                                  <a:pt x="2050" y="473"/>
                                </a:cubicBezTo>
                                <a:cubicBezTo>
                                  <a:pt x="2050" y="467"/>
                                  <a:pt x="2051" y="462"/>
                                  <a:pt x="2050" y="453"/>
                                </a:cubicBezTo>
                                <a:cubicBezTo>
                                  <a:pt x="2050" y="444"/>
                                  <a:pt x="2048" y="441"/>
                                  <a:pt x="2047" y="434"/>
                                </a:cubicBezTo>
                                <a:cubicBezTo>
                                  <a:pt x="2047" y="426"/>
                                  <a:pt x="2047" y="415"/>
                                  <a:pt x="2045" y="409"/>
                                </a:cubicBezTo>
                                <a:cubicBezTo>
                                  <a:pt x="2043" y="404"/>
                                  <a:pt x="2039" y="396"/>
                                  <a:pt x="2031" y="393"/>
                                </a:cubicBezTo>
                                <a:cubicBezTo>
                                  <a:pt x="2023" y="390"/>
                                  <a:pt x="2028" y="391"/>
                                  <a:pt x="2022" y="380"/>
                                </a:cubicBezTo>
                                <a:cubicBezTo>
                                  <a:pt x="2015" y="369"/>
                                  <a:pt x="2011" y="367"/>
                                  <a:pt x="2009" y="361"/>
                                </a:cubicBezTo>
                                <a:cubicBezTo>
                                  <a:pt x="2006" y="355"/>
                                  <a:pt x="2007" y="347"/>
                                  <a:pt x="2007" y="337"/>
                                </a:cubicBezTo>
                                <a:cubicBezTo>
                                  <a:pt x="2006" y="327"/>
                                  <a:pt x="2007" y="317"/>
                                  <a:pt x="2004" y="311"/>
                                </a:cubicBezTo>
                                <a:cubicBezTo>
                                  <a:pt x="2000" y="306"/>
                                  <a:pt x="1999" y="300"/>
                                  <a:pt x="1999" y="297"/>
                                </a:cubicBezTo>
                                <a:cubicBezTo>
                                  <a:pt x="1999" y="294"/>
                                  <a:pt x="2003" y="292"/>
                                  <a:pt x="2003" y="287"/>
                                </a:cubicBezTo>
                                <a:cubicBezTo>
                                  <a:pt x="2004" y="282"/>
                                  <a:pt x="2000" y="282"/>
                                  <a:pt x="1999" y="278"/>
                                </a:cubicBezTo>
                                <a:cubicBezTo>
                                  <a:pt x="1998" y="273"/>
                                  <a:pt x="2002" y="273"/>
                                  <a:pt x="2001" y="270"/>
                                </a:cubicBezTo>
                                <a:cubicBezTo>
                                  <a:pt x="2000" y="267"/>
                                  <a:pt x="1991" y="262"/>
                                  <a:pt x="1979" y="255"/>
                                </a:cubicBezTo>
                                <a:cubicBezTo>
                                  <a:pt x="1966" y="248"/>
                                  <a:pt x="1964" y="248"/>
                                  <a:pt x="1954" y="237"/>
                                </a:cubicBezTo>
                                <a:cubicBezTo>
                                  <a:pt x="1944" y="226"/>
                                  <a:pt x="1949" y="226"/>
                                  <a:pt x="1946" y="225"/>
                                </a:cubicBezTo>
                                <a:cubicBezTo>
                                  <a:pt x="1942" y="224"/>
                                  <a:pt x="1926" y="222"/>
                                  <a:pt x="1922" y="231"/>
                                </a:cubicBezTo>
                                <a:cubicBezTo>
                                  <a:pt x="1919" y="239"/>
                                  <a:pt x="1916" y="244"/>
                                  <a:pt x="1910" y="243"/>
                                </a:cubicBezTo>
                                <a:cubicBezTo>
                                  <a:pt x="1904" y="243"/>
                                  <a:pt x="1905" y="236"/>
                                  <a:pt x="1904" y="230"/>
                                </a:cubicBezTo>
                                <a:cubicBezTo>
                                  <a:pt x="1903" y="224"/>
                                  <a:pt x="1902" y="218"/>
                                  <a:pt x="1902" y="210"/>
                                </a:cubicBezTo>
                                <a:cubicBezTo>
                                  <a:pt x="1902" y="203"/>
                                  <a:pt x="1900" y="196"/>
                                  <a:pt x="1898" y="187"/>
                                </a:cubicBezTo>
                                <a:cubicBezTo>
                                  <a:pt x="1895" y="179"/>
                                  <a:pt x="1890" y="171"/>
                                  <a:pt x="1890" y="166"/>
                                </a:cubicBezTo>
                                <a:cubicBezTo>
                                  <a:pt x="1890" y="162"/>
                                  <a:pt x="1890" y="151"/>
                                  <a:pt x="1889" y="147"/>
                                </a:cubicBezTo>
                                <a:cubicBezTo>
                                  <a:pt x="1887" y="143"/>
                                  <a:pt x="1884" y="141"/>
                                  <a:pt x="1881" y="138"/>
                                </a:cubicBezTo>
                                <a:cubicBezTo>
                                  <a:pt x="1878" y="136"/>
                                  <a:pt x="1880" y="135"/>
                                  <a:pt x="1880" y="132"/>
                                </a:cubicBezTo>
                                <a:cubicBezTo>
                                  <a:pt x="1880" y="130"/>
                                  <a:pt x="1882" y="127"/>
                                  <a:pt x="1881" y="122"/>
                                </a:cubicBezTo>
                                <a:cubicBezTo>
                                  <a:pt x="1880" y="117"/>
                                  <a:pt x="1874" y="118"/>
                                  <a:pt x="1872" y="117"/>
                                </a:cubicBezTo>
                                <a:cubicBezTo>
                                  <a:pt x="1870" y="115"/>
                                  <a:pt x="1868" y="112"/>
                                  <a:pt x="1865" y="107"/>
                                </a:cubicBezTo>
                                <a:cubicBezTo>
                                  <a:pt x="1863" y="103"/>
                                  <a:pt x="1863" y="102"/>
                                  <a:pt x="1865" y="98"/>
                                </a:cubicBezTo>
                                <a:cubicBezTo>
                                  <a:pt x="1866" y="94"/>
                                  <a:pt x="1871" y="90"/>
                                  <a:pt x="1873" y="85"/>
                                </a:cubicBezTo>
                                <a:cubicBezTo>
                                  <a:pt x="1874" y="81"/>
                                  <a:pt x="1871" y="79"/>
                                  <a:pt x="1868" y="79"/>
                                </a:cubicBezTo>
                                <a:cubicBezTo>
                                  <a:pt x="1864" y="78"/>
                                  <a:pt x="1858" y="78"/>
                                  <a:pt x="1851" y="75"/>
                                </a:cubicBezTo>
                                <a:cubicBezTo>
                                  <a:pt x="1845" y="72"/>
                                  <a:pt x="1850" y="66"/>
                                  <a:pt x="1846" y="61"/>
                                </a:cubicBezTo>
                                <a:cubicBezTo>
                                  <a:pt x="1842" y="56"/>
                                  <a:pt x="1842" y="50"/>
                                  <a:pt x="1842" y="42"/>
                                </a:cubicBezTo>
                                <a:cubicBezTo>
                                  <a:pt x="1842" y="34"/>
                                  <a:pt x="1842" y="27"/>
                                  <a:pt x="1840" y="22"/>
                                </a:cubicBezTo>
                                <a:cubicBezTo>
                                  <a:pt x="1838" y="17"/>
                                  <a:pt x="1834" y="20"/>
                                  <a:pt x="1832" y="18"/>
                                </a:cubicBezTo>
                                <a:cubicBezTo>
                                  <a:pt x="1830" y="15"/>
                                  <a:pt x="1835" y="10"/>
                                  <a:pt x="1835" y="5"/>
                                </a:cubicBezTo>
                                <a:cubicBezTo>
                                  <a:pt x="1835" y="0"/>
                                  <a:pt x="1829" y="4"/>
                                  <a:pt x="1821" y="9"/>
                                </a:cubicBezTo>
                                <a:cubicBezTo>
                                  <a:pt x="1812" y="13"/>
                                  <a:pt x="1811" y="12"/>
                                  <a:pt x="1805" y="15"/>
                                </a:cubicBezTo>
                                <a:cubicBezTo>
                                  <a:pt x="1799" y="19"/>
                                  <a:pt x="1798" y="34"/>
                                  <a:pt x="1796" y="44"/>
                                </a:cubicBezTo>
                                <a:cubicBezTo>
                                  <a:pt x="1793" y="54"/>
                                  <a:pt x="1794" y="60"/>
                                  <a:pt x="1794" y="70"/>
                                </a:cubicBezTo>
                                <a:cubicBezTo>
                                  <a:pt x="1793" y="79"/>
                                  <a:pt x="1791" y="82"/>
                                  <a:pt x="1786" y="90"/>
                                </a:cubicBezTo>
                                <a:cubicBezTo>
                                  <a:pt x="1780" y="99"/>
                                  <a:pt x="1782" y="103"/>
                                  <a:pt x="1779" y="106"/>
                                </a:cubicBezTo>
                                <a:cubicBezTo>
                                  <a:pt x="1775" y="109"/>
                                  <a:pt x="1770" y="115"/>
                                  <a:pt x="1773" y="116"/>
                                </a:cubicBezTo>
                                <a:cubicBezTo>
                                  <a:pt x="1776" y="117"/>
                                  <a:pt x="1777" y="113"/>
                                  <a:pt x="1782" y="114"/>
                                </a:cubicBezTo>
                                <a:cubicBezTo>
                                  <a:pt x="1786" y="115"/>
                                  <a:pt x="1789" y="117"/>
                                  <a:pt x="1794" y="120"/>
                                </a:cubicBezTo>
                                <a:cubicBezTo>
                                  <a:pt x="1800" y="123"/>
                                  <a:pt x="1796" y="130"/>
                                  <a:pt x="1797" y="135"/>
                                </a:cubicBezTo>
                                <a:cubicBezTo>
                                  <a:pt x="1797" y="139"/>
                                  <a:pt x="1794" y="142"/>
                                  <a:pt x="1790" y="142"/>
                                </a:cubicBezTo>
                                <a:cubicBezTo>
                                  <a:pt x="1785" y="142"/>
                                  <a:pt x="1788" y="137"/>
                                  <a:pt x="1787" y="133"/>
                                </a:cubicBezTo>
                                <a:cubicBezTo>
                                  <a:pt x="1787" y="129"/>
                                  <a:pt x="1782" y="131"/>
                                  <a:pt x="1778" y="133"/>
                                </a:cubicBezTo>
                                <a:cubicBezTo>
                                  <a:pt x="1774" y="135"/>
                                  <a:pt x="1773" y="144"/>
                                  <a:pt x="1774" y="152"/>
                                </a:cubicBezTo>
                                <a:cubicBezTo>
                                  <a:pt x="1774" y="160"/>
                                  <a:pt x="1775" y="164"/>
                                  <a:pt x="1773" y="171"/>
                                </a:cubicBezTo>
                                <a:cubicBezTo>
                                  <a:pt x="1772" y="177"/>
                                  <a:pt x="1769" y="183"/>
                                  <a:pt x="1766" y="188"/>
                                </a:cubicBezTo>
                                <a:cubicBezTo>
                                  <a:pt x="1762" y="193"/>
                                  <a:pt x="1760" y="198"/>
                                  <a:pt x="1765" y="206"/>
                                </a:cubicBezTo>
                                <a:cubicBezTo>
                                  <a:pt x="1770" y="214"/>
                                  <a:pt x="1770" y="220"/>
                                  <a:pt x="1770" y="231"/>
                                </a:cubicBezTo>
                                <a:cubicBezTo>
                                  <a:pt x="1770" y="236"/>
                                  <a:pt x="1768" y="243"/>
                                  <a:pt x="1768" y="247"/>
                                </a:cubicBezTo>
                                <a:cubicBezTo>
                                  <a:pt x="1768" y="251"/>
                                  <a:pt x="1770" y="254"/>
                                  <a:pt x="1772" y="262"/>
                                </a:cubicBezTo>
                                <a:cubicBezTo>
                                  <a:pt x="1775" y="270"/>
                                  <a:pt x="1774" y="276"/>
                                  <a:pt x="1773" y="290"/>
                                </a:cubicBezTo>
                                <a:cubicBezTo>
                                  <a:pt x="1772" y="304"/>
                                  <a:pt x="1765" y="327"/>
                                  <a:pt x="1763" y="334"/>
                                </a:cubicBezTo>
                                <a:cubicBezTo>
                                  <a:pt x="1762" y="341"/>
                                  <a:pt x="1756" y="350"/>
                                  <a:pt x="1751" y="361"/>
                                </a:cubicBezTo>
                                <a:cubicBezTo>
                                  <a:pt x="1747" y="373"/>
                                  <a:pt x="1743" y="380"/>
                                  <a:pt x="1738" y="399"/>
                                </a:cubicBezTo>
                                <a:cubicBezTo>
                                  <a:pt x="1733" y="417"/>
                                  <a:pt x="1730" y="414"/>
                                  <a:pt x="1724" y="425"/>
                                </a:cubicBezTo>
                                <a:cubicBezTo>
                                  <a:pt x="1718" y="436"/>
                                  <a:pt x="1704" y="436"/>
                                  <a:pt x="1696" y="438"/>
                                </a:cubicBezTo>
                                <a:cubicBezTo>
                                  <a:pt x="1689" y="439"/>
                                  <a:pt x="1678" y="442"/>
                                  <a:pt x="1671" y="441"/>
                                </a:cubicBezTo>
                                <a:cubicBezTo>
                                  <a:pt x="1665" y="441"/>
                                  <a:pt x="1661" y="438"/>
                                  <a:pt x="1653" y="432"/>
                                </a:cubicBezTo>
                                <a:cubicBezTo>
                                  <a:pt x="1644" y="425"/>
                                  <a:pt x="1640" y="423"/>
                                  <a:pt x="1629" y="415"/>
                                </a:cubicBezTo>
                                <a:cubicBezTo>
                                  <a:pt x="1619" y="408"/>
                                  <a:pt x="1618" y="402"/>
                                  <a:pt x="1609" y="396"/>
                                </a:cubicBezTo>
                                <a:cubicBezTo>
                                  <a:pt x="1601" y="389"/>
                                  <a:pt x="1598" y="390"/>
                                  <a:pt x="1587" y="386"/>
                                </a:cubicBezTo>
                                <a:cubicBezTo>
                                  <a:pt x="1576" y="381"/>
                                  <a:pt x="1568" y="379"/>
                                  <a:pt x="1556" y="373"/>
                                </a:cubicBezTo>
                                <a:cubicBezTo>
                                  <a:pt x="1544" y="366"/>
                                  <a:pt x="1544" y="371"/>
                                  <a:pt x="1527" y="359"/>
                                </a:cubicBezTo>
                                <a:cubicBezTo>
                                  <a:pt x="1510" y="348"/>
                                  <a:pt x="1499" y="340"/>
                                  <a:pt x="1493" y="336"/>
                                </a:cubicBezTo>
                                <a:cubicBezTo>
                                  <a:pt x="1486" y="332"/>
                                  <a:pt x="1482" y="332"/>
                                  <a:pt x="1475" y="331"/>
                                </a:cubicBezTo>
                                <a:cubicBezTo>
                                  <a:pt x="1469" y="330"/>
                                  <a:pt x="1462" y="330"/>
                                  <a:pt x="1458" y="326"/>
                                </a:cubicBezTo>
                                <a:cubicBezTo>
                                  <a:pt x="1454" y="322"/>
                                  <a:pt x="1451" y="318"/>
                                  <a:pt x="1447" y="314"/>
                                </a:cubicBezTo>
                                <a:cubicBezTo>
                                  <a:pt x="1443" y="310"/>
                                  <a:pt x="1438" y="307"/>
                                  <a:pt x="1430" y="302"/>
                                </a:cubicBezTo>
                                <a:cubicBezTo>
                                  <a:pt x="1422" y="298"/>
                                  <a:pt x="1422" y="295"/>
                                  <a:pt x="1418" y="290"/>
                                </a:cubicBezTo>
                                <a:cubicBezTo>
                                  <a:pt x="1415" y="286"/>
                                  <a:pt x="1409" y="282"/>
                                  <a:pt x="1403" y="278"/>
                                </a:cubicBezTo>
                                <a:cubicBezTo>
                                  <a:pt x="1397" y="275"/>
                                  <a:pt x="1393" y="267"/>
                                  <a:pt x="1392" y="262"/>
                                </a:cubicBezTo>
                                <a:cubicBezTo>
                                  <a:pt x="1390" y="257"/>
                                  <a:pt x="1392" y="254"/>
                                  <a:pt x="1398" y="249"/>
                                </a:cubicBezTo>
                                <a:cubicBezTo>
                                  <a:pt x="1404" y="245"/>
                                  <a:pt x="1404" y="235"/>
                                  <a:pt x="1405" y="233"/>
                                </a:cubicBezTo>
                                <a:cubicBezTo>
                                  <a:pt x="1406" y="232"/>
                                  <a:pt x="1412" y="226"/>
                                  <a:pt x="1415" y="224"/>
                                </a:cubicBezTo>
                                <a:cubicBezTo>
                                  <a:pt x="1418" y="221"/>
                                  <a:pt x="1418" y="217"/>
                                  <a:pt x="1418" y="214"/>
                                </a:cubicBezTo>
                                <a:cubicBezTo>
                                  <a:pt x="1419" y="210"/>
                                  <a:pt x="1421" y="205"/>
                                  <a:pt x="1423" y="203"/>
                                </a:cubicBezTo>
                                <a:cubicBezTo>
                                  <a:pt x="1424" y="202"/>
                                  <a:pt x="1426" y="195"/>
                                  <a:pt x="1425" y="193"/>
                                </a:cubicBezTo>
                                <a:cubicBezTo>
                                  <a:pt x="1424" y="192"/>
                                  <a:pt x="1419" y="190"/>
                                  <a:pt x="1418" y="188"/>
                                </a:cubicBezTo>
                                <a:cubicBezTo>
                                  <a:pt x="1417" y="186"/>
                                  <a:pt x="1419" y="181"/>
                                  <a:pt x="1419" y="176"/>
                                </a:cubicBezTo>
                                <a:cubicBezTo>
                                  <a:pt x="1419" y="172"/>
                                  <a:pt x="1422" y="165"/>
                                  <a:pt x="1423" y="164"/>
                                </a:cubicBezTo>
                                <a:cubicBezTo>
                                  <a:pt x="1424" y="162"/>
                                  <a:pt x="1433" y="159"/>
                                  <a:pt x="1436" y="159"/>
                                </a:cubicBezTo>
                                <a:cubicBezTo>
                                  <a:pt x="1439" y="159"/>
                                  <a:pt x="1443" y="159"/>
                                  <a:pt x="1445" y="159"/>
                                </a:cubicBezTo>
                                <a:cubicBezTo>
                                  <a:pt x="1447" y="159"/>
                                  <a:pt x="1453" y="157"/>
                                  <a:pt x="1454" y="154"/>
                                </a:cubicBezTo>
                                <a:cubicBezTo>
                                  <a:pt x="1455" y="152"/>
                                  <a:pt x="1456" y="148"/>
                                  <a:pt x="1456" y="147"/>
                                </a:cubicBezTo>
                                <a:cubicBezTo>
                                  <a:pt x="1456" y="146"/>
                                  <a:pt x="1460" y="145"/>
                                  <a:pt x="1460" y="144"/>
                                </a:cubicBezTo>
                                <a:cubicBezTo>
                                  <a:pt x="1460" y="143"/>
                                  <a:pt x="1459" y="140"/>
                                  <a:pt x="1458" y="140"/>
                                </a:cubicBezTo>
                                <a:cubicBezTo>
                                  <a:pt x="1457" y="139"/>
                                  <a:pt x="1457" y="136"/>
                                  <a:pt x="1457" y="134"/>
                                </a:cubicBezTo>
                                <a:cubicBezTo>
                                  <a:pt x="1458" y="133"/>
                                  <a:pt x="1461" y="131"/>
                                  <a:pt x="1463" y="130"/>
                                </a:cubicBezTo>
                                <a:cubicBezTo>
                                  <a:pt x="1465" y="128"/>
                                  <a:pt x="1469" y="125"/>
                                  <a:pt x="1469" y="123"/>
                                </a:cubicBezTo>
                                <a:cubicBezTo>
                                  <a:pt x="1469" y="121"/>
                                  <a:pt x="1471" y="116"/>
                                  <a:pt x="1472" y="114"/>
                                </a:cubicBezTo>
                                <a:cubicBezTo>
                                  <a:pt x="1473" y="111"/>
                                  <a:pt x="1478" y="109"/>
                                  <a:pt x="1481" y="107"/>
                                </a:cubicBezTo>
                                <a:cubicBezTo>
                                  <a:pt x="1484" y="105"/>
                                  <a:pt x="1482" y="104"/>
                                  <a:pt x="1481" y="103"/>
                                </a:cubicBezTo>
                                <a:cubicBezTo>
                                  <a:pt x="1480" y="102"/>
                                  <a:pt x="1479" y="101"/>
                                  <a:pt x="1476" y="101"/>
                                </a:cubicBezTo>
                                <a:cubicBezTo>
                                  <a:pt x="1474" y="100"/>
                                  <a:pt x="1472" y="101"/>
                                  <a:pt x="1467" y="101"/>
                                </a:cubicBezTo>
                                <a:cubicBezTo>
                                  <a:pt x="1463" y="101"/>
                                  <a:pt x="1464" y="97"/>
                                  <a:pt x="1463" y="95"/>
                                </a:cubicBezTo>
                                <a:cubicBezTo>
                                  <a:pt x="1462" y="94"/>
                                  <a:pt x="1461" y="89"/>
                                  <a:pt x="1457" y="88"/>
                                </a:cubicBezTo>
                                <a:cubicBezTo>
                                  <a:pt x="1453" y="86"/>
                                  <a:pt x="1448" y="88"/>
                                  <a:pt x="1446" y="89"/>
                                </a:cubicBezTo>
                                <a:cubicBezTo>
                                  <a:pt x="1444" y="90"/>
                                  <a:pt x="1443" y="93"/>
                                  <a:pt x="1444" y="95"/>
                                </a:cubicBezTo>
                                <a:cubicBezTo>
                                  <a:pt x="1445" y="97"/>
                                  <a:pt x="1447" y="98"/>
                                  <a:pt x="1448" y="100"/>
                                </a:cubicBezTo>
                                <a:cubicBezTo>
                                  <a:pt x="1449" y="102"/>
                                  <a:pt x="1447" y="105"/>
                                  <a:pt x="1445" y="107"/>
                                </a:cubicBezTo>
                                <a:cubicBezTo>
                                  <a:pt x="1444" y="109"/>
                                  <a:pt x="1438" y="110"/>
                                  <a:pt x="1436" y="110"/>
                                </a:cubicBezTo>
                                <a:cubicBezTo>
                                  <a:pt x="1433" y="110"/>
                                  <a:pt x="1431" y="107"/>
                                  <a:pt x="1431" y="105"/>
                                </a:cubicBezTo>
                                <a:cubicBezTo>
                                  <a:pt x="1430" y="104"/>
                                  <a:pt x="1427" y="100"/>
                                  <a:pt x="1425" y="99"/>
                                </a:cubicBezTo>
                                <a:cubicBezTo>
                                  <a:pt x="1423" y="97"/>
                                  <a:pt x="1419" y="97"/>
                                  <a:pt x="1418" y="98"/>
                                </a:cubicBezTo>
                                <a:cubicBezTo>
                                  <a:pt x="1416" y="99"/>
                                  <a:pt x="1412" y="101"/>
                                  <a:pt x="1409" y="100"/>
                                </a:cubicBezTo>
                                <a:cubicBezTo>
                                  <a:pt x="1406" y="100"/>
                                  <a:pt x="1406" y="96"/>
                                  <a:pt x="1405" y="94"/>
                                </a:cubicBezTo>
                                <a:cubicBezTo>
                                  <a:pt x="1404" y="91"/>
                                  <a:pt x="1401" y="90"/>
                                  <a:pt x="1398" y="90"/>
                                </a:cubicBezTo>
                                <a:cubicBezTo>
                                  <a:pt x="1395" y="89"/>
                                  <a:pt x="1390" y="97"/>
                                  <a:pt x="1386" y="99"/>
                                </a:cubicBezTo>
                                <a:cubicBezTo>
                                  <a:pt x="1381" y="101"/>
                                  <a:pt x="1375" y="100"/>
                                  <a:pt x="1373" y="98"/>
                                </a:cubicBezTo>
                                <a:cubicBezTo>
                                  <a:pt x="1370" y="96"/>
                                  <a:pt x="1365" y="94"/>
                                  <a:pt x="1362" y="92"/>
                                </a:cubicBezTo>
                                <a:cubicBezTo>
                                  <a:pt x="1359" y="91"/>
                                  <a:pt x="1359" y="87"/>
                                  <a:pt x="1357" y="86"/>
                                </a:cubicBezTo>
                                <a:cubicBezTo>
                                  <a:pt x="1355" y="84"/>
                                  <a:pt x="1347" y="83"/>
                                  <a:pt x="1345" y="84"/>
                                </a:cubicBezTo>
                                <a:cubicBezTo>
                                  <a:pt x="1343" y="86"/>
                                  <a:pt x="1341" y="88"/>
                                  <a:pt x="1339" y="89"/>
                                </a:cubicBezTo>
                                <a:cubicBezTo>
                                  <a:pt x="1336" y="91"/>
                                  <a:pt x="1330" y="91"/>
                                  <a:pt x="1327" y="91"/>
                                </a:cubicBezTo>
                                <a:cubicBezTo>
                                  <a:pt x="1324" y="91"/>
                                  <a:pt x="1317" y="90"/>
                                  <a:pt x="1314" y="87"/>
                                </a:cubicBezTo>
                                <a:cubicBezTo>
                                  <a:pt x="1311" y="84"/>
                                  <a:pt x="1313" y="80"/>
                                  <a:pt x="1310" y="77"/>
                                </a:cubicBezTo>
                                <a:cubicBezTo>
                                  <a:pt x="1307" y="74"/>
                                  <a:pt x="1300" y="73"/>
                                  <a:pt x="1296" y="71"/>
                                </a:cubicBezTo>
                                <a:cubicBezTo>
                                  <a:pt x="1292" y="69"/>
                                  <a:pt x="1284" y="74"/>
                                  <a:pt x="1279" y="75"/>
                                </a:cubicBezTo>
                                <a:cubicBezTo>
                                  <a:pt x="1274" y="76"/>
                                  <a:pt x="1273" y="74"/>
                                  <a:pt x="1272" y="72"/>
                                </a:cubicBezTo>
                                <a:cubicBezTo>
                                  <a:pt x="1271" y="71"/>
                                  <a:pt x="1267" y="68"/>
                                  <a:pt x="1264" y="65"/>
                                </a:cubicBezTo>
                                <a:cubicBezTo>
                                  <a:pt x="1261" y="63"/>
                                  <a:pt x="1253" y="62"/>
                                  <a:pt x="1249" y="60"/>
                                </a:cubicBezTo>
                                <a:cubicBezTo>
                                  <a:pt x="1244" y="58"/>
                                  <a:pt x="1245" y="56"/>
                                  <a:pt x="1243" y="53"/>
                                </a:cubicBezTo>
                                <a:cubicBezTo>
                                  <a:pt x="1241" y="50"/>
                                  <a:pt x="1235" y="50"/>
                                  <a:pt x="1229" y="50"/>
                                </a:cubicBezTo>
                                <a:cubicBezTo>
                                  <a:pt x="1224" y="50"/>
                                  <a:pt x="1226" y="49"/>
                                  <a:pt x="1225" y="48"/>
                                </a:cubicBezTo>
                                <a:cubicBezTo>
                                  <a:pt x="1224" y="46"/>
                                  <a:pt x="1218" y="47"/>
                                  <a:pt x="1215" y="46"/>
                                </a:cubicBezTo>
                                <a:cubicBezTo>
                                  <a:pt x="1211" y="45"/>
                                  <a:pt x="1211" y="42"/>
                                  <a:pt x="1210" y="40"/>
                                </a:cubicBezTo>
                                <a:cubicBezTo>
                                  <a:pt x="1208" y="38"/>
                                  <a:pt x="1205" y="37"/>
                                  <a:pt x="1202" y="36"/>
                                </a:cubicBezTo>
                                <a:cubicBezTo>
                                  <a:pt x="1198" y="36"/>
                                  <a:pt x="1197" y="38"/>
                                  <a:pt x="1195" y="41"/>
                                </a:cubicBezTo>
                                <a:cubicBezTo>
                                  <a:pt x="1193" y="43"/>
                                  <a:pt x="1188" y="42"/>
                                  <a:pt x="1185" y="41"/>
                                </a:cubicBezTo>
                                <a:cubicBezTo>
                                  <a:pt x="1181" y="40"/>
                                  <a:pt x="1182" y="36"/>
                                  <a:pt x="1180" y="33"/>
                                </a:cubicBezTo>
                                <a:cubicBezTo>
                                  <a:pt x="1178" y="29"/>
                                  <a:pt x="1173" y="32"/>
                                  <a:pt x="1172" y="33"/>
                                </a:cubicBezTo>
                                <a:cubicBezTo>
                                  <a:pt x="1171" y="35"/>
                                  <a:pt x="1172" y="39"/>
                                  <a:pt x="1173" y="41"/>
                                </a:cubicBezTo>
                                <a:cubicBezTo>
                                  <a:pt x="1174" y="43"/>
                                  <a:pt x="1177" y="45"/>
                                  <a:pt x="1177" y="47"/>
                                </a:cubicBezTo>
                                <a:cubicBezTo>
                                  <a:pt x="1177" y="50"/>
                                  <a:pt x="1182" y="52"/>
                                  <a:pt x="1186" y="53"/>
                                </a:cubicBezTo>
                                <a:cubicBezTo>
                                  <a:pt x="1189" y="54"/>
                                  <a:pt x="1193" y="53"/>
                                  <a:pt x="1197" y="51"/>
                                </a:cubicBezTo>
                                <a:cubicBezTo>
                                  <a:pt x="1200" y="49"/>
                                  <a:pt x="1202" y="50"/>
                                  <a:pt x="1206" y="50"/>
                                </a:cubicBezTo>
                                <a:cubicBezTo>
                                  <a:pt x="1210" y="50"/>
                                  <a:pt x="1213" y="54"/>
                                  <a:pt x="1214" y="55"/>
                                </a:cubicBezTo>
                                <a:cubicBezTo>
                                  <a:pt x="1215" y="56"/>
                                  <a:pt x="1213" y="61"/>
                                  <a:pt x="1213" y="63"/>
                                </a:cubicBezTo>
                                <a:cubicBezTo>
                                  <a:pt x="1213" y="65"/>
                                  <a:pt x="1216" y="67"/>
                                  <a:pt x="1217" y="69"/>
                                </a:cubicBezTo>
                                <a:cubicBezTo>
                                  <a:pt x="1219" y="71"/>
                                  <a:pt x="1216" y="76"/>
                                  <a:pt x="1216" y="80"/>
                                </a:cubicBezTo>
                                <a:cubicBezTo>
                                  <a:pt x="1216" y="85"/>
                                  <a:pt x="1220" y="88"/>
                                  <a:pt x="1223" y="90"/>
                                </a:cubicBezTo>
                                <a:cubicBezTo>
                                  <a:pt x="1226" y="93"/>
                                  <a:pt x="1221" y="96"/>
                                  <a:pt x="1217" y="99"/>
                                </a:cubicBezTo>
                                <a:cubicBezTo>
                                  <a:pt x="1214" y="102"/>
                                  <a:pt x="1207" y="107"/>
                                  <a:pt x="1202" y="107"/>
                                </a:cubicBezTo>
                                <a:cubicBezTo>
                                  <a:pt x="1198" y="107"/>
                                  <a:pt x="1201" y="101"/>
                                  <a:pt x="1198" y="99"/>
                                </a:cubicBezTo>
                                <a:cubicBezTo>
                                  <a:pt x="1195" y="98"/>
                                  <a:pt x="1187" y="103"/>
                                  <a:pt x="1183" y="105"/>
                                </a:cubicBezTo>
                                <a:cubicBezTo>
                                  <a:pt x="1179" y="106"/>
                                  <a:pt x="1177" y="103"/>
                                  <a:pt x="1174" y="102"/>
                                </a:cubicBezTo>
                                <a:cubicBezTo>
                                  <a:pt x="1172" y="100"/>
                                  <a:pt x="1165" y="102"/>
                                  <a:pt x="1161" y="102"/>
                                </a:cubicBezTo>
                                <a:cubicBezTo>
                                  <a:pt x="1157" y="102"/>
                                  <a:pt x="1149" y="100"/>
                                  <a:pt x="1144" y="99"/>
                                </a:cubicBezTo>
                                <a:cubicBezTo>
                                  <a:pt x="1139" y="97"/>
                                  <a:pt x="1135" y="96"/>
                                  <a:pt x="1131" y="95"/>
                                </a:cubicBezTo>
                                <a:cubicBezTo>
                                  <a:pt x="1128" y="95"/>
                                  <a:pt x="1124" y="94"/>
                                  <a:pt x="1121" y="95"/>
                                </a:cubicBezTo>
                                <a:cubicBezTo>
                                  <a:pt x="1118" y="96"/>
                                  <a:pt x="1120" y="99"/>
                                  <a:pt x="1119" y="103"/>
                                </a:cubicBezTo>
                                <a:cubicBezTo>
                                  <a:pt x="1118" y="106"/>
                                  <a:pt x="1117" y="106"/>
                                  <a:pt x="1114" y="106"/>
                                </a:cubicBezTo>
                                <a:cubicBezTo>
                                  <a:pt x="1111" y="107"/>
                                  <a:pt x="1113" y="110"/>
                                  <a:pt x="1115" y="113"/>
                                </a:cubicBezTo>
                                <a:cubicBezTo>
                                  <a:pt x="1116" y="116"/>
                                  <a:pt x="1116" y="120"/>
                                  <a:pt x="1112" y="121"/>
                                </a:cubicBezTo>
                                <a:cubicBezTo>
                                  <a:pt x="1109" y="122"/>
                                  <a:pt x="1106" y="119"/>
                                  <a:pt x="1104" y="115"/>
                                </a:cubicBezTo>
                                <a:cubicBezTo>
                                  <a:pt x="1101" y="111"/>
                                  <a:pt x="1096" y="109"/>
                                  <a:pt x="1093" y="109"/>
                                </a:cubicBezTo>
                                <a:cubicBezTo>
                                  <a:pt x="1091" y="110"/>
                                  <a:pt x="1090" y="114"/>
                                  <a:pt x="1092" y="118"/>
                                </a:cubicBezTo>
                                <a:cubicBezTo>
                                  <a:pt x="1093" y="122"/>
                                  <a:pt x="1096" y="124"/>
                                  <a:pt x="1095" y="126"/>
                                </a:cubicBezTo>
                                <a:cubicBezTo>
                                  <a:pt x="1094" y="128"/>
                                  <a:pt x="1092" y="125"/>
                                  <a:pt x="1087" y="123"/>
                                </a:cubicBezTo>
                                <a:cubicBezTo>
                                  <a:pt x="1082" y="121"/>
                                  <a:pt x="1083" y="127"/>
                                  <a:pt x="1075" y="130"/>
                                </a:cubicBezTo>
                                <a:cubicBezTo>
                                  <a:pt x="1067" y="132"/>
                                  <a:pt x="1065" y="142"/>
                                  <a:pt x="1064" y="144"/>
                                </a:cubicBezTo>
                                <a:cubicBezTo>
                                  <a:pt x="1063" y="146"/>
                                  <a:pt x="1063" y="147"/>
                                  <a:pt x="1064" y="151"/>
                                </a:cubicBezTo>
                                <a:cubicBezTo>
                                  <a:pt x="1064" y="155"/>
                                  <a:pt x="1066" y="156"/>
                                  <a:pt x="1069" y="160"/>
                                </a:cubicBezTo>
                                <a:cubicBezTo>
                                  <a:pt x="1072" y="164"/>
                                  <a:pt x="1074" y="163"/>
                                  <a:pt x="1074" y="166"/>
                                </a:cubicBezTo>
                                <a:cubicBezTo>
                                  <a:pt x="1074" y="168"/>
                                  <a:pt x="1073" y="169"/>
                                  <a:pt x="1070" y="170"/>
                                </a:cubicBezTo>
                                <a:cubicBezTo>
                                  <a:pt x="1067" y="171"/>
                                  <a:pt x="1067" y="171"/>
                                  <a:pt x="1064" y="175"/>
                                </a:cubicBezTo>
                                <a:cubicBezTo>
                                  <a:pt x="1061" y="178"/>
                                  <a:pt x="1061" y="178"/>
                                  <a:pt x="1057" y="178"/>
                                </a:cubicBezTo>
                                <a:cubicBezTo>
                                  <a:pt x="1054" y="178"/>
                                  <a:pt x="1052" y="175"/>
                                  <a:pt x="1048" y="176"/>
                                </a:cubicBezTo>
                                <a:cubicBezTo>
                                  <a:pt x="1043" y="178"/>
                                  <a:pt x="1044" y="180"/>
                                  <a:pt x="1043" y="185"/>
                                </a:cubicBezTo>
                                <a:cubicBezTo>
                                  <a:pt x="1041" y="190"/>
                                  <a:pt x="1045" y="190"/>
                                  <a:pt x="1042" y="197"/>
                                </a:cubicBezTo>
                                <a:cubicBezTo>
                                  <a:pt x="1038" y="204"/>
                                  <a:pt x="1036" y="207"/>
                                  <a:pt x="1032" y="208"/>
                                </a:cubicBezTo>
                                <a:cubicBezTo>
                                  <a:pt x="1028" y="209"/>
                                  <a:pt x="1024" y="210"/>
                                  <a:pt x="1019" y="214"/>
                                </a:cubicBezTo>
                                <a:cubicBezTo>
                                  <a:pt x="1014" y="218"/>
                                  <a:pt x="1015" y="220"/>
                                  <a:pt x="1014" y="226"/>
                                </a:cubicBezTo>
                                <a:cubicBezTo>
                                  <a:pt x="1012" y="232"/>
                                  <a:pt x="1015" y="232"/>
                                  <a:pt x="1018" y="236"/>
                                </a:cubicBezTo>
                                <a:cubicBezTo>
                                  <a:pt x="1020" y="240"/>
                                  <a:pt x="1024" y="243"/>
                                  <a:pt x="1025" y="246"/>
                                </a:cubicBezTo>
                                <a:cubicBezTo>
                                  <a:pt x="1027" y="248"/>
                                  <a:pt x="1029" y="252"/>
                                  <a:pt x="1033" y="255"/>
                                </a:cubicBezTo>
                                <a:cubicBezTo>
                                  <a:pt x="1038" y="259"/>
                                  <a:pt x="1039" y="256"/>
                                  <a:pt x="1043" y="256"/>
                                </a:cubicBezTo>
                                <a:cubicBezTo>
                                  <a:pt x="1048" y="256"/>
                                  <a:pt x="1049" y="256"/>
                                  <a:pt x="1051" y="260"/>
                                </a:cubicBezTo>
                                <a:cubicBezTo>
                                  <a:pt x="1052" y="263"/>
                                  <a:pt x="1045" y="264"/>
                                  <a:pt x="1042" y="264"/>
                                </a:cubicBezTo>
                                <a:cubicBezTo>
                                  <a:pt x="1038" y="265"/>
                                  <a:pt x="1036" y="267"/>
                                  <a:pt x="1034" y="270"/>
                                </a:cubicBezTo>
                                <a:cubicBezTo>
                                  <a:pt x="1031" y="273"/>
                                  <a:pt x="1035" y="274"/>
                                  <a:pt x="1036" y="279"/>
                                </a:cubicBezTo>
                                <a:cubicBezTo>
                                  <a:pt x="1038" y="285"/>
                                  <a:pt x="1035" y="285"/>
                                  <a:pt x="1030" y="285"/>
                                </a:cubicBezTo>
                                <a:cubicBezTo>
                                  <a:pt x="1025" y="285"/>
                                  <a:pt x="1024" y="279"/>
                                  <a:pt x="1022" y="277"/>
                                </a:cubicBezTo>
                                <a:cubicBezTo>
                                  <a:pt x="1020" y="275"/>
                                  <a:pt x="1014" y="273"/>
                                  <a:pt x="1010" y="276"/>
                                </a:cubicBezTo>
                                <a:cubicBezTo>
                                  <a:pt x="1007" y="278"/>
                                  <a:pt x="1007" y="284"/>
                                  <a:pt x="1005" y="288"/>
                                </a:cubicBezTo>
                                <a:cubicBezTo>
                                  <a:pt x="1003" y="291"/>
                                  <a:pt x="1002" y="288"/>
                                  <a:pt x="1002" y="284"/>
                                </a:cubicBezTo>
                                <a:cubicBezTo>
                                  <a:pt x="1002" y="280"/>
                                  <a:pt x="1002" y="275"/>
                                  <a:pt x="1000" y="270"/>
                                </a:cubicBezTo>
                                <a:cubicBezTo>
                                  <a:pt x="998" y="265"/>
                                  <a:pt x="992" y="267"/>
                                  <a:pt x="986" y="267"/>
                                </a:cubicBezTo>
                                <a:cubicBezTo>
                                  <a:pt x="981" y="267"/>
                                  <a:pt x="978" y="264"/>
                                  <a:pt x="972" y="263"/>
                                </a:cubicBezTo>
                                <a:cubicBezTo>
                                  <a:pt x="966" y="261"/>
                                  <a:pt x="966" y="263"/>
                                  <a:pt x="964" y="263"/>
                                </a:cubicBezTo>
                                <a:cubicBezTo>
                                  <a:pt x="961" y="263"/>
                                  <a:pt x="959" y="266"/>
                                  <a:pt x="958" y="267"/>
                                </a:cubicBezTo>
                                <a:cubicBezTo>
                                  <a:pt x="957" y="269"/>
                                  <a:pt x="960" y="272"/>
                                  <a:pt x="959" y="275"/>
                                </a:cubicBezTo>
                                <a:cubicBezTo>
                                  <a:pt x="959" y="277"/>
                                  <a:pt x="955" y="276"/>
                                  <a:pt x="953" y="275"/>
                                </a:cubicBezTo>
                                <a:cubicBezTo>
                                  <a:pt x="951" y="274"/>
                                  <a:pt x="947" y="275"/>
                                  <a:pt x="946" y="277"/>
                                </a:cubicBezTo>
                                <a:cubicBezTo>
                                  <a:pt x="945" y="278"/>
                                  <a:pt x="945" y="283"/>
                                  <a:pt x="947" y="287"/>
                                </a:cubicBezTo>
                                <a:cubicBezTo>
                                  <a:pt x="948" y="291"/>
                                  <a:pt x="951" y="292"/>
                                  <a:pt x="951" y="294"/>
                                </a:cubicBezTo>
                                <a:cubicBezTo>
                                  <a:pt x="952" y="296"/>
                                  <a:pt x="951" y="299"/>
                                  <a:pt x="950" y="300"/>
                                </a:cubicBezTo>
                                <a:cubicBezTo>
                                  <a:pt x="948" y="301"/>
                                  <a:pt x="945" y="300"/>
                                  <a:pt x="941" y="300"/>
                                </a:cubicBezTo>
                                <a:cubicBezTo>
                                  <a:pt x="937" y="300"/>
                                  <a:pt x="938" y="303"/>
                                  <a:pt x="936" y="305"/>
                                </a:cubicBezTo>
                                <a:cubicBezTo>
                                  <a:pt x="934" y="308"/>
                                  <a:pt x="930" y="307"/>
                                  <a:pt x="929" y="305"/>
                                </a:cubicBezTo>
                                <a:cubicBezTo>
                                  <a:pt x="929" y="303"/>
                                  <a:pt x="931" y="297"/>
                                  <a:pt x="933" y="295"/>
                                </a:cubicBezTo>
                                <a:cubicBezTo>
                                  <a:pt x="935" y="292"/>
                                  <a:pt x="935" y="289"/>
                                  <a:pt x="935" y="288"/>
                                </a:cubicBezTo>
                                <a:cubicBezTo>
                                  <a:pt x="936" y="286"/>
                                  <a:pt x="937" y="278"/>
                                  <a:pt x="936" y="277"/>
                                </a:cubicBezTo>
                                <a:cubicBezTo>
                                  <a:pt x="936" y="276"/>
                                  <a:pt x="938" y="269"/>
                                  <a:pt x="939" y="265"/>
                                </a:cubicBezTo>
                                <a:cubicBezTo>
                                  <a:pt x="941" y="261"/>
                                  <a:pt x="942" y="259"/>
                                  <a:pt x="942" y="255"/>
                                </a:cubicBezTo>
                                <a:cubicBezTo>
                                  <a:pt x="942" y="252"/>
                                  <a:pt x="939" y="250"/>
                                  <a:pt x="936" y="246"/>
                                </a:cubicBezTo>
                                <a:cubicBezTo>
                                  <a:pt x="934" y="242"/>
                                  <a:pt x="930" y="240"/>
                                  <a:pt x="919" y="233"/>
                                </a:cubicBezTo>
                                <a:cubicBezTo>
                                  <a:pt x="909" y="227"/>
                                  <a:pt x="909" y="223"/>
                                  <a:pt x="907" y="221"/>
                                </a:cubicBezTo>
                                <a:cubicBezTo>
                                  <a:pt x="904" y="219"/>
                                  <a:pt x="902" y="216"/>
                                  <a:pt x="900" y="212"/>
                                </a:cubicBezTo>
                                <a:cubicBezTo>
                                  <a:pt x="898" y="208"/>
                                  <a:pt x="892" y="208"/>
                                  <a:pt x="888" y="208"/>
                                </a:cubicBezTo>
                                <a:cubicBezTo>
                                  <a:pt x="885" y="207"/>
                                  <a:pt x="881" y="208"/>
                                  <a:pt x="876" y="208"/>
                                </a:cubicBezTo>
                                <a:cubicBezTo>
                                  <a:pt x="872" y="208"/>
                                  <a:pt x="873" y="206"/>
                                  <a:pt x="871" y="202"/>
                                </a:cubicBezTo>
                                <a:cubicBezTo>
                                  <a:pt x="869" y="198"/>
                                  <a:pt x="866" y="197"/>
                                  <a:pt x="862" y="199"/>
                                </a:cubicBezTo>
                                <a:cubicBezTo>
                                  <a:pt x="859" y="201"/>
                                  <a:pt x="859" y="205"/>
                                  <a:pt x="856" y="207"/>
                                </a:cubicBezTo>
                                <a:cubicBezTo>
                                  <a:pt x="854" y="209"/>
                                  <a:pt x="852" y="214"/>
                                  <a:pt x="851" y="216"/>
                                </a:cubicBezTo>
                                <a:cubicBezTo>
                                  <a:pt x="850" y="219"/>
                                  <a:pt x="847" y="222"/>
                                  <a:pt x="845" y="223"/>
                                </a:cubicBezTo>
                                <a:cubicBezTo>
                                  <a:pt x="842" y="224"/>
                                  <a:pt x="842" y="222"/>
                                  <a:pt x="840" y="219"/>
                                </a:cubicBezTo>
                                <a:cubicBezTo>
                                  <a:pt x="838" y="215"/>
                                  <a:pt x="837" y="215"/>
                                  <a:pt x="834" y="212"/>
                                </a:cubicBezTo>
                                <a:cubicBezTo>
                                  <a:pt x="831" y="210"/>
                                  <a:pt x="829" y="211"/>
                                  <a:pt x="825" y="216"/>
                                </a:cubicBezTo>
                                <a:cubicBezTo>
                                  <a:pt x="821" y="221"/>
                                  <a:pt x="821" y="218"/>
                                  <a:pt x="817" y="220"/>
                                </a:cubicBezTo>
                                <a:cubicBezTo>
                                  <a:pt x="813" y="222"/>
                                  <a:pt x="813" y="225"/>
                                  <a:pt x="811" y="231"/>
                                </a:cubicBezTo>
                                <a:cubicBezTo>
                                  <a:pt x="809" y="237"/>
                                  <a:pt x="808" y="240"/>
                                  <a:pt x="806" y="243"/>
                                </a:cubicBezTo>
                                <a:cubicBezTo>
                                  <a:pt x="803" y="245"/>
                                  <a:pt x="800" y="245"/>
                                  <a:pt x="796" y="244"/>
                                </a:cubicBezTo>
                                <a:cubicBezTo>
                                  <a:pt x="793" y="244"/>
                                  <a:pt x="792" y="240"/>
                                  <a:pt x="788" y="239"/>
                                </a:cubicBezTo>
                                <a:cubicBezTo>
                                  <a:pt x="785" y="237"/>
                                  <a:pt x="783" y="239"/>
                                  <a:pt x="781" y="241"/>
                                </a:cubicBezTo>
                                <a:cubicBezTo>
                                  <a:pt x="779" y="243"/>
                                  <a:pt x="778" y="244"/>
                                  <a:pt x="774" y="246"/>
                                </a:cubicBezTo>
                                <a:cubicBezTo>
                                  <a:pt x="770" y="248"/>
                                  <a:pt x="769" y="247"/>
                                  <a:pt x="763" y="247"/>
                                </a:cubicBezTo>
                                <a:cubicBezTo>
                                  <a:pt x="758" y="247"/>
                                  <a:pt x="758" y="250"/>
                                  <a:pt x="756" y="254"/>
                                </a:cubicBezTo>
                                <a:cubicBezTo>
                                  <a:pt x="755" y="258"/>
                                  <a:pt x="759" y="260"/>
                                  <a:pt x="762" y="262"/>
                                </a:cubicBezTo>
                                <a:cubicBezTo>
                                  <a:pt x="764" y="265"/>
                                  <a:pt x="765" y="267"/>
                                  <a:pt x="767" y="269"/>
                                </a:cubicBezTo>
                                <a:cubicBezTo>
                                  <a:pt x="769" y="271"/>
                                  <a:pt x="774" y="275"/>
                                  <a:pt x="772" y="279"/>
                                </a:cubicBezTo>
                                <a:cubicBezTo>
                                  <a:pt x="771" y="284"/>
                                  <a:pt x="767" y="280"/>
                                  <a:pt x="762" y="280"/>
                                </a:cubicBezTo>
                                <a:cubicBezTo>
                                  <a:pt x="758" y="280"/>
                                  <a:pt x="758" y="278"/>
                                  <a:pt x="757" y="275"/>
                                </a:cubicBezTo>
                                <a:cubicBezTo>
                                  <a:pt x="755" y="272"/>
                                  <a:pt x="749" y="273"/>
                                  <a:pt x="746" y="275"/>
                                </a:cubicBezTo>
                                <a:cubicBezTo>
                                  <a:pt x="743" y="277"/>
                                  <a:pt x="746" y="279"/>
                                  <a:pt x="744" y="285"/>
                                </a:cubicBezTo>
                                <a:cubicBezTo>
                                  <a:pt x="743" y="290"/>
                                  <a:pt x="745" y="291"/>
                                  <a:pt x="745" y="292"/>
                                </a:cubicBezTo>
                                <a:cubicBezTo>
                                  <a:pt x="745" y="293"/>
                                  <a:pt x="748" y="297"/>
                                  <a:pt x="752" y="299"/>
                                </a:cubicBezTo>
                                <a:cubicBezTo>
                                  <a:pt x="755" y="301"/>
                                  <a:pt x="754" y="303"/>
                                  <a:pt x="753" y="306"/>
                                </a:cubicBezTo>
                                <a:cubicBezTo>
                                  <a:pt x="753" y="309"/>
                                  <a:pt x="747" y="305"/>
                                  <a:pt x="743" y="305"/>
                                </a:cubicBezTo>
                                <a:cubicBezTo>
                                  <a:pt x="739" y="305"/>
                                  <a:pt x="738" y="303"/>
                                  <a:pt x="737" y="300"/>
                                </a:cubicBezTo>
                                <a:cubicBezTo>
                                  <a:pt x="735" y="297"/>
                                  <a:pt x="731" y="296"/>
                                  <a:pt x="728" y="295"/>
                                </a:cubicBezTo>
                                <a:cubicBezTo>
                                  <a:pt x="725" y="294"/>
                                  <a:pt x="724" y="296"/>
                                  <a:pt x="722" y="300"/>
                                </a:cubicBezTo>
                                <a:cubicBezTo>
                                  <a:pt x="720" y="303"/>
                                  <a:pt x="718" y="302"/>
                                  <a:pt x="714" y="304"/>
                                </a:cubicBezTo>
                                <a:cubicBezTo>
                                  <a:pt x="710" y="305"/>
                                  <a:pt x="709" y="307"/>
                                  <a:pt x="709" y="313"/>
                                </a:cubicBezTo>
                                <a:cubicBezTo>
                                  <a:pt x="710" y="318"/>
                                  <a:pt x="709" y="320"/>
                                  <a:pt x="709" y="326"/>
                                </a:cubicBezTo>
                                <a:cubicBezTo>
                                  <a:pt x="709" y="332"/>
                                  <a:pt x="712" y="329"/>
                                  <a:pt x="716" y="329"/>
                                </a:cubicBezTo>
                                <a:cubicBezTo>
                                  <a:pt x="720" y="328"/>
                                  <a:pt x="721" y="325"/>
                                  <a:pt x="722" y="323"/>
                                </a:cubicBezTo>
                                <a:cubicBezTo>
                                  <a:pt x="724" y="320"/>
                                  <a:pt x="726" y="318"/>
                                  <a:pt x="728" y="321"/>
                                </a:cubicBezTo>
                                <a:cubicBezTo>
                                  <a:pt x="729" y="324"/>
                                  <a:pt x="725" y="330"/>
                                  <a:pt x="724" y="334"/>
                                </a:cubicBezTo>
                                <a:cubicBezTo>
                                  <a:pt x="723" y="338"/>
                                  <a:pt x="721" y="341"/>
                                  <a:pt x="715" y="344"/>
                                </a:cubicBezTo>
                                <a:cubicBezTo>
                                  <a:pt x="710" y="347"/>
                                  <a:pt x="709" y="346"/>
                                  <a:pt x="708" y="350"/>
                                </a:cubicBezTo>
                                <a:cubicBezTo>
                                  <a:pt x="708" y="354"/>
                                  <a:pt x="711" y="355"/>
                                  <a:pt x="723" y="357"/>
                                </a:cubicBezTo>
                                <a:cubicBezTo>
                                  <a:pt x="735" y="358"/>
                                  <a:pt x="733" y="356"/>
                                  <a:pt x="736" y="357"/>
                                </a:cubicBezTo>
                                <a:cubicBezTo>
                                  <a:pt x="738" y="358"/>
                                  <a:pt x="736" y="363"/>
                                  <a:pt x="732" y="363"/>
                                </a:cubicBezTo>
                                <a:cubicBezTo>
                                  <a:pt x="727" y="363"/>
                                  <a:pt x="719" y="363"/>
                                  <a:pt x="713" y="364"/>
                                </a:cubicBezTo>
                                <a:cubicBezTo>
                                  <a:pt x="708" y="366"/>
                                  <a:pt x="702" y="365"/>
                                  <a:pt x="697" y="365"/>
                                </a:cubicBezTo>
                                <a:cubicBezTo>
                                  <a:pt x="693" y="364"/>
                                  <a:pt x="693" y="358"/>
                                  <a:pt x="691" y="355"/>
                                </a:cubicBezTo>
                                <a:cubicBezTo>
                                  <a:pt x="688" y="352"/>
                                  <a:pt x="684" y="353"/>
                                  <a:pt x="682" y="360"/>
                                </a:cubicBezTo>
                                <a:cubicBezTo>
                                  <a:pt x="680" y="366"/>
                                  <a:pt x="675" y="361"/>
                                  <a:pt x="671" y="358"/>
                                </a:cubicBezTo>
                                <a:cubicBezTo>
                                  <a:pt x="667" y="355"/>
                                  <a:pt x="669" y="350"/>
                                  <a:pt x="668" y="347"/>
                                </a:cubicBezTo>
                                <a:cubicBezTo>
                                  <a:pt x="667" y="343"/>
                                  <a:pt x="662" y="347"/>
                                  <a:pt x="662" y="349"/>
                                </a:cubicBezTo>
                                <a:cubicBezTo>
                                  <a:pt x="661" y="351"/>
                                  <a:pt x="666" y="358"/>
                                  <a:pt x="662" y="361"/>
                                </a:cubicBezTo>
                                <a:cubicBezTo>
                                  <a:pt x="659" y="364"/>
                                  <a:pt x="653" y="363"/>
                                  <a:pt x="651" y="367"/>
                                </a:cubicBezTo>
                                <a:cubicBezTo>
                                  <a:pt x="650" y="372"/>
                                  <a:pt x="657" y="371"/>
                                  <a:pt x="658" y="373"/>
                                </a:cubicBezTo>
                                <a:cubicBezTo>
                                  <a:pt x="659" y="375"/>
                                  <a:pt x="664" y="382"/>
                                  <a:pt x="669" y="385"/>
                                </a:cubicBezTo>
                                <a:cubicBezTo>
                                  <a:pt x="674" y="389"/>
                                  <a:pt x="674" y="385"/>
                                  <a:pt x="677" y="384"/>
                                </a:cubicBezTo>
                                <a:cubicBezTo>
                                  <a:pt x="680" y="383"/>
                                  <a:pt x="680" y="389"/>
                                  <a:pt x="679" y="394"/>
                                </a:cubicBezTo>
                                <a:cubicBezTo>
                                  <a:pt x="677" y="399"/>
                                  <a:pt x="677" y="399"/>
                                  <a:pt x="677" y="403"/>
                                </a:cubicBezTo>
                                <a:cubicBezTo>
                                  <a:pt x="678" y="407"/>
                                  <a:pt x="683" y="408"/>
                                  <a:pt x="683" y="412"/>
                                </a:cubicBezTo>
                                <a:cubicBezTo>
                                  <a:pt x="683" y="416"/>
                                  <a:pt x="678" y="413"/>
                                  <a:pt x="673" y="412"/>
                                </a:cubicBezTo>
                                <a:cubicBezTo>
                                  <a:pt x="668" y="411"/>
                                  <a:pt x="669" y="407"/>
                                  <a:pt x="666" y="404"/>
                                </a:cubicBezTo>
                                <a:cubicBezTo>
                                  <a:pt x="662" y="400"/>
                                  <a:pt x="661" y="404"/>
                                  <a:pt x="660" y="410"/>
                                </a:cubicBezTo>
                                <a:cubicBezTo>
                                  <a:pt x="659" y="415"/>
                                  <a:pt x="660" y="422"/>
                                  <a:pt x="660" y="430"/>
                                </a:cubicBezTo>
                                <a:cubicBezTo>
                                  <a:pt x="661" y="438"/>
                                  <a:pt x="656" y="438"/>
                                  <a:pt x="653" y="435"/>
                                </a:cubicBezTo>
                                <a:cubicBezTo>
                                  <a:pt x="650" y="432"/>
                                  <a:pt x="647" y="423"/>
                                  <a:pt x="644" y="419"/>
                                </a:cubicBezTo>
                                <a:cubicBezTo>
                                  <a:pt x="642" y="415"/>
                                  <a:pt x="638" y="410"/>
                                  <a:pt x="635" y="403"/>
                                </a:cubicBezTo>
                                <a:cubicBezTo>
                                  <a:pt x="631" y="396"/>
                                  <a:pt x="633" y="395"/>
                                  <a:pt x="632" y="389"/>
                                </a:cubicBezTo>
                                <a:cubicBezTo>
                                  <a:pt x="631" y="383"/>
                                  <a:pt x="626" y="381"/>
                                  <a:pt x="623" y="377"/>
                                </a:cubicBezTo>
                                <a:cubicBezTo>
                                  <a:pt x="621" y="373"/>
                                  <a:pt x="620" y="365"/>
                                  <a:pt x="618" y="368"/>
                                </a:cubicBezTo>
                                <a:cubicBezTo>
                                  <a:pt x="616" y="370"/>
                                  <a:pt x="614" y="379"/>
                                  <a:pt x="611" y="383"/>
                                </a:cubicBezTo>
                                <a:cubicBezTo>
                                  <a:pt x="607" y="388"/>
                                  <a:pt x="604" y="386"/>
                                  <a:pt x="598" y="388"/>
                                </a:cubicBezTo>
                                <a:cubicBezTo>
                                  <a:pt x="593" y="391"/>
                                  <a:pt x="593" y="392"/>
                                  <a:pt x="589" y="394"/>
                                </a:cubicBezTo>
                                <a:cubicBezTo>
                                  <a:pt x="585" y="396"/>
                                  <a:pt x="577" y="402"/>
                                  <a:pt x="575" y="410"/>
                                </a:cubicBezTo>
                                <a:cubicBezTo>
                                  <a:pt x="573" y="417"/>
                                  <a:pt x="571" y="417"/>
                                  <a:pt x="570" y="430"/>
                                </a:cubicBezTo>
                                <a:cubicBezTo>
                                  <a:pt x="568" y="444"/>
                                  <a:pt x="568" y="441"/>
                                  <a:pt x="568" y="445"/>
                                </a:cubicBezTo>
                                <a:cubicBezTo>
                                  <a:pt x="568" y="450"/>
                                  <a:pt x="572" y="456"/>
                                  <a:pt x="573" y="460"/>
                                </a:cubicBezTo>
                                <a:cubicBezTo>
                                  <a:pt x="575" y="464"/>
                                  <a:pt x="582" y="462"/>
                                  <a:pt x="583" y="467"/>
                                </a:cubicBezTo>
                                <a:cubicBezTo>
                                  <a:pt x="584" y="472"/>
                                  <a:pt x="581" y="472"/>
                                  <a:pt x="573" y="476"/>
                                </a:cubicBezTo>
                                <a:cubicBezTo>
                                  <a:pt x="565" y="479"/>
                                  <a:pt x="563" y="483"/>
                                  <a:pt x="557" y="488"/>
                                </a:cubicBezTo>
                                <a:cubicBezTo>
                                  <a:pt x="550" y="493"/>
                                  <a:pt x="544" y="501"/>
                                  <a:pt x="539" y="509"/>
                                </a:cubicBezTo>
                                <a:cubicBezTo>
                                  <a:pt x="534" y="516"/>
                                  <a:pt x="524" y="527"/>
                                  <a:pt x="521" y="540"/>
                                </a:cubicBezTo>
                                <a:cubicBezTo>
                                  <a:pt x="517" y="553"/>
                                  <a:pt x="503" y="557"/>
                                  <a:pt x="494" y="564"/>
                                </a:cubicBezTo>
                                <a:cubicBezTo>
                                  <a:pt x="486" y="571"/>
                                  <a:pt x="482" y="575"/>
                                  <a:pt x="476" y="577"/>
                                </a:cubicBezTo>
                                <a:cubicBezTo>
                                  <a:pt x="469" y="580"/>
                                  <a:pt x="461" y="583"/>
                                  <a:pt x="448" y="584"/>
                                </a:cubicBezTo>
                                <a:cubicBezTo>
                                  <a:pt x="435" y="586"/>
                                  <a:pt x="436" y="590"/>
                                  <a:pt x="423" y="594"/>
                                </a:cubicBezTo>
                                <a:cubicBezTo>
                                  <a:pt x="411" y="598"/>
                                  <a:pt x="408" y="595"/>
                                  <a:pt x="398" y="593"/>
                                </a:cubicBezTo>
                                <a:cubicBezTo>
                                  <a:pt x="387" y="591"/>
                                  <a:pt x="387" y="593"/>
                                  <a:pt x="377" y="599"/>
                                </a:cubicBezTo>
                                <a:cubicBezTo>
                                  <a:pt x="367" y="604"/>
                                  <a:pt x="365" y="608"/>
                                  <a:pt x="345" y="611"/>
                                </a:cubicBezTo>
                                <a:cubicBezTo>
                                  <a:pt x="324" y="614"/>
                                  <a:pt x="325" y="614"/>
                                  <a:pt x="320" y="617"/>
                                </a:cubicBezTo>
                                <a:cubicBezTo>
                                  <a:pt x="316" y="621"/>
                                  <a:pt x="293" y="635"/>
                                  <a:pt x="283" y="636"/>
                                </a:cubicBezTo>
                                <a:cubicBezTo>
                                  <a:pt x="274" y="637"/>
                                  <a:pt x="271" y="636"/>
                                  <a:pt x="262" y="634"/>
                                </a:cubicBezTo>
                                <a:cubicBezTo>
                                  <a:pt x="253" y="633"/>
                                  <a:pt x="249" y="635"/>
                                  <a:pt x="241" y="635"/>
                                </a:cubicBezTo>
                                <a:cubicBezTo>
                                  <a:pt x="234" y="634"/>
                                  <a:pt x="238" y="632"/>
                                  <a:pt x="232" y="630"/>
                                </a:cubicBezTo>
                                <a:cubicBezTo>
                                  <a:pt x="225" y="629"/>
                                  <a:pt x="222" y="635"/>
                                  <a:pt x="212" y="643"/>
                                </a:cubicBezTo>
                                <a:cubicBezTo>
                                  <a:pt x="201" y="651"/>
                                  <a:pt x="191" y="665"/>
                                  <a:pt x="175" y="672"/>
                                </a:cubicBezTo>
                                <a:cubicBezTo>
                                  <a:pt x="159" y="678"/>
                                  <a:pt x="152" y="687"/>
                                  <a:pt x="137" y="694"/>
                                </a:cubicBezTo>
                                <a:cubicBezTo>
                                  <a:pt x="122" y="701"/>
                                  <a:pt x="113" y="707"/>
                                  <a:pt x="106" y="711"/>
                                </a:cubicBezTo>
                                <a:cubicBezTo>
                                  <a:pt x="99" y="714"/>
                                  <a:pt x="100" y="718"/>
                                  <a:pt x="97" y="726"/>
                                </a:cubicBezTo>
                                <a:cubicBezTo>
                                  <a:pt x="94" y="734"/>
                                  <a:pt x="91" y="738"/>
                                  <a:pt x="89" y="746"/>
                                </a:cubicBezTo>
                                <a:cubicBezTo>
                                  <a:pt x="87" y="754"/>
                                  <a:pt x="81" y="755"/>
                                  <a:pt x="76" y="755"/>
                                </a:cubicBezTo>
                                <a:cubicBezTo>
                                  <a:pt x="71" y="755"/>
                                  <a:pt x="71" y="750"/>
                                  <a:pt x="69" y="745"/>
                                </a:cubicBezTo>
                                <a:cubicBezTo>
                                  <a:pt x="68" y="739"/>
                                  <a:pt x="67" y="740"/>
                                  <a:pt x="67" y="733"/>
                                </a:cubicBezTo>
                                <a:cubicBezTo>
                                  <a:pt x="67" y="727"/>
                                  <a:pt x="66" y="718"/>
                                  <a:pt x="62" y="722"/>
                                </a:cubicBezTo>
                                <a:cubicBezTo>
                                  <a:pt x="59" y="727"/>
                                  <a:pt x="57" y="733"/>
                                  <a:pt x="53" y="740"/>
                                </a:cubicBezTo>
                                <a:cubicBezTo>
                                  <a:pt x="48" y="748"/>
                                  <a:pt x="45" y="750"/>
                                  <a:pt x="45" y="755"/>
                                </a:cubicBezTo>
                                <a:cubicBezTo>
                                  <a:pt x="46" y="760"/>
                                  <a:pt x="51" y="766"/>
                                  <a:pt x="53" y="775"/>
                                </a:cubicBezTo>
                                <a:cubicBezTo>
                                  <a:pt x="54" y="783"/>
                                  <a:pt x="51" y="781"/>
                                  <a:pt x="51" y="789"/>
                                </a:cubicBezTo>
                                <a:cubicBezTo>
                                  <a:pt x="51" y="798"/>
                                  <a:pt x="54" y="806"/>
                                  <a:pt x="53" y="811"/>
                                </a:cubicBezTo>
                                <a:cubicBezTo>
                                  <a:pt x="52" y="816"/>
                                  <a:pt x="47" y="820"/>
                                  <a:pt x="43" y="823"/>
                                </a:cubicBezTo>
                                <a:cubicBezTo>
                                  <a:pt x="39" y="825"/>
                                  <a:pt x="34" y="838"/>
                                  <a:pt x="29" y="847"/>
                                </a:cubicBezTo>
                                <a:cubicBezTo>
                                  <a:pt x="25" y="857"/>
                                  <a:pt x="27" y="859"/>
                                  <a:pt x="27" y="870"/>
                                </a:cubicBezTo>
                                <a:cubicBezTo>
                                  <a:pt x="28" y="881"/>
                                  <a:pt x="37" y="889"/>
                                  <a:pt x="38" y="896"/>
                                </a:cubicBezTo>
                                <a:cubicBezTo>
                                  <a:pt x="39" y="903"/>
                                  <a:pt x="45" y="914"/>
                                  <a:pt x="47" y="919"/>
                                </a:cubicBezTo>
                                <a:cubicBezTo>
                                  <a:pt x="50" y="924"/>
                                  <a:pt x="58" y="941"/>
                                  <a:pt x="62" y="950"/>
                                </a:cubicBezTo>
                                <a:cubicBezTo>
                                  <a:pt x="66" y="960"/>
                                  <a:pt x="74" y="966"/>
                                  <a:pt x="77" y="970"/>
                                </a:cubicBezTo>
                                <a:cubicBezTo>
                                  <a:pt x="81" y="974"/>
                                  <a:pt x="79" y="976"/>
                                  <a:pt x="76" y="981"/>
                                </a:cubicBezTo>
                                <a:cubicBezTo>
                                  <a:pt x="74" y="987"/>
                                  <a:pt x="75" y="989"/>
                                  <a:pt x="76" y="996"/>
                                </a:cubicBezTo>
                                <a:cubicBezTo>
                                  <a:pt x="77" y="1003"/>
                                  <a:pt x="71" y="1003"/>
                                  <a:pt x="68" y="1005"/>
                                </a:cubicBezTo>
                                <a:cubicBezTo>
                                  <a:pt x="64" y="1007"/>
                                  <a:pt x="61" y="1002"/>
                                  <a:pt x="59" y="999"/>
                                </a:cubicBezTo>
                                <a:cubicBezTo>
                                  <a:pt x="56" y="995"/>
                                  <a:pt x="59" y="989"/>
                                  <a:pt x="57" y="986"/>
                                </a:cubicBezTo>
                                <a:cubicBezTo>
                                  <a:pt x="56" y="982"/>
                                  <a:pt x="49" y="983"/>
                                  <a:pt x="47" y="985"/>
                                </a:cubicBezTo>
                                <a:cubicBezTo>
                                  <a:pt x="44" y="988"/>
                                  <a:pt x="45" y="994"/>
                                  <a:pt x="47" y="996"/>
                                </a:cubicBezTo>
                                <a:cubicBezTo>
                                  <a:pt x="49" y="998"/>
                                  <a:pt x="54" y="1000"/>
                                  <a:pt x="55" y="1004"/>
                                </a:cubicBezTo>
                                <a:cubicBezTo>
                                  <a:pt x="56" y="1009"/>
                                  <a:pt x="55" y="1018"/>
                                  <a:pt x="53" y="1023"/>
                                </a:cubicBezTo>
                                <a:cubicBezTo>
                                  <a:pt x="51" y="1028"/>
                                  <a:pt x="47" y="1025"/>
                                  <a:pt x="43" y="1024"/>
                                </a:cubicBezTo>
                                <a:cubicBezTo>
                                  <a:pt x="39" y="1022"/>
                                  <a:pt x="41" y="1018"/>
                                  <a:pt x="39" y="1015"/>
                                </a:cubicBezTo>
                                <a:cubicBezTo>
                                  <a:pt x="38" y="1011"/>
                                  <a:pt x="36" y="1012"/>
                                  <a:pt x="31" y="1007"/>
                                </a:cubicBezTo>
                                <a:cubicBezTo>
                                  <a:pt x="25" y="1001"/>
                                  <a:pt x="29" y="1000"/>
                                  <a:pt x="29" y="995"/>
                                </a:cubicBezTo>
                                <a:cubicBezTo>
                                  <a:pt x="29" y="990"/>
                                  <a:pt x="25" y="987"/>
                                  <a:pt x="21" y="986"/>
                                </a:cubicBezTo>
                                <a:cubicBezTo>
                                  <a:pt x="18" y="985"/>
                                  <a:pt x="15" y="983"/>
                                  <a:pt x="12" y="978"/>
                                </a:cubicBezTo>
                                <a:cubicBezTo>
                                  <a:pt x="10" y="972"/>
                                  <a:pt x="7" y="964"/>
                                  <a:pt x="7" y="959"/>
                                </a:cubicBezTo>
                                <a:cubicBezTo>
                                  <a:pt x="6" y="954"/>
                                  <a:pt x="3" y="950"/>
                                  <a:pt x="2" y="956"/>
                                </a:cubicBezTo>
                                <a:cubicBezTo>
                                  <a:pt x="0" y="961"/>
                                  <a:pt x="4" y="969"/>
                                  <a:pt x="5" y="974"/>
                                </a:cubicBezTo>
                                <a:cubicBezTo>
                                  <a:pt x="7" y="980"/>
                                  <a:pt x="12" y="983"/>
                                  <a:pt x="12" y="988"/>
                                </a:cubicBezTo>
                                <a:cubicBezTo>
                                  <a:pt x="12" y="992"/>
                                  <a:pt x="13" y="996"/>
                                  <a:pt x="15" y="1002"/>
                                </a:cubicBezTo>
                                <a:cubicBezTo>
                                  <a:pt x="18" y="1008"/>
                                  <a:pt x="22" y="1015"/>
                                  <a:pt x="42" y="1037"/>
                                </a:cubicBezTo>
                                <a:cubicBezTo>
                                  <a:pt x="62" y="1059"/>
                                  <a:pt x="55" y="1054"/>
                                  <a:pt x="61" y="1064"/>
                                </a:cubicBezTo>
                                <a:cubicBezTo>
                                  <a:pt x="66" y="1074"/>
                                  <a:pt x="66" y="1088"/>
                                  <a:pt x="66" y="1093"/>
                                </a:cubicBezTo>
                                <a:cubicBezTo>
                                  <a:pt x="66" y="1099"/>
                                  <a:pt x="71" y="1118"/>
                                  <a:pt x="76" y="1127"/>
                                </a:cubicBezTo>
                                <a:cubicBezTo>
                                  <a:pt x="82" y="1135"/>
                                  <a:pt x="92" y="1147"/>
                                  <a:pt x="101" y="1159"/>
                                </a:cubicBezTo>
                                <a:cubicBezTo>
                                  <a:pt x="110" y="1170"/>
                                  <a:pt x="116" y="1186"/>
                                  <a:pt x="117" y="1199"/>
                                </a:cubicBezTo>
                                <a:cubicBezTo>
                                  <a:pt x="118" y="1212"/>
                                  <a:pt x="122" y="1234"/>
                                  <a:pt x="122" y="1244"/>
                                </a:cubicBezTo>
                                <a:cubicBezTo>
                                  <a:pt x="122" y="1254"/>
                                  <a:pt x="124" y="1257"/>
                                  <a:pt x="126" y="1268"/>
                                </a:cubicBezTo>
                                <a:cubicBezTo>
                                  <a:pt x="129" y="1278"/>
                                  <a:pt x="137" y="1302"/>
                                  <a:pt x="145" y="1317"/>
                                </a:cubicBezTo>
                                <a:cubicBezTo>
                                  <a:pt x="154" y="1331"/>
                                  <a:pt x="154" y="1334"/>
                                  <a:pt x="156" y="1345"/>
                                </a:cubicBezTo>
                                <a:cubicBezTo>
                                  <a:pt x="159" y="1356"/>
                                  <a:pt x="163" y="1365"/>
                                  <a:pt x="167" y="1372"/>
                                </a:cubicBezTo>
                                <a:cubicBezTo>
                                  <a:pt x="170" y="1378"/>
                                  <a:pt x="168" y="1383"/>
                                  <a:pt x="168" y="1390"/>
                                </a:cubicBezTo>
                                <a:cubicBezTo>
                                  <a:pt x="169" y="1398"/>
                                  <a:pt x="173" y="1405"/>
                                  <a:pt x="174" y="1414"/>
                                </a:cubicBezTo>
                                <a:cubicBezTo>
                                  <a:pt x="174" y="1422"/>
                                  <a:pt x="173" y="1428"/>
                                  <a:pt x="170" y="1430"/>
                                </a:cubicBezTo>
                                <a:cubicBezTo>
                                  <a:pt x="167" y="1433"/>
                                  <a:pt x="165" y="1429"/>
                                  <a:pt x="164" y="1432"/>
                                </a:cubicBezTo>
                                <a:cubicBezTo>
                                  <a:pt x="162" y="1435"/>
                                  <a:pt x="166" y="1439"/>
                                  <a:pt x="167" y="1446"/>
                                </a:cubicBezTo>
                                <a:cubicBezTo>
                                  <a:pt x="168" y="1453"/>
                                  <a:pt x="164" y="1456"/>
                                  <a:pt x="167" y="1464"/>
                                </a:cubicBezTo>
                                <a:cubicBezTo>
                                  <a:pt x="169" y="1472"/>
                                  <a:pt x="169" y="1476"/>
                                  <a:pt x="166" y="1479"/>
                                </a:cubicBezTo>
                                <a:cubicBezTo>
                                  <a:pt x="163" y="1482"/>
                                  <a:pt x="156" y="1485"/>
                                  <a:pt x="152" y="1488"/>
                                </a:cubicBezTo>
                                <a:cubicBezTo>
                                  <a:pt x="147" y="1491"/>
                                  <a:pt x="139" y="1496"/>
                                  <a:pt x="136" y="1496"/>
                                </a:cubicBezTo>
                                <a:cubicBezTo>
                                  <a:pt x="133" y="1495"/>
                                  <a:pt x="127" y="1493"/>
                                  <a:pt x="126" y="1496"/>
                                </a:cubicBezTo>
                                <a:cubicBezTo>
                                  <a:pt x="125" y="1498"/>
                                  <a:pt x="124" y="1506"/>
                                  <a:pt x="121" y="1510"/>
                                </a:cubicBezTo>
                                <a:cubicBezTo>
                                  <a:pt x="118" y="1514"/>
                                  <a:pt x="123" y="1516"/>
                                  <a:pt x="125" y="1520"/>
                                </a:cubicBezTo>
                                <a:cubicBezTo>
                                  <a:pt x="127" y="1525"/>
                                  <a:pt x="126" y="1529"/>
                                  <a:pt x="127" y="1537"/>
                                </a:cubicBezTo>
                                <a:cubicBezTo>
                                  <a:pt x="127" y="1544"/>
                                  <a:pt x="130" y="1545"/>
                                  <a:pt x="141" y="1550"/>
                                </a:cubicBezTo>
                                <a:cubicBezTo>
                                  <a:pt x="153" y="1556"/>
                                  <a:pt x="166" y="1561"/>
                                  <a:pt x="173" y="1567"/>
                                </a:cubicBezTo>
                                <a:cubicBezTo>
                                  <a:pt x="180" y="1573"/>
                                  <a:pt x="185" y="1580"/>
                                  <a:pt x="194" y="1588"/>
                                </a:cubicBezTo>
                                <a:cubicBezTo>
                                  <a:pt x="203" y="1595"/>
                                  <a:pt x="216" y="1597"/>
                                  <a:pt x="222" y="1597"/>
                                </a:cubicBezTo>
                                <a:cubicBezTo>
                                  <a:pt x="229" y="1597"/>
                                  <a:pt x="243" y="1594"/>
                                  <a:pt x="251" y="1594"/>
                                </a:cubicBezTo>
                                <a:cubicBezTo>
                                  <a:pt x="260" y="1594"/>
                                  <a:pt x="278" y="1596"/>
                                  <a:pt x="288" y="1598"/>
                                </a:cubicBezTo>
                                <a:cubicBezTo>
                                  <a:pt x="298" y="1600"/>
                                  <a:pt x="306" y="1600"/>
                                  <a:pt x="315" y="1599"/>
                                </a:cubicBezTo>
                                <a:cubicBezTo>
                                  <a:pt x="323" y="1597"/>
                                  <a:pt x="334" y="1589"/>
                                  <a:pt x="345" y="1579"/>
                                </a:cubicBezTo>
                                <a:cubicBezTo>
                                  <a:pt x="355" y="1569"/>
                                  <a:pt x="358" y="1568"/>
                                  <a:pt x="363" y="1563"/>
                                </a:cubicBezTo>
                                <a:cubicBezTo>
                                  <a:pt x="369" y="1558"/>
                                  <a:pt x="382" y="1558"/>
                                  <a:pt x="384" y="1559"/>
                                </a:cubicBezTo>
                                <a:cubicBezTo>
                                  <a:pt x="387" y="1559"/>
                                  <a:pt x="397" y="1556"/>
                                  <a:pt x="402" y="1550"/>
                                </a:cubicBezTo>
                                <a:cubicBezTo>
                                  <a:pt x="406" y="1545"/>
                                  <a:pt x="407" y="1534"/>
                                  <a:pt x="417" y="1528"/>
                                </a:cubicBezTo>
                                <a:cubicBezTo>
                                  <a:pt x="427" y="1522"/>
                                  <a:pt x="433" y="1526"/>
                                  <a:pt x="443" y="1527"/>
                                </a:cubicBezTo>
                                <a:cubicBezTo>
                                  <a:pt x="453" y="1527"/>
                                  <a:pt x="461" y="1524"/>
                                  <a:pt x="469" y="1521"/>
                                </a:cubicBezTo>
                                <a:cubicBezTo>
                                  <a:pt x="476" y="1518"/>
                                  <a:pt x="486" y="1516"/>
                                  <a:pt x="492" y="1516"/>
                                </a:cubicBezTo>
                                <a:cubicBezTo>
                                  <a:pt x="499" y="1516"/>
                                  <a:pt x="511" y="1518"/>
                                  <a:pt x="517" y="1516"/>
                                </a:cubicBezTo>
                                <a:cubicBezTo>
                                  <a:pt x="522" y="1514"/>
                                  <a:pt x="552" y="1512"/>
                                  <a:pt x="560" y="1514"/>
                                </a:cubicBezTo>
                                <a:cubicBezTo>
                                  <a:pt x="567" y="1515"/>
                                  <a:pt x="562" y="1523"/>
                                  <a:pt x="566" y="1526"/>
                                </a:cubicBezTo>
                                <a:cubicBezTo>
                                  <a:pt x="570" y="1529"/>
                                  <a:pt x="577" y="1527"/>
                                  <a:pt x="584" y="1523"/>
                                </a:cubicBezTo>
                                <a:cubicBezTo>
                                  <a:pt x="591" y="1519"/>
                                  <a:pt x="613" y="1514"/>
                                  <a:pt x="619" y="1514"/>
                                </a:cubicBezTo>
                                <a:cubicBezTo>
                                  <a:pt x="625" y="1514"/>
                                  <a:pt x="626" y="1521"/>
                                  <a:pt x="631" y="1524"/>
                                </a:cubicBezTo>
                                <a:cubicBezTo>
                                  <a:pt x="637" y="1526"/>
                                  <a:pt x="653" y="1521"/>
                                  <a:pt x="656" y="1513"/>
                                </a:cubicBezTo>
                                <a:cubicBezTo>
                                  <a:pt x="659" y="1506"/>
                                  <a:pt x="672" y="1498"/>
                                  <a:pt x="675" y="1494"/>
                                </a:cubicBezTo>
                                <a:cubicBezTo>
                                  <a:pt x="678" y="1489"/>
                                  <a:pt x="686" y="1476"/>
                                  <a:pt x="689" y="1466"/>
                                </a:cubicBezTo>
                                <a:cubicBezTo>
                                  <a:pt x="692" y="1456"/>
                                  <a:pt x="703" y="1452"/>
                                  <a:pt x="712" y="1449"/>
                                </a:cubicBezTo>
                                <a:cubicBezTo>
                                  <a:pt x="721" y="1446"/>
                                  <a:pt x="742" y="1440"/>
                                  <a:pt x="753" y="1432"/>
                                </a:cubicBezTo>
                                <a:cubicBezTo>
                                  <a:pt x="765" y="1425"/>
                                  <a:pt x="777" y="1423"/>
                                  <a:pt x="791" y="1413"/>
                                </a:cubicBezTo>
                                <a:cubicBezTo>
                                  <a:pt x="805" y="1402"/>
                                  <a:pt x="811" y="1405"/>
                                  <a:pt x="816" y="1405"/>
                                </a:cubicBezTo>
                                <a:cubicBezTo>
                                  <a:pt x="821" y="1405"/>
                                  <a:pt x="850" y="1407"/>
                                  <a:pt x="863" y="1408"/>
                                </a:cubicBezTo>
                                <a:cubicBezTo>
                                  <a:pt x="875" y="1409"/>
                                  <a:pt x="897" y="1408"/>
                                  <a:pt x="906" y="1406"/>
                                </a:cubicBezTo>
                                <a:cubicBezTo>
                                  <a:pt x="915" y="1404"/>
                                  <a:pt x="928" y="1395"/>
                                  <a:pt x="938" y="1388"/>
                                </a:cubicBezTo>
                                <a:cubicBezTo>
                                  <a:pt x="948" y="1381"/>
                                  <a:pt x="973" y="1378"/>
                                  <a:pt x="978" y="1374"/>
                                </a:cubicBezTo>
                                <a:cubicBezTo>
                                  <a:pt x="984" y="1371"/>
                                  <a:pt x="994" y="1369"/>
                                  <a:pt x="1002" y="1367"/>
                                </a:cubicBezTo>
                                <a:cubicBezTo>
                                  <a:pt x="1010" y="1365"/>
                                  <a:pt x="1029" y="1367"/>
                                  <a:pt x="1038" y="1365"/>
                                </a:cubicBezTo>
                                <a:cubicBezTo>
                                  <a:pt x="1048" y="1363"/>
                                  <a:pt x="1059" y="1365"/>
                                  <a:pt x="1067" y="1365"/>
                                </a:cubicBezTo>
                                <a:cubicBezTo>
                                  <a:pt x="1075" y="1365"/>
                                  <a:pt x="1095" y="1365"/>
                                  <a:pt x="1106" y="1361"/>
                                </a:cubicBezTo>
                                <a:cubicBezTo>
                                  <a:pt x="1117" y="1357"/>
                                  <a:pt x="1114" y="1358"/>
                                  <a:pt x="1118" y="1354"/>
                                </a:cubicBezTo>
                                <a:cubicBezTo>
                                  <a:pt x="1121" y="1351"/>
                                  <a:pt x="1129" y="1350"/>
                                  <a:pt x="1130" y="1352"/>
                                </a:cubicBezTo>
                                <a:cubicBezTo>
                                  <a:pt x="1131" y="1355"/>
                                  <a:pt x="1147" y="1366"/>
                                  <a:pt x="1162" y="1371"/>
                                </a:cubicBezTo>
                                <a:cubicBezTo>
                                  <a:pt x="1177" y="1376"/>
                                  <a:pt x="1171" y="1379"/>
                                  <a:pt x="1179" y="1385"/>
                                </a:cubicBezTo>
                                <a:cubicBezTo>
                                  <a:pt x="1187" y="1390"/>
                                  <a:pt x="1190" y="1388"/>
                                  <a:pt x="1202" y="1384"/>
                                </a:cubicBezTo>
                                <a:cubicBezTo>
                                  <a:pt x="1215" y="1381"/>
                                  <a:pt x="1222" y="1383"/>
                                  <a:pt x="1231" y="1386"/>
                                </a:cubicBezTo>
                                <a:cubicBezTo>
                                  <a:pt x="1241" y="1389"/>
                                  <a:pt x="1251" y="1395"/>
                                  <a:pt x="1256" y="1397"/>
                                </a:cubicBezTo>
                                <a:cubicBezTo>
                                  <a:pt x="1261" y="1400"/>
                                  <a:pt x="1264" y="1399"/>
                                  <a:pt x="1271" y="1394"/>
                                </a:cubicBezTo>
                                <a:cubicBezTo>
                                  <a:pt x="1277" y="1390"/>
                                  <a:pt x="1283" y="1394"/>
                                  <a:pt x="1283" y="1399"/>
                                </a:cubicBezTo>
                                <a:cubicBezTo>
                                  <a:pt x="1284" y="1404"/>
                                  <a:pt x="1285" y="1404"/>
                                  <a:pt x="1289" y="1407"/>
                                </a:cubicBezTo>
                                <a:cubicBezTo>
                                  <a:pt x="1294" y="1409"/>
                                  <a:pt x="1292" y="1409"/>
                                  <a:pt x="1291" y="1415"/>
                                </a:cubicBezTo>
                                <a:cubicBezTo>
                                  <a:pt x="1291" y="1421"/>
                                  <a:pt x="1295" y="1421"/>
                                  <a:pt x="1302" y="1423"/>
                                </a:cubicBezTo>
                                <a:cubicBezTo>
                                  <a:pt x="1309" y="1425"/>
                                  <a:pt x="1312" y="1423"/>
                                  <a:pt x="1315" y="1428"/>
                                </a:cubicBezTo>
                                <a:cubicBezTo>
                                  <a:pt x="1317" y="1433"/>
                                  <a:pt x="1315" y="1437"/>
                                  <a:pt x="1313" y="1438"/>
                                </a:cubicBezTo>
                                <a:cubicBezTo>
                                  <a:pt x="1310" y="1438"/>
                                  <a:pt x="1307" y="1441"/>
                                  <a:pt x="1307" y="1447"/>
                                </a:cubicBezTo>
                                <a:cubicBezTo>
                                  <a:pt x="1307" y="1453"/>
                                  <a:pt x="1313" y="1457"/>
                                  <a:pt x="1317" y="1463"/>
                                </a:cubicBezTo>
                                <a:cubicBezTo>
                                  <a:pt x="1322" y="1469"/>
                                  <a:pt x="1323" y="1469"/>
                                  <a:pt x="1328" y="1470"/>
                                </a:cubicBezTo>
                                <a:cubicBezTo>
                                  <a:pt x="1332" y="1470"/>
                                  <a:pt x="1341" y="1469"/>
                                  <a:pt x="1341" y="1471"/>
                                </a:cubicBezTo>
                                <a:cubicBezTo>
                                  <a:pt x="1342" y="1474"/>
                                  <a:pt x="1346" y="1477"/>
                                  <a:pt x="1348" y="1483"/>
                                </a:cubicBezTo>
                                <a:cubicBezTo>
                                  <a:pt x="1351" y="1488"/>
                                  <a:pt x="1349" y="1487"/>
                                  <a:pt x="1349" y="1491"/>
                                </a:cubicBezTo>
                                <a:cubicBezTo>
                                  <a:pt x="1349" y="1496"/>
                                  <a:pt x="1355" y="1503"/>
                                  <a:pt x="1358" y="1507"/>
                                </a:cubicBezTo>
                                <a:cubicBezTo>
                                  <a:pt x="1361" y="1510"/>
                                  <a:pt x="1369" y="1511"/>
                                  <a:pt x="1374" y="1517"/>
                                </a:cubicBezTo>
                                <a:cubicBezTo>
                                  <a:pt x="1379" y="1523"/>
                                  <a:pt x="1377" y="1522"/>
                                  <a:pt x="1379" y="1531"/>
                                </a:cubicBezTo>
                                <a:cubicBezTo>
                                  <a:pt x="1382" y="1539"/>
                                  <a:pt x="1382" y="1538"/>
                                  <a:pt x="1383" y="1544"/>
                                </a:cubicBezTo>
                                <a:cubicBezTo>
                                  <a:pt x="1383" y="1550"/>
                                  <a:pt x="1386" y="1550"/>
                                  <a:pt x="1388" y="1552"/>
                                </a:cubicBezTo>
                                <a:cubicBezTo>
                                  <a:pt x="1391" y="1555"/>
                                  <a:pt x="1394" y="1564"/>
                                  <a:pt x="1393" y="1570"/>
                                </a:cubicBezTo>
                                <a:cubicBezTo>
                                  <a:pt x="1391" y="1576"/>
                                  <a:pt x="1394" y="1577"/>
                                  <a:pt x="1396" y="1580"/>
                                </a:cubicBezTo>
                                <a:cubicBezTo>
                                  <a:pt x="1398" y="1583"/>
                                  <a:pt x="1402" y="1586"/>
                                  <a:pt x="1406" y="1586"/>
                                </a:cubicBezTo>
                                <a:cubicBezTo>
                                  <a:pt x="1409" y="1587"/>
                                  <a:pt x="1415" y="1586"/>
                                  <a:pt x="1420" y="1589"/>
                                </a:cubicBezTo>
                                <a:cubicBezTo>
                                  <a:pt x="1425" y="1591"/>
                                  <a:pt x="1426" y="1592"/>
                                  <a:pt x="1428" y="1591"/>
                                </a:cubicBezTo>
                                <a:cubicBezTo>
                                  <a:pt x="1429" y="1591"/>
                                  <a:pt x="1426" y="1587"/>
                                  <a:pt x="1423" y="1583"/>
                                </a:cubicBezTo>
                                <a:cubicBezTo>
                                  <a:pt x="1421" y="1579"/>
                                  <a:pt x="1422" y="1576"/>
                                  <a:pt x="1423" y="1569"/>
                                </a:cubicBezTo>
                                <a:cubicBezTo>
                                  <a:pt x="1423" y="1563"/>
                                  <a:pt x="1428" y="1556"/>
                                  <a:pt x="1430" y="1550"/>
                                </a:cubicBezTo>
                                <a:cubicBezTo>
                                  <a:pt x="1431" y="1545"/>
                                  <a:pt x="1443" y="1536"/>
                                  <a:pt x="1448" y="1530"/>
                                </a:cubicBezTo>
                                <a:cubicBezTo>
                                  <a:pt x="1453" y="1523"/>
                                  <a:pt x="1470" y="1514"/>
                                  <a:pt x="1477" y="1509"/>
                                </a:cubicBezTo>
                                <a:cubicBezTo>
                                  <a:pt x="1484" y="1505"/>
                                  <a:pt x="1494" y="1503"/>
                                  <a:pt x="1498" y="1501"/>
                                </a:cubicBezTo>
                                <a:cubicBezTo>
                                  <a:pt x="1503" y="1500"/>
                                  <a:pt x="1507" y="1486"/>
                                  <a:pt x="1508" y="1481"/>
                                </a:cubicBezTo>
                                <a:cubicBezTo>
                                  <a:pt x="1510" y="1476"/>
                                  <a:pt x="1512" y="1474"/>
                                  <a:pt x="1515" y="1468"/>
                                </a:cubicBezTo>
                                <a:cubicBezTo>
                                  <a:pt x="1518" y="1463"/>
                                  <a:pt x="1524" y="1456"/>
                                  <a:pt x="1529" y="1449"/>
                                </a:cubicBezTo>
                                <a:cubicBezTo>
                                  <a:pt x="1533" y="1443"/>
                                  <a:pt x="1533" y="1442"/>
                                  <a:pt x="1533" y="1436"/>
                                </a:cubicBezTo>
                                <a:cubicBezTo>
                                  <a:pt x="1533" y="1430"/>
                                  <a:pt x="1532" y="1425"/>
                                  <a:pt x="1534" y="1421"/>
                                </a:cubicBezTo>
                                <a:cubicBezTo>
                                  <a:pt x="1535" y="1417"/>
                                  <a:pt x="1541" y="1433"/>
                                  <a:pt x="1541" y="1438"/>
                                </a:cubicBezTo>
                                <a:cubicBezTo>
                                  <a:pt x="1541" y="1443"/>
                                  <a:pt x="1544" y="1445"/>
                                  <a:pt x="1549" y="1451"/>
                                </a:cubicBezTo>
                                <a:cubicBezTo>
                                  <a:pt x="1554" y="1457"/>
                                  <a:pt x="1551" y="1459"/>
                                  <a:pt x="1548" y="1462"/>
                                </a:cubicBezTo>
                                <a:cubicBezTo>
                                  <a:pt x="1546" y="1466"/>
                                  <a:pt x="1543" y="1467"/>
                                  <a:pt x="1540" y="1471"/>
                                </a:cubicBezTo>
                                <a:cubicBezTo>
                                  <a:pt x="1538" y="1475"/>
                                  <a:pt x="1541" y="1477"/>
                                  <a:pt x="1543" y="1482"/>
                                </a:cubicBezTo>
                                <a:cubicBezTo>
                                  <a:pt x="1544" y="1487"/>
                                  <a:pt x="1542" y="1490"/>
                                  <a:pt x="1540" y="1497"/>
                                </a:cubicBezTo>
                                <a:cubicBezTo>
                                  <a:pt x="1538" y="1503"/>
                                  <a:pt x="1532" y="1512"/>
                                  <a:pt x="1527" y="1518"/>
                                </a:cubicBezTo>
                                <a:cubicBezTo>
                                  <a:pt x="1522" y="1523"/>
                                  <a:pt x="1521" y="1535"/>
                                  <a:pt x="1519" y="1541"/>
                                </a:cubicBezTo>
                                <a:cubicBezTo>
                                  <a:pt x="1517" y="1547"/>
                                  <a:pt x="1518" y="1554"/>
                                  <a:pt x="1518" y="1558"/>
                                </a:cubicBezTo>
                                <a:cubicBezTo>
                                  <a:pt x="1518" y="1562"/>
                                  <a:pt x="1518" y="1571"/>
                                  <a:pt x="1518" y="1577"/>
                                </a:cubicBezTo>
                                <a:cubicBezTo>
                                  <a:pt x="1518" y="1584"/>
                                  <a:pt x="1514" y="1586"/>
                                  <a:pt x="1509" y="1590"/>
                                </a:cubicBezTo>
                                <a:cubicBezTo>
                                  <a:pt x="1504" y="1593"/>
                                  <a:pt x="1499" y="1591"/>
                                  <a:pt x="1493" y="1592"/>
                                </a:cubicBezTo>
                                <a:cubicBezTo>
                                  <a:pt x="1486" y="1594"/>
                                  <a:pt x="1485" y="1598"/>
                                  <a:pt x="1482" y="1606"/>
                                </a:cubicBezTo>
                                <a:cubicBezTo>
                                  <a:pt x="1479" y="1614"/>
                                  <a:pt x="1482" y="1607"/>
                                  <a:pt x="1494" y="1609"/>
                                </a:cubicBezTo>
                                <a:cubicBezTo>
                                  <a:pt x="1505" y="1611"/>
                                  <a:pt x="1503" y="1605"/>
                                  <a:pt x="1510" y="1602"/>
                                </a:cubicBezTo>
                                <a:cubicBezTo>
                                  <a:pt x="1517" y="1599"/>
                                  <a:pt x="1519" y="1602"/>
                                  <a:pt x="1524" y="1603"/>
                                </a:cubicBezTo>
                                <a:cubicBezTo>
                                  <a:pt x="1529" y="1604"/>
                                  <a:pt x="1531" y="1599"/>
                                  <a:pt x="1533" y="1594"/>
                                </a:cubicBezTo>
                                <a:cubicBezTo>
                                  <a:pt x="1536" y="1589"/>
                                  <a:pt x="1537" y="1584"/>
                                  <a:pt x="1538" y="1572"/>
                                </a:cubicBezTo>
                                <a:cubicBezTo>
                                  <a:pt x="1539" y="1559"/>
                                  <a:pt x="1543" y="1560"/>
                                  <a:pt x="1547" y="1551"/>
                                </a:cubicBezTo>
                                <a:cubicBezTo>
                                  <a:pt x="1551" y="1542"/>
                                  <a:pt x="1553" y="1538"/>
                                  <a:pt x="1559" y="1539"/>
                                </a:cubicBezTo>
                                <a:cubicBezTo>
                                  <a:pt x="1564" y="1541"/>
                                  <a:pt x="1566" y="1549"/>
                                  <a:pt x="1567" y="1555"/>
                                </a:cubicBezTo>
                                <a:cubicBezTo>
                                  <a:pt x="1568" y="1561"/>
                                  <a:pt x="1571" y="1565"/>
                                  <a:pt x="1573" y="1568"/>
                                </a:cubicBezTo>
                                <a:cubicBezTo>
                                  <a:pt x="1575" y="1570"/>
                                  <a:pt x="1584" y="1578"/>
                                  <a:pt x="1583" y="1583"/>
                                </a:cubicBezTo>
                                <a:cubicBezTo>
                                  <a:pt x="1581" y="1588"/>
                                  <a:pt x="1583" y="1590"/>
                                  <a:pt x="1583" y="1599"/>
                                </a:cubicBezTo>
                                <a:cubicBezTo>
                                  <a:pt x="1583" y="1608"/>
                                  <a:pt x="1580" y="1616"/>
                                  <a:pt x="1575" y="1623"/>
                                </a:cubicBezTo>
                                <a:cubicBezTo>
                                  <a:pt x="1569" y="1631"/>
                                  <a:pt x="1564" y="1631"/>
                                  <a:pt x="1564" y="1635"/>
                                </a:cubicBezTo>
                                <a:cubicBezTo>
                                  <a:pt x="1564" y="1638"/>
                                  <a:pt x="1573" y="1638"/>
                                  <a:pt x="1578" y="1639"/>
                                </a:cubicBezTo>
                                <a:cubicBezTo>
                                  <a:pt x="1584" y="1640"/>
                                  <a:pt x="1588" y="1635"/>
                                  <a:pt x="1593" y="1632"/>
                                </a:cubicBezTo>
                                <a:cubicBezTo>
                                  <a:pt x="1597" y="1629"/>
                                  <a:pt x="1603" y="1632"/>
                                  <a:pt x="1612" y="1629"/>
                                </a:cubicBezTo>
                                <a:cubicBezTo>
                                  <a:pt x="1620" y="1625"/>
                                  <a:pt x="1620" y="1620"/>
                                  <a:pt x="1625" y="1619"/>
                                </a:cubicBezTo>
                                <a:cubicBezTo>
                                  <a:pt x="1629" y="1618"/>
                                  <a:pt x="1628" y="1624"/>
                                  <a:pt x="1628" y="1628"/>
                                </a:cubicBezTo>
                                <a:cubicBezTo>
                                  <a:pt x="1629" y="1632"/>
                                  <a:pt x="1628" y="1640"/>
                                  <a:pt x="1629" y="1645"/>
                                </a:cubicBezTo>
                                <a:cubicBezTo>
                                  <a:pt x="1629" y="1650"/>
                                  <a:pt x="1637" y="1651"/>
                                  <a:pt x="1640" y="1655"/>
                                </a:cubicBezTo>
                                <a:cubicBezTo>
                                  <a:pt x="1642" y="1659"/>
                                  <a:pt x="1643" y="1664"/>
                                  <a:pt x="1641" y="1663"/>
                                </a:cubicBezTo>
                                <a:cubicBezTo>
                                  <a:pt x="1638" y="1663"/>
                                  <a:pt x="1634" y="1665"/>
                                  <a:pt x="1636" y="1668"/>
                                </a:cubicBezTo>
                                <a:cubicBezTo>
                                  <a:pt x="1637" y="1671"/>
                                  <a:pt x="1647" y="1678"/>
                                  <a:pt x="1651" y="1685"/>
                                </a:cubicBezTo>
                                <a:cubicBezTo>
                                  <a:pt x="1656" y="1691"/>
                                  <a:pt x="1661" y="1697"/>
                                  <a:pt x="1664" y="1706"/>
                                </a:cubicBezTo>
                                <a:cubicBezTo>
                                  <a:pt x="1667" y="1714"/>
                                  <a:pt x="1661" y="1727"/>
                                  <a:pt x="1658" y="1736"/>
                                </a:cubicBezTo>
                                <a:cubicBezTo>
                                  <a:pt x="1655" y="1746"/>
                                  <a:pt x="1661" y="1752"/>
                                  <a:pt x="1666" y="1759"/>
                                </a:cubicBezTo>
                                <a:cubicBezTo>
                                  <a:pt x="1671" y="1766"/>
                                  <a:pt x="1676" y="1768"/>
                                  <a:pt x="1683" y="1774"/>
                                </a:cubicBezTo>
                                <a:cubicBezTo>
                                  <a:pt x="1690" y="1780"/>
                                  <a:pt x="1693" y="1791"/>
                                  <a:pt x="1696" y="1797"/>
                                </a:cubicBezTo>
                                <a:cubicBezTo>
                                  <a:pt x="1699" y="1803"/>
                                  <a:pt x="1707" y="1804"/>
                                  <a:pt x="1715" y="1806"/>
                                </a:cubicBezTo>
                                <a:cubicBezTo>
                                  <a:pt x="1724" y="1808"/>
                                  <a:pt x="1736" y="1811"/>
                                  <a:pt x="1739" y="1811"/>
                                </a:cubicBezTo>
                                <a:cubicBezTo>
                                  <a:pt x="1741" y="1811"/>
                                  <a:pt x="1748" y="1818"/>
                                  <a:pt x="1755" y="1824"/>
                                </a:cubicBezTo>
                                <a:cubicBezTo>
                                  <a:pt x="1761" y="1831"/>
                                  <a:pt x="1768" y="1830"/>
                                  <a:pt x="1774" y="1827"/>
                                </a:cubicBezTo>
                                <a:cubicBezTo>
                                  <a:pt x="1780" y="1825"/>
                                  <a:pt x="1789" y="1820"/>
                                  <a:pt x="1797" y="1826"/>
                                </a:cubicBezTo>
                                <a:cubicBezTo>
                                  <a:pt x="1805" y="1831"/>
                                  <a:pt x="1809" y="1831"/>
                                  <a:pt x="1817" y="1832"/>
                                </a:cubicBezTo>
                                <a:cubicBezTo>
                                  <a:pt x="1825" y="1833"/>
                                  <a:pt x="1824" y="1831"/>
                                  <a:pt x="1830" y="1833"/>
                                </a:cubicBezTo>
                                <a:cubicBezTo>
                                  <a:pt x="1836" y="1836"/>
                                  <a:pt x="1837" y="1839"/>
                                  <a:pt x="1847" y="1845"/>
                                </a:cubicBezTo>
                                <a:cubicBezTo>
                                  <a:pt x="1856" y="1851"/>
                                  <a:pt x="1862" y="1850"/>
                                  <a:pt x="1874" y="1857"/>
                                </a:cubicBezTo>
                                <a:cubicBezTo>
                                  <a:pt x="1886" y="1863"/>
                                  <a:pt x="1890" y="1867"/>
                                  <a:pt x="1898" y="1862"/>
                                </a:cubicBezTo>
                                <a:cubicBezTo>
                                  <a:pt x="1905" y="1857"/>
                                  <a:pt x="1915" y="1849"/>
                                  <a:pt x="1924" y="1839"/>
                                </a:cubicBezTo>
                                <a:cubicBezTo>
                                  <a:pt x="1933" y="1830"/>
                                  <a:pt x="1938" y="1831"/>
                                  <a:pt x="1946" y="1830"/>
                                </a:cubicBezTo>
                                <a:cubicBezTo>
                                  <a:pt x="1953" y="1829"/>
                                  <a:pt x="1956" y="1827"/>
                                  <a:pt x="1956" y="1825"/>
                                </a:cubicBezTo>
                                <a:cubicBezTo>
                                  <a:pt x="1957" y="1823"/>
                                  <a:pt x="1952" y="1822"/>
                                  <a:pt x="1947" y="1822"/>
                                </a:cubicBezTo>
                                <a:cubicBezTo>
                                  <a:pt x="1943" y="1822"/>
                                  <a:pt x="1943" y="1820"/>
                                  <a:pt x="1942" y="1815"/>
                                </a:cubicBezTo>
                                <a:cubicBezTo>
                                  <a:pt x="1941" y="1810"/>
                                  <a:pt x="1947" y="1810"/>
                                  <a:pt x="1952" y="1809"/>
                                </a:cubicBezTo>
                                <a:cubicBezTo>
                                  <a:pt x="1957" y="1808"/>
                                  <a:pt x="1961" y="1808"/>
                                  <a:pt x="1962" y="1802"/>
                                </a:cubicBezTo>
                                <a:cubicBezTo>
                                  <a:pt x="1964" y="1797"/>
                                  <a:pt x="1974" y="1795"/>
                                  <a:pt x="1978" y="1799"/>
                                </a:cubicBezTo>
                                <a:cubicBezTo>
                                  <a:pt x="1982" y="1803"/>
                                  <a:pt x="1980" y="1803"/>
                                  <a:pt x="1986" y="1806"/>
                                </a:cubicBezTo>
                                <a:cubicBezTo>
                                  <a:pt x="1991" y="1809"/>
                                  <a:pt x="1995" y="1816"/>
                                  <a:pt x="1994" y="1820"/>
                                </a:cubicBezTo>
                                <a:cubicBezTo>
                                  <a:pt x="1994" y="1824"/>
                                  <a:pt x="1987" y="1830"/>
                                  <a:pt x="1983" y="1832"/>
                                </a:cubicBezTo>
                                <a:cubicBezTo>
                                  <a:pt x="1979" y="1834"/>
                                  <a:pt x="1978" y="1834"/>
                                  <a:pt x="1977" y="1834"/>
                                </a:cubicBezTo>
                                <a:cubicBezTo>
                                  <a:pt x="1975" y="1834"/>
                                  <a:pt x="1975" y="1836"/>
                                  <a:pt x="1976" y="1839"/>
                                </a:cubicBezTo>
                                <a:cubicBezTo>
                                  <a:pt x="1978" y="1842"/>
                                  <a:pt x="1985" y="1838"/>
                                  <a:pt x="1989" y="1835"/>
                                </a:cubicBezTo>
                                <a:cubicBezTo>
                                  <a:pt x="1994" y="1833"/>
                                  <a:pt x="1998" y="1830"/>
                                  <a:pt x="2001" y="1828"/>
                                </a:cubicBezTo>
                                <a:cubicBezTo>
                                  <a:pt x="2005" y="1826"/>
                                  <a:pt x="2008" y="1823"/>
                                  <a:pt x="2011" y="1823"/>
                                </a:cubicBezTo>
                                <a:cubicBezTo>
                                  <a:pt x="2015" y="1823"/>
                                  <a:pt x="2017" y="1828"/>
                                  <a:pt x="2018" y="1833"/>
                                </a:cubicBezTo>
                                <a:cubicBezTo>
                                  <a:pt x="2018" y="1838"/>
                                  <a:pt x="2014" y="1839"/>
                                  <a:pt x="2013" y="1843"/>
                                </a:cubicBezTo>
                                <a:cubicBezTo>
                                  <a:pt x="2013" y="1847"/>
                                  <a:pt x="2017" y="1851"/>
                                  <a:pt x="2025" y="1859"/>
                                </a:cubicBezTo>
                                <a:cubicBezTo>
                                  <a:pt x="2032" y="1866"/>
                                  <a:pt x="2034" y="1867"/>
                                  <a:pt x="2038" y="1869"/>
                                </a:cubicBezTo>
                                <a:cubicBezTo>
                                  <a:pt x="2043" y="1870"/>
                                  <a:pt x="2047" y="1867"/>
                                  <a:pt x="2051" y="1869"/>
                                </a:cubicBezTo>
                                <a:cubicBezTo>
                                  <a:pt x="2056" y="1871"/>
                                  <a:pt x="2057" y="1874"/>
                                  <a:pt x="2059" y="1878"/>
                                </a:cubicBezTo>
                                <a:cubicBezTo>
                                  <a:pt x="2060" y="1883"/>
                                  <a:pt x="2063" y="1887"/>
                                  <a:pt x="2064" y="1888"/>
                                </a:cubicBezTo>
                                <a:cubicBezTo>
                                  <a:pt x="2066" y="1890"/>
                                  <a:pt x="2067" y="1885"/>
                                  <a:pt x="2068" y="1881"/>
                                </a:cubicBezTo>
                                <a:cubicBezTo>
                                  <a:pt x="2068" y="1876"/>
                                  <a:pt x="2066" y="1875"/>
                                  <a:pt x="2062" y="1870"/>
                                </a:cubicBezTo>
                                <a:cubicBezTo>
                                  <a:pt x="2058" y="1866"/>
                                  <a:pt x="2060" y="1864"/>
                                  <a:pt x="2061" y="1862"/>
                                </a:cubicBezTo>
                                <a:cubicBezTo>
                                  <a:pt x="2061" y="1860"/>
                                  <a:pt x="2058" y="1855"/>
                                  <a:pt x="2067" y="1856"/>
                                </a:cubicBezTo>
                                <a:cubicBezTo>
                                  <a:pt x="2075" y="1856"/>
                                  <a:pt x="2086" y="1857"/>
                                  <a:pt x="2091" y="1855"/>
                                </a:cubicBezTo>
                                <a:cubicBezTo>
                                  <a:pt x="2096" y="1853"/>
                                  <a:pt x="2112" y="1837"/>
                                  <a:pt x="2118" y="1832"/>
                                </a:cubicBezTo>
                                <a:cubicBezTo>
                                  <a:pt x="2125" y="1826"/>
                                  <a:pt x="2139" y="1812"/>
                                  <a:pt x="2145" y="1807"/>
                                </a:cubicBezTo>
                                <a:cubicBezTo>
                                  <a:pt x="2152" y="1801"/>
                                  <a:pt x="2168" y="1794"/>
                                  <a:pt x="2174" y="1792"/>
                                </a:cubicBezTo>
                                <a:cubicBezTo>
                                  <a:pt x="2180" y="1790"/>
                                  <a:pt x="2197" y="1793"/>
                                  <a:pt x="2206" y="1794"/>
                                </a:cubicBezTo>
                                <a:cubicBezTo>
                                  <a:pt x="2215" y="1794"/>
                                  <a:pt x="2231" y="1791"/>
                                  <a:pt x="2240" y="1791"/>
                                </a:cubicBezTo>
                                <a:cubicBezTo>
                                  <a:pt x="2248" y="1791"/>
                                  <a:pt x="2254" y="1786"/>
                                  <a:pt x="2257" y="1783"/>
                                </a:cubicBezTo>
                                <a:cubicBezTo>
                                  <a:pt x="2260" y="1780"/>
                                  <a:pt x="2262" y="1779"/>
                                  <a:pt x="2265" y="1775"/>
                                </a:cubicBezTo>
                                <a:cubicBezTo>
                                  <a:pt x="2268" y="1772"/>
                                  <a:pt x="2286" y="1773"/>
                                  <a:pt x="2287" y="1771"/>
                                </a:cubicBezTo>
                                <a:cubicBezTo>
                                  <a:pt x="2289" y="1769"/>
                                  <a:pt x="2290" y="1759"/>
                                  <a:pt x="2288" y="1755"/>
                                </a:cubicBezTo>
                                <a:cubicBezTo>
                                  <a:pt x="2285" y="1751"/>
                                  <a:pt x="2283" y="1748"/>
                                  <a:pt x="2283" y="1746"/>
                                </a:cubicBezTo>
                                <a:cubicBezTo>
                                  <a:pt x="2282" y="1744"/>
                                  <a:pt x="2285" y="1733"/>
                                  <a:pt x="2285" y="1728"/>
                                </a:cubicBezTo>
                                <a:cubicBezTo>
                                  <a:pt x="2286" y="1723"/>
                                  <a:pt x="2291" y="1707"/>
                                  <a:pt x="2294" y="1693"/>
                                </a:cubicBezTo>
                                <a:cubicBezTo>
                                  <a:pt x="2297" y="1678"/>
                                  <a:pt x="2301" y="1651"/>
                                  <a:pt x="2309" y="1637"/>
                                </a:cubicBezTo>
                                <a:cubicBezTo>
                                  <a:pt x="2317" y="1624"/>
                                  <a:pt x="2330" y="1602"/>
                                  <a:pt x="2331" y="1599"/>
                                </a:cubicBezTo>
                                <a:cubicBezTo>
                                  <a:pt x="2332" y="1596"/>
                                  <a:pt x="2338" y="1593"/>
                                  <a:pt x="2337" y="1588"/>
                                </a:cubicBezTo>
                                <a:cubicBezTo>
                                  <a:pt x="2335" y="1584"/>
                                  <a:pt x="2335" y="1581"/>
                                  <a:pt x="2338" y="1578"/>
                                </a:cubicBezTo>
                                <a:cubicBezTo>
                                  <a:pt x="2341" y="1575"/>
                                  <a:pt x="2343" y="1573"/>
                                  <a:pt x="2342" y="1570"/>
                                </a:cubicBezTo>
                                <a:cubicBezTo>
                                  <a:pt x="2342" y="1567"/>
                                  <a:pt x="2338" y="1566"/>
                                  <a:pt x="2339" y="1560"/>
                                </a:cubicBezTo>
                                <a:cubicBezTo>
                                  <a:pt x="2340" y="1553"/>
                                  <a:pt x="2349" y="1548"/>
                                  <a:pt x="2353" y="1540"/>
                                </a:cubicBezTo>
                                <a:cubicBezTo>
                                  <a:pt x="2356" y="1531"/>
                                  <a:pt x="2360" y="1529"/>
                                  <a:pt x="2363" y="1526"/>
                                </a:cubicBezTo>
                                <a:cubicBezTo>
                                  <a:pt x="2366" y="1522"/>
                                  <a:pt x="2372" y="1514"/>
                                  <a:pt x="2372" y="1508"/>
                                </a:cubicBezTo>
                                <a:cubicBezTo>
                                  <a:pt x="2373" y="1502"/>
                                  <a:pt x="2368" y="1498"/>
                                  <a:pt x="2366" y="1493"/>
                                </a:cubicBezTo>
                                <a:cubicBezTo>
                                  <a:pt x="2365" y="1488"/>
                                  <a:pt x="2368" y="1485"/>
                                  <a:pt x="2371" y="1482"/>
                                </a:cubicBezTo>
                                <a:cubicBezTo>
                                  <a:pt x="2375" y="1478"/>
                                  <a:pt x="2385" y="1473"/>
                                  <a:pt x="2388" y="1468"/>
                                </a:cubicBezTo>
                                <a:cubicBezTo>
                                  <a:pt x="2392" y="1462"/>
                                  <a:pt x="2391" y="1462"/>
                                  <a:pt x="2395" y="1455"/>
                                </a:cubicBezTo>
                                <a:cubicBezTo>
                                  <a:pt x="2399" y="1448"/>
                                  <a:pt x="2403" y="1445"/>
                                  <a:pt x="2404" y="1443"/>
                                </a:cubicBezTo>
                                <a:cubicBezTo>
                                  <a:pt x="2406" y="1442"/>
                                  <a:pt x="2414" y="1442"/>
                                  <a:pt x="2418" y="1440"/>
                                </a:cubicBezTo>
                                <a:cubicBezTo>
                                  <a:pt x="2422" y="1438"/>
                                  <a:pt x="2422" y="1435"/>
                                  <a:pt x="2423" y="1431"/>
                                </a:cubicBezTo>
                                <a:cubicBezTo>
                                  <a:pt x="2424" y="1427"/>
                                  <a:pt x="2434" y="1427"/>
                                  <a:pt x="2437" y="1424"/>
                                </a:cubicBezTo>
                                <a:cubicBezTo>
                                  <a:pt x="2441" y="1422"/>
                                  <a:pt x="2449" y="1418"/>
                                  <a:pt x="2449" y="1414"/>
                                </a:cubicBezTo>
                                <a:cubicBezTo>
                                  <a:pt x="2448" y="1409"/>
                                  <a:pt x="2446" y="1399"/>
                                  <a:pt x="2447" y="1393"/>
                                </a:cubicBezTo>
                                <a:cubicBezTo>
                                  <a:pt x="2447" y="1387"/>
                                  <a:pt x="2454" y="1383"/>
                                  <a:pt x="2458" y="1377"/>
                                </a:cubicBezTo>
                                <a:cubicBezTo>
                                  <a:pt x="2463" y="1372"/>
                                  <a:pt x="2468" y="1362"/>
                                  <a:pt x="2470" y="1355"/>
                                </a:cubicBezTo>
                                <a:cubicBezTo>
                                  <a:pt x="2472" y="1348"/>
                                  <a:pt x="2473" y="1337"/>
                                  <a:pt x="2474" y="1328"/>
                                </a:cubicBezTo>
                                <a:cubicBezTo>
                                  <a:pt x="2475" y="1319"/>
                                  <a:pt x="2475" y="1295"/>
                                  <a:pt x="2477" y="1284"/>
                                </a:cubicBezTo>
                                <a:cubicBezTo>
                                  <a:pt x="2479" y="1272"/>
                                  <a:pt x="2487" y="1269"/>
                                  <a:pt x="2489" y="1260"/>
                                </a:cubicBezTo>
                                <a:cubicBezTo>
                                  <a:pt x="2491" y="1251"/>
                                  <a:pt x="2495" y="1247"/>
                                  <a:pt x="2498" y="1239"/>
                                </a:cubicBezTo>
                                <a:cubicBezTo>
                                  <a:pt x="2501" y="1232"/>
                                  <a:pt x="2496" y="1226"/>
                                  <a:pt x="2496" y="1212"/>
                                </a:cubicBezTo>
                                <a:cubicBezTo>
                                  <a:pt x="2496" y="1198"/>
                                  <a:pt x="2500" y="1194"/>
                                  <a:pt x="2502" y="1187"/>
                                </a:cubicBezTo>
                                <a:cubicBezTo>
                                  <a:pt x="2504" y="1179"/>
                                  <a:pt x="2514" y="1173"/>
                                  <a:pt x="2514" y="1166"/>
                                </a:cubicBezTo>
                                <a:cubicBezTo>
                                  <a:pt x="2515" y="1158"/>
                                  <a:pt x="2512" y="1155"/>
                                  <a:pt x="2512" y="1143"/>
                                </a:cubicBezTo>
                                <a:cubicBezTo>
                                  <a:pt x="2512" y="1131"/>
                                  <a:pt x="2512" y="1126"/>
                                  <a:pt x="2511" y="1123"/>
                                </a:cubicBezTo>
                                <a:close/>
                                <a:moveTo>
                                  <a:pt x="1478" y="195"/>
                                </a:moveTo>
                                <a:cubicBezTo>
                                  <a:pt x="1474" y="195"/>
                                  <a:pt x="1473" y="192"/>
                                  <a:pt x="1472" y="190"/>
                                </a:cubicBezTo>
                                <a:cubicBezTo>
                                  <a:pt x="1470" y="187"/>
                                  <a:pt x="1463" y="186"/>
                                  <a:pt x="1463" y="191"/>
                                </a:cubicBezTo>
                                <a:cubicBezTo>
                                  <a:pt x="1460" y="197"/>
                                  <a:pt x="1460" y="196"/>
                                  <a:pt x="1456" y="199"/>
                                </a:cubicBezTo>
                                <a:cubicBezTo>
                                  <a:pt x="1451" y="201"/>
                                  <a:pt x="1450" y="197"/>
                                  <a:pt x="1449" y="205"/>
                                </a:cubicBezTo>
                                <a:cubicBezTo>
                                  <a:pt x="1448" y="213"/>
                                  <a:pt x="1445" y="214"/>
                                  <a:pt x="1448" y="218"/>
                                </a:cubicBezTo>
                                <a:cubicBezTo>
                                  <a:pt x="1451" y="223"/>
                                  <a:pt x="1450" y="223"/>
                                  <a:pt x="1455" y="223"/>
                                </a:cubicBezTo>
                                <a:cubicBezTo>
                                  <a:pt x="1461" y="223"/>
                                  <a:pt x="1460" y="226"/>
                                  <a:pt x="1465" y="223"/>
                                </a:cubicBezTo>
                                <a:cubicBezTo>
                                  <a:pt x="1470" y="219"/>
                                  <a:pt x="1470" y="220"/>
                                  <a:pt x="1470" y="215"/>
                                </a:cubicBezTo>
                                <a:cubicBezTo>
                                  <a:pt x="1471" y="210"/>
                                  <a:pt x="1470" y="210"/>
                                  <a:pt x="1474" y="207"/>
                                </a:cubicBezTo>
                                <a:cubicBezTo>
                                  <a:pt x="1479" y="204"/>
                                  <a:pt x="1484" y="199"/>
                                  <a:pt x="1483" y="197"/>
                                </a:cubicBezTo>
                                <a:cubicBezTo>
                                  <a:pt x="1481" y="195"/>
                                  <a:pt x="1482" y="196"/>
                                  <a:pt x="1478" y="195"/>
                                </a:cubicBezTo>
                                <a:close/>
                                <a:moveTo>
                                  <a:pt x="1414" y="69"/>
                                </a:moveTo>
                                <a:cubicBezTo>
                                  <a:pt x="1410" y="74"/>
                                  <a:pt x="1405" y="73"/>
                                  <a:pt x="1405" y="77"/>
                                </a:cubicBezTo>
                                <a:cubicBezTo>
                                  <a:pt x="1404" y="81"/>
                                  <a:pt x="1401" y="82"/>
                                  <a:pt x="1407" y="84"/>
                                </a:cubicBezTo>
                                <a:cubicBezTo>
                                  <a:pt x="1412" y="87"/>
                                  <a:pt x="1417" y="89"/>
                                  <a:pt x="1417" y="84"/>
                                </a:cubicBezTo>
                                <a:cubicBezTo>
                                  <a:pt x="1416" y="78"/>
                                  <a:pt x="1417" y="78"/>
                                  <a:pt x="1418" y="75"/>
                                </a:cubicBezTo>
                                <a:cubicBezTo>
                                  <a:pt x="1419" y="71"/>
                                  <a:pt x="1417" y="67"/>
                                  <a:pt x="1414" y="69"/>
                                </a:cubicBezTo>
                                <a:close/>
                                <a:moveTo>
                                  <a:pt x="1467" y="27"/>
                                </a:moveTo>
                                <a:cubicBezTo>
                                  <a:pt x="1464" y="33"/>
                                  <a:pt x="1465" y="33"/>
                                  <a:pt x="1462" y="38"/>
                                </a:cubicBezTo>
                                <a:cubicBezTo>
                                  <a:pt x="1459" y="43"/>
                                  <a:pt x="1458" y="46"/>
                                  <a:pt x="1452" y="49"/>
                                </a:cubicBezTo>
                                <a:cubicBezTo>
                                  <a:pt x="1446" y="52"/>
                                  <a:pt x="1440" y="54"/>
                                  <a:pt x="1442" y="57"/>
                                </a:cubicBezTo>
                                <a:cubicBezTo>
                                  <a:pt x="1444" y="59"/>
                                  <a:pt x="1446" y="61"/>
                                  <a:pt x="1450" y="57"/>
                                </a:cubicBezTo>
                                <a:cubicBezTo>
                                  <a:pt x="1454" y="52"/>
                                  <a:pt x="1457" y="47"/>
                                  <a:pt x="1462" y="44"/>
                                </a:cubicBezTo>
                                <a:cubicBezTo>
                                  <a:pt x="1467" y="42"/>
                                  <a:pt x="1469" y="40"/>
                                  <a:pt x="1470" y="35"/>
                                </a:cubicBezTo>
                                <a:cubicBezTo>
                                  <a:pt x="1471" y="29"/>
                                  <a:pt x="1472" y="18"/>
                                  <a:pt x="1467" y="27"/>
                                </a:cubicBezTo>
                                <a:close/>
                                <a:moveTo>
                                  <a:pt x="1072" y="70"/>
                                </a:moveTo>
                                <a:cubicBezTo>
                                  <a:pt x="1077" y="71"/>
                                  <a:pt x="1081" y="71"/>
                                  <a:pt x="1083" y="70"/>
                                </a:cubicBezTo>
                                <a:cubicBezTo>
                                  <a:pt x="1085" y="68"/>
                                  <a:pt x="1081" y="63"/>
                                  <a:pt x="1077" y="61"/>
                                </a:cubicBezTo>
                                <a:cubicBezTo>
                                  <a:pt x="1074" y="58"/>
                                  <a:pt x="1077" y="57"/>
                                  <a:pt x="1075" y="51"/>
                                </a:cubicBezTo>
                                <a:cubicBezTo>
                                  <a:pt x="1072" y="46"/>
                                  <a:pt x="1074" y="47"/>
                                  <a:pt x="1067" y="48"/>
                                </a:cubicBezTo>
                                <a:cubicBezTo>
                                  <a:pt x="1063" y="49"/>
                                  <a:pt x="1065" y="57"/>
                                  <a:pt x="1064" y="60"/>
                                </a:cubicBezTo>
                                <a:cubicBezTo>
                                  <a:pt x="1062" y="64"/>
                                  <a:pt x="1057" y="63"/>
                                  <a:pt x="1057" y="69"/>
                                </a:cubicBezTo>
                                <a:cubicBezTo>
                                  <a:pt x="1057" y="74"/>
                                  <a:pt x="1067" y="68"/>
                                  <a:pt x="1072" y="70"/>
                                </a:cubicBezTo>
                                <a:close/>
                                <a:moveTo>
                                  <a:pt x="1093" y="62"/>
                                </a:moveTo>
                                <a:cubicBezTo>
                                  <a:pt x="1095" y="66"/>
                                  <a:pt x="1099" y="64"/>
                                  <a:pt x="1103" y="67"/>
                                </a:cubicBezTo>
                                <a:cubicBezTo>
                                  <a:pt x="1107" y="69"/>
                                  <a:pt x="1107" y="73"/>
                                  <a:pt x="1111" y="77"/>
                                </a:cubicBezTo>
                                <a:cubicBezTo>
                                  <a:pt x="1114" y="81"/>
                                  <a:pt x="1116" y="77"/>
                                  <a:pt x="1119" y="72"/>
                                </a:cubicBezTo>
                                <a:cubicBezTo>
                                  <a:pt x="1123" y="67"/>
                                  <a:pt x="1131" y="65"/>
                                  <a:pt x="1136" y="61"/>
                                </a:cubicBezTo>
                                <a:cubicBezTo>
                                  <a:pt x="1141" y="56"/>
                                  <a:pt x="1146" y="57"/>
                                  <a:pt x="1149" y="55"/>
                                </a:cubicBezTo>
                                <a:cubicBezTo>
                                  <a:pt x="1151" y="53"/>
                                  <a:pt x="1150" y="52"/>
                                  <a:pt x="1146" y="47"/>
                                </a:cubicBezTo>
                                <a:cubicBezTo>
                                  <a:pt x="1141" y="42"/>
                                  <a:pt x="1142" y="45"/>
                                  <a:pt x="1140" y="41"/>
                                </a:cubicBezTo>
                                <a:cubicBezTo>
                                  <a:pt x="1139" y="38"/>
                                  <a:pt x="1139" y="37"/>
                                  <a:pt x="1135" y="37"/>
                                </a:cubicBezTo>
                                <a:cubicBezTo>
                                  <a:pt x="1132" y="38"/>
                                  <a:pt x="1132" y="41"/>
                                  <a:pt x="1128" y="43"/>
                                </a:cubicBezTo>
                                <a:cubicBezTo>
                                  <a:pt x="1124" y="44"/>
                                  <a:pt x="1127" y="40"/>
                                  <a:pt x="1123" y="36"/>
                                </a:cubicBezTo>
                                <a:cubicBezTo>
                                  <a:pt x="1119" y="32"/>
                                  <a:pt x="1118" y="37"/>
                                  <a:pt x="1113" y="40"/>
                                </a:cubicBezTo>
                                <a:cubicBezTo>
                                  <a:pt x="1107" y="43"/>
                                  <a:pt x="1107" y="42"/>
                                  <a:pt x="1101" y="44"/>
                                </a:cubicBezTo>
                                <a:cubicBezTo>
                                  <a:pt x="1092" y="45"/>
                                  <a:pt x="1094" y="44"/>
                                  <a:pt x="1090" y="44"/>
                                </a:cubicBezTo>
                                <a:cubicBezTo>
                                  <a:pt x="1087" y="43"/>
                                  <a:pt x="1089" y="40"/>
                                  <a:pt x="1083" y="37"/>
                                </a:cubicBezTo>
                                <a:cubicBezTo>
                                  <a:pt x="1078" y="34"/>
                                  <a:pt x="1081" y="40"/>
                                  <a:pt x="1082" y="43"/>
                                </a:cubicBezTo>
                                <a:cubicBezTo>
                                  <a:pt x="1083" y="47"/>
                                  <a:pt x="1084" y="49"/>
                                  <a:pt x="1087" y="55"/>
                                </a:cubicBezTo>
                                <a:cubicBezTo>
                                  <a:pt x="1090" y="61"/>
                                  <a:pt x="1092" y="58"/>
                                  <a:pt x="1093" y="62"/>
                                </a:cubicBezTo>
                                <a:close/>
                                <a:moveTo>
                                  <a:pt x="2289" y="348"/>
                                </a:moveTo>
                                <a:cubicBezTo>
                                  <a:pt x="2284" y="351"/>
                                  <a:pt x="2281" y="353"/>
                                  <a:pt x="2284" y="356"/>
                                </a:cubicBezTo>
                                <a:cubicBezTo>
                                  <a:pt x="2288" y="359"/>
                                  <a:pt x="2294" y="362"/>
                                  <a:pt x="2296" y="358"/>
                                </a:cubicBezTo>
                                <a:cubicBezTo>
                                  <a:pt x="2298" y="355"/>
                                  <a:pt x="2296" y="346"/>
                                  <a:pt x="2289" y="348"/>
                                </a:cubicBezTo>
                                <a:close/>
                                <a:moveTo>
                                  <a:pt x="1658" y="367"/>
                                </a:moveTo>
                                <a:cubicBezTo>
                                  <a:pt x="1655" y="364"/>
                                  <a:pt x="1652" y="365"/>
                                  <a:pt x="1649" y="365"/>
                                </a:cubicBezTo>
                                <a:cubicBezTo>
                                  <a:pt x="1645" y="364"/>
                                  <a:pt x="1639" y="363"/>
                                  <a:pt x="1634" y="363"/>
                                </a:cubicBezTo>
                                <a:cubicBezTo>
                                  <a:pt x="1629" y="363"/>
                                  <a:pt x="1628" y="362"/>
                                  <a:pt x="1625" y="367"/>
                                </a:cubicBezTo>
                                <a:cubicBezTo>
                                  <a:pt x="1622" y="372"/>
                                  <a:pt x="1620" y="375"/>
                                  <a:pt x="1623" y="378"/>
                                </a:cubicBezTo>
                                <a:cubicBezTo>
                                  <a:pt x="1627" y="381"/>
                                  <a:pt x="1629" y="385"/>
                                  <a:pt x="1631" y="380"/>
                                </a:cubicBezTo>
                                <a:cubicBezTo>
                                  <a:pt x="1634" y="375"/>
                                  <a:pt x="1633" y="374"/>
                                  <a:pt x="1637" y="372"/>
                                </a:cubicBezTo>
                                <a:cubicBezTo>
                                  <a:pt x="1641" y="371"/>
                                  <a:pt x="1642" y="369"/>
                                  <a:pt x="1648" y="369"/>
                                </a:cubicBezTo>
                                <a:cubicBezTo>
                                  <a:pt x="1653" y="369"/>
                                  <a:pt x="1660" y="370"/>
                                  <a:pt x="1658" y="367"/>
                                </a:cubicBezTo>
                                <a:close/>
                                <a:moveTo>
                                  <a:pt x="1642" y="401"/>
                                </a:moveTo>
                                <a:cubicBezTo>
                                  <a:pt x="1639" y="403"/>
                                  <a:pt x="1637" y="403"/>
                                  <a:pt x="1638" y="406"/>
                                </a:cubicBezTo>
                                <a:cubicBezTo>
                                  <a:pt x="1639" y="409"/>
                                  <a:pt x="1639" y="410"/>
                                  <a:pt x="1643" y="409"/>
                                </a:cubicBezTo>
                                <a:cubicBezTo>
                                  <a:pt x="1647" y="408"/>
                                  <a:pt x="1651" y="407"/>
                                  <a:pt x="1650" y="404"/>
                                </a:cubicBezTo>
                                <a:cubicBezTo>
                                  <a:pt x="1649" y="401"/>
                                  <a:pt x="1646" y="399"/>
                                  <a:pt x="1642" y="401"/>
                                </a:cubicBezTo>
                                <a:close/>
                                <a:moveTo>
                                  <a:pt x="2226" y="612"/>
                                </a:moveTo>
                                <a:cubicBezTo>
                                  <a:pt x="2230" y="613"/>
                                  <a:pt x="2233" y="617"/>
                                  <a:pt x="2233" y="612"/>
                                </a:cubicBezTo>
                                <a:cubicBezTo>
                                  <a:pt x="2233" y="607"/>
                                  <a:pt x="2227" y="588"/>
                                  <a:pt x="2223" y="597"/>
                                </a:cubicBezTo>
                                <a:cubicBezTo>
                                  <a:pt x="2226" y="606"/>
                                  <a:pt x="2222" y="612"/>
                                  <a:pt x="2226" y="612"/>
                                </a:cubicBezTo>
                                <a:close/>
                                <a:moveTo>
                                  <a:pt x="2319" y="731"/>
                                </a:moveTo>
                                <a:cubicBezTo>
                                  <a:pt x="2318" y="738"/>
                                  <a:pt x="2314" y="743"/>
                                  <a:pt x="2318" y="743"/>
                                </a:cubicBezTo>
                                <a:cubicBezTo>
                                  <a:pt x="2322" y="743"/>
                                  <a:pt x="2325" y="743"/>
                                  <a:pt x="2326" y="738"/>
                                </a:cubicBezTo>
                                <a:cubicBezTo>
                                  <a:pt x="2326" y="734"/>
                                  <a:pt x="2324" y="725"/>
                                  <a:pt x="2319" y="731"/>
                                </a:cubicBezTo>
                                <a:close/>
                                <a:moveTo>
                                  <a:pt x="2481" y="955"/>
                                </a:moveTo>
                                <a:cubicBezTo>
                                  <a:pt x="2485" y="953"/>
                                  <a:pt x="2490" y="950"/>
                                  <a:pt x="2490" y="941"/>
                                </a:cubicBezTo>
                                <a:cubicBezTo>
                                  <a:pt x="2490" y="932"/>
                                  <a:pt x="2493" y="934"/>
                                  <a:pt x="2496" y="923"/>
                                </a:cubicBezTo>
                                <a:cubicBezTo>
                                  <a:pt x="2499" y="911"/>
                                  <a:pt x="2494" y="913"/>
                                  <a:pt x="2494" y="907"/>
                                </a:cubicBezTo>
                                <a:cubicBezTo>
                                  <a:pt x="2494" y="902"/>
                                  <a:pt x="2487" y="891"/>
                                  <a:pt x="2487" y="905"/>
                                </a:cubicBezTo>
                                <a:cubicBezTo>
                                  <a:pt x="2486" y="916"/>
                                  <a:pt x="2489" y="922"/>
                                  <a:pt x="2486" y="924"/>
                                </a:cubicBezTo>
                                <a:cubicBezTo>
                                  <a:pt x="2483" y="926"/>
                                  <a:pt x="2480" y="925"/>
                                  <a:pt x="2480" y="932"/>
                                </a:cubicBezTo>
                                <a:cubicBezTo>
                                  <a:pt x="2479" y="939"/>
                                  <a:pt x="2480" y="937"/>
                                  <a:pt x="2480" y="943"/>
                                </a:cubicBezTo>
                                <a:cubicBezTo>
                                  <a:pt x="2479" y="950"/>
                                  <a:pt x="2476" y="956"/>
                                  <a:pt x="2481" y="955"/>
                                </a:cubicBezTo>
                                <a:close/>
                                <a:moveTo>
                                  <a:pt x="1981" y="1986"/>
                                </a:moveTo>
                                <a:cubicBezTo>
                                  <a:pt x="1985" y="1984"/>
                                  <a:pt x="1984" y="1982"/>
                                  <a:pt x="1982" y="1979"/>
                                </a:cubicBezTo>
                                <a:cubicBezTo>
                                  <a:pt x="1980" y="1976"/>
                                  <a:pt x="1974" y="1980"/>
                                  <a:pt x="1968" y="1980"/>
                                </a:cubicBezTo>
                                <a:cubicBezTo>
                                  <a:pt x="1961" y="1985"/>
                                  <a:pt x="1977" y="1988"/>
                                  <a:pt x="1981" y="1986"/>
                                </a:cubicBezTo>
                                <a:close/>
                                <a:moveTo>
                                  <a:pt x="2183" y="1968"/>
                                </a:moveTo>
                                <a:cubicBezTo>
                                  <a:pt x="2187" y="1966"/>
                                  <a:pt x="2191" y="1964"/>
                                  <a:pt x="2186" y="1957"/>
                                </a:cubicBezTo>
                                <a:cubicBezTo>
                                  <a:pt x="2181" y="1951"/>
                                  <a:pt x="2181" y="1949"/>
                                  <a:pt x="2177" y="1943"/>
                                </a:cubicBezTo>
                                <a:cubicBezTo>
                                  <a:pt x="2173" y="1938"/>
                                  <a:pt x="2169" y="1930"/>
                                  <a:pt x="2162" y="1933"/>
                                </a:cubicBezTo>
                                <a:cubicBezTo>
                                  <a:pt x="2158" y="1937"/>
                                  <a:pt x="2151" y="1933"/>
                                  <a:pt x="2154" y="1943"/>
                                </a:cubicBezTo>
                                <a:cubicBezTo>
                                  <a:pt x="2157" y="1952"/>
                                  <a:pt x="2160" y="1955"/>
                                  <a:pt x="2166" y="1961"/>
                                </a:cubicBezTo>
                                <a:cubicBezTo>
                                  <a:pt x="2173" y="1968"/>
                                  <a:pt x="2178" y="1970"/>
                                  <a:pt x="2183" y="1968"/>
                                </a:cubicBezTo>
                                <a:close/>
                                <a:moveTo>
                                  <a:pt x="1329" y="1504"/>
                                </a:moveTo>
                                <a:cubicBezTo>
                                  <a:pt x="1328" y="1506"/>
                                  <a:pt x="1325" y="1504"/>
                                  <a:pt x="1326" y="1508"/>
                                </a:cubicBezTo>
                                <a:cubicBezTo>
                                  <a:pt x="1327" y="1512"/>
                                  <a:pt x="1329" y="1513"/>
                                  <a:pt x="1329" y="1511"/>
                                </a:cubicBezTo>
                                <a:cubicBezTo>
                                  <a:pt x="1330" y="1510"/>
                                  <a:pt x="1333" y="1509"/>
                                  <a:pt x="1335" y="1507"/>
                                </a:cubicBezTo>
                                <a:cubicBezTo>
                                  <a:pt x="1337" y="1504"/>
                                  <a:pt x="1333" y="1501"/>
                                  <a:pt x="1329" y="1504"/>
                                </a:cubicBezTo>
                                <a:close/>
                                <a:moveTo>
                                  <a:pt x="1374" y="1560"/>
                                </a:moveTo>
                                <a:cubicBezTo>
                                  <a:pt x="1372" y="1563"/>
                                  <a:pt x="1369" y="1567"/>
                                  <a:pt x="1373" y="1569"/>
                                </a:cubicBezTo>
                                <a:cubicBezTo>
                                  <a:pt x="1377" y="1570"/>
                                  <a:pt x="1381" y="1570"/>
                                  <a:pt x="1381" y="1568"/>
                                </a:cubicBezTo>
                                <a:cubicBezTo>
                                  <a:pt x="1381" y="1566"/>
                                  <a:pt x="1382" y="1563"/>
                                  <a:pt x="1381" y="1561"/>
                                </a:cubicBezTo>
                                <a:cubicBezTo>
                                  <a:pt x="1381" y="1558"/>
                                  <a:pt x="1375" y="1557"/>
                                  <a:pt x="1374" y="1560"/>
                                </a:cubicBezTo>
                                <a:close/>
                                <a:moveTo>
                                  <a:pt x="2180" y="2070"/>
                                </a:moveTo>
                                <a:cubicBezTo>
                                  <a:pt x="2177" y="2061"/>
                                  <a:pt x="2181" y="2047"/>
                                  <a:pt x="2181" y="2033"/>
                                </a:cubicBezTo>
                                <a:cubicBezTo>
                                  <a:pt x="2182" y="2019"/>
                                  <a:pt x="2181" y="2024"/>
                                  <a:pt x="2175" y="2016"/>
                                </a:cubicBezTo>
                                <a:cubicBezTo>
                                  <a:pt x="2169" y="2007"/>
                                  <a:pt x="2172" y="2007"/>
                                  <a:pt x="2165" y="2005"/>
                                </a:cubicBezTo>
                                <a:cubicBezTo>
                                  <a:pt x="2159" y="2003"/>
                                  <a:pt x="2155" y="2012"/>
                                  <a:pt x="2144" y="2019"/>
                                </a:cubicBezTo>
                                <a:cubicBezTo>
                                  <a:pt x="2132" y="2026"/>
                                  <a:pt x="2130" y="2025"/>
                                  <a:pt x="2116" y="2026"/>
                                </a:cubicBezTo>
                                <a:cubicBezTo>
                                  <a:pt x="2110" y="2026"/>
                                  <a:pt x="2108" y="2029"/>
                                  <a:pt x="2104" y="2031"/>
                                </a:cubicBezTo>
                                <a:cubicBezTo>
                                  <a:pt x="2101" y="2033"/>
                                  <a:pt x="2104" y="2033"/>
                                  <a:pt x="2103" y="2039"/>
                                </a:cubicBezTo>
                                <a:cubicBezTo>
                                  <a:pt x="2101" y="2044"/>
                                  <a:pt x="2094" y="2038"/>
                                  <a:pt x="2084" y="2035"/>
                                </a:cubicBezTo>
                                <a:cubicBezTo>
                                  <a:pt x="2074" y="2031"/>
                                  <a:pt x="2074" y="2036"/>
                                  <a:pt x="2066" y="2039"/>
                                </a:cubicBezTo>
                                <a:cubicBezTo>
                                  <a:pt x="2058" y="2041"/>
                                  <a:pt x="2057" y="2036"/>
                                  <a:pt x="2048" y="2034"/>
                                </a:cubicBezTo>
                                <a:cubicBezTo>
                                  <a:pt x="2040" y="2033"/>
                                  <a:pt x="2032" y="2030"/>
                                  <a:pt x="2023" y="2023"/>
                                </a:cubicBezTo>
                                <a:cubicBezTo>
                                  <a:pt x="2014" y="2015"/>
                                  <a:pt x="2008" y="2016"/>
                                  <a:pt x="2000" y="2015"/>
                                </a:cubicBezTo>
                                <a:cubicBezTo>
                                  <a:pt x="1992" y="2014"/>
                                  <a:pt x="1988" y="2012"/>
                                  <a:pt x="1979" y="2003"/>
                                </a:cubicBezTo>
                                <a:cubicBezTo>
                                  <a:pt x="1969" y="1994"/>
                                  <a:pt x="1970" y="1999"/>
                                  <a:pt x="1965" y="2003"/>
                                </a:cubicBezTo>
                                <a:cubicBezTo>
                                  <a:pt x="1961" y="2006"/>
                                  <a:pt x="1963" y="2008"/>
                                  <a:pt x="1960" y="2012"/>
                                </a:cubicBezTo>
                                <a:cubicBezTo>
                                  <a:pt x="1957" y="2017"/>
                                  <a:pt x="1956" y="2023"/>
                                  <a:pt x="1959" y="2030"/>
                                </a:cubicBezTo>
                                <a:cubicBezTo>
                                  <a:pt x="1961" y="2037"/>
                                  <a:pt x="1965" y="2042"/>
                                  <a:pt x="1968" y="2050"/>
                                </a:cubicBezTo>
                                <a:cubicBezTo>
                                  <a:pt x="1970" y="2057"/>
                                  <a:pt x="1971" y="2063"/>
                                  <a:pt x="1977" y="2071"/>
                                </a:cubicBezTo>
                                <a:cubicBezTo>
                                  <a:pt x="1982" y="2079"/>
                                  <a:pt x="1985" y="2081"/>
                                  <a:pt x="1993" y="2088"/>
                                </a:cubicBezTo>
                                <a:cubicBezTo>
                                  <a:pt x="2001" y="2095"/>
                                  <a:pt x="2000" y="2097"/>
                                  <a:pt x="2000" y="2104"/>
                                </a:cubicBezTo>
                                <a:cubicBezTo>
                                  <a:pt x="2000" y="2111"/>
                                  <a:pt x="2005" y="2112"/>
                                  <a:pt x="2009" y="2119"/>
                                </a:cubicBezTo>
                                <a:cubicBezTo>
                                  <a:pt x="2013" y="2125"/>
                                  <a:pt x="2017" y="2126"/>
                                  <a:pt x="2015" y="2131"/>
                                </a:cubicBezTo>
                                <a:cubicBezTo>
                                  <a:pt x="2013" y="2136"/>
                                  <a:pt x="2011" y="2136"/>
                                  <a:pt x="2004" y="2131"/>
                                </a:cubicBezTo>
                                <a:cubicBezTo>
                                  <a:pt x="1997" y="2126"/>
                                  <a:pt x="1995" y="2128"/>
                                  <a:pt x="1995" y="2133"/>
                                </a:cubicBezTo>
                                <a:cubicBezTo>
                                  <a:pt x="1995" y="2139"/>
                                  <a:pt x="2002" y="2150"/>
                                  <a:pt x="2007" y="2158"/>
                                </a:cubicBezTo>
                                <a:cubicBezTo>
                                  <a:pt x="2013" y="2165"/>
                                  <a:pt x="2014" y="2174"/>
                                  <a:pt x="2020" y="2177"/>
                                </a:cubicBezTo>
                                <a:cubicBezTo>
                                  <a:pt x="2026" y="2180"/>
                                  <a:pt x="2028" y="2187"/>
                                  <a:pt x="2032" y="2192"/>
                                </a:cubicBezTo>
                                <a:cubicBezTo>
                                  <a:pt x="2036" y="2198"/>
                                  <a:pt x="2040" y="2192"/>
                                  <a:pt x="2048" y="2192"/>
                                </a:cubicBezTo>
                                <a:cubicBezTo>
                                  <a:pt x="2055" y="2192"/>
                                  <a:pt x="2056" y="2194"/>
                                  <a:pt x="2055" y="2200"/>
                                </a:cubicBezTo>
                                <a:cubicBezTo>
                                  <a:pt x="2054" y="2205"/>
                                  <a:pt x="2049" y="2205"/>
                                  <a:pt x="2050" y="2210"/>
                                </a:cubicBezTo>
                                <a:cubicBezTo>
                                  <a:pt x="2052" y="2215"/>
                                  <a:pt x="2060" y="2210"/>
                                  <a:pt x="2066" y="2207"/>
                                </a:cubicBezTo>
                                <a:cubicBezTo>
                                  <a:pt x="2071" y="2205"/>
                                  <a:pt x="2080" y="2208"/>
                                  <a:pt x="2084" y="2210"/>
                                </a:cubicBezTo>
                                <a:cubicBezTo>
                                  <a:pt x="2087" y="2212"/>
                                  <a:pt x="2092" y="2217"/>
                                  <a:pt x="2097" y="2216"/>
                                </a:cubicBezTo>
                                <a:cubicBezTo>
                                  <a:pt x="2101" y="2215"/>
                                  <a:pt x="2097" y="2210"/>
                                  <a:pt x="2097" y="2206"/>
                                </a:cubicBezTo>
                                <a:cubicBezTo>
                                  <a:pt x="2097" y="2201"/>
                                  <a:pt x="2107" y="2200"/>
                                  <a:pt x="2107" y="2194"/>
                                </a:cubicBezTo>
                                <a:cubicBezTo>
                                  <a:pt x="2108" y="2189"/>
                                  <a:pt x="2105" y="2192"/>
                                  <a:pt x="2100" y="2187"/>
                                </a:cubicBezTo>
                                <a:cubicBezTo>
                                  <a:pt x="2096" y="2183"/>
                                  <a:pt x="2105" y="2183"/>
                                  <a:pt x="2108" y="2183"/>
                                </a:cubicBezTo>
                                <a:cubicBezTo>
                                  <a:pt x="2111" y="2183"/>
                                  <a:pt x="2117" y="2186"/>
                                  <a:pt x="2118" y="2183"/>
                                </a:cubicBezTo>
                                <a:cubicBezTo>
                                  <a:pt x="2120" y="2180"/>
                                  <a:pt x="2122" y="2179"/>
                                  <a:pt x="2121" y="2174"/>
                                </a:cubicBezTo>
                                <a:cubicBezTo>
                                  <a:pt x="2120" y="2170"/>
                                  <a:pt x="2120" y="2162"/>
                                  <a:pt x="2121" y="2157"/>
                                </a:cubicBezTo>
                                <a:cubicBezTo>
                                  <a:pt x="2123" y="2152"/>
                                  <a:pt x="2128" y="2167"/>
                                  <a:pt x="2131" y="2171"/>
                                </a:cubicBezTo>
                                <a:cubicBezTo>
                                  <a:pt x="2135" y="2175"/>
                                  <a:pt x="2137" y="2168"/>
                                  <a:pt x="2138" y="2160"/>
                                </a:cubicBezTo>
                                <a:cubicBezTo>
                                  <a:pt x="2138" y="2152"/>
                                  <a:pt x="2149" y="2165"/>
                                  <a:pt x="2154" y="2168"/>
                                </a:cubicBezTo>
                                <a:cubicBezTo>
                                  <a:pt x="2159" y="2171"/>
                                  <a:pt x="2157" y="2173"/>
                                  <a:pt x="2156" y="2177"/>
                                </a:cubicBezTo>
                                <a:cubicBezTo>
                                  <a:pt x="2156" y="2180"/>
                                  <a:pt x="2154" y="2183"/>
                                  <a:pt x="2156" y="2185"/>
                                </a:cubicBezTo>
                                <a:cubicBezTo>
                                  <a:pt x="2157" y="2188"/>
                                  <a:pt x="2165" y="2189"/>
                                  <a:pt x="2166" y="2187"/>
                                </a:cubicBezTo>
                                <a:cubicBezTo>
                                  <a:pt x="2167" y="2185"/>
                                  <a:pt x="2165" y="2179"/>
                                  <a:pt x="2164" y="2175"/>
                                </a:cubicBezTo>
                                <a:cubicBezTo>
                                  <a:pt x="2162" y="2171"/>
                                  <a:pt x="2163" y="2168"/>
                                  <a:pt x="2163" y="2163"/>
                                </a:cubicBezTo>
                                <a:cubicBezTo>
                                  <a:pt x="2163" y="2158"/>
                                  <a:pt x="2165" y="2155"/>
                                  <a:pt x="2168" y="2153"/>
                                </a:cubicBezTo>
                                <a:cubicBezTo>
                                  <a:pt x="2170" y="2151"/>
                                  <a:pt x="2179" y="2150"/>
                                  <a:pt x="2179" y="2146"/>
                                </a:cubicBezTo>
                                <a:cubicBezTo>
                                  <a:pt x="2179" y="2142"/>
                                  <a:pt x="2177" y="2141"/>
                                  <a:pt x="2173" y="2146"/>
                                </a:cubicBezTo>
                                <a:cubicBezTo>
                                  <a:pt x="2169" y="2150"/>
                                  <a:pt x="2167" y="2144"/>
                                  <a:pt x="2165" y="2141"/>
                                </a:cubicBezTo>
                                <a:cubicBezTo>
                                  <a:pt x="2163" y="2137"/>
                                  <a:pt x="2167" y="2128"/>
                                  <a:pt x="2168" y="2116"/>
                                </a:cubicBezTo>
                                <a:cubicBezTo>
                                  <a:pt x="2169" y="2103"/>
                                  <a:pt x="2172" y="2101"/>
                                  <a:pt x="2176" y="2098"/>
                                </a:cubicBezTo>
                                <a:cubicBezTo>
                                  <a:pt x="2181" y="2094"/>
                                  <a:pt x="2182" y="2107"/>
                                  <a:pt x="2188" y="2106"/>
                                </a:cubicBezTo>
                                <a:cubicBezTo>
                                  <a:pt x="2195" y="2105"/>
                                  <a:pt x="2191" y="2100"/>
                                  <a:pt x="2186" y="2092"/>
                                </a:cubicBezTo>
                                <a:cubicBezTo>
                                  <a:pt x="2181" y="2084"/>
                                  <a:pt x="2183" y="2080"/>
                                  <a:pt x="2180" y="2070"/>
                                </a:cubicBezTo>
                                <a:close/>
                                <a:moveTo>
                                  <a:pt x="1913" y="1928"/>
                                </a:moveTo>
                                <a:cubicBezTo>
                                  <a:pt x="1910" y="1932"/>
                                  <a:pt x="1909" y="1937"/>
                                  <a:pt x="1911" y="1940"/>
                                </a:cubicBezTo>
                                <a:cubicBezTo>
                                  <a:pt x="1913" y="1943"/>
                                  <a:pt x="1911" y="1950"/>
                                  <a:pt x="1913" y="1953"/>
                                </a:cubicBezTo>
                                <a:cubicBezTo>
                                  <a:pt x="1914" y="1956"/>
                                  <a:pt x="1920" y="1959"/>
                                  <a:pt x="1922" y="1956"/>
                                </a:cubicBezTo>
                                <a:cubicBezTo>
                                  <a:pt x="1923" y="1952"/>
                                  <a:pt x="1923" y="1947"/>
                                  <a:pt x="1923" y="1941"/>
                                </a:cubicBezTo>
                                <a:cubicBezTo>
                                  <a:pt x="1923" y="1935"/>
                                  <a:pt x="1926" y="1933"/>
                                  <a:pt x="1925" y="1929"/>
                                </a:cubicBezTo>
                                <a:cubicBezTo>
                                  <a:pt x="1924" y="1924"/>
                                  <a:pt x="1918" y="1921"/>
                                  <a:pt x="1913" y="1928"/>
                                </a:cubicBezTo>
                                <a:close/>
                                <a:moveTo>
                                  <a:pt x="1550" y="1646"/>
                                </a:moveTo>
                                <a:cubicBezTo>
                                  <a:pt x="1547" y="1645"/>
                                  <a:pt x="1542" y="1649"/>
                                  <a:pt x="1539" y="1649"/>
                                </a:cubicBezTo>
                                <a:cubicBezTo>
                                  <a:pt x="1537" y="1649"/>
                                  <a:pt x="1531" y="1641"/>
                                  <a:pt x="1529" y="1638"/>
                                </a:cubicBezTo>
                                <a:cubicBezTo>
                                  <a:pt x="1530" y="1635"/>
                                  <a:pt x="1526" y="1635"/>
                                  <a:pt x="1520" y="1637"/>
                                </a:cubicBezTo>
                                <a:cubicBezTo>
                                  <a:pt x="1514" y="1638"/>
                                  <a:pt x="1508" y="1641"/>
                                  <a:pt x="1501" y="1643"/>
                                </a:cubicBezTo>
                                <a:cubicBezTo>
                                  <a:pt x="1495" y="1646"/>
                                  <a:pt x="1491" y="1645"/>
                                  <a:pt x="1482" y="1645"/>
                                </a:cubicBezTo>
                                <a:cubicBezTo>
                                  <a:pt x="1474" y="1643"/>
                                  <a:pt x="1464" y="1647"/>
                                  <a:pt x="1461" y="1651"/>
                                </a:cubicBezTo>
                                <a:cubicBezTo>
                                  <a:pt x="1459" y="1654"/>
                                  <a:pt x="1463" y="1658"/>
                                  <a:pt x="1464" y="1661"/>
                                </a:cubicBezTo>
                                <a:cubicBezTo>
                                  <a:pt x="1466" y="1663"/>
                                  <a:pt x="1469" y="1665"/>
                                  <a:pt x="1474" y="1666"/>
                                </a:cubicBezTo>
                                <a:cubicBezTo>
                                  <a:pt x="1479" y="1667"/>
                                  <a:pt x="1487" y="1665"/>
                                  <a:pt x="1491" y="1663"/>
                                </a:cubicBezTo>
                                <a:cubicBezTo>
                                  <a:pt x="1495" y="1660"/>
                                  <a:pt x="1503" y="1663"/>
                                  <a:pt x="1505" y="1664"/>
                                </a:cubicBezTo>
                                <a:cubicBezTo>
                                  <a:pt x="1506" y="1665"/>
                                  <a:pt x="1512" y="1668"/>
                                  <a:pt x="1516" y="1669"/>
                                </a:cubicBezTo>
                                <a:cubicBezTo>
                                  <a:pt x="1519" y="1669"/>
                                  <a:pt x="1523" y="1665"/>
                                  <a:pt x="1525" y="1661"/>
                                </a:cubicBezTo>
                                <a:cubicBezTo>
                                  <a:pt x="1526" y="1656"/>
                                  <a:pt x="1531" y="1656"/>
                                  <a:pt x="1534" y="1654"/>
                                </a:cubicBezTo>
                                <a:cubicBezTo>
                                  <a:pt x="1537" y="1652"/>
                                  <a:pt x="1544" y="1654"/>
                                  <a:pt x="1548" y="1656"/>
                                </a:cubicBezTo>
                                <a:cubicBezTo>
                                  <a:pt x="1552" y="1658"/>
                                  <a:pt x="1556" y="1656"/>
                                  <a:pt x="1555" y="1653"/>
                                </a:cubicBezTo>
                                <a:cubicBezTo>
                                  <a:pt x="1555" y="1650"/>
                                  <a:pt x="1552" y="1647"/>
                                  <a:pt x="1550" y="1646"/>
                                </a:cubicBezTo>
                                <a:close/>
                                <a:moveTo>
                                  <a:pt x="2183" y="1980"/>
                                </a:moveTo>
                                <a:cubicBezTo>
                                  <a:pt x="2177" y="1984"/>
                                  <a:pt x="2176" y="1987"/>
                                  <a:pt x="2180" y="1988"/>
                                </a:cubicBezTo>
                                <a:cubicBezTo>
                                  <a:pt x="2183" y="1990"/>
                                  <a:pt x="2191" y="1989"/>
                                  <a:pt x="2193" y="1987"/>
                                </a:cubicBezTo>
                                <a:cubicBezTo>
                                  <a:pt x="2195" y="1985"/>
                                  <a:pt x="2193" y="1976"/>
                                  <a:pt x="2183" y="1980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39" name="Freeform 318"/>
                          <p:cNvSpPr>
                            <a:spLocks noEditPoints="1"/>
                          </p:cNvSpPr>
                          <p:nvPr/>
                        </p:nvSpPr>
                        <p:spPr bwMode="auto">
                          <a:xfrm>
                            <a:off x="7265306" y="5000122"/>
                            <a:ext cx="82153" cy="58341"/>
                          </a:xfrm>
                          <a:custGeom>
                            <a:avLst/>
                            <a:gdLst>
                              <a:gd name="T0" fmla="*/ 207 w 286"/>
                              <a:gd name="T1" fmla="*/ 169 h 200"/>
                              <a:gd name="T2" fmla="*/ 187 w 286"/>
                              <a:gd name="T3" fmla="*/ 149 h 200"/>
                              <a:gd name="T4" fmla="*/ 157 w 286"/>
                              <a:gd name="T5" fmla="*/ 125 h 200"/>
                              <a:gd name="T6" fmla="*/ 134 w 286"/>
                              <a:gd name="T7" fmla="*/ 107 h 200"/>
                              <a:gd name="T8" fmla="*/ 109 w 286"/>
                              <a:gd name="T9" fmla="*/ 80 h 200"/>
                              <a:gd name="T10" fmla="*/ 82 w 286"/>
                              <a:gd name="T11" fmla="*/ 62 h 200"/>
                              <a:gd name="T12" fmla="*/ 56 w 286"/>
                              <a:gd name="T13" fmla="*/ 47 h 200"/>
                              <a:gd name="T14" fmla="*/ 44 w 286"/>
                              <a:gd name="T15" fmla="*/ 39 h 200"/>
                              <a:gd name="T16" fmla="*/ 37 w 286"/>
                              <a:gd name="T17" fmla="*/ 37 h 200"/>
                              <a:gd name="T18" fmla="*/ 30 w 286"/>
                              <a:gd name="T19" fmla="*/ 34 h 200"/>
                              <a:gd name="T20" fmla="*/ 29 w 286"/>
                              <a:gd name="T21" fmla="*/ 40 h 200"/>
                              <a:gd name="T22" fmla="*/ 35 w 286"/>
                              <a:gd name="T23" fmla="*/ 52 h 200"/>
                              <a:gd name="T24" fmla="*/ 49 w 286"/>
                              <a:gd name="T25" fmla="*/ 76 h 200"/>
                              <a:gd name="T26" fmla="*/ 76 w 286"/>
                              <a:gd name="T27" fmla="*/ 95 h 200"/>
                              <a:gd name="T28" fmla="*/ 98 w 286"/>
                              <a:gd name="T29" fmla="*/ 119 h 200"/>
                              <a:gd name="T30" fmla="*/ 124 w 286"/>
                              <a:gd name="T31" fmla="*/ 134 h 200"/>
                              <a:gd name="T32" fmla="*/ 157 w 286"/>
                              <a:gd name="T33" fmla="*/ 158 h 200"/>
                              <a:gd name="T34" fmla="*/ 188 w 286"/>
                              <a:gd name="T35" fmla="*/ 175 h 200"/>
                              <a:gd name="T36" fmla="*/ 207 w 286"/>
                              <a:gd name="T37" fmla="*/ 169 h 200"/>
                              <a:gd name="T38" fmla="*/ 264 w 286"/>
                              <a:gd name="T39" fmla="*/ 115 h 200"/>
                              <a:gd name="T40" fmla="*/ 262 w 286"/>
                              <a:gd name="T41" fmla="*/ 128 h 200"/>
                              <a:gd name="T42" fmla="*/ 271 w 286"/>
                              <a:gd name="T43" fmla="*/ 134 h 200"/>
                              <a:gd name="T44" fmla="*/ 277 w 286"/>
                              <a:gd name="T45" fmla="*/ 126 h 200"/>
                              <a:gd name="T46" fmla="*/ 282 w 286"/>
                              <a:gd name="T47" fmla="*/ 119 h 200"/>
                              <a:gd name="T48" fmla="*/ 264 w 286"/>
                              <a:gd name="T49" fmla="*/ 115 h 200"/>
                              <a:gd name="T50" fmla="*/ 180 w 286"/>
                              <a:gd name="T51" fmla="*/ 73 h 200"/>
                              <a:gd name="T52" fmla="*/ 188 w 286"/>
                              <a:gd name="T53" fmla="*/ 67 h 200"/>
                              <a:gd name="T54" fmla="*/ 195 w 286"/>
                              <a:gd name="T55" fmla="*/ 57 h 200"/>
                              <a:gd name="T56" fmla="*/ 184 w 286"/>
                              <a:gd name="T57" fmla="*/ 50 h 200"/>
                              <a:gd name="T58" fmla="*/ 182 w 286"/>
                              <a:gd name="T59" fmla="*/ 61 h 200"/>
                              <a:gd name="T60" fmla="*/ 180 w 286"/>
                              <a:gd name="T61" fmla="*/ 73 h 200"/>
                              <a:gd name="T62" fmla="*/ 235 w 286"/>
                              <a:gd name="T63" fmla="*/ 89 h 200"/>
                              <a:gd name="T64" fmla="*/ 229 w 286"/>
                              <a:gd name="T65" fmla="*/ 76 h 200"/>
                              <a:gd name="T66" fmla="*/ 218 w 286"/>
                              <a:gd name="T67" fmla="*/ 80 h 200"/>
                              <a:gd name="T68" fmla="*/ 217 w 286"/>
                              <a:gd name="T69" fmla="*/ 88 h 200"/>
                              <a:gd name="T70" fmla="*/ 224 w 286"/>
                              <a:gd name="T71" fmla="*/ 98 h 200"/>
                              <a:gd name="T72" fmla="*/ 236 w 286"/>
                              <a:gd name="T73" fmla="*/ 101 h 200"/>
                              <a:gd name="T74" fmla="*/ 235 w 286"/>
                              <a:gd name="T75" fmla="*/ 89 h 200"/>
                              <a:gd name="T76" fmla="*/ 242 w 286"/>
                              <a:gd name="T77" fmla="*/ 198 h 200"/>
                              <a:gd name="T78" fmla="*/ 245 w 286"/>
                              <a:gd name="T79" fmla="*/ 192 h 200"/>
                              <a:gd name="T80" fmla="*/ 236 w 286"/>
                              <a:gd name="T81" fmla="*/ 191 h 200"/>
                              <a:gd name="T82" fmla="*/ 242 w 286"/>
                              <a:gd name="T83" fmla="*/ 198 h 200"/>
                              <a:gd name="T84" fmla="*/ 1 w 286"/>
                              <a:gd name="T85" fmla="*/ 3 h 200"/>
                              <a:gd name="T86" fmla="*/ 3 w 286"/>
                              <a:gd name="T87" fmla="*/ 11 h 200"/>
                              <a:gd name="T88" fmla="*/ 8 w 286"/>
                              <a:gd name="T89" fmla="*/ 13 h 200"/>
                              <a:gd name="T90" fmla="*/ 7 w 286"/>
                              <a:gd name="T91" fmla="*/ 6 h 200"/>
                              <a:gd name="T92" fmla="*/ 1 w 286"/>
                              <a:gd name="T93" fmla="*/ 3 h 200"/>
                              <a:gd name="T94" fmla="*/ 127 w 286"/>
                              <a:gd name="T95" fmla="*/ 15 h 200"/>
                              <a:gd name="T96" fmla="*/ 119 w 286"/>
                              <a:gd name="T97" fmla="*/ 10 h 200"/>
                              <a:gd name="T98" fmla="*/ 119 w 286"/>
                              <a:gd name="T99" fmla="*/ 17 h 200"/>
                              <a:gd name="T100" fmla="*/ 127 w 286"/>
                              <a:gd name="T101" fmla="*/ 15 h 200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</a:cxnLst>
                            <a:rect l="0" t="0" r="r" b="b"/>
                            <a:pathLst>
                              <a:path w="286" h="200">
                                <a:moveTo>
                                  <a:pt x="207" y="169"/>
                                </a:moveTo>
                                <a:cubicBezTo>
                                  <a:pt x="208" y="161"/>
                                  <a:pt x="196" y="152"/>
                                  <a:pt x="187" y="149"/>
                                </a:cubicBezTo>
                                <a:cubicBezTo>
                                  <a:pt x="178" y="146"/>
                                  <a:pt x="163" y="132"/>
                                  <a:pt x="157" y="125"/>
                                </a:cubicBezTo>
                                <a:cubicBezTo>
                                  <a:pt x="152" y="117"/>
                                  <a:pt x="146" y="117"/>
                                  <a:pt x="134" y="107"/>
                                </a:cubicBezTo>
                                <a:cubicBezTo>
                                  <a:pt x="122" y="98"/>
                                  <a:pt x="115" y="89"/>
                                  <a:pt x="109" y="80"/>
                                </a:cubicBezTo>
                                <a:cubicBezTo>
                                  <a:pt x="103" y="71"/>
                                  <a:pt x="89" y="65"/>
                                  <a:pt x="82" y="62"/>
                                </a:cubicBezTo>
                                <a:cubicBezTo>
                                  <a:pt x="74" y="58"/>
                                  <a:pt x="62" y="50"/>
                                  <a:pt x="56" y="47"/>
                                </a:cubicBezTo>
                                <a:cubicBezTo>
                                  <a:pt x="50" y="44"/>
                                  <a:pt x="47" y="42"/>
                                  <a:pt x="44" y="39"/>
                                </a:cubicBezTo>
                                <a:cubicBezTo>
                                  <a:pt x="40" y="37"/>
                                  <a:pt x="41" y="37"/>
                                  <a:pt x="37" y="37"/>
                                </a:cubicBezTo>
                                <a:cubicBezTo>
                                  <a:pt x="34" y="37"/>
                                  <a:pt x="32" y="33"/>
                                  <a:pt x="30" y="34"/>
                                </a:cubicBezTo>
                                <a:cubicBezTo>
                                  <a:pt x="27" y="36"/>
                                  <a:pt x="26" y="38"/>
                                  <a:pt x="29" y="40"/>
                                </a:cubicBezTo>
                                <a:cubicBezTo>
                                  <a:pt x="31" y="42"/>
                                  <a:pt x="32" y="46"/>
                                  <a:pt x="35" y="52"/>
                                </a:cubicBezTo>
                                <a:cubicBezTo>
                                  <a:pt x="43" y="61"/>
                                  <a:pt x="41" y="66"/>
                                  <a:pt x="49" y="76"/>
                                </a:cubicBezTo>
                                <a:cubicBezTo>
                                  <a:pt x="58" y="86"/>
                                  <a:pt x="68" y="85"/>
                                  <a:pt x="76" y="95"/>
                                </a:cubicBezTo>
                                <a:cubicBezTo>
                                  <a:pt x="85" y="106"/>
                                  <a:pt x="86" y="110"/>
                                  <a:pt x="98" y="119"/>
                                </a:cubicBezTo>
                                <a:cubicBezTo>
                                  <a:pt x="110" y="129"/>
                                  <a:pt x="112" y="133"/>
                                  <a:pt x="124" y="134"/>
                                </a:cubicBezTo>
                                <a:cubicBezTo>
                                  <a:pt x="135" y="134"/>
                                  <a:pt x="148" y="148"/>
                                  <a:pt x="157" y="158"/>
                                </a:cubicBezTo>
                                <a:cubicBezTo>
                                  <a:pt x="165" y="167"/>
                                  <a:pt x="175" y="172"/>
                                  <a:pt x="188" y="175"/>
                                </a:cubicBezTo>
                                <a:cubicBezTo>
                                  <a:pt x="201" y="178"/>
                                  <a:pt x="206" y="176"/>
                                  <a:pt x="207" y="169"/>
                                </a:cubicBezTo>
                                <a:close/>
                                <a:moveTo>
                                  <a:pt x="264" y="115"/>
                                </a:moveTo>
                                <a:cubicBezTo>
                                  <a:pt x="261" y="120"/>
                                  <a:pt x="259" y="124"/>
                                  <a:pt x="262" y="128"/>
                                </a:cubicBezTo>
                                <a:cubicBezTo>
                                  <a:pt x="266" y="133"/>
                                  <a:pt x="269" y="134"/>
                                  <a:pt x="271" y="134"/>
                                </a:cubicBezTo>
                                <a:cubicBezTo>
                                  <a:pt x="274" y="133"/>
                                  <a:pt x="273" y="130"/>
                                  <a:pt x="277" y="126"/>
                                </a:cubicBezTo>
                                <a:cubicBezTo>
                                  <a:pt x="281" y="123"/>
                                  <a:pt x="286" y="124"/>
                                  <a:pt x="282" y="119"/>
                                </a:cubicBezTo>
                                <a:cubicBezTo>
                                  <a:pt x="278" y="113"/>
                                  <a:pt x="268" y="108"/>
                                  <a:pt x="264" y="115"/>
                                </a:cubicBezTo>
                                <a:close/>
                                <a:moveTo>
                                  <a:pt x="180" y="73"/>
                                </a:moveTo>
                                <a:cubicBezTo>
                                  <a:pt x="183" y="74"/>
                                  <a:pt x="187" y="70"/>
                                  <a:pt x="188" y="67"/>
                                </a:cubicBezTo>
                                <a:cubicBezTo>
                                  <a:pt x="189" y="64"/>
                                  <a:pt x="196" y="61"/>
                                  <a:pt x="195" y="57"/>
                                </a:cubicBezTo>
                                <a:cubicBezTo>
                                  <a:pt x="195" y="52"/>
                                  <a:pt x="186" y="46"/>
                                  <a:pt x="184" y="50"/>
                                </a:cubicBezTo>
                                <a:cubicBezTo>
                                  <a:pt x="182" y="56"/>
                                  <a:pt x="184" y="56"/>
                                  <a:pt x="182" y="61"/>
                                </a:cubicBezTo>
                                <a:cubicBezTo>
                                  <a:pt x="180" y="66"/>
                                  <a:pt x="176" y="72"/>
                                  <a:pt x="180" y="73"/>
                                </a:cubicBezTo>
                                <a:close/>
                                <a:moveTo>
                                  <a:pt x="235" y="89"/>
                                </a:moveTo>
                                <a:cubicBezTo>
                                  <a:pt x="232" y="81"/>
                                  <a:pt x="233" y="78"/>
                                  <a:pt x="229" y="76"/>
                                </a:cubicBezTo>
                                <a:cubicBezTo>
                                  <a:pt x="225" y="74"/>
                                  <a:pt x="218" y="74"/>
                                  <a:pt x="218" y="80"/>
                                </a:cubicBezTo>
                                <a:cubicBezTo>
                                  <a:pt x="218" y="85"/>
                                  <a:pt x="216" y="84"/>
                                  <a:pt x="217" y="88"/>
                                </a:cubicBezTo>
                                <a:cubicBezTo>
                                  <a:pt x="217" y="92"/>
                                  <a:pt x="218" y="95"/>
                                  <a:pt x="224" y="98"/>
                                </a:cubicBezTo>
                                <a:cubicBezTo>
                                  <a:pt x="230" y="101"/>
                                  <a:pt x="235" y="104"/>
                                  <a:pt x="236" y="101"/>
                                </a:cubicBezTo>
                                <a:cubicBezTo>
                                  <a:pt x="238" y="97"/>
                                  <a:pt x="238" y="98"/>
                                  <a:pt x="235" y="89"/>
                                </a:cubicBezTo>
                                <a:close/>
                                <a:moveTo>
                                  <a:pt x="242" y="198"/>
                                </a:moveTo>
                                <a:cubicBezTo>
                                  <a:pt x="245" y="196"/>
                                  <a:pt x="248" y="195"/>
                                  <a:pt x="245" y="192"/>
                                </a:cubicBezTo>
                                <a:cubicBezTo>
                                  <a:pt x="243" y="190"/>
                                  <a:pt x="234" y="184"/>
                                  <a:pt x="236" y="191"/>
                                </a:cubicBezTo>
                                <a:cubicBezTo>
                                  <a:pt x="238" y="195"/>
                                  <a:pt x="239" y="200"/>
                                  <a:pt x="242" y="198"/>
                                </a:cubicBezTo>
                                <a:close/>
                                <a:moveTo>
                                  <a:pt x="1" y="3"/>
                                </a:moveTo>
                                <a:cubicBezTo>
                                  <a:pt x="0" y="5"/>
                                  <a:pt x="1" y="8"/>
                                  <a:pt x="3" y="11"/>
                                </a:cubicBezTo>
                                <a:cubicBezTo>
                                  <a:pt x="5" y="14"/>
                                  <a:pt x="6" y="16"/>
                                  <a:pt x="8" y="13"/>
                                </a:cubicBezTo>
                                <a:cubicBezTo>
                                  <a:pt x="9" y="11"/>
                                  <a:pt x="7" y="10"/>
                                  <a:pt x="7" y="6"/>
                                </a:cubicBezTo>
                                <a:cubicBezTo>
                                  <a:pt x="7" y="1"/>
                                  <a:pt x="3" y="0"/>
                                  <a:pt x="1" y="3"/>
                                </a:cubicBezTo>
                                <a:close/>
                                <a:moveTo>
                                  <a:pt x="127" y="15"/>
                                </a:moveTo>
                                <a:cubicBezTo>
                                  <a:pt x="128" y="12"/>
                                  <a:pt x="122" y="7"/>
                                  <a:pt x="119" y="10"/>
                                </a:cubicBezTo>
                                <a:cubicBezTo>
                                  <a:pt x="118" y="13"/>
                                  <a:pt x="114" y="16"/>
                                  <a:pt x="119" y="17"/>
                                </a:cubicBezTo>
                                <a:cubicBezTo>
                                  <a:pt x="124" y="19"/>
                                  <a:pt x="127" y="19"/>
                                  <a:pt x="127" y="15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40" name="Freeform 325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5575810" y="3983329"/>
                            <a:ext cx="513159" cy="522684"/>
                          </a:xfrm>
                          <a:custGeom>
                            <a:avLst/>
                            <a:gdLst>
                              <a:gd name="T0" fmla="*/ 1252 w 1788"/>
                              <a:gd name="T1" fmla="*/ 822 h 1822"/>
                              <a:gd name="T2" fmla="*/ 1236 w 1788"/>
                              <a:gd name="T3" fmla="*/ 742 h 1822"/>
                              <a:gd name="T4" fmla="*/ 1261 w 1788"/>
                              <a:gd name="T5" fmla="*/ 714 h 1822"/>
                              <a:gd name="T6" fmla="*/ 1223 w 1788"/>
                              <a:gd name="T7" fmla="*/ 673 h 1822"/>
                              <a:gd name="T8" fmla="*/ 1272 w 1788"/>
                              <a:gd name="T9" fmla="*/ 655 h 1822"/>
                              <a:gd name="T10" fmla="*/ 1293 w 1788"/>
                              <a:gd name="T11" fmla="*/ 659 h 1822"/>
                              <a:gd name="T12" fmla="*/ 1331 w 1788"/>
                              <a:gd name="T13" fmla="*/ 666 h 1822"/>
                              <a:gd name="T14" fmla="*/ 1410 w 1788"/>
                              <a:gd name="T15" fmla="*/ 727 h 1822"/>
                              <a:gd name="T16" fmla="*/ 1485 w 1788"/>
                              <a:gd name="T17" fmla="*/ 760 h 1822"/>
                              <a:gd name="T18" fmla="*/ 1433 w 1788"/>
                              <a:gd name="T19" fmla="*/ 803 h 1822"/>
                              <a:gd name="T20" fmla="*/ 1450 w 1788"/>
                              <a:gd name="T21" fmla="*/ 858 h 1822"/>
                              <a:gd name="T22" fmla="*/ 1492 w 1788"/>
                              <a:gd name="T23" fmla="*/ 874 h 1822"/>
                              <a:gd name="T24" fmla="*/ 1530 w 1788"/>
                              <a:gd name="T25" fmla="*/ 913 h 1822"/>
                              <a:gd name="T26" fmla="*/ 1545 w 1788"/>
                              <a:gd name="T27" fmla="*/ 807 h 1822"/>
                              <a:gd name="T28" fmla="*/ 1614 w 1788"/>
                              <a:gd name="T29" fmla="*/ 765 h 1822"/>
                              <a:gd name="T30" fmla="*/ 1650 w 1788"/>
                              <a:gd name="T31" fmla="*/ 679 h 1822"/>
                              <a:gd name="T32" fmla="*/ 1741 w 1788"/>
                              <a:gd name="T33" fmla="*/ 586 h 1822"/>
                              <a:gd name="T34" fmla="*/ 1781 w 1788"/>
                              <a:gd name="T35" fmla="*/ 548 h 1822"/>
                              <a:gd name="T36" fmla="*/ 1730 w 1788"/>
                              <a:gd name="T37" fmla="*/ 508 h 1822"/>
                              <a:gd name="T38" fmla="*/ 1722 w 1788"/>
                              <a:gd name="T39" fmla="*/ 460 h 1822"/>
                              <a:gd name="T40" fmla="*/ 1611 w 1788"/>
                              <a:gd name="T41" fmla="*/ 467 h 1822"/>
                              <a:gd name="T42" fmla="*/ 1482 w 1788"/>
                              <a:gd name="T43" fmla="*/ 560 h 1822"/>
                              <a:gd name="T44" fmla="*/ 1469 w 1788"/>
                              <a:gd name="T45" fmla="*/ 603 h 1822"/>
                              <a:gd name="T46" fmla="*/ 1330 w 1788"/>
                              <a:gd name="T47" fmla="*/ 632 h 1822"/>
                              <a:gd name="T48" fmla="*/ 1265 w 1788"/>
                              <a:gd name="T49" fmla="*/ 588 h 1822"/>
                              <a:gd name="T50" fmla="*/ 1224 w 1788"/>
                              <a:gd name="T51" fmla="*/ 574 h 1822"/>
                              <a:gd name="T52" fmla="*/ 1166 w 1788"/>
                              <a:gd name="T53" fmla="*/ 652 h 1822"/>
                              <a:gd name="T54" fmla="*/ 1066 w 1788"/>
                              <a:gd name="T55" fmla="*/ 626 h 1822"/>
                              <a:gd name="T56" fmla="*/ 964 w 1788"/>
                              <a:gd name="T57" fmla="*/ 586 h 1822"/>
                              <a:gd name="T58" fmla="*/ 871 w 1788"/>
                              <a:gd name="T59" fmla="*/ 560 h 1822"/>
                              <a:gd name="T60" fmla="*/ 750 w 1788"/>
                              <a:gd name="T61" fmla="*/ 506 h 1822"/>
                              <a:gd name="T62" fmla="*/ 746 w 1788"/>
                              <a:gd name="T63" fmla="*/ 420 h 1822"/>
                              <a:gd name="T64" fmla="*/ 694 w 1788"/>
                              <a:gd name="T65" fmla="*/ 343 h 1822"/>
                              <a:gd name="T66" fmla="*/ 632 w 1788"/>
                              <a:gd name="T67" fmla="*/ 268 h 1822"/>
                              <a:gd name="T68" fmla="*/ 685 w 1788"/>
                              <a:gd name="T69" fmla="*/ 215 h 1822"/>
                              <a:gd name="T70" fmla="*/ 656 w 1788"/>
                              <a:gd name="T71" fmla="*/ 133 h 1822"/>
                              <a:gd name="T72" fmla="*/ 741 w 1788"/>
                              <a:gd name="T73" fmla="*/ 44 h 1822"/>
                              <a:gd name="T74" fmla="*/ 625 w 1788"/>
                              <a:gd name="T75" fmla="*/ 10 h 1822"/>
                              <a:gd name="T76" fmla="*/ 501 w 1788"/>
                              <a:gd name="T77" fmla="*/ 87 h 1822"/>
                              <a:gd name="T78" fmla="*/ 345 w 1788"/>
                              <a:gd name="T79" fmla="*/ 103 h 1822"/>
                              <a:gd name="T80" fmla="*/ 357 w 1788"/>
                              <a:gd name="T81" fmla="*/ 154 h 1822"/>
                              <a:gd name="T82" fmla="*/ 402 w 1788"/>
                              <a:gd name="T83" fmla="*/ 236 h 1822"/>
                              <a:gd name="T84" fmla="*/ 389 w 1788"/>
                              <a:gd name="T85" fmla="*/ 287 h 1822"/>
                              <a:gd name="T86" fmla="*/ 308 w 1788"/>
                              <a:gd name="T87" fmla="*/ 424 h 1822"/>
                              <a:gd name="T88" fmla="*/ 166 w 1788"/>
                              <a:gd name="T89" fmla="*/ 563 h 1822"/>
                              <a:gd name="T90" fmla="*/ 113 w 1788"/>
                              <a:gd name="T91" fmla="*/ 640 h 1822"/>
                              <a:gd name="T92" fmla="*/ 171 w 1788"/>
                              <a:gd name="T93" fmla="*/ 781 h 1822"/>
                              <a:gd name="T94" fmla="*/ 27 w 1788"/>
                              <a:gd name="T95" fmla="*/ 792 h 1822"/>
                              <a:gd name="T96" fmla="*/ 63 w 1788"/>
                              <a:gd name="T97" fmla="*/ 886 h 1822"/>
                              <a:gd name="T98" fmla="*/ 44 w 1788"/>
                              <a:gd name="T99" fmla="*/ 912 h 1822"/>
                              <a:gd name="T100" fmla="*/ 238 w 1788"/>
                              <a:gd name="T101" fmla="*/ 922 h 1822"/>
                              <a:gd name="T102" fmla="*/ 271 w 1788"/>
                              <a:gd name="T103" fmla="*/ 1094 h 1822"/>
                              <a:gd name="T104" fmla="*/ 351 w 1788"/>
                              <a:gd name="T105" fmla="*/ 1390 h 1822"/>
                              <a:gd name="T106" fmla="*/ 498 w 1788"/>
                              <a:gd name="T107" fmla="*/ 1720 h 1822"/>
                              <a:gd name="T108" fmla="*/ 686 w 1788"/>
                              <a:gd name="T109" fmla="*/ 1750 h 1822"/>
                              <a:gd name="T110" fmla="*/ 738 w 1788"/>
                              <a:gd name="T111" fmla="*/ 1522 h 1822"/>
                              <a:gd name="T112" fmla="*/ 765 w 1788"/>
                              <a:gd name="T113" fmla="*/ 1334 h 1822"/>
                              <a:gd name="T114" fmla="*/ 930 w 1788"/>
                              <a:gd name="T115" fmla="*/ 1212 h 1822"/>
                              <a:gd name="T116" fmla="*/ 1109 w 1788"/>
                              <a:gd name="T117" fmla="*/ 1060 h 1822"/>
                              <a:gd name="T118" fmla="*/ 1228 w 1788"/>
                              <a:gd name="T119" fmla="*/ 931 h 1822"/>
                              <a:gd name="T120" fmla="*/ 1281 w 1788"/>
                              <a:gd name="T121" fmla="*/ 954 h 1822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  <a:cxn ang="0">
                                <a:pos x="T118" y="T119"/>
                              </a:cxn>
                              <a:cxn ang="0">
                                <a:pos x="T120" y="T121"/>
                              </a:cxn>
                            </a:cxnLst>
                            <a:rect l="0" t="0" r="r" b="b"/>
                            <a:pathLst>
                              <a:path w="1788" h="1822">
                                <a:moveTo>
                                  <a:pt x="1281" y="954"/>
                                </a:moveTo>
                                <a:cubicBezTo>
                                  <a:pt x="1280" y="947"/>
                                  <a:pt x="1279" y="938"/>
                                  <a:pt x="1277" y="930"/>
                                </a:cubicBezTo>
                                <a:cubicBezTo>
                                  <a:pt x="1276" y="923"/>
                                  <a:pt x="1275" y="916"/>
                                  <a:pt x="1274" y="910"/>
                                </a:cubicBezTo>
                                <a:cubicBezTo>
                                  <a:pt x="1273" y="903"/>
                                  <a:pt x="1273" y="897"/>
                                  <a:pt x="1272" y="890"/>
                                </a:cubicBezTo>
                                <a:cubicBezTo>
                                  <a:pt x="1271" y="882"/>
                                  <a:pt x="1272" y="877"/>
                                  <a:pt x="1272" y="874"/>
                                </a:cubicBezTo>
                                <a:cubicBezTo>
                                  <a:pt x="1273" y="871"/>
                                  <a:pt x="1273" y="870"/>
                                  <a:pt x="1272" y="868"/>
                                </a:cubicBezTo>
                                <a:cubicBezTo>
                                  <a:pt x="1271" y="868"/>
                                  <a:pt x="1270" y="867"/>
                                  <a:pt x="1269" y="866"/>
                                </a:cubicBezTo>
                                <a:cubicBezTo>
                                  <a:pt x="1265" y="861"/>
                                  <a:pt x="1262" y="856"/>
                                  <a:pt x="1262" y="848"/>
                                </a:cubicBezTo>
                                <a:cubicBezTo>
                                  <a:pt x="1262" y="845"/>
                                  <a:pt x="1260" y="843"/>
                                  <a:pt x="1258" y="841"/>
                                </a:cubicBezTo>
                                <a:cubicBezTo>
                                  <a:pt x="1256" y="839"/>
                                  <a:pt x="1254" y="837"/>
                                  <a:pt x="1253" y="834"/>
                                </a:cubicBezTo>
                                <a:cubicBezTo>
                                  <a:pt x="1252" y="831"/>
                                  <a:pt x="1251" y="827"/>
                                  <a:pt x="1252" y="822"/>
                                </a:cubicBezTo>
                                <a:cubicBezTo>
                                  <a:pt x="1253" y="818"/>
                                  <a:pt x="1254" y="813"/>
                                  <a:pt x="1256" y="808"/>
                                </a:cubicBezTo>
                                <a:cubicBezTo>
                                  <a:pt x="1256" y="806"/>
                                  <a:pt x="1257" y="804"/>
                                  <a:pt x="1257" y="803"/>
                                </a:cubicBezTo>
                                <a:cubicBezTo>
                                  <a:pt x="1257" y="803"/>
                                  <a:pt x="1257" y="803"/>
                                  <a:pt x="1257" y="803"/>
                                </a:cubicBezTo>
                                <a:cubicBezTo>
                                  <a:pt x="1259" y="798"/>
                                  <a:pt x="1260" y="796"/>
                                  <a:pt x="1258" y="793"/>
                                </a:cubicBezTo>
                                <a:cubicBezTo>
                                  <a:pt x="1256" y="792"/>
                                  <a:pt x="1254" y="791"/>
                                  <a:pt x="1252" y="791"/>
                                </a:cubicBezTo>
                                <a:cubicBezTo>
                                  <a:pt x="1246" y="789"/>
                                  <a:pt x="1240" y="787"/>
                                  <a:pt x="1232" y="779"/>
                                </a:cubicBezTo>
                                <a:cubicBezTo>
                                  <a:pt x="1229" y="777"/>
                                  <a:pt x="1229" y="777"/>
                                  <a:pt x="1229" y="777"/>
                                </a:cubicBezTo>
                                <a:cubicBezTo>
                                  <a:pt x="1218" y="765"/>
                                  <a:pt x="1214" y="762"/>
                                  <a:pt x="1220" y="753"/>
                                </a:cubicBezTo>
                                <a:cubicBezTo>
                                  <a:pt x="1220" y="753"/>
                                  <a:pt x="1220" y="753"/>
                                  <a:pt x="1220" y="753"/>
                                </a:cubicBezTo>
                                <a:cubicBezTo>
                                  <a:pt x="1223" y="749"/>
                                  <a:pt x="1226" y="748"/>
                                  <a:pt x="1229" y="747"/>
                                </a:cubicBezTo>
                                <a:cubicBezTo>
                                  <a:pt x="1231" y="746"/>
                                  <a:pt x="1233" y="745"/>
                                  <a:pt x="1236" y="742"/>
                                </a:cubicBezTo>
                                <a:cubicBezTo>
                                  <a:pt x="1239" y="739"/>
                                  <a:pt x="1240" y="737"/>
                                  <a:pt x="1241" y="735"/>
                                </a:cubicBezTo>
                                <a:cubicBezTo>
                                  <a:pt x="1242" y="732"/>
                                  <a:pt x="1242" y="730"/>
                                  <a:pt x="1247" y="728"/>
                                </a:cubicBezTo>
                                <a:cubicBezTo>
                                  <a:pt x="1252" y="726"/>
                                  <a:pt x="1258" y="726"/>
                                  <a:pt x="1263" y="726"/>
                                </a:cubicBezTo>
                                <a:cubicBezTo>
                                  <a:pt x="1266" y="726"/>
                                  <a:pt x="1269" y="726"/>
                                  <a:pt x="1271" y="726"/>
                                </a:cubicBezTo>
                                <a:cubicBezTo>
                                  <a:pt x="1271" y="726"/>
                                  <a:pt x="1271" y="726"/>
                                  <a:pt x="1271" y="726"/>
                                </a:cubicBezTo>
                                <a:cubicBezTo>
                                  <a:pt x="1272" y="726"/>
                                  <a:pt x="1273" y="725"/>
                                  <a:pt x="1273" y="725"/>
                                </a:cubicBezTo>
                                <a:cubicBezTo>
                                  <a:pt x="1273" y="725"/>
                                  <a:pt x="1273" y="725"/>
                                  <a:pt x="1273" y="724"/>
                                </a:cubicBezTo>
                                <a:cubicBezTo>
                                  <a:pt x="1273" y="724"/>
                                  <a:pt x="1273" y="724"/>
                                  <a:pt x="1273" y="723"/>
                                </a:cubicBezTo>
                                <a:cubicBezTo>
                                  <a:pt x="1273" y="723"/>
                                  <a:pt x="1273" y="722"/>
                                  <a:pt x="1272" y="722"/>
                                </a:cubicBezTo>
                                <a:cubicBezTo>
                                  <a:pt x="1271" y="721"/>
                                  <a:pt x="1269" y="720"/>
                                  <a:pt x="1268" y="718"/>
                                </a:cubicBezTo>
                                <a:cubicBezTo>
                                  <a:pt x="1267" y="716"/>
                                  <a:pt x="1265" y="715"/>
                                  <a:pt x="1261" y="714"/>
                                </a:cubicBezTo>
                                <a:cubicBezTo>
                                  <a:pt x="1261" y="714"/>
                                  <a:pt x="1261" y="714"/>
                                  <a:pt x="1261" y="714"/>
                                </a:cubicBezTo>
                                <a:cubicBezTo>
                                  <a:pt x="1261" y="714"/>
                                  <a:pt x="1260" y="714"/>
                                  <a:pt x="1258" y="713"/>
                                </a:cubicBezTo>
                                <a:cubicBezTo>
                                  <a:pt x="1251" y="712"/>
                                  <a:pt x="1246" y="712"/>
                                  <a:pt x="1242" y="705"/>
                                </a:cubicBezTo>
                                <a:cubicBezTo>
                                  <a:pt x="1240" y="703"/>
                                  <a:pt x="1239" y="701"/>
                                  <a:pt x="1239" y="699"/>
                                </a:cubicBezTo>
                                <a:cubicBezTo>
                                  <a:pt x="1237" y="696"/>
                                  <a:pt x="1236" y="693"/>
                                  <a:pt x="1232" y="692"/>
                                </a:cubicBezTo>
                                <a:cubicBezTo>
                                  <a:pt x="1232" y="692"/>
                                  <a:pt x="1232" y="692"/>
                                  <a:pt x="1232" y="692"/>
                                </a:cubicBezTo>
                                <a:cubicBezTo>
                                  <a:pt x="1232" y="691"/>
                                  <a:pt x="1232" y="691"/>
                                  <a:pt x="1232" y="691"/>
                                </a:cubicBezTo>
                                <a:cubicBezTo>
                                  <a:pt x="1232" y="691"/>
                                  <a:pt x="1232" y="691"/>
                                  <a:pt x="1232" y="691"/>
                                </a:cubicBezTo>
                                <a:cubicBezTo>
                                  <a:pt x="1226" y="689"/>
                                  <a:pt x="1224" y="686"/>
                                  <a:pt x="1223" y="682"/>
                                </a:cubicBezTo>
                                <a:cubicBezTo>
                                  <a:pt x="1222" y="679"/>
                                  <a:pt x="1222" y="675"/>
                                  <a:pt x="1223" y="673"/>
                                </a:cubicBezTo>
                                <a:cubicBezTo>
                                  <a:pt x="1223" y="673"/>
                                  <a:pt x="1223" y="673"/>
                                  <a:pt x="1223" y="673"/>
                                </a:cubicBezTo>
                                <a:cubicBezTo>
                                  <a:pt x="1223" y="673"/>
                                  <a:pt x="1223" y="673"/>
                                  <a:pt x="1223" y="673"/>
                                </a:cubicBezTo>
                                <a:cubicBezTo>
                                  <a:pt x="1223" y="673"/>
                                  <a:pt x="1223" y="673"/>
                                  <a:pt x="1223" y="673"/>
                                </a:cubicBezTo>
                                <a:cubicBezTo>
                                  <a:pt x="1224" y="671"/>
                                  <a:pt x="1225" y="668"/>
                                  <a:pt x="1227" y="666"/>
                                </a:cubicBezTo>
                                <a:cubicBezTo>
                                  <a:pt x="1229" y="664"/>
                                  <a:pt x="1231" y="662"/>
                                  <a:pt x="1233" y="660"/>
                                </a:cubicBezTo>
                                <a:cubicBezTo>
                                  <a:pt x="1233" y="660"/>
                                  <a:pt x="1233" y="660"/>
                                  <a:pt x="1233" y="660"/>
                                </a:cubicBezTo>
                                <a:cubicBezTo>
                                  <a:pt x="1237" y="657"/>
                                  <a:pt x="1239" y="656"/>
                                  <a:pt x="1239" y="654"/>
                                </a:cubicBezTo>
                                <a:cubicBezTo>
                                  <a:pt x="1240" y="653"/>
                                  <a:pt x="1240" y="653"/>
                                  <a:pt x="1240" y="653"/>
                                </a:cubicBezTo>
                                <a:cubicBezTo>
                                  <a:pt x="1241" y="648"/>
                                  <a:pt x="1242" y="642"/>
                                  <a:pt x="1250" y="642"/>
                                </a:cubicBezTo>
                                <a:cubicBezTo>
                                  <a:pt x="1255" y="642"/>
                                  <a:pt x="1259" y="646"/>
                                  <a:pt x="1263" y="650"/>
                                </a:cubicBezTo>
                                <a:cubicBezTo>
                                  <a:pt x="1266" y="652"/>
                                  <a:pt x="1269" y="655"/>
                                  <a:pt x="1270" y="655"/>
                                </a:cubicBezTo>
                                <a:cubicBezTo>
                                  <a:pt x="1272" y="656"/>
                                  <a:pt x="1272" y="655"/>
                                  <a:pt x="1272" y="655"/>
                                </a:cubicBezTo>
                                <a:cubicBezTo>
                                  <a:pt x="1273" y="654"/>
                                  <a:pt x="1273" y="653"/>
                                  <a:pt x="1274" y="652"/>
                                </a:cubicBezTo>
                                <a:cubicBezTo>
                                  <a:pt x="1274" y="652"/>
                                  <a:pt x="1274" y="652"/>
                                  <a:pt x="1274" y="652"/>
                                </a:cubicBezTo>
                                <a:cubicBezTo>
                                  <a:pt x="1274" y="652"/>
                                  <a:pt x="1274" y="652"/>
                                  <a:pt x="1274" y="652"/>
                                </a:cubicBezTo>
                                <a:cubicBezTo>
                                  <a:pt x="1274" y="652"/>
                                  <a:pt x="1274" y="652"/>
                                  <a:pt x="1275" y="652"/>
                                </a:cubicBezTo>
                                <a:cubicBezTo>
                                  <a:pt x="1275" y="652"/>
                                  <a:pt x="1275" y="652"/>
                                  <a:pt x="1275" y="652"/>
                                </a:cubicBezTo>
                                <a:cubicBezTo>
                                  <a:pt x="1276" y="650"/>
                                  <a:pt x="1279" y="649"/>
                                  <a:pt x="1282" y="649"/>
                                </a:cubicBezTo>
                                <a:cubicBezTo>
                                  <a:pt x="1284" y="649"/>
                                  <a:pt x="1287" y="650"/>
                                  <a:pt x="1289" y="653"/>
                                </a:cubicBezTo>
                                <a:cubicBezTo>
                                  <a:pt x="1289" y="653"/>
                                  <a:pt x="1289" y="653"/>
                                  <a:pt x="1289" y="653"/>
                                </a:cubicBezTo>
                                <a:cubicBezTo>
                                  <a:pt x="1289" y="653"/>
                                  <a:pt x="1290" y="653"/>
                                  <a:pt x="1290" y="654"/>
                                </a:cubicBezTo>
                                <a:cubicBezTo>
                                  <a:pt x="1292" y="656"/>
                                  <a:pt x="1292" y="657"/>
                                  <a:pt x="1293" y="659"/>
                                </a:cubicBezTo>
                                <a:cubicBezTo>
                                  <a:pt x="1293" y="659"/>
                                  <a:pt x="1293" y="659"/>
                                  <a:pt x="1293" y="659"/>
                                </a:cubicBezTo>
                                <a:cubicBezTo>
                                  <a:pt x="1294" y="660"/>
                                  <a:pt x="1294" y="662"/>
                                  <a:pt x="1297" y="664"/>
                                </a:cubicBezTo>
                                <a:cubicBezTo>
                                  <a:pt x="1299" y="667"/>
                                  <a:pt x="1300" y="669"/>
                                  <a:pt x="1302" y="670"/>
                                </a:cubicBezTo>
                                <a:cubicBezTo>
                                  <a:pt x="1303" y="670"/>
                                  <a:pt x="1305" y="671"/>
                                  <a:pt x="1307" y="671"/>
                                </a:cubicBezTo>
                                <a:cubicBezTo>
                                  <a:pt x="1309" y="670"/>
                                  <a:pt x="1311" y="668"/>
                                  <a:pt x="1312" y="665"/>
                                </a:cubicBezTo>
                                <a:cubicBezTo>
                                  <a:pt x="1313" y="664"/>
                                  <a:pt x="1314" y="662"/>
                                  <a:pt x="1316" y="661"/>
                                </a:cubicBezTo>
                                <a:cubicBezTo>
                                  <a:pt x="1316" y="661"/>
                                  <a:pt x="1317" y="661"/>
                                  <a:pt x="1317" y="661"/>
                                </a:cubicBezTo>
                                <a:cubicBezTo>
                                  <a:pt x="1319" y="660"/>
                                  <a:pt x="1321" y="660"/>
                                  <a:pt x="1324" y="660"/>
                                </a:cubicBezTo>
                                <a:cubicBezTo>
                                  <a:pt x="1326" y="661"/>
                                  <a:pt x="1329" y="662"/>
                                  <a:pt x="1330" y="665"/>
                                </a:cubicBezTo>
                                <a:cubicBezTo>
                                  <a:pt x="1330" y="665"/>
                                  <a:pt x="1330" y="665"/>
                                  <a:pt x="1330" y="665"/>
                                </a:cubicBezTo>
                                <a:cubicBezTo>
                                  <a:pt x="1331" y="665"/>
                                  <a:pt x="1331" y="666"/>
                                  <a:pt x="1331" y="666"/>
                                </a:cubicBezTo>
                                <a:cubicBezTo>
                                  <a:pt x="1331" y="666"/>
                                  <a:pt x="1331" y="666"/>
                                  <a:pt x="1331" y="666"/>
                                </a:cubicBezTo>
                                <a:cubicBezTo>
                                  <a:pt x="1333" y="670"/>
                                  <a:pt x="1333" y="671"/>
                                  <a:pt x="1333" y="677"/>
                                </a:cubicBezTo>
                                <a:cubicBezTo>
                                  <a:pt x="1333" y="677"/>
                                  <a:pt x="1333" y="679"/>
                                  <a:pt x="1333" y="682"/>
                                </a:cubicBezTo>
                                <a:cubicBezTo>
                                  <a:pt x="1333" y="687"/>
                                  <a:pt x="1332" y="692"/>
                                  <a:pt x="1331" y="697"/>
                                </a:cubicBezTo>
                                <a:cubicBezTo>
                                  <a:pt x="1330" y="703"/>
                                  <a:pt x="1329" y="709"/>
                                  <a:pt x="1329" y="712"/>
                                </a:cubicBezTo>
                                <a:cubicBezTo>
                                  <a:pt x="1330" y="715"/>
                                  <a:pt x="1331" y="716"/>
                                  <a:pt x="1332" y="717"/>
                                </a:cubicBezTo>
                                <a:cubicBezTo>
                                  <a:pt x="1333" y="719"/>
                                  <a:pt x="1335" y="720"/>
                                  <a:pt x="1338" y="721"/>
                                </a:cubicBezTo>
                                <a:cubicBezTo>
                                  <a:pt x="1340" y="723"/>
                                  <a:pt x="1342" y="723"/>
                                  <a:pt x="1344" y="723"/>
                                </a:cubicBezTo>
                                <a:cubicBezTo>
                                  <a:pt x="1347" y="723"/>
                                  <a:pt x="1352" y="723"/>
                                  <a:pt x="1360" y="725"/>
                                </a:cubicBezTo>
                                <a:cubicBezTo>
                                  <a:pt x="1364" y="726"/>
                                  <a:pt x="1366" y="726"/>
                                  <a:pt x="1368" y="726"/>
                                </a:cubicBezTo>
                                <a:cubicBezTo>
                                  <a:pt x="1378" y="729"/>
                                  <a:pt x="1382" y="729"/>
                                  <a:pt x="1397" y="728"/>
                                </a:cubicBezTo>
                                <a:cubicBezTo>
                                  <a:pt x="1403" y="728"/>
                                  <a:pt x="1407" y="728"/>
                                  <a:pt x="1410" y="727"/>
                                </a:cubicBezTo>
                                <a:cubicBezTo>
                                  <a:pt x="1416" y="727"/>
                                  <a:pt x="1417" y="727"/>
                                  <a:pt x="1421" y="727"/>
                                </a:cubicBezTo>
                                <a:cubicBezTo>
                                  <a:pt x="1424" y="727"/>
                                  <a:pt x="1425" y="727"/>
                                  <a:pt x="1427" y="728"/>
                                </a:cubicBezTo>
                                <a:cubicBezTo>
                                  <a:pt x="1429" y="729"/>
                                  <a:pt x="1431" y="729"/>
                                  <a:pt x="1438" y="729"/>
                                </a:cubicBezTo>
                                <a:cubicBezTo>
                                  <a:pt x="1442" y="729"/>
                                  <a:pt x="1444" y="728"/>
                                  <a:pt x="1446" y="727"/>
                                </a:cubicBezTo>
                                <a:cubicBezTo>
                                  <a:pt x="1449" y="726"/>
                                  <a:pt x="1451" y="726"/>
                                  <a:pt x="1460" y="726"/>
                                </a:cubicBezTo>
                                <a:cubicBezTo>
                                  <a:pt x="1474" y="727"/>
                                  <a:pt x="1479" y="731"/>
                                  <a:pt x="1484" y="735"/>
                                </a:cubicBezTo>
                                <a:cubicBezTo>
                                  <a:pt x="1484" y="736"/>
                                  <a:pt x="1485" y="736"/>
                                  <a:pt x="1486" y="737"/>
                                </a:cubicBezTo>
                                <a:cubicBezTo>
                                  <a:pt x="1486" y="737"/>
                                  <a:pt x="1486" y="737"/>
                                  <a:pt x="1486" y="737"/>
                                </a:cubicBezTo>
                                <a:cubicBezTo>
                                  <a:pt x="1487" y="737"/>
                                  <a:pt x="1487" y="737"/>
                                  <a:pt x="1487" y="737"/>
                                </a:cubicBezTo>
                                <a:cubicBezTo>
                                  <a:pt x="1493" y="742"/>
                                  <a:pt x="1494" y="743"/>
                                  <a:pt x="1493" y="750"/>
                                </a:cubicBezTo>
                                <a:cubicBezTo>
                                  <a:pt x="1492" y="756"/>
                                  <a:pt x="1489" y="758"/>
                                  <a:pt x="1485" y="760"/>
                                </a:cubicBezTo>
                                <a:cubicBezTo>
                                  <a:pt x="1485" y="760"/>
                                  <a:pt x="1485" y="760"/>
                                  <a:pt x="1485" y="760"/>
                                </a:cubicBezTo>
                                <a:cubicBezTo>
                                  <a:pt x="1484" y="760"/>
                                  <a:pt x="1483" y="761"/>
                                  <a:pt x="1482" y="762"/>
                                </a:cubicBezTo>
                                <a:cubicBezTo>
                                  <a:pt x="1481" y="763"/>
                                  <a:pt x="1480" y="764"/>
                                  <a:pt x="1479" y="765"/>
                                </a:cubicBezTo>
                                <a:cubicBezTo>
                                  <a:pt x="1479" y="766"/>
                                  <a:pt x="1478" y="768"/>
                                  <a:pt x="1478" y="771"/>
                                </a:cubicBezTo>
                                <a:cubicBezTo>
                                  <a:pt x="1477" y="775"/>
                                  <a:pt x="1474" y="778"/>
                                  <a:pt x="1470" y="781"/>
                                </a:cubicBezTo>
                                <a:cubicBezTo>
                                  <a:pt x="1468" y="782"/>
                                  <a:pt x="1466" y="784"/>
                                  <a:pt x="1465" y="786"/>
                                </a:cubicBezTo>
                                <a:cubicBezTo>
                                  <a:pt x="1461" y="790"/>
                                  <a:pt x="1461" y="790"/>
                                  <a:pt x="1460" y="792"/>
                                </a:cubicBezTo>
                                <a:cubicBezTo>
                                  <a:pt x="1459" y="793"/>
                                  <a:pt x="1458" y="794"/>
                                  <a:pt x="1457" y="796"/>
                                </a:cubicBezTo>
                                <a:cubicBezTo>
                                  <a:pt x="1452" y="803"/>
                                  <a:pt x="1448" y="802"/>
                                  <a:pt x="1442" y="802"/>
                                </a:cubicBezTo>
                                <a:cubicBezTo>
                                  <a:pt x="1442" y="802"/>
                                  <a:pt x="1441" y="802"/>
                                  <a:pt x="1441" y="802"/>
                                </a:cubicBezTo>
                                <a:cubicBezTo>
                                  <a:pt x="1439" y="802"/>
                                  <a:pt x="1436" y="802"/>
                                  <a:pt x="1433" y="803"/>
                                </a:cubicBezTo>
                                <a:cubicBezTo>
                                  <a:pt x="1431" y="804"/>
                                  <a:pt x="1429" y="805"/>
                                  <a:pt x="1426" y="807"/>
                                </a:cubicBezTo>
                                <a:cubicBezTo>
                                  <a:pt x="1426" y="807"/>
                                  <a:pt x="1426" y="807"/>
                                  <a:pt x="1426" y="807"/>
                                </a:cubicBezTo>
                                <a:cubicBezTo>
                                  <a:pt x="1426" y="807"/>
                                  <a:pt x="1426" y="807"/>
                                  <a:pt x="1426" y="807"/>
                                </a:cubicBezTo>
                                <a:cubicBezTo>
                                  <a:pt x="1421" y="811"/>
                                  <a:pt x="1419" y="813"/>
                                  <a:pt x="1418" y="820"/>
                                </a:cubicBezTo>
                                <a:cubicBezTo>
                                  <a:pt x="1418" y="825"/>
                                  <a:pt x="1417" y="829"/>
                                  <a:pt x="1417" y="833"/>
                                </a:cubicBezTo>
                                <a:cubicBezTo>
                                  <a:pt x="1417" y="836"/>
                                  <a:pt x="1418" y="840"/>
                                  <a:pt x="1419" y="842"/>
                                </a:cubicBezTo>
                                <a:cubicBezTo>
                                  <a:pt x="1420" y="844"/>
                                  <a:pt x="1421" y="845"/>
                                  <a:pt x="1421" y="846"/>
                                </a:cubicBezTo>
                                <a:cubicBezTo>
                                  <a:pt x="1424" y="852"/>
                                  <a:pt x="1428" y="859"/>
                                  <a:pt x="1432" y="862"/>
                                </a:cubicBezTo>
                                <a:cubicBezTo>
                                  <a:pt x="1435" y="864"/>
                                  <a:pt x="1438" y="866"/>
                                  <a:pt x="1441" y="867"/>
                                </a:cubicBezTo>
                                <a:cubicBezTo>
                                  <a:pt x="1443" y="867"/>
                                  <a:pt x="1444" y="867"/>
                                  <a:pt x="1445" y="867"/>
                                </a:cubicBezTo>
                                <a:cubicBezTo>
                                  <a:pt x="1447" y="865"/>
                                  <a:pt x="1448" y="864"/>
                                  <a:pt x="1450" y="858"/>
                                </a:cubicBezTo>
                                <a:cubicBezTo>
                                  <a:pt x="1451" y="857"/>
                                  <a:pt x="1451" y="856"/>
                                  <a:pt x="1452" y="854"/>
                                </a:cubicBezTo>
                                <a:cubicBezTo>
                                  <a:pt x="1454" y="849"/>
                                  <a:pt x="1455" y="842"/>
                                  <a:pt x="1457" y="837"/>
                                </a:cubicBezTo>
                                <a:cubicBezTo>
                                  <a:pt x="1457" y="833"/>
                                  <a:pt x="1458" y="830"/>
                                  <a:pt x="1459" y="828"/>
                                </a:cubicBezTo>
                                <a:cubicBezTo>
                                  <a:pt x="1460" y="825"/>
                                  <a:pt x="1461" y="823"/>
                                  <a:pt x="1464" y="822"/>
                                </a:cubicBezTo>
                                <a:cubicBezTo>
                                  <a:pt x="1464" y="822"/>
                                  <a:pt x="1464" y="822"/>
                                  <a:pt x="1464" y="822"/>
                                </a:cubicBezTo>
                                <a:cubicBezTo>
                                  <a:pt x="1466" y="821"/>
                                  <a:pt x="1469" y="820"/>
                                  <a:pt x="1473" y="821"/>
                                </a:cubicBezTo>
                                <a:cubicBezTo>
                                  <a:pt x="1477" y="821"/>
                                  <a:pt x="1481" y="823"/>
                                  <a:pt x="1483" y="826"/>
                                </a:cubicBezTo>
                                <a:cubicBezTo>
                                  <a:pt x="1485" y="828"/>
                                  <a:pt x="1486" y="832"/>
                                  <a:pt x="1487" y="838"/>
                                </a:cubicBezTo>
                                <a:cubicBezTo>
                                  <a:pt x="1487" y="842"/>
                                  <a:pt x="1487" y="846"/>
                                  <a:pt x="1487" y="849"/>
                                </a:cubicBezTo>
                                <a:cubicBezTo>
                                  <a:pt x="1488" y="853"/>
                                  <a:pt x="1488" y="856"/>
                                  <a:pt x="1489" y="862"/>
                                </a:cubicBezTo>
                                <a:cubicBezTo>
                                  <a:pt x="1490" y="867"/>
                                  <a:pt x="1491" y="870"/>
                                  <a:pt x="1492" y="874"/>
                                </a:cubicBezTo>
                                <a:cubicBezTo>
                                  <a:pt x="1493" y="878"/>
                                  <a:pt x="1495" y="883"/>
                                  <a:pt x="1498" y="892"/>
                                </a:cubicBezTo>
                                <a:cubicBezTo>
                                  <a:pt x="1501" y="900"/>
                                  <a:pt x="1502" y="906"/>
                                  <a:pt x="1504" y="911"/>
                                </a:cubicBezTo>
                                <a:cubicBezTo>
                                  <a:pt x="1505" y="915"/>
                                  <a:pt x="1505" y="919"/>
                                  <a:pt x="1505" y="924"/>
                                </a:cubicBezTo>
                                <a:cubicBezTo>
                                  <a:pt x="1505" y="925"/>
                                  <a:pt x="1505" y="925"/>
                                  <a:pt x="1505" y="925"/>
                                </a:cubicBezTo>
                                <a:cubicBezTo>
                                  <a:pt x="1507" y="924"/>
                                  <a:pt x="1510" y="925"/>
                                  <a:pt x="1515" y="927"/>
                                </a:cubicBezTo>
                                <a:cubicBezTo>
                                  <a:pt x="1515" y="927"/>
                                  <a:pt x="1515" y="927"/>
                                  <a:pt x="1515" y="927"/>
                                </a:cubicBezTo>
                                <a:cubicBezTo>
                                  <a:pt x="1519" y="929"/>
                                  <a:pt x="1522" y="930"/>
                                  <a:pt x="1524" y="930"/>
                                </a:cubicBezTo>
                                <a:cubicBezTo>
                                  <a:pt x="1525" y="930"/>
                                  <a:pt x="1526" y="930"/>
                                  <a:pt x="1527" y="929"/>
                                </a:cubicBezTo>
                                <a:cubicBezTo>
                                  <a:pt x="1528" y="927"/>
                                  <a:pt x="1530" y="925"/>
                                  <a:pt x="1530" y="923"/>
                                </a:cubicBezTo>
                                <a:cubicBezTo>
                                  <a:pt x="1531" y="920"/>
                                  <a:pt x="1531" y="917"/>
                                  <a:pt x="1530" y="913"/>
                                </a:cubicBezTo>
                                <a:cubicBezTo>
                                  <a:pt x="1530" y="913"/>
                                  <a:pt x="1530" y="913"/>
                                  <a:pt x="1530" y="913"/>
                                </a:cubicBezTo>
                                <a:cubicBezTo>
                                  <a:pt x="1530" y="913"/>
                                  <a:pt x="1530" y="913"/>
                                  <a:pt x="1530" y="913"/>
                                </a:cubicBezTo>
                                <a:cubicBezTo>
                                  <a:pt x="1527" y="903"/>
                                  <a:pt x="1524" y="895"/>
                                  <a:pt x="1526" y="886"/>
                                </a:cubicBezTo>
                                <a:cubicBezTo>
                                  <a:pt x="1527" y="881"/>
                                  <a:pt x="1528" y="877"/>
                                  <a:pt x="1530" y="875"/>
                                </a:cubicBezTo>
                                <a:cubicBezTo>
                                  <a:pt x="1532" y="872"/>
                                  <a:pt x="1535" y="870"/>
                                  <a:pt x="1540" y="870"/>
                                </a:cubicBezTo>
                                <a:cubicBezTo>
                                  <a:pt x="1541" y="870"/>
                                  <a:pt x="1542" y="869"/>
                                  <a:pt x="1543" y="868"/>
                                </a:cubicBezTo>
                                <a:cubicBezTo>
                                  <a:pt x="1544" y="867"/>
                                  <a:pt x="1544" y="866"/>
                                  <a:pt x="1544" y="864"/>
                                </a:cubicBezTo>
                                <a:cubicBezTo>
                                  <a:pt x="1544" y="861"/>
                                  <a:pt x="1544" y="856"/>
                                  <a:pt x="1544" y="851"/>
                                </a:cubicBezTo>
                                <a:cubicBezTo>
                                  <a:pt x="1544" y="844"/>
                                  <a:pt x="1544" y="835"/>
                                  <a:pt x="1544" y="830"/>
                                </a:cubicBezTo>
                                <a:cubicBezTo>
                                  <a:pt x="1544" y="827"/>
                                  <a:pt x="1544" y="823"/>
                                  <a:pt x="1544" y="821"/>
                                </a:cubicBezTo>
                                <a:cubicBezTo>
                                  <a:pt x="1543" y="816"/>
                                  <a:pt x="1543" y="812"/>
                                  <a:pt x="1545" y="808"/>
                                </a:cubicBezTo>
                                <a:cubicBezTo>
                                  <a:pt x="1545" y="807"/>
                                  <a:pt x="1545" y="807"/>
                                  <a:pt x="1545" y="807"/>
                                </a:cubicBezTo>
                                <a:cubicBezTo>
                                  <a:pt x="1545" y="807"/>
                                  <a:pt x="1545" y="807"/>
                                  <a:pt x="1545" y="807"/>
                                </a:cubicBezTo>
                                <a:cubicBezTo>
                                  <a:pt x="1547" y="804"/>
                                  <a:pt x="1550" y="802"/>
                                  <a:pt x="1554" y="802"/>
                                </a:cubicBezTo>
                                <a:cubicBezTo>
                                  <a:pt x="1556" y="802"/>
                                  <a:pt x="1559" y="802"/>
                                  <a:pt x="1562" y="804"/>
                                </a:cubicBezTo>
                                <a:cubicBezTo>
                                  <a:pt x="1562" y="804"/>
                                  <a:pt x="1563" y="804"/>
                                  <a:pt x="1563" y="805"/>
                                </a:cubicBezTo>
                                <a:cubicBezTo>
                                  <a:pt x="1564" y="805"/>
                                  <a:pt x="1566" y="805"/>
                                  <a:pt x="1568" y="806"/>
                                </a:cubicBezTo>
                                <a:cubicBezTo>
                                  <a:pt x="1573" y="806"/>
                                  <a:pt x="1578" y="807"/>
                                  <a:pt x="1583" y="810"/>
                                </a:cubicBezTo>
                                <a:cubicBezTo>
                                  <a:pt x="1586" y="812"/>
                                  <a:pt x="1589" y="814"/>
                                  <a:pt x="1591" y="814"/>
                                </a:cubicBezTo>
                                <a:cubicBezTo>
                                  <a:pt x="1592" y="814"/>
                                  <a:pt x="1592" y="814"/>
                                  <a:pt x="1593" y="814"/>
                                </a:cubicBezTo>
                                <a:cubicBezTo>
                                  <a:pt x="1593" y="813"/>
                                  <a:pt x="1594" y="810"/>
                                  <a:pt x="1596" y="808"/>
                                </a:cubicBezTo>
                                <a:cubicBezTo>
                                  <a:pt x="1597" y="803"/>
                                  <a:pt x="1599" y="798"/>
                                  <a:pt x="1600" y="794"/>
                                </a:cubicBezTo>
                                <a:cubicBezTo>
                                  <a:pt x="1602" y="787"/>
                                  <a:pt x="1610" y="774"/>
                                  <a:pt x="1614" y="765"/>
                                </a:cubicBezTo>
                                <a:cubicBezTo>
                                  <a:pt x="1615" y="764"/>
                                  <a:pt x="1615" y="764"/>
                                  <a:pt x="1615" y="764"/>
                                </a:cubicBezTo>
                                <a:cubicBezTo>
                                  <a:pt x="1615" y="764"/>
                                  <a:pt x="1615" y="764"/>
                                  <a:pt x="1615" y="764"/>
                                </a:cubicBezTo>
                                <a:cubicBezTo>
                                  <a:pt x="1618" y="759"/>
                                  <a:pt x="1621" y="754"/>
                                  <a:pt x="1623" y="749"/>
                                </a:cubicBezTo>
                                <a:cubicBezTo>
                                  <a:pt x="1625" y="744"/>
                                  <a:pt x="1626" y="739"/>
                                  <a:pt x="1626" y="735"/>
                                </a:cubicBezTo>
                                <a:cubicBezTo>
                                  <a:pt x="1626" y="732"/>
                                  <a:pt x="1625" y="729"/>
                                  <a:pt x="1625" y="727"/>
                                </a:cubicBezTo>
                                <a:cubicBezTo>
                                  <a:pt x="1623" y="723"/>
                                  <a:pt x="1623" y="720"/>
                                  <a:pt x="1624" y="715"/>
                                </a:cubicBezTo>
                                <a:cubicBezTo>
                                  <a:pt x="1626" y="712"/>
                                  <a:pt x="1627" y="709"/>
                                  <a:pt x="1629" y="706"/>
                                </a:cubicBezTo>
                                <a:cubicBezTo>
                                  <a:pt x="1631" y="704"/>
                                  <a:pt x="1634" y="701"/>
                                  <a:pt x="1636" y="699"/>
                                </a:cubicBezTo>
                                <a:cubicBezTo>
                                  <a:pt x="1638" y="697"/>
                                  <a:pt x="1641" y="694"/>
                                  <a:pt x="1644" y="690"/>
                                </a:cubicBezTo>
                                <a:cubicBezTo>
                                  <a:pt x="1647" y="687"/>
                                  <a:pt x="1649" y="684"/>
                                  <a:pt x="1649" y="683"/>
                                </a:cubicBezTo>
                                <a:cubicBezTo>
                                  <a:pt x="1649" y="682"/>
                                  <a:pt x="1650" y="681"/>
                                  <a:pt x="1650" y="679"/>
                                </a:cubicBezTo>
                                <a:cubicBezTo>
                                  <a:pt x="1651" y="678"/>
                                  <a:pt x="1653" y="675"/>
                                  <a:pt x="1653" y="669"/>
                                </a:cubicBezTo>
                                <a:cubicBezTo>
                                  <a:pt x="1653" y="665"/>
                                  <a:pt x="1653" y="662"/>
                                  <a:pt x="1652" y="658"/>
                                </a:cubicBezTo>
                                <a:cubicBezTo>
                                  <a:pt x="1652" y="653"/>
                                  <a:pt x="1652" y="649"/>
                                  <a:pt x="1652" y="645"/>
                                </a:cubicBezTo>
                                <a:cubicBezTo>
                                  <a:pt x="1652" y="642"/>
                                  <a:pt x="1655" y="638"/>
                                  <a:pt x="1657" y="634"/>
                                </a:cubicBezTo>
                                <a:cubicBezTo>
                                  <a:pt x="1661" y="630"/>
                                  <a:pt x="1664" y="627"/>
                                  <a:pt x="1668" y="626"/>
                                </a:cubicBezTo>
                                <a:cubicBezTo>
                                  <a:pt x="1671" y="624"/>
                                  <a:pt x="1674" y="623"/>
                                  <a:pt x="1677" y="621"/>
                                </a:cubicBezTo>
                                <a:cubicBezTo>
                                  <a:pt x="1680" y="619"/>
                                  <a:pt x="1684" y="617"/>
                                  <a:pt x="1689" y="614"/>
                                </a:cubicBezTo>
                                <a:cubicBezTo>
                                  <a:pt x="1693" y="612"/>
                                  <a:pt x="1698" y="608"/>
                                  <a:pt x="1702" y="604"/>
                                </a:cubicBezTo>
                                <a:cubicBezTo>
                                  <a:pt x="1707" y="601"/>
                                  <a:pt x="1712" y="597"/>
                                  <a:pt x="1717" y="594"/>
                                </a:cubicBezTo>
                                <a:cubicBezTo>
                                  <a:pt x="1721" y="592"/>
                                  <a:pt x="1726" y="590"/>
                                  <a:pt x="1730" y="588"/>
                                </a:cubicBezTo>
                                <a:cubicBezTo>
                                  <a:pt x="1734" y="587"/>
                                  <a:pt x="1738" y="586"/>
                                  <a:pt x="1741" y="586"/>
                                </a:cubicBezTo>
                                <a:cubicBezTo>
                                  <a:pt x="1745" y="585"/>
                                  <a:pt x="1749" y="585"/>
                                  <a:pt x="1753" y="587"/>
                                </a:cubicBezTo>
                                <a:cubicBezTo>
                                  <a:pt x="1757" y="588"/>
                                  <a:pt x="1761" y="591"/>
                                  <a:pt x="1766" y="595"/>
                                </a:cubicBezTo>
                                <a:cubicBezTo>
                                  <a:pt x="1769" y="598"/>
                                  <a:pt x="1773" y="601"/>
                                  <a:pt x="1775" y="602"/>
                                </a:cubicBezTo>
                                <a:cubicBezTo>
                                  <a:pt x="1775" y="602"/>
                                  <a:pt x="1775" y="603"/>
                                  <a:pt x="1775" y="602"/>
                                </a:cubicBezTo>
                                <a:cubicBezTo>
                                  <a:pt x="1777" y="600"/>
                                  <a:pt x="1775" y="597"/>
                                  <a:pt x="1773" y="593"/>
                                </a:cubicBezTo>
                                <a:cubicBezTo>
                                  <a:pt x="1773" y="592"/>
                                  <a:pt x="1773" y="592"/>
                                  <a:pt x="1773" y="592"/>
                                </a:cubicBezTo>
                                <a:cubicBezTo>
                                  <a:pt x="1772" y="591"/>
                                  <a:pt x="1771" y="589"/>
                                  <a:pt x="1770" y="587"/>
                                </a:cubicBezTo>
                                <a:cubicBezTo>
                                  <a:pt x="1768" y="582"/>
                                  <a:pt x="1765" y="576"/>
                                  <a:pt x="1765" y="573"/>
                                </a:cubicBezTo>
                                <a:cubicBezTo>
                                  <a:pt x="1764" y="570"/>
                                  <a:pt x="1765" y="567"/>
                                  <a:pt x="1767" y="563"/>
                                </a:cubicBezTo>
                                <a:cubicBezTo>
                                  <a:pt x="1768" y="560"/>
                                  <a:pt x="1771" y="556"/>
                                  <a:pt x="1775" y="553"/>
                                </a:cubicBezTo>
                                <a:cubicBezTo>
                                  <a:pt x="1777" y="551"/>
                                  <a:pt x="1779" y="549"/>
                                  <a:pt x="1781" y="548"/>
                                </a:cubicBezTo>
                                <a:cubicBezTo>
                                  <a:pt x="1783" y="547"/>
                                  <a:pt x="1785" y="546"/>
                                  <a:pt x="1787" y="542"/>
                                </a:cubicBezTo>
                                <a:cubicBezTo>
                                  <a:pt x="1788" y="539"/>
                                  <a:pt x="1788" y="537"/>
                                  <a:pt x="1788" y="536"/>
                                </a:cubicBezTo>
                                <a:cubicBezTo>
                                  <a:pt x="1788" y="536"/>
                                  <a:pt x="1788" y="536"/>
                                  <a:pt x="1788" y="536"/>
                                </a:cubicBezTo>
                                <a:cubicBezTo>
                                  <a:pt x="1788" y="534"/>
                                  <a:pt x="1788" y="532"/>
                                  <a:pt x="1788" y="529"/>
                                </a:cubicBezTo>
                                <a:cubicBezTo>
                                  <a:pt x="1785" y="526"/>
                                  <a:pt x="1778" y="521"/>
                                  <a:pt x="1775" y="520"/>
                                </a:cubicBezTo>
                                <a:cubicBezTo>
                                  <a:pt x="1772" y="519"/>
                                  <a:pt x="1770" y="520"/>
                                  <a:pt x="1768" y="520"/>
                                </a:cubicBezTo>
                                <a:cubicBezTo>
                                  <a:pt x="1765" y="521"/>
                                  <a:pt x="1763" y="521"/>
                                  <a:pt x="1760" y="521"/>
                                </a:cubicBezTo>
                                <a:cubicBezTo>
                                  <a:pt x="1756" y="521"/>
                                  <a:pt x="1753" y="521"/>
                                  <a:pt x="1749" y="521"/>
                                </a:cubicBezTo>
                                <a:cubicBezTo>
                                  <a:pt x="1745" y="521"/>
                                  <a:pt x="1741" y="521"/>
                                  <a:pt x="1738" y="521"/>
                                </a:cubicBezTo>
                                <a:cubicBezTo>
                                  <a:pt x="1730" y="520"/>
                                  <a:pt x="1729" y="517"/>
                                  <a:pt x="1729" y="512"/>
                                </a:cubicBezTo>
                                <a:cubicBezTo>
                                  <a:pt x="1729" y="511"/>
                                  <a:pt x="1730" y="510"/>
                                  <a:pt x="1730" y="508"/>
                                </a:cubicBezTo>
                                <a:cubicBezTo>
                                  <a:pt x="1730" y="508"/>
                                  <a:pt x="1730" y="507"/>
                                  <a:pt x="1730" y="506"/>
                                </a:cubicBezTo>
                                <a:cubicBezTo>
                                  <a:pt x="1731" y="500"/>
                                  <a:pt x="1738" y="495"/>
                                  <a:pt x="1743" y="492"/>
                                </a:cubicBezTo>
                                <a:cubicBezTo>
                                  <a:pt x="1744" y="491"/>
                                  <a:pt x="1745" y="490"/>
                                  <a:pt x="1746" y="489"/>
                                </a:cubicBezTo>
                                <a:cubicBezTo>
                                  <a:pt x="1746" y="488"/>
                                  <a:pt x="1746" y="488"/>
                                  <a:pt x="1745" y="487"/>
                                </a:cubicBezTo>
                                <a:cubicBezTo>
                                  <a:pt x="1745" y="485"/>
                                  <a:pt x="1744" y="484"/>
                                  <a:pt x="1742" y="483"/>
                                </a:cubicBezTo>
                                <a:cubicBezTo>
                                  <a:pt x="1741" y="482"/>
                                  <a:pt x="1740" y="481"/>
                                  <a:pt x="1739" y="481"/>
                                </a:cubicBezTo>
                                <a:cubicBezTo>
                                  <a:pt x="1737" y="481"/>
                                  <a:pt x="1734" y="482"/>
                                  <a:pt x="1731" y="484"/>
                                </a:cubicBezTo>
                                <a:cubicBezTo>
                                  <a:pt x="1728" y="485"/>
                                  <a:pt x="1724" y="487"/>
                                  <a:pt x="1721" y="486"/>
                                </a:cubicBezTo>
                                <a:cubicBezTo>
                                  <a:pt x="1715" y="484"/>
                                  <a:pt x="1715" y="480"/>
                                  <a:pt x="1714" y="473"/>
                                </a:cubicBezTo>
                                <a:cubicBezTo>
                                  <a:pt x="1714" y="472"/>
                                  <a:pt x="1714" y="472"/>
                                  <a:pt x="1714" y="471"/>
                                </a:cubicBezTo>
                                <a:cubicBezTo>
                                  <a:pt x="1714" y="466"/>
                                  <a:pt x="1718" y="463"/>
                                  <a:pt x="1722" y="460"/>
                                </a:cubicBezTo>
                                <a:cubicBezTo>
                                  <a:pt x="1724" y="458"/>
                                  <a:pt x="1726" y="456"/>
                                  <a:pt x="1726" y="456"/>
                                </a:cubicBezTo>
                                <a:cubicBezTo>
                                  <a:pt x="1725" y="453"/>
                                  <a:pt x="1723" y="452"/>
                                  <a:pt x="1721" y="451"/>
                                </a:cubicBezTo>
                                <a:cubicBezTo>
                                  <a:pt x="1719" y="450"/>
                                  <a:pt x="1716" y="450"/>
                                  <a:pt x="1714" y="450"/>
                                </a:cubicBezTo>
                                <a:cubicBezTo>
                                  <a:pt x="1711" y="451"/>
                                  <a:pt x="1707" y="455"/>
                                  <a:pt x="1702" y="459"/>
                                </a:cubicBezTo>
                                <a:cubicBezTo>
                                  <a:pt x="1698" y="463"/>
                                  <a:pt x="1693" y="467"/>
                                  <a:pt x="1688" y="471"/>
                                </a:cubicBezTo>
                                <a:cubicBezTo>
                                  <a:pt x="1677" y="478"/>
                                  <a:pt x="1674" y="476"/>
                                  <a:pt x="1669" y="473"/>
                                </a:cubicBezTo>
                                <a:cubicBezTo>
                                  <a:pt x="1667" y="472"/>
                                  <a:pt x="1666" y="471"/>
                                  <a:pt x="1663" y="471"/>
                                </a:cubicBezTo>
                                <a:cubicBezTo>
                                  <a:pt x="1659" y="470"/>
                                  <a:pt x="1653" y="470"/>
                                  <a:pt x="1648" y="469"/>
                                </a:cubicBezTo>
                                <a:cubicBezTo>
                                  <a:pt x="1642" y="467"/>
                                  <a:pt x="1635" y="465"/>
                                  <a:pt x="1628" y="461"/>
                                </a:cubicBezTo>
                                <a:cubicBezTo>
                                  <a:pt x="1622" y="458"/>
                                  <a:pt x="1621" y="458"/>
                                  <a:pt x="1619" y="461"/>
                                </a:cubicBezTo>
                                <a:cubicBezTo>
                                  <a:pt x="1617" y="462"/>
                                  <a:pt x="1615" y="465"/>
                                  <a:pt x="1611" y="467"/>
                                </a:cubicBezTo>
                                <a:cubicBezTo>
                                  <a:pt x="1606" y="471"/>
                                  <a:pt x="1602" y="475"/>
                                  <a:pt x="1598" y="479"/>
                                </a:cubicBezTo>
                                <a:cubicBezTo>
                                  <a:pt x="1594" y="484"/>
                                  <a:pt x="1590" y="488"/>
                                  <a:pt x="1584" y="492"/>
                                </a:cubicBezTo>
                                <a:cubicBezTo>
                                  <a:pt x="1576" y="498"/>
                                  <a:pt x="1571" y="498"/>
                                  <a:pt x="1564" y="498"/>
                                </a:cubicBezTo>
                                <a:cubicBezTo>
                                  <a:pt x="1561" y="498"/>
                                  <a:pt x="1557" y="498"/>
                                  <a:pt x="1551" y="499"/>
                                </a:cubicBezTo>
                                <a:cubicBezTo>
                                  <a:pt x="1544" y="501"/>
                                  <a:pt x="1542" y="504"/>
                                  <a:pt x="1540" y="509"/>
                                </a:cubicBezTo>
                                <a:cubicBezTo>
                                  <a:pt x="1538" y="512"/>
                                  <a:pt x="1536" y="515"/>
                                  <a:pt x="1533" y="518"/>
                                </a:cubicBezTo>
                                <a:cubicBezTo>
                                  <a:pt x="1528" y="523"/>
                                  <a:pt x="1525" y="525"/>
                                  <a:pt x="1522" y="527"/>
                                </a:cubicBezTo>
                                <a:cubicBezTo>
                                  <a:pt x="1520" y="529"/>
                                  <a:pt x="1518" y="530"/>
                                  <a:pt x="1515" y="533"/>
                                </a:cubicBezTo>
                                <a:cubicBezTo>
                                  <a:pt x="1513" y="536"/>
                                  <a:pt x="1512" y="537"/>
                                  <a:pt x="1512" y="539"/>
                                </a:cubicBezTo>
                                <a:cubicBezTo>
                                  <a:pt x="1511" y="542"/>
                                  <a:pt x="1510" y="545"/>
                                  <a:pt x="1504" y="551"/>
                                </a:cubicBezTo>
                                <a:cubicBezTo>
                                  <a:pt x="1496" y="560"/>
                                  <a:pt x="1490" y="560"/>
                                  <a:pt x="1482" y="560"/>
                                </a:cubicBezTo>
                                <a:cubicBezTo>
                                  <a:pt x="1480" y="560"/>
                                  <a:pt x="1477" y="560"/>
                                  <a:pt x="1474" y="560"/>
                                </a:cubicBezTo>
                                <a:cubicBezTo>
                                  <a:pt x="1467" y="560"/>
                                  <a:pt x="1462" y="560"/>
                                  <a:pt x="1458" y="560"/>
                                </a:cubicBezTo>
                                <a:cubicBezTo>
                                  <a:pt x="1454" y="560"/>
                                  <a:pt x="1451" y="560"/>
                                  <a:pt x="1449" y="561"/>
                                </a:cubicBezTo>
                                <a:cubicBezTo>
                                  <a:pt x="1448" y="561"/>
                                  <a:pt x="1447" y="562"/>
                                  <a:pt x="1446" y="562"/>
                                </a:cubicBezTo>
                                <a:cubicBezTo>
                                  <a:pt x="1446" y="562"/>
                                  <a:pt x="1446" y="563"/>
                                  <a:pt x="1446" y="564"/>
                                </a:cubicBezTo>
                                <a:cubicBezTo>
                                  <a:pt x="1446" y="565"/>
                                  <a:pt x="1447" y="568"/>
                                  <a:pt x="1448" y="571"/>
                                </a:cubicBezTo>
                                <a:cubicBezTo>
                                  <a:pt x="1449" y="573"/>
                                  <a:pt x="1450" y="574"/>
                                  <a:pt x="1452" y="575"/>
                                </a:cubicBezTo>
                                <a:cubicBezTo>
                                  <a:pt x="1453" y="576"/>
                                  <a:pt x="1455" y="576"/>
                                  <a:pt x="1457" y="577"/>
                                </a:cubicBezTo>
                                <a:cubicBezTo>
                                  <a:pt x="1460" y="578"/>
                                  <a:pt x="1464" y="578"/>
                                  <a:pt x="1467" y="581"/>
                                </a:cubicBezTo>
                                <a:cubicBezTo>
                                  <a:pt x="1474" y="586"/>
                                  <a:pt x="1472" y="591"/>
                                  <a:pt x="1470" y="599"/>
                                </a:cubicBezTo>
                                <a:cubicBezTo>
                                  <a:pt x="1470" y="600"/>
                                  <a:pt x="1469" y="602"/>
                                  <a:pt x="1469" y="603"/>
                                </a:cubicBezTo>
                                <a:cubicBezTo>
                                  <a:pt x="1468" y="606"/>
                                  <a:pt x="1469" y="608"/>
                                  <a:pt x="1470" y="609"/>
                                </a:cubicBezTo>
                                <a:cubicBezTo>
                                  <a:pt x="1472" y="612"/>
                                  <a:pt x="1474" y="614"/>
                                  <a:pt x="1474" y="618"/>
                                </a:cubicBezTo>
                                <a:cubicBezTo>
                                  <a:pt x="1474" y="627"/>
                                  <a:pt x="1465" y="627"/>
                                  <a:pt x="1451" y="627"/>
                                </a:cubicBezTo>
                                <a:cubicBezTo>
                                  <a:pt x="1448" y="627"/>
                                  <a:pt x="1448" y="627"/>
                                  <a:pt x="1448" y="627"/>
                                </a:cubicBezTo>
                                <a:cubicBezTo>
                                  <a:pt x="1448" y="627"/>
                                  <a:pt x="1448" y="627"/>
                                  <a:pt x="1448" y="627"/>
                                </a:cubicBezTo>
                                <a:cubicBezTo>
                                  <a:pt x="1442" y="627"/>
                                  <a:pt x="1437" y="627"/>
                                  <a:pt x="1432" y="627"/>
                                </a:cubicBezTo>
                                <a:cubicBezTo>
                                  <a:pt x="1417" y="627"/>
                                  <a:pt x="1398" y="627"/>
                                  <a:pt x="1385" y="627"/>
                                </a:cubicBezTo>
                                <a:cubicBezTo>
                                  <a:pt x="1373" y="627"/>
                                  <a:pt x="1369" y="625"/>
                                  <a:pt x="1366" y="624"/>
                                </a:cubicBezTo>
                                <a:cubicBezTo>
                                  <a:pt x="1364" y="623"/>
                                  <a:pt x="1362" y="623"/>
                                  <a:pt x="1358" y="622"/>
                                </a:cubicBezTo>
                                <a:cubicBezTo>
                                  <a:pt x="1353" y="622"/>
                                  <a:pt x="1349" y="624"/>
                                  <a:pt x="1345" y="627"/>
                                </a:cubicBezTo>
                                <a:cubicBezTo>
                                  <a:pt x="1341" y="629"/>
                                  <a:pt x="1336" y="632"/>
                                  <a:pt x="1330" y="632"/>
                                </a:cubicBezTo>
                                <a:cubicBezTo>
                                  <a:pt x="1320" y="632"/>
                                  <a:pt x="1318" y="631"/>
                                  <a:pt x="1312" y="628"/>
                                </a:cubicBezTo>
                                <a:cubicBezTo>
                                  <a:pt x="1311" y="628"/>
                                  <a:pt x="1309" y="627"/>
                                  <a:pt x="1306" y="626"/>
                                </a:cubicBezTo>
                                <a:cubicBezTo>
                                  <a:pt x="1302" y="624"/>
                                  <a:pt x="1300" y="624"/>
                                  <a:pt x="1297" y="624"/>
                                </a:cubicBezTo>
                                <a:cubicBezTo>
                                  <a:pt x="1293" y="625"/>
                                  <a:pt x="1289" y="625"/>
                                  <a:pt x="1280" y="621"/>
                                </a:cubicBezTo>
                                <a:cubicBezTo>
                                  <a:pt x="1273" y="617"/>
                                  <a:pt x="1269" y="614"/>
                                  <a:pt x="1266" y="611"/>
                                </a:cubicBezTo>
                                <a:cubicBezTo>
                                  <a:pt x="1263" y="607"/>
                                  <a:pt x="1262" y="603"/>
                                  <a:pt x="1262" y="600"/>
                                </a:cubicBezTo>
                                <a:cubicBezTo>
                                  <a:pt x="1261" y="596"/>
                                  <a:pt x="1262" y="593"/>
                                  <a:pt x="1264" y="591"/>
                                </a:cubicBezTo>
                                <a:cubicBezTo>
                                  <a:pt x="1264" y="591"/>
                                  <a:pt x="1264" y="591"/>
                                  <a:pt x="1264" y="591"/>
                                </a:cubicBezTo>
                                <a:cubicBezTo>
                                  <a:pt x="1264" y="591"/>
                                  <a:pt x="1265" y="590"/>
                                  <a:pt x="1265" y="589"/>
                                </a:cubicBezTo>
                                <a:cubicBezTo>
                                  <a:pt x="1265" y="589"/>
                                  <a:pt x="1265" y="589"/>
                                  <a:pt x="1265" y="589"/>
                                </a:cubicBezTo>
                                <a:cubicBezTo>
                                  <a:pt x="1265" y="588"/>
                                  <a:pt x="1265" y="588"/>
                                  <a:pt x="1265" y="588"/>
                                </a:cubicBezTo>
                                <a:cubicBezTo>
                                  <a:pt x="1265" y="585"/>
                                  <a:pt x="1265" y="583"/>
                                  <a:pt x="1263" y="577"/>
                                </a:cubicBezTo>
                                <a:cubicBezTo>
                                  <a:pt x="1262" y="573"/>
                                  <a:pt x="1262" y="569"/>
                                  <a:pt x="1262" y="565"/>
                                </a:cubicBezTo>
                                <a:cubicBezTo>
                                  <a:pt x="1262" y="560"/>
                                  <a:pt x="1262" y="556"/>
                                  <a:pt x="1263" y="552"/>
                                </a:cubicBezTo>
                                <a:cubicBezTo>
                                  <a:pt x="1264" y="550"/>
                                  <a:pt x="1264" y="547"/>
                                  <a:pt x="1262" y="545"/>
                                </a:cubicBezTo>
                                <a:cubicBezTo>
                                  <a:pt x="1261" y="542"/>
                                  <a:pt x="1259" y="541"/>
                                  <a:pt x="1256" y="540"/>
                                </a:cubicBezTo>
                                <a:cubicBezTo>
                                  <a:pt x="1253" y="539"/>
                                  <a:pt x="1251" y="539"/>
                                  <a:pt x="1249" y="540"/>
                                </a:cubicBezTo>
                                <a:cubicBezTo>
                                  <a:pt x="1246" y="540"/>
                                  <a:pt x="1244" y="542"/>
                                  <a:pt x="1241" y="543"/>
                                </a:cubicBezTo>
                                <a:cubicBezTo>
                                  <a:pt x="1240" y="543"/>
                                  <a:pt x="1238" y="545"/>
                                  <a:pt x="1236" y="546"/>
                                </a:cubicBezTo>
                                <a:cubicBezTo>
                                  <a:pt x="1233" y="549"/>
                                  <a:pt x="1229" y="552"/>
                                  <a:pt x="1224" y="555"/>
                                </a:cubicBezTo>
                                <a:cubicBezTo>
                                  <a:pt x="1225" y="557"/>
                                  <a:pt x="1225" y="562"/>
                                  <a:pt x="1225" y="566"/>
                                </a:cubicBezTo>
                                <a:cubicBezTo>
                                  <a:pt x="1225" y="568"/>
                                  <a:pt x="1224" y="571"/>
                                  <a:pt x="1224" y="574"/>
                                </a:cubicBezTo>
                                <a:cubicBezTo>
                                  <a:pt x="1223" y="577"/>
                                  <a:pt x="1223" y="581"/>
                                  <a:pt x="1222" y="587"/>
                                </a:cubicBezTo>
                                <a:cubicBezTo>
                                  <a:pt x="1221" y="596"/>
                                  <a:pt x="1221" y="599"/>
                                  <a:pt x="1222" y="604"/>
                                </a:cubicBezTo>
                                <a:cubicBezTo>
                                  <a:pt x="1223" y="605"/>
                                  <a:pt x="1223" y="607"/>
                                  <a:pt x="1224" y="610"/>
                                </a:cubicBezTo>
                                <a:cubicBezTo>
                                  <a:pt x="1224" y="614"/>
                                  <a:pt x="1225" y="617"/>
                                  <a:pt x="1226" y="619"/>
                                </a:cubicBezTo>
                                <a:cubicBezTo>
                                  <a:pt x="1227" y="623"/>
                                  <a:pt x="1228" y="627"/>
                                  <a:pt x="1228" y="631"/>
                                </a:cubicBezTo>
                                <a:cubicBezTo>
                                  <a:pt x="1228" y="638"/>
                                  <a:pt x="1224" y="642"/>
                                  <a:pt x="1220" y="646"/>
                                </a:cubicBezTo>
                                <a:cubicBezTo>
                                  <a:pt x="1219" y="647"/>
                                  <a:pt x="1218" y="648"/>
                                  <a:pt x="1217" y="649"/>
                                </a:cubicBezTo>
                                <a:cubicBezTo>
                                  <a:pt x="1217" y="649"/>
                                  <a:pt x="1217" y="649"/>
                                  <a:pt x="1217" y="649"/>
                                </a:cubicBezTo>
                                <a:cubicBezTo>
                                  <a:pt x="1215" y="653"/>
                                  <a:pt x="1210" y="653"/>
                                  <a:pt x="1200" y="653"/>
                                </a:cubicBezTo>
                                <a:cubicBezTo>
                                  <a:pt x="1197" y="652"/>
                                  <a:pt x="1194" y="652"/>
                                  <a:pt x="1189" y="652"/>
                                </a:cubicBezTo>
                                <a:cubicBezTo>
                                  <a:pt x="1176" y="652"/>
                                  <a:pt x="1176" y="652"/>
                                  <a:pt x="1166" y="652"/>
                                </a:cubicBezTo>
                                <a:cubicBezTo>
                                  <a:pt x="1163" y="652"/>
                                  <a:pt x="1163" y="652"/>
                                  <a:pt x="1163" y="652"/>
                                </a:cubicBezTo>
                                <a:cubicBezTo>
                                  <a:pt x="1154" y="651"/>
                                  <a:pt x="1152" y="648"/>
                                  <a:pt x="1151" y="645"/>
                                </a:cubicBezTo>
                                <a:cubicBezTo>
                                  <a:pt x="1151" y="645"/>
                                  <a:pt x="1150" y="644"/>
                                  <a:pt x="1150" y="644"/>
                                </a:cubicBezTo>
                                <a:cubicBezTo>
                                  <a:pt x="1146" y="644"/>
                                  <a:pt x="1143" y="646"/>
                                  <a:pt x="1141" y="647"/>
                                </a:cubicBezTo>
                                <a:cubicBezTo>
                                  <a:pt x="1139" y="649"/>
                                  <a:pt x="1137" y="650"/>
                                  <a:pt x="1135" y="650"/>
                                </a:cubicBezTo>
                                <a:cubicBezTo>
                                  <a:pt x="1131" y="651"/>
                                  <a:pt x="1128" y="649"/>
                                  <a:pt x="1124" y="646"/>
                                </a:cubicBezTo>
                                <a:cubicBezTo>
                                  <a:pt x="1121" y="644"/>
                                  <a:pt x="1117" y="642"/>
                                  <a:pt x="1111" y="639"/>
                                </a:cubicBezTo>
                                <a:cubicBezTo>
                                  <a:pt x="1104" y="636"/>
                                  <a:pt x="1101" y="637"/>
                                  <a:pt x="1097" y="638"/>
                                </a:cubicBezTo>
                                <a:cubicBezTo>
                                  <a:pt x="1094" y="638"/>
                                  <a:pt x="1091" y="639"/>
                                  <a:pt x="1088" y="639"/>
                                </a:cubicBezTo>
                                <a:cubicBezTo>
                                  <a:pt x="1080" y="639"/>
                                  <a:pt x="1076" y="635"/>
                                  <a:pt x="1072" y="631"/>
                                </a:cubicBezTo>
                                <a:cubicBezTo>
                                  <a:pt x="1070" y="629"/>
                                  <a:pt x="1068" y="627"/>
                                  <a:pt x="1066" y="626"/>
                                </a:cubicBezTo>
                                <a:cubicBezTo>
                                  <a:pt x="1063" y="625"/>
                                  <a:pt x="1062" y="626"/>
                                  <a:pt x="1060" y="627"/>
                                </a:cubicBezTo>
                                <a:cubicBezTo>
                                  <a:pt x="1057" y="628"/>
                                  <a:pt x="1054" y="629"/>
                                  <a:pt x="1049" y="629"/>
                                </a:cubicBezTo>
                                <a:cubicBezTo>
                                  <a:pt x="1041" y="629"/>
                                  <a:pt x="1036" y="623"/>
                                  <a:pt x="1032" y="618"/>
                                </a:cubicBezTo>
                                <a:cubicBezTo>
                                  <a:pt x="1031" y="617"/>
                                  <a:pt x="1029" y="615"/>
                                  <a:pt x="1028" y="614"/>
                                </a:cubicBezTo>
                                <a:cubicBezTo>
                                  <a:pt x="1027" y="613"/>
                                  <a:pt x="1024" y="613"/>
                                  <a:pt x="1022" y="613"/>
                                </a:cubicBezTo>
                                <a:cubicBezTo>
                                  <a:pt x="1016" y="612"/>
                                  <a:pt x="1010" y="611"/>
                                  <a:pt x="1004" y="604"/>
                                </a:cubicBezTo>
                                <a:cubicBezTo>
                                  <a:pt x="1000" y="598"/>
                                  <a:pt x="998" y="595"/>
                                  <a:pt x="997" y="592"/>
                                </a:cubicBezTo>
                                <a:cubicBezTo>
                                  <a:pt x="996" y="589"/>
                                  <a:pt x="995" y="588"/>
                                  <a:pt x="993" y="586"/>
                                </a:cubicBezTo>
                                <a:cubicBezTo>
                                  <a:pt x="991" y="584"/>
                                  <a:pt x="989" y="583"/>
                                  <a:pt x="986" y="583"/>
                                </a:cubicBezTo>
                                <a:cubicBezTo>
                                  <a:pt x="983" y="582"/>
                                  <a:pt x="980" y="582"/>
                                  <a:pt x="977" y="583"/>
                                </a:cubicBezTo>
                                <a:cubicBezTo>
                                  <a:pt x="974" y="584"/>
                                  <a:pt x="968" y="585"/>
                                  <a:pt x="964" y="586"/>
                                </a:cubicBezTo>
                                <a:cubicBezTo>
                                  <a:pt x="960" y="586"/>
                                  <a:pt x="956" y="587"/>
                                  <a:pt x="954" y="587"/>
                                </a:cubicBezTo>
                                <a:cubicBezTo>
                                  <a:pt x="950" y="587"/>
                                  <a:pt x="947" y="586"/>
                                  <a:pt x="943" y="584"/>
                                </a:cubicBezTo>
                                <a:cubicBezTo>
                                  <a:pt x="940" y="583"/>
                                  <a:pt x="937" y="581"/>
                                  <a:pt x="935" y="581"/>
                                </a:cubicBezTo>
                                <a:cubicBezTo>
                                  <a:pt x="934" y="581"/>
                                  <a:pt x="933" y="583"/>
                                  <a:pt x="932" y="584"/>
                                </a:cubicBezTo>
                                <a:cubicBezTo>
                                  <a:pt x="930" y="585"/>
                                  <a:pt x="929" y="587"/>
                                  <a:pt x="926" y="588"/>
                                </a:cubicBezTo>
                                <a:cubicBezTo>
                                  <a:pt x="922" y="589"/>
                                  <a:pt x="918" y="587"/>
                                  <a:pt x="914" y="585"/>
                                </a:cubicBezTo>
                                <a:cubicBezTo>
                                  <a:pt x="912" y="583"/>
                                  <a:pt x="910" y="582"/>
                                  <a:pt x="908" y="582"/>
                                </a:cubicBezTo>
                                <a:cubicBezTo>
                                  <a:pt x="906" y="581"/>
                                  <a:pt x="906" y="581"/>
                                  <a:pt x="906" y="581"/>
                                </a:cubicBezTo>
                                <a:cubicBezTo>
                                  <a:pt x="900" y="580"/>
                                  <a:pt x="894" y="578"/>
                                  <a:pt x="887" y="571"/>
                                </a:cubicBezTo>
                                <a:cubicBezTo>
                                  <a:pt x="882" y="566"/>
                                  <a:pt x="879" y="564"/>
                                  <a:pt x="874" y="562"/>
                                </a:cubicBezTo>
                                <a:cubicBezTo>
                                  <a:pt x="873" y="561"/>
                                  <a:pt x="872" y="561"/>
                                  <a:pt x="871" y="560"/>
                                </a:cubicBezTo>
                                <a:cubicBezTo>
                                  <a:pt x="867" y="559"/>
                                  <a:pt x="864" y="557"/>
                                  <a:pt x="861" y="556"/>
                                </a:cubicBezTo>
                                <a:cubicBezTo>
                                  <a:pt x="857" y="554"/>
                                  <a:pt x="854" y="553"/>
                                  <a:pt x="851" y="552"/>
                                </a:cubicBezTo>
                                <a:cubicBezTo>
                                  <a:pt x="849" y="552"/>
                                  <a:pt x="846" y="552"/>
                                  <a:pt x="843" y="552"/>
                                </a:cubicBezTo>
                                <a:cubicBezTo>
                                  <a:pt x="838" y="552"/>
                                  <a:pt x="832" y="552"/>
                                  <a:pt x="827" y="549"/>
                                </a:cubicBezTo>
                                <a:cubicBezTo>
                                  <a:pt x="820" y="547"/>
                                  <a:pt x="818" y="544"/>
                                  <a:pt x="814" y="539"/>
                                </a:cubicBezTo>
                                <a:cubicBezTo>
                                  <a:pt x="813" y="537"/>
                                  <a:pt x="812" y="535"/>
                                  <a:pt x="809" y="532"/>
                                </a:cubicBezTo>
                                <a:cubicBezTo>
                                  <a:pt x="806" y="528"/>
                                  <a:pt x="799" y="524"/>
                                  <a:pt x="792" y="521"/>
                                </a:cubicBezTo>
                                <a:cubicBezTo>
                                  <a:pt x="787" y="519"/>
                                  <a:pt x="782" y="517"/>
                                  <a:pt x="778" y="514"/>
                                </a:cubicBezTo>
                                <a:cubicBezTo>
                                  <a:pt x="773" y="511"/>
                                  <a:pt x="769" y="509"/>
                                  <a:pt x="766" y="508"/>
                                </a:cubicBezTo>
                                <a:cubicBezTo>
                                  <a:pt x="762" y="506"/>
                                  <a:pt x="758" y="505"/>
                                  <a:pt x="755" y="505"/>
                                </a:cubicBezTo>
                                <a:cubicBezTo>
                                  <a:pt x="753" y="505"/>
                                  <a:pt x="752" y="505"/>
                                  <a:pt x="750" y="506"/>
                                </a:cubicBezTo>
                                <a:cubicBezTo>
                                  <a:pt x="746" y="507"/>
                                  <a:pt x="742" y="508"/>
                                  <a:pt x="737" y="505"/>
                                </a:cubicBezTo>
                                <a:cubicBezTo>
                                  <a:pt x="734" y="503"/>
                                  <a:pt x="732" y="500"/>
                                  <a:pt x="729" y="497"/>
                                </a:cubicBezTo>
                                <a:cubicBezTo>
                                  <a:pt x="727" y="494"/>
                                  <a:pt x="724" y="490"/>
                                  <a:pt x="723" y="488"/>
                                </a:cubicBezTo>
                                <a:cubicBezTo>
                                  <a:pt x="720" y="482"/>
                                  <a:pt x="722" y="478"/>
                                  <a:pt x="725" y="470"/>
                                </a:cubicBezTo>
                                <a:cubicBezTo>
                                  <a:pt x="725" y="469"/>
                                  <a:pt x="725" y="468"/>
                                  <a:pt x="726" y="467"/>
                                </a:cubicBezTo>
                                <a:cubicBezTo>
                                  <a:pt x="728" y="462"/>
                                  <a:pt x="730" y="459"/>
                                  <a:pt x="732" y="457"/>
                                </a:cubicBezTo>
                                <a:cubicBezTo>
                                  <a:pt x="733" y="455"/>
                                  <a:pt x="734" y="454"/>
                                  <a:pt x="734" y="451"/>
                                </a:cubicBezTo>
                                <a:cubicBezTo>
                                  <a:pt x="735" y="445"/>
                                  <a:pt x="735" y="443"/>
                                  <a:pt x="740" y="437"/>
                                </a:cubicBezTo>
                                <a:cubicBezTo>
                                  <a:pt x="741" y="436"/>
                                  <a:pt x="742" y="435"/>
                                  <a:pt x="742" y="434"/>
                                </a:cubicBezTo>
                                <a:cubicBezTo>
                                  <a:pt x="745" y="431"/>
                                  <a:pt x="745" y="430"/>
                                  <a:pt x="745" y="429"/>
                                </a:cubicBezTo>
                                <a:cubicBezTo>
                                  <a:pt x="744" y="427"/>
                                  <a:pt x="744" y="424"/>
                                  <a:pt x="746" y="420"/>
                                </a:cubicBezTo>
                                <a:cubicBezTo>
                                  <a:pt x="749" y="411"/>
                                  <a:pt x="755" y="407"/>
                                  <a:pt x="764" y="402"/>
                                </a:cubicBezTo>
                                <a:cubicBezTo>
                                  <a:pt x="765" y="401"/>
                                  <a:pt x="765" y="401"/>
                                  <a:pt x="765" y="401"/>
                                </a:cubicBezTo>
                                <a:cubicBezTo>
                                  <a:pt x="770" y="398"/>
                                  <a:pt x="770" y="397"/>
                                  <a:pt x="771" y="395"/>
                                </a:cubicBezTo>
                                <a:cubicBezTo>
                                  <a:pt x="771" y="394"/>
                                  <a:pt x="771" y="394"/>
                                  <a:pt x="771" y="394"/>
                                </a:cubicBezTo>
                                <a:cubicBezTo>
                                  <a:pt x="767" y="392"/>
                                  <a:pt x="761" y="389"/>
                                  <a:pt x="756" y="387"/>
                                </a:cubicBezTo>
                                <a:cubicBezTo>
                                  <a:pt x="747" y="382"/>
                                  <a:pt x="738" y="377"/>
                                  <a:pt x="735" y="374"/>
                                </a:cubicBezTo>
                                <a:cubicBezTo>
                                  <a:pt x="730" y="370"/>
                                  <a:pt x="731" y="367"/>
                                  <a:pt x="731" y="363"/>
                                </a:cubicBezTo>
                                <a:cubicBezTo>
                                  <a:pt x="732" y="361"/>
                                  <a:pt x="732" y="360"/>
                                  <a:pt x="731" y="358"/>
                                </a:cubicBezTo>
                                <a:cubicBezTo>
                                  <a:pt x="730" y="356"/>
                                  <a:pt x="726" y="354"/>
                                  <a:pt x="721" y="352"/>
                                </a:cubicBezTo>
                                <a:cubicBezTo>
                                  <a:pt x="716" y="350"/>
                                  <a:pt x="711" y="348"/>
                                  <a:pt x="707" y="347"/>
                                </a:cubicBezTo>
                                <a:cubicBezTo>
                                  <a:pt x="703" y="346"/>
                                  <a:pt x="699" y="345"/>
                                  <a:pt x="694" y="343"/>
                                </a:cubicBezTo>
                                <a:cubicBezTo>
                                  <a:pt x="690" y="342"/>
                                  <a:pt x="685" y="340"/>
                                  <a:pt x="680" y="337"/>
                                </a:cubicBezTo>
                                <a:cubicBezTo>
                                  <a:pt x="674" y="333"/>
                                  <a:pt x="670" y="328"/>
                                  <a:pt x="666" y="323"/>
                                </a:cubicBezTo>
                                <a:cubicBezTo>
                                  <a:pt x="664" y="320"/>
                                  <a:pt x="663" y="318"/>
                                  <a:pt x="662" y="318"/>
                                </a:cubicBezTo>
                                <a:cubicBezTo>
                                  <a:pt x="661" y="318"/>
                                  <a:pt x="660" y="319"/>
                                  <a:pt x="659" y="319"/>
                                </a:cubicBezTo>
                                <a:cubicBezTo>
                                  <a:pt x="657" y="321"/>
                                  <a:pt x="654" y="323"/>
                                  <a:pt x="649" y="322"/>
                                </a:cubicBezTo>
                                <a:cubicBezTo>
                                  <a:pt x="640" y="322"/>
                                  <a:pt x="639" y="314"/>
                                  <a:pt x="638" y="305"/>
                                </a:cubicBezTo>
                                <a:cubicBezTo>
                                  <a:pt x="638" y="304"/>
                                  <a:pt x="638" y="304"/>
                                  <a:pt x="638" y="304"/>
                                </a:cubicBezTo>
                                <a:cubicBezTo>
                                  <a:pt x="638" y="304"/>
                                  <a:pt x="638" y="304"/>
                                  <a:pt x="638" y="304"/>
                                </a:cubicBezTo>
                                <a:cubicBezTo>
                                  <a:pt x="638" y="301"/>
                                  <a:pt x="638" y="296"/>
                                  <a:pt x="638" y="290"/>
                                </a:cubicBezTo>
                                <a:cubicBezTo>
                                  <a:pt x="638" y="285"/>
                                  <a:pt x="638" y="279"/>
                                  <a:pt x="638" y="276"/>
                                </a:cubicBezTo>
                                <a:cubicBezTo>
                                  <a:pt x="637" y="275"/>
                                  <a:pt x="635" y="271"/>
                                  <a:pt x="632" y="268"/>
                                </a:cubicBezTo>
                                <a:cubicBezTo>
                                  <a:pt x="628" y="264"/>
                                  <a:pt x="624" y="259"/>
                                  <a:pt x="622" y="253"/>
                                </a:cubicBezTo>
                                <a:cubicBezTo>
                                  <a:pt x="621" y="249"/>
                                  <a:pt x="621" y="244"/>
                                  <a:pt x="622" y="241"/>
                                </a:cubicBezTo>
                                <a:cubicBezTo>
                                  <a:pt x="623" y="236"/>
                                  <a:pt x="625" y="232"/>
                                  <a:pt x="627" y="229"/>
                                </a:cubicBezTo>
                                <a:cubicBezTo>
                                  <a:pt x="629" y="227"/>
                                  <a:pt x="633" y="226"/>
                                  <a:pt x="637" y="226"/>
                                </a:cubicBezTo>
                                <a:cubicBezTo>
                                  <a:pt x="641" y="226"/>
                                  <a:pt x="646" y="226"/>
                                  <a:pt x="648" y="228"/>
                                </a:cubicBezTo>
                                <a:cubicBezTo>
                                  <a:pt x="650" y="229"/>
                                  <a:pt x="652" y="231"/>
                                  <a:pt x="654" y="234"/>
                                </a:cubicBezTo>
                                <a:cubicBezTo>
                                  <a:pt x="656" y="237"/>
                                  <a:pt x="660" y="241"/>
                                  <a:pt x="661" y="241"/>
                                </a:cubicBezTo>
                                <a:cubicBezTo>
                                  <a:pt x="663" y="241"/>
                                  <a:pt x="665" y="239"/>
                                  <a:pt x="668" y="236"/>
                                </a:cubicBezTo>
                                <a:cubicBezTo>
                                  <a:pt x="670" y="234"/>
                                  <a:pt x="673" y="232"/>
                                  <a:pt x="676" y="230"/>
                                </a:cubicBezTo>
                                <a:cubicBezTo>
                                  <a:pt x="679" y="228"/>
                                  <a:pt x="682" y="225"/>
                                  <a:pt x="684" y="222"/>
                                </a:cubicBezTo>
                                <a:cubicBezTo>
                                  <a:pt x="685" y="219"/>
                                  <a:pt x="686" y="217"/>
                                  <a:pt x="685" y="215"/>
                                </a:cubicBezTo>
                                <a:cubicBezTo>
                                  <a:pt x="685" y="213"/>
                                  <a:pt x="684" y="211"/>
                                  <a:pt x="684" y="209"/>
                                </a:cubicBezTo>
                                <a:cubicBezTo>
                                  <a:pt x="683" y="204"/>
                                  <a:pt x="682" y="199"/>
                                  <a:pt x="680" y="195"/>
                                </a:cubicBezTo>
                                <a:cubicBezTo>
                                  <a:pt x="678" y="193"/>
                                  <a:pt x="677" y="192"/>
                                  <a:pt x="675" y="192"/>
                                </a:cubicBezTo>
                                <a:cubicBezTo>
                                  <a:pt x="673" y="191"/>
                                  <a:pt x="670" y="191"/>
                                  <a:pt x="666" y="189"/>
                                </a:cubicBezTo>
                                <a:cubicBezTo>
                                  <a:pt x="662" y="187"/>
                                  <a:pt x="658" y="184"/>
                                  <a:pt x="656" y="182"/>
                                </a:cubicBezTo>
                                <a:cubicBezTo>
                                  <a:pt x="653" y="178"/>
                                  <a:pt x="651" y="175"/>
                                  <a:pt x="650" y="172"/>
                                </a:cubicBezTo>
                                <a:cubicBezTo>
                                  <a:pt x="650" y="172"/>
                                  <a:pt x="650" y="172"/>
                                  <a:pt x="650" y="172"/>
                                </a:cubicBezTo>
                                <a:cubicBezTo>
                                  <a:pt x="650" y="168"/>
                                  <a:pt x="652" y="164"/>
                                  <a:pt x="654" y="160"/>
                                </a:cubicBezTo>
                                <a:cubicBezTo>
                                  <a:pt x="656" y="158"/>
                                  <a:pt x="658" y="155"/>
                                  <a:pt x="658" y="153"/>
                                </a:cubicBezTo>
                                <a:cubicBezTo>
                                  <a:pt x="658" y="151"/>
                                  <a:pt x="657" y="149"/>
                                  <a:pt x="657" y="146"/>
                                </a:cubicBezTo>
                                <a:cubicBezTo>
                                  <a:pt x="655" y="141"/>
                                  <a:pt x="654" y="137"/>
                                  <a:pt x="656" y="133"/>
                                </a:cubicBezTo>
                                <a:cubicBezTo>
                                  <a:pt x="658" y="127"/>
                                  <a:pt x="662" y="127"/>
                                  <a:pt x="669" y="127"/>
                                </a:cubicBezTo>
                                <a:cubicBezTo>
                                  <a:pt x="673" y="126"/>
                                  <a:pt x="678" y="126"/>
                                  <a:pt x="684" y="123"/>
                                </a:cubicBezTo>
                                <a:cubicBezTo>
                                  <a:pt x="690" y="121"/>
                                  <a:pt x="690" y="119"/>
                                  <a:pt x="690" y="116"/>
                                </a:cubicBezTo>
                                <a:cubicBezTo>
                                  <a:pt x="690" y="113"/>
                                  <a:pt x="690" y="110"/>
                                  <a:pt x="692" y="105"/>
                                </a:cubicBezTo>
                                <a:cubicBezTo>
                                  <a:pt x="695" y="98"/>
                                  <a:pt x="699" y="98"/>
                                  <a:pt x="703" y="97"/>
                                </a:cubicBezTo>
                                <a:cubicBezTo>
                                  <a:pt x="704" y="97"/>
                                  <a:pt x="706" y="97"/>
                                  <a:pt x="707" y="95"/>
                                </a:cubicBezTo>
                                <a:cubicBezTo>
                                  <a:pt x="708" y="93"/>
                                  <a:pt x="710" y="90"/>
                                  <a:pt x="712" y="87"/>
                                </a:cubicBezTo>
                                <a:cubicBezTo>
                                  <a:pt x="717" y="78"/>
                                  <a:pt x="723" y="66"/>
                                  <a:pt x="733" y="58"/>
                                </a:cubicBezTo>
                                <a:cubicBezTo>
                                  <a:pt x="733" y="58"/>
                                  <a:pt x="733" y="58"/>
                                  <a:pt x="733" y="58"/>
                                </a:cubicBezTo>
                                <a:cubicBezTo>
                                  <a:pt x="733" y="58"/>
                                  <a:pt x="733" y="58"/>
                                  <a:pt x="733" y="58"/>
                                </a:cubicBezTo>
                                <a:cubicBezTo>
                                  <a:pt x="738" y="54"/>
                                  <a:pt x="740" y="48"/>
                                  <a:pt x="741" y="44"/>
                                </a:cubicBezTo>
                                <a:cubicBezTo>
                                  <a:pt x="741" y="39"/>
                                  <a:pt x="740" y="36"/>
                                  <a:pt x="738" y="33"/>
                                </a:cubicBezTo>
                                <a:cubicBezTo>
                                  <a:pt x="738" y="33"/>
                                  <a:pt x="738" y="33"/>
                                  <a:pt x="738" y="33"/>
                                </a:cubicBezTo>
                                <a:cubicBezTo>
                                  <a:pt x="738" y="33"/>
                                  <a:pt x="738" y="33"/>
                                  <a:pt x="738" y="33"/>
                                </a:cubicBezTo>
                                <a:cubicBezTo>
                                  <a:pt x="737" y="32"/>
                                  <a:pt x="734" y="32"/>
                                  <a:pt x="731" y="32"/>
                                </a:cubicBezTo>
                                <a:cubicBezTo>
                                  <a:pt x="727" y="33"/>
                                  <a:pt x="722" y="33"/>
                                  <a:pt x="717" y="30"/>
                                </a:cubicBezTo>
                                <a:cubicBezTo>
                                  <a:pt x="712" y="27"/>
                                  <a:pt x="704" y="21"/>
                                  <a:pt x="697" y="15"/>
                                </a:cubicBezTo>
                                <a:cubicBezTo>
                                  <a:pt x="691" y="10"/>
                                  <a:pt x="686" y="6"/>
                                  <a:pt x="683" y="4"/>
                                </a:cubicBezTo>
                                <a:cubicBezTo>
                                  <a:pt x="677" y="0"/>
                                  <a:pt x="672" y="0"/>
                                  <a:pt x="665" y="0"/>
                                </a:cubicBezTo>
                                <a:cubicBezTo>
                                  <a:pt x="664" y="1"/>
                                  <a:pt x="662" y="1"/>
                                  <a:pt x="660" y="1"/>
                                </a:cubicBezTo>
                                <a:cubicBezTo>
                                  <a:pt x="655" y="1"/>
                                  <a:pt x="649" y="2"/>
                                  <a:pt x="643" y="4"/>
                                </a:cubicBezTo>
                                <a:cubicBezTo>
                                  <a:pt x="637" y="5"/>
                                  <a:pt x="631" y="8"/>
                                  <a:pt x="625" y="10"/>
                                </a:cubicBezTo>
                                <a:cubicBezTo>
                                  <a:pt x="619" y="13"/>
                                  <a:pt x="613" y="18"/>
                                  <a:pt x="607" y="22"/>
                                </a:cubicBezTo>
                                <a:cubicBezTo>
                                  <a:pt x="603" y="25"/>
                                  <a:pt x="599" y="28"/>
                                  <a:pt x="596" y="29"/>
                                </a:cubicBezTo>
                                <a:cubicBezTo>
                                  <a:pt x="593" y="30"/>
                                  <a:pt x="587" y="31"/>
                                  <a:pt x="580" y="31"/>
                                </a:cubicBezTo>
                                <a:cubicBezTo>
                                  <a:pt x="573" y="32"/>
                                  <a:pt x="566" y="32"/>
                                  <a:pt x="562" y="31"/>
                                </a:cubicBezTo>
                                <a:cubicBezTo>
                                  <a:pt x="559" y="31"/>
                                  <a:pt x="559" y="31"/>
                                  <a:pt x="559" y="31"/>
                                </a:cubicBezTo>
                                <a:cubicBezTo>
                                  <a:pt x="557" y="31"/>
                                  <a:pt x="555" y="31"/>
                                  <a:pt x="554" y="31"/>
                                </a:cubicBezTo>
                                <a:cubicBezTo>
                                  <a:pt x="550" y="40"/>
                                  <a:pt x="543" y="55"/>
                                  <a:pt x="543" y="55"/>
                                </a:cubicBezTo>
                                <a:cubicBezTo>
                                  <a:pt x="542" y="56"/>
                                  <a:pt x="542" y="56"/>
                                  <a:pt x="542" y="56"/>
                                </a:cubicBezTo>
                                <a:cubicBezTo>
                                  <a:pt x="542" y="56"/>
                                  <a:pt x="542" y="56"/>
                                  <a:pt x="542" y="56"/>
                                </a:cubicBezTo>
                                <a:cubicBezTo>
                                  <a:pt x="542" y="56"/>
                                  <a:pt x="533" y="69"/>
                                  <a:pt x="524" y="78"/>
                                </a:cubicBezTo>
                                <a:cubicBezTo>
                                  <a:pt x="515" y="87"/>
                                  <a:pt x="512" y="87"/>
                                  <a:pt x="501" y="87"/>
                                </a:cubicBezTo>
                                <a:cubicBezTo>
                                  <a:pt x="500" y="87"/>
                                  <a:pt x="499" y="87"/>
                                  <a:pt x="498" y="87"/>
                                </a:cubicBezTo>
                                <a:cubicBezTo>
                                  <a:pt x="487" y="87"/>
                                  <a:pt x="484" y="88"/>
                                  <a:pt x="470" y="97"/>
                                </a:cubicBezTo>
                                <a:cubicBezTo>
                                  <a:pt x="469" y="98"/>
                                  <a:pt x="469" y="98"/>
                                  <a:pt x="469" y="98"/>
                                </a:cubicBezTo>
                                <a:cubicBezTo>
                                  <a:pt x="456" y="105"/>
                                  <a:pt x="452" y="103"/>
                                  <a:pt x="447" y="100"/>
                                </a:cubicBezTo>
                                <a:cubicBezTo>
                                  <a:pt x="446" y="99"/>
                                  <a:pt x="444" y="98"/>
                                  <a:pt x="442" y="98"/>
                                </a:cubicBezTo>
                                <a:cubicBezTo>
                                  <a:pt x="437" y="98"/>
                                  <a:pt x="433" y="96"/>
                                  <a:pt x="428" y="94"/>
                                </a:cubicBezTo>
                                <a:cubicBezTo>
                                  <a:pt x="422" y="92"/>
                                  <a:pt x="415" y="90"/>
                                  <a:pt x="406" y="89"/>
                                </a:cubicBezTo>
                                <a:cubicBezTo>
                                  <a:pt x="399" y="88"/>
                                  <a:pt x="391" y="88"/>
                                  <a:pt x="383" y="88"/>
                                </a:cubicBezTo>
                                <a:cubicBezTo>
                                  <a:pt x="372" y="89"/>
                                  <a:pt x="362" y="90"/>
                                  <a:pt x="358" y="90"/>
                                </a:cubicBezTo>
                                <a:cubicBezTo>
                                  <a:pt x="355" y="91"/>
                                  <a:pt x="352" y="92"/>
                                  <a:pt x="350" y="94"/>
                                </a:cubicBezTo>
                                <a:cubicBezTo>
                                  <a:pt x="348" y="96"/>
                                  <a:pt x="346" y="100"/>
                                  <a:pt x="345" y="103"/>
                                </a:cubicBezTo>
                                <a:cubicBezTo>
                                  <a:pt x="344" y="105"/>
                                  <a:pt x="345" y="106"/>
                                  <a:pt x="346" y="107"/>
                                </a:cubicBezTo>
                                <a:cubicBezTo>
                                  <a:pt x="347" y="108"/>
                                  <a:pt x="348" y="109"/>
                                  <a:pt x="350" y="111"/>
                                </a:cubicBezTo>
                                <a:cubicBezTo>
                                  <a:pt x="351" y="114"/>
                                  <a:pt x="351" y="117"/>
                                  <a:pt x="351" y="120"/>
                                </a:cubicBezTo>
                                <a:cubicBezTo>
                                  <a:pt x="351" y="120"/>
                                  <a:pt x="351" y="120"/>
                                  <a:pt x="351" y="120"/>
                                </a:cubicBezTo>
                                <a:cubicBezTo>
                                  <a:pt x="351" y="122"/>
                                  <a:pt x="351" y="125"/>
                                  <a:pt x="351" y="127"/>
                                </a:cubicBezTo>
                                <a:cubicBezTo>
                                  <a:pt x="351" y="127"/>
                                  <a:pt x="351" y="127"/>
                                  <a:pt x="351" y="127"/>
                                </a:cubicBezTo>
                                <a:cubicBezTo>
                                  <a:pt x="352" y="129"/>
                                  <a:pt x="354" y="129"/>
                                  <a:pt x="357" y="130"/>
                                </a:cubicBezTo>
                                <a:cubicBezTo>
                                  <a:pt x="357" y="130"/>
                                  <a:pt x="357" y="130"/>
                                  <a:pt x="357" y="130"/>
                                </a:cubicBezTo>
                                <a:cubicBezTo>
                                  <a:pt x="362" y="132"/>
                                  <a:pt x="366" y="133"/>
                                  <a:pt x="366" y="139"/>
                                </a:cubicBezTo>
                                <a:cubicBezTo>
                                  <a:pt x="366" y="144"/>
                                  <a:pt x="363" y="146"/>
                                  <a:pt x="360" y="149"/>
                                </a:cubicBezTo>
                                <a:cubicBezTo>
                                  <a:pt x="359" y="150"/>
                                  <a:pt x="357" y="152"/>
                                  <a:pt x="357" y="154"/>
                                </a:cubicBezTo>
                                <a:cubicBezTo>
                                  <a:pt x="357" y="156"/>
                                  <a:pt x="358" y="158"/>
                                  <a:pt x="359" y="161"/>
                                </a:cubicBezTo>
                                <a:cubicBezTo>
                                  <a:pt x="361" y="164"/>
                                  <a:pt x="363" y="168"/>
                                  <a:pt x="363" y="174"/>
                                </a:cubicBezTo>
                                <a:cubicBezTo>
                                  <a:pt x="363" y="180"/>
                                  <a:pt x="361" y="183"/>
                                  <a:pt x="359" y="186"/>
                                </a:cubicBezTo>
                                <a:cubicBezTo>
                                  <a:pt x="358" y="188"/>
                                  <a:pt x="357" y="190"/>
                                  <a:pt x="357" y="191"/>
                                </a:cubicBezTo>
                                <a:cubicBezTo>
                                  <a:pt x="357" y="193"/>
                                  <a:pt x="360" y="197"/>
                                  <a:pt x="363" y="201"/>
                                </a:cubicBezTo>
                                <a:cubicBezTo>
                                  <a:pt x="368" y="206"/>
                                  <a:pt x="373" y="211"/>
                                  <a:pt x="376" y="213"/>
                                </a:cubicBezTo>
                                <a:cubicBezTo>
                                  <a:pt x="376" y="213"/>
                                  <a:pt x="376" y="213"/>
                                  <a:pt x="376" y="213"/>
                                </a:cubicBezTo>
                                <a:cubicBezTo>
                                  <a:pt x="378" y="214"/>
                                  <a:pt x="381" y="214"/>
                                  <a:pt x="384" y="214"/>
                                </a:cubicBezTo>
                                <a:cubicBezTo>
                                  <a:pt x="389" y="213"/>
                                  <a:pt x="394" y="213"/>
                                  <a:pt x="397" y="217"/>
                                </a:cubicBezTo>
                                <a:cubicBezTo>
                                  <a:pt x="401" y="221"/>
                                  <a:pt x="401" y="225"/>
                                  <a:pt x="401" y="230"/>
                                </a:cubicBezTo>
                                <a:cubicBezTo>
                                  <a:pt x="401" y="232"/>
                                  <a:pt x="401" y="235"/>
                                  <a:pt x="402" y="236"/>
                                </a:cubicBezTo>
                                <a:cubicBezTo>
                                  <a:pt x="402" y="236"/>
                                  <a:pt x="402" y="236"/>
                                  <a:pt x="402" y="236"/>
                                </a:cubicBezTo>
                                <a:cubicBezTo>
                                  <a:pt x="403" y="238"/>
                                  <a:pt x="408" y="238"/>
                                  <a:pt x="413" y="239"/>
                                </a:cubicBezTo>
                                <a:cubicBezTo>
                                  <a:pt x="417" y="239"/>
                                  <a:pt x="421" y="239"/>
                                  <a:pt x="424" y="240"/>
                                </a:cubicBezTo>
                                <a:cubicBezTo>
                                  <a:pt x="426" y="241"/>
                                  <a:pt x="427" y="242"/>
                                  <a:pt x="428" y="243"/>
                                </a:cubicBezTo>
                                <a:cubicBezTo>
                                  <a:pt x="431" y="245"/>
                                  <a:pt x="432" y="248"/>
                                  <a:pt x="432" y="251"/>
                                </a:cubicBezTo>
                                <a:cubicBezTo>
                                  <a:pt x="433" y="254"/>
                                  <a:pt x="432" y="257"/>
                                  <a:pt x="431" y="259"/>
                                </a:cubicBezTo>
                                <a:cubicBezTo>
                                  <a:pt x="431" y="261"/>
                                  <a:pt x="430" y="262"/>
                                  <a:pt x="429" y="263"/>
                                </a:cubicBezTo>
                                <a:cubicBezTo>
                                  <a:pt x="426" y="267"/>
                                  <a:pt x="421" y="269"/>
                                  <a:pt x="414" y="272"/>
                                </a:cubicBezTo>
                                <a:cubicBezTo>
                                  <a:pt x="412" y="273"/>
                                  <a:pt x="410" y="273"/>
                                  <a:pt x="407" y="274"/>
                                </a:cubicBezTo>
                                <a:cubicBezTo>
                                  <a:pt x="403" y="276"/>
                                  <a:pt x="399" y="278"/>
                                  <a:pt x="397" y="280"/>
                                </a:cubicBezTo>
                                <a:cubicBezTo>
                                  <a:pt x="394" y="281"/>
                                  <a:pt x="392" y="283"/>
                                  <a:pt x="389" y="287"/>
                                </a:cubicBezTo>
                                <a:cubicBezTo>
                                  <a:pt x="388" y="289"/>
                                  <a:pt x="387" y="293"/>
                                  <a:pt x="386" y="297"/>
                                </a:cubicBezTo>
                                <a:cubicBezTo>
                                  <a:pt x="385" y="305"/>
                                  <a:pt x="386" y="313"/>
                                  <a:pt x="387" y="320"/>
                                </a:cubicBezTo>
                                <a:cubicBezTo>
                                  <a:pt x="387" y="325"/>
                                  <a:pt x="388" y="330"/>
                                  <a:pt x="387" y="335"/>
                                </a:cubicBezTo>
                                <a:cubicBezTo>
                                  <a:pt x="386" y="340"/>
                                  <a:pt x="385" y="344"/>
                                  <a:pt x="381" y="348"/>
                                </a:cubicBezTo>
                                <a:cubicBezTo>
                                  <a:pt x="379" y="350"/>
                                  <a:pt x="374" y="354"/>
                                  <a:pt x="368" y="359"/>
                                </a:cubicBezTo>
                                <a:cubicBezTo>
                                  <a:pt x="358" y="367"/>
                                  <a:pt x="345" y="377"/>
                                  <a:pt x="344" y="380"/>
                                </a:cubicBezTo>
                                <a:cubicBezTo>
                                  <a:pt x="343" y="381"/>
                                  <a:pt x="344" y="383"/>
                                  <a:pt x="344" y="385"/>
                                </a:cubicBezTo>
                                <a:cubicBezTo>
                                  <a:pt x="346" y="389"/>
                                  <a:pt x="347" y="393"/>
                                  <a:pt x="345" y="398"/>
                                </a:cubicBezTo>
                                <a:cubicBezTo>
                                  <a:pt x="342" y="402"/>
                                  <a:pt x="336" y="404"/>
                                  <a:pt x="330" y="406"/>
                                </a:cubicBezTo>
                                <a:cubicBezTo>
                                  <a:pt x="325" y="408"/>
                                  <a:pt x="320" y="409"/>
                                  <a:pt x="316" y="412"/>
                                </a:cubicBezTo>
                                <a:cubicBezTo>
                                  <a:pt x="311" y="415"/>
                                  <a:pt x="310" y="418"/>
                                  <a:pt x="308" y="424"/>
                                </a:cubicBezTo>
                                <a:cubicBezTo>
                                  <a:pt x="307" y="428"/>
                                  <a:pt x="306" y="433"/>
                                  <a:pt x="303" y="439"/>
                                </a:cubicBezTo>
                                <a:cubicBezTo>
                                  <a:pt x="299" y="446"/>
                                  <a:pt x="297" y="451"/>
                                  <a:pt x="296" y="456"/>
                                </a:cubicBezTo>
                                <a:cubicBezTo>
                                  <a:pt x="294" y="463"/>
                                  <a:pt x="292" y="468"/>
                                  <a:pt x="287" y="472"/>
                                </a:cubicBezTo>
                                <a:cubicBezTo>
                                  <a:pt x="283" y="475"/>
                                  <a:pt x="278" y="478"/>
                                  <a:pt x="272" y="482"/>
                                </a:cubicBezTo>
                                <a:cubicBezTo>
                                  <a:pt x="265" y="486"/>
                                  <a:pt x="258" y="490"/>
                                  <a:pt x="253" y="494"/>
                                </a:cubicBezTo>
                                <a:cubicBezTo>
                                  <a:pt x="248" y="498"/>
                                  <a:pt x="238" y="517"/>
                                  <a:pt x="230" y="531"/>
                                </a:cubicBezTo>
                                <a:cubicBezTo>
                                  <a:pt x="225" y="539"/>
                                  <a:pt x="221" y="545"/>
                                  <a:pt x="219" y="548"/>
                                </a:cubicBezTo>
                                <a:cubicBezTo>
                                  <a:pt x="214" y="554"/>
                                  <a:pt x="208" y="554"/>
                                  <a:pt x="199" y="554"/>
                                </a:cubicBezTo>
                                <a:cubicBezTo>
                                  <a:pt x="197" y="554"/>
                                  <a:pt x="197" y="554"/>
                                  <a:pt x="197" y="554"/>
                                </a:cubicBezTo>
                                <a:cubicBezTo>
                                  <a:pt x="192" y="554"/>
                                  <a:pt x="186" y="556"/>
                                  <a:pt x="180" y="559"/>
                                </a:cubicBezTo>
                                <a:cubicBezTo>
                                  <a:pt x="176" y="560"/>
                                  <a:pt x="171" y="562"/>
                                  <a:pt x="166" y="563"/>
                                </a:cubicBezTo>
                                <a:cubicBezTo>
                                  <a:pt x="154" y="566"/>
                                  <a:pt x="152" y="564"/>
                                  <a:pt x="146" y="558"/>
                                </a:cubicBezTo>
                                <a:cubicBezTo>
                                  <a:pt x="144" y="557"/>
                                  <a:pt x="143" y="555"/>
                                  <a:pt x="141" y="554"/>
                                </a:cubicBezTo>
                                <a:cubicBezTo>
                                  <a:pt x="137" y="551"/>
                                  <a:pt x="134" y="549"/>
                                  <a:pt x="131" y="548"/>
                                </a:cubicBezTo>
                                <a:cubicBezTo>
                                  <a:pt x="129" y="548"/>
                                  <a:pt x="126" y="548"/>
                                  <a:pt x="123" y="550"/>
                                </a:cubicBezTo>
                                <a:cubicBezTo>
                                  <a:pt x="121" y="552"/>
                                  <a:pt x="115" y="559"/>
                                  <a:pt x="108" y="567"/>
                                </a:cubicBezTo>
                                <a:cubicBezTo>
                                  <a:pt x="96" y="580"/>
                                  <a:pt x="83" y="597"/>
                                  <a:pt x="80" y="602"/>
                                </a:cubicBezTo>
                                <a:cubicBezTo>
                                  <a:pt x="77" y="605"/>
                                  <a:pt x="76" y="609"/>
                                  <a:pt x="76" y="612"/>
                                </a:cubicBezTo>
                                <a:cubicBezTo>
                                  <a:pt x="76" y="617"/>
                                  <a:pt x="78" y="621"/>
                                  <a:pt x="79" y="622"/>
                                </a:cubicBezTo>
                                <a:cubicBezTo>
                                  <a:pt x="80" y="623"/>
                                  <a:pt x="85" y="625"/>
                                  <a:pt x="92" y="628"/>
                                </a:cubicBezTo>
                                <a:cubicBezTo>
                                  <a:pt x="101" y="631"/>
                                  <a:pt x="111" y="636"/>
                                  <a:pt x="113" y="640"/>
                                </a:cubicBezTo>
                                <a:cubicBezTo>
                                  <a:pt x="113" y="640"/>
                                  <a:pt x="113" y="640"/>
                                  <a:pt x="113" y="640"/>
                                </a:cubicBezTo>
                                <a:cubicBezTo>
                                  <a:pt x="116" y="644"/>
                                  <a:pt x="115" y="647"/>
                                  <a:pt x="114" y="652"/>
                                </a:cubicBezTo>
                                <a:cubicBezTo>
                                  <a:pt x="114" y="656"/>
                                  <a:pt x="113" y="660"/>
                                  <a:pt x="113" y="666"/>
                                </a:cubicBezTo>
                                <a:cubicBezTo>
                                  <a:pt x="113" y="671"/>
                                  <a:pt x="114" y="676"/>
                                  <a:pt x="115" y="680"/>
                                </a:cubicBezTo>
                                <a:cubicBezTo>
                                  <a:pt x="117" y="684"/>
                                  <a:pt x="119" y="688"/>
                                  <a:pt x="121" y="690"/>
                                </a:cubicBezTo>
                                <a:cubicBezTo>
                                  <a:pt x="123" y="691"/>
                                  <a:pt x="128" y="691"/>
                                  <a:pt x="133" y="692"/>
                                </a:cubicBezTo>
                                <a:cubicBezTo>
                                  <a:pt x="139" y="692"/>
                                  <a:pt x="144" y="692"/>
                                  <a:pt x="147" y="693"/>
                                </a:cubicBezTo>
                                <a:cubicBezTo>
                                  <a:pt x="150" y="695"/>
                                  <a:pt x="158" y="712"/>
                                  <a:pt x="164" y="729"/>
                                </a:cubicBezTo>
                                <a:cubicBezTo>
                                  <a:pt x="169" y="743"/>
                                  <a:pt x="173" y="757"/>
                                  <a:pt x="172" y="762"/>
                                </a:cubicBezTo>
                                <a:cubicBezTo>
                                  <a:pt x="172" y="765"/>
                                  <a:pt x="172" y="765"/>
                                  <a:pt x="172" y="765"/>
                                </a:cubicBezTo>
                                <a:cubicBezTo>
                                  <a:pt x="171" y="771"/>
                                  <a:pt x="170" y="774"/>
                                  <a:pt x="171" y="778"/>
                                </a:cubicBezTo>
                                <a:cubicBezTo>
                                  <a:pt x="171" y="779"/>
                                  <a:pt x="171" y="780"/>
                                  <a:pt x="171" y="781"/>
                                </a:cubicBezTo>
                                <a:cubicBezTo>
                                  <a:pt x="172" y="784"/>
                                  <a:pt x="170" y="787"/>
                                  <a:pt x="168" y="789"/>
                                </a:cubicBezTo>
                                <a:cubicBezTo>
                                  <a:pt x="166" y="791"/>
                                  <a:pt x="163" y="793"/>
                                  <a:pt x="159" y="794"/>
                                </a:cubicBezTo>
                                <a:cubicBezTo>
                                  <a:pt x="157" y="794"/>
                                  <a:pt x="154" y="795"/>
                                  <a:pt x="152" y="795"/>
                                </a:cubicBezTo>
                                <a:cubicBezTo>
                                  <a:pt x="143" y="795"/>
                                  <a:pt x="141" y="791"/>
                                  <a:pt x="139" y="786"/>
                                </a:cubicBezTo>
                                <a:cubicBezTo>
                                  <a:pt x="138" y="784"/>
                                  <a:pt x="137" y="783"/>
                                  <a:pt x="135" y="783"/>
                                </a:cubicBezTo>
                                <a:cubicBezTo>
                                  <a:pt x="131" y="783"/>
                                  <a:pt x="126" y="786"/>
                                  <a:pt x="122" y="789"/>
                                </a:cubicBezTo>
                                <a:cubicBezTo>
                                  <a:pt x="116" y="793"/>
                                  <a:pt x="110" y="797"/>
                                  <a:pt x="104" y="797"/>
                                </a:cubicBezTo>
                                <a:cubicBezTo>
                                  <a:pt x="101" y="797"/>
                                  <a:pt x="89" y="796"/>
                                  <a:pt x="76" y="794"/>
                                </a:cubicBezTo>
                                <a:cubicBezTo>
                                  <a:pt x="76" y="794"/>
                                  <a:pt x="76" y="794"/>
                                  <a:pt x="76" y="794"/>
                                </a:cubicBezTo>
                                <a:cubicBezTo>
                                  <a:pt x="55" y="792"/>
                                  <a:pt x="30" y="788"/>
                                  <a:pt x="28" y="789"/>
                                </a:cubicBezTo>
                                <a:cubicBezTo>
                                  <a:pt x="27" y="790"/>
                                  <a:pt x="27" y="791"/>
                                  <a:pt x="27" y="792"/>
                                </a:cubicBezTo>
                                <a:cubicBezTo>
                                  <a:pt x="27" y="794"/>
                                  <a:pt x="27" y="797"/>
                                  <a:pt x="25" y="801"/>
                                </a:cubicBezTo>
                                <a:cubicBezTo>
                                  <a:pt x="23" y="806"/>
                                  <a:pt x="17" y="808"/>
                                  <a:pt x="11" y="809"/>
                                </a:cubicBezTo>
                                <a:cubicBezTo>
                                  <a:pt x="7" y="810"/>
                                  <a:pt x="4" y="811"/>
                                  <a:pt x="3" y="812"/>
                                </a:cubicBezTo>
                                <a:cubicBezTo>
                                  <a:pt x="2" y="813"/>
                                  <a:pt x="1" y="815"/>
                                  <a:pt x="0" y="817"/>
                                </a:cubicBezTo>
                                <a:cubicBezTo>
                                  <a:pt x="5" y="815"/>
                                  <a:pt x="6" y="812"/>
                                  <a:pt x="12" y="811"/>
                                </a:cubicBezTo>
                                <a:cubicBezTo>
                                  <a:pt x="20" y="810"/>
                                  <a:pt x="25" y="812"/>
                                  <a:pt x="24" y="817"/>
                                </a:cubicBezTo>
                                <a:cubicBezTo>
                                  <a:pt x="22" y="822"/>
                                  <a:pt x="7" y="826"/>
                                  <a:pt x="7" y="835"/>
                                </a:cubicBezTo>
                                <a:cubicBezTo>
                                  <a:pt x="6" y="843"/>
                                  <a:pt x="11" y="848"/>
                                  <a:pt x="13" y="856"/>
                                </a:cubicBezTo>
                                <a:cubicBezTo>
                                  <a:pt x="15" y="864"/>
                                  <a:pt x="20" y="866"/>
                                  <a:pt x="32" y="871"/>
                                </a:cubicBezTo>
                                <a:cubicBezTo>
                                  <a:pt x="43" y="877"/>
                                  <a:pt x="43" y="878"/>
                                  <a:pt x="47" y="881"/>
                                </a:cubicBezTo>
                                <a:cubicBezTo>
                                  <a:pt x="51" y="885"/>
                                  <a:pt x="53" y="884"/>
                                  <a:pt x="63" y="886"/>
                                </a:cubicBezTo>
                                <a:cubicBezTo>
                                  <a:pt x="73" y="887"/>
                                  <a:pt x="82" y="890"/>
                                  <a:pt x="90" y="887"/>
                                </a:cubicBezTo>
                                <a:cubicBezTo>
                                  <a:pt x="97" y="884"/>
                                  <a:pt x="97" y="881"/>
                                  <a:pt x="103" y="878"/>
                                </a:cubicBezTo>
                                <a:cubicBezTo>
                                  <a:pt x="108" y="876"/>
                                  <a:pt x="115" y="877"/>
                                  <a:pt x="121" y="874"/>
                                </a:cubicBezTo>
                                <a:cubicBezTo>
                                  <a:pt x="126" y="872"/>
                                  <a:pt x="129" y="866"/>
                                  <a:pt x="130" y="868"/>
                                </a:cubicBezTo>
                                <a:cubicBezTo>
                                  <a:pt x="131" y="871"/>
                                  <a:pt x="128" y="876"/>
                                  <a:pt x="125" y="879"/>
                                </a:cubicBezTo>
                                <a:cubicBezTo>
                                  <a:pt x="122" y="882"/>
                                  <a:pt x="120" y="888"/>
                                  <a:pt x="116" y="894"/>
                                </a:cubicBezTo>
                                <a:cubicBezTo>
                                  <a:pt x="112" y="900"/>
                                  <a:pt x="109" y="901"/>
                                  <a:pt x="101" y="904"/>
                                </a:cubicBezTo>
                                <a:cubicBezTo>
                                  <a:pt x="94" y="907"/>
                                  <a:pt x="93" y="909"/>
                                  <a:pt x="85" y="909"/>
                                </a:cubicBezTo>
                                <a:cubicBezTo>
                                  <a:pt x="77" y="910"/>
                                  <a:pt x="78" y="913"/>
                                  <a:pt x="69" y="917"/>
                                </a:cubicBezTo>
                                <a:cubicBezTo>
                                  <a:pt x="60" y="921"/>
                                  <a:pt x="58" y="918"/>
                                  <a:pt x="57" y="917"/>
                                </a:cubicBezTo>
                                <a:cubicBezTo>
                                  <a:pt x="55" y="916"/>
                                  <a:pt x="48" y="912"/>
                                  <a:pt x="44" y="912"/>
                                </a:cubicBezTo>
                                <a:cubicBezTo>
                                  <a:pt x="40" y="912"/>
                                  <a:pt x="37" y="919"/>
                                  <a:pt x="41" y="924"/>
                                </a:cubicBezTo>
                                <a:cubicBezTo>
                                  <a:pt x="44" y="930"/>
                                  <a:pt x="51" y="940"/>
                                  <a:pt x="61" y="949"/>
                                </a:cubicBezTo>
                                <a:cubicBezTo>
                                  <a:pt x="70" y="957"/>
                                  <a:pt x="89" y="975"/>
                                  <a:pt x="97" y="984"/>
                                </a:cubicBezTo>
                                <a:cubicBezTo>
                                  <a:pt x="106" y="994"/>
                                  <a:pt x="135" y="1015"/>
                                  <a:pt x="149" y="1015"/>
                                </a:cubicBezTo>
                                <a:cubicBezTo>
                                  <a:pt x="164" y="1015"/>
                                  <a:pt x="172" y="1015"/>
                                  <a:pt x="188" y="1010"/>
                                </a:cubicBezTo>
                                <a:cubicBezTo>
                                  <a:pt x="204" y="1004"/>
                                  <a:pt x="218" y="994"/>
                                  <a:pt x="223" y="988"/>
                                </a:cubicBezTo>
                                <a:cubicBezTo>
                                  <a:pt x="228" y="982"/>
                                  <a:pt x="234" y="979"/>
                                  <a:pt x="237" y="976"/>
                                </a:cubicBezTo>
                                <a:cubicBezTo>
                                  <a:pt x="240" y="972"/>
                                  <a:pt x="242" y="962"/>
                                  <a:pt x="239" y="959"/>
                                </a:cubicBezTo>
                                <a:cubicBezTo>
                                  <a:pt x="237" y="956"/>
                                  <a:pt x="229" y="949"/>
                                  <a:pt x="230" y="943"/>
                                </a:cubicBezTo>
                                <a:cubicBezTo>
                                  <a:pt x="231" y="938"/>
                                  <a:pt x="238" y="939"/>
                                  <a:pt x="240" y="933"/>
                                </a:cubicBezTo>
                                <a:cubicBezTo>
                                  <a:pt x="242" y="927"/>
                                  <a:pt x="238" y="928"/>
                                  <a:pt x="238" y="922"/>
                                </a:cubicBezTo>
                                <a:cubicBezTo>
                                  <a:pt x="238" y="916"/>
                                  <a:pt x="245" y="919"/>
                                  <a:pt x="253" y="918"/>
                                </a:cubicBezTo>
                                <a:cubicBezTo>
                                  <a:pt x="261" y="918"/>
                                  <a:pt x="276" y="920"/>
                                  <a:pt x="276" y="924"/>
                                </a:cubicBezTo>
                                <a:cubicBezTo>
                                  <a:pt x="275" y="928"/>
                                  <a:pt x="262" y="930"/>
                                  <a:pt x="259" y="934"/>
                                </a:cubicBezTo>
                                <a:cubicBezTo>
                                  <a:pt x="255" y="938"/>
                                  <a:pt x="258" y="951"/>
                                  <a:pt x="262" y="955"/>
                                </a:cubicBezTo>
                                <a:cubicBezTo>
                                  <a:pt x="267" y="959"/>
                                  <a:pt x="285" y="956"/>
                                  <a:pt x="283" y="960"/>
                                </a:cubicBezTo>
                                <a:cubicBezTo>
                                  <a:pt x="280" y="964"/>
                                  <a:pt x="268" y="971"/>
                                  <a:pt x="263" y="976"/>
                                </a:cubicBezTo>
                                <a:cubicBezTo>
                                  <a:pt x="258" y="982"/>
                                  <a:pt x="262" y="986"/>
                                  <a:pt x="265" y="995"/>
                                </a:cubicBezTo>
                                <a:cubicBezTo>
                                  <a:pt x="268" y="1005"/>
                                  <a:pt x="276" y="1004"/>
                                  <a:pt x="278" y="1011"/>
                                </a:cubicBezTo>
                                <a:cubicBezTo>
                                  <a:pt x="279" y="1019"/>
                                  <a:pt x="278" y="1024"/>
                                  <a:pt x="277" y="1034"/>
                                </a:cubicBezTo>
                                <a:cubicBezTo>
                                  <a:pt x="276" y="1045"/>
                                  <a:pt x="271" y="1047"/>
                                  <a:pt x="270" y="1054"/>
                                </a:cubicBezTo>
                                <a:cubicBezTo>
                                  <a:pt x="270" y="1062"/>
                                  <a:pt x="271" y="1088"/>
                                  <a:pt x="271" y="1094"/>
                                </a:cubicBezTo>
                                <a:cubicBezTo>
                                  <a:pt x="271" y="1101"/>
                                  <a:pt x="277" y="1103"/>
                                  <a:pt x="278" y="1107"/>
                                </a:cubicBezTo>
                                <a:cubicBezTo>
                                  <a:pt x="280" y="1110"/>
                                  <a:pt x="280" y="1115"/>
                                  <a:pt x="279" y="1119"/>
                                </a:cubicBezTo>
                                <a:cubicBezTo>
                                  <a:pt x="279" y="1123"/>
                                  <a:pt x="279" y="1128"/>
                                  <a:pt x="280" y="1134"/>
                                </a:cubicBezTo>
                                <a:cubicBezTo>
                                  <a:pt x="280" y="1141"/>
                                  <a:pt x="285" y="1153"/>
                                  <a:pt x="287" y="1162"/>
                                </a:cubicBezTo>
                                <a:cubicBezTo>
                                  <a:pt x="290" y="1171"/>
                                  <a:pt x="287" y="1172"/>
                                  <a:pt x="286" y="1180"/>
                                </a:cubicBezTo>
                                <a:cubicBezTo>
                                  <a:pt x="285" y="1187"/>
                                  <a:pt x="284" y="1198"/>
                                  <a:pt x="289" y="1212"/>
                                </a:cubicBezTo>
                                <a:cubicBezTo>
                                  <a:pt x="294" y="1226"/>
                                  <a:pt x="306" y="1264"/>
                                  <a:pt x="307" y="1285"/>
                                </a:cubicBezTo>
                                <a:cubicBezTo>
                                  <a:pt x="309" y="1306"/>
                                  <a:pt x="310" y="1307"/>
                                  <a:pt x="318" y="1322"/>
                                </a:cubicBezTo>
                                <a:cubicBezTo>
                                  <a:pt x="326" y="1336"/>
                                  <a:pt x="341" y="1348"/>
                                  <a:pt x="343" y="1355"/>
                                </a:cubicBezTo>
                                <a:cubicBezTo>
                                  <a:pt x="345" y="1362"/>
                                  <a:pt x="341" y="1361"/>
                                  <a:pt x="340" y="1367"/>
                                </a:cubicBezTo>
                                <a:cubicBezTo>
                                  <a:pt x="339" y="1373"/>
                                  <a:pt x="351" y="1378"/>
                                  <a:pt x="351" y="1390"/>
                                </a:cubicBezTo>
                                <a:cubicBezTo>
                                  <a:pt x="351" y="1402"/>
                                  <a:pt x="365" y="1404"/>
                                  <a:pt x="373" y="1417"/>
                                </a:cubicBezTo>
                                <a:cubicBezTo>
                                  <a:pt x="381" y="1429"/>
                                  <a:pt x="378" y="1433"/>
                                  <a:pt x="378" y="1443"/>
                                </a:cubicBezTo>
                                <a:cubicBezTo>
                                  <a:pt x="377" y="1452"/>
                                  <a:pt x="385" y="1456"/>
                                  <a:pt x="392" y="1476"/>
                                </a:cubicBezTo>
                                <a:cubicBezTo>
                                  <a:pt x="398" y="1496"/>
                                  <a:pt x="399" y="1494"/>
                                  <a:pt x="404" y="1507"/>
                                </a:cubicBezTo>
                                <a:cubicBezTo>
                                  <a:pt x="409" y="1520"/>
                                  <a:pt x="404" y="1520"/>
                                  <a:pt x="404" y="1528"/>
                                </a:cubicBezTo>
                                <a:cubicBezTo>
                                  <a:pt x="405" y="1537"/>
                                  <a:pt x="408" y="1543"/>
                                  <a:pt x="413" y="1556"/>
                                </a:cubicBezTo>
                                <a:cubicBezTo>
                                  <a:pt x="419" y="1568"/>
                                  <a:pt x="428" y="1576"/>
                                  <a:pt x="441" y="1591"/>
                                </a:cubicBezTo>
                                <a:cubicBezTo>
                                  <a:pt x="454" y="1606"/>
                                  <a:pt x="458" y="1611"/>
                                  <a:pt x="461" y="1624"/>
                                </a:cubicBezTo>
                                <a:cubicBezTo>
                                  <a:pt x="464" y="1637"/>
                                  <a:pt x="469" y="1647"/>
                                  <a:pt x="472" y="1662"/>
                                </a:cubicBezTo>
                                <a:cubicBezTo>
                                  <a:pt x="475" y="1678"/>
                                  <a:pt x="489" y="1693"/>
                                  <a:pt x="492" y="1701"/>
                                </a:cubicBezTo>
                                <a:cubicBezTo>
                                  <a:pt x="495" y="1709"/>
                                  <a:pt x="499" y="1715"/>
                                  <a:pt x="498" y="1720"/>
                                </a:cubicBezTo>
                                <a:cubicBezTo>
                                  <a:pt x="498" y="1724"/>
                                  <a:pt x="494" y="1722"/>
                                  <a:pt x="494" y="1727"/>
                                </a:cubicBezTo>
                                <a:cubicBezTo>
                                  <a:pt x="495" y="1733"/>
                                  <a:pt x="497" y="1739"/>
                                  <a:pt x="500" y="1744"/>
                                </a:cubicBezTo>
                                <a:cubicBezTo>
                                  <a:pt x="502" y="1750"/>
                                  <a:pt x="510" y="1752"/>
                                  <a:pt x="511" y="1761"/>
                                </a:cubicBezTo>
                                <a:cubicBezTo>
                                  <a:pt x="512" y="1769"/>
                                  <a:pt x="509" y="1768"/>
                                  <a:pt x="511" y="1774"/>
                                </a:cubicBezTo>
                                <a:cubicBezTo>
                                  <a:pt x="512" y="1780"/>
                                  <a:pt x="524" y="1790"/>
                                  <a:pt x="540" y="1806"/>
                                </a:cubicBezTo>
                                <a:cubicBezTo>
                                  <a:pt x="556" y="1822"/>
                                  <a:pt x="559" y="1821"/>
                                  <a:pt x="566" y="1820"/>
                                </a:cubicBezTo>
                                <a:cubicBezTo>
                                  <a:pt x="573" y="1819"/>
                                  <a:pt x="582" y="1810"/>
                                  <a:pt x="593" y="1805"/>
                                </a:cubicBezTo>
                                <a:cubicBezTo>
                                  <a:pt x="604" y="1801"/>
                                  <a:pt x="607" y="1794"/>
                                  <a:pt x="605" y="1786"/>
                                </a:cubicBezTo>
                                <a:cubicBezTo>
                                  <a:pt x="604" y="1778"/>
                                  <a:pt x="613" y="1771"/>
                                  <a:pt x="619" y="1759"/>
                                </a:cubicBezTo>
                                <a:cubicBezTo>
                                  <a:pt x="624" y="1747"/>
                                  <a:pt x="637" y="1750"/>
                                  <a:pt x="649" y="1750"/>
                                </a:cubicBezTo>
                                <a:cubicBezTo>
                                  <a:pt x="662" y="1750"/>
                                  <a:pt x="681" y="1752"/>
                                  <a:pt x="686" y="1750"/>
                                </a:cubicBezTo>
                                <a:cubicBezTo>
                                  <a:pt x="690" y="1748"/>
                                  <a:pt x="681" y="1744"/>
                                  <a:pt x="670" y="1738"/>
                                </a:cubicBezTo>
                                <a:cubicBezTo>
                                  <a:pt x="659" y="1733"/>
                                  <a:pt x="658" y="1732"/>
                                  <a:pt x="661" y="1723"/>
                                </a:cubicBezTo>
                                <a:cubicBezTo>
                                  <a:pt x="664" y="1714"/>
                                  <a:pt x="668" y="1709"/>
                                  <a:pt x="675" y="1702"/>
                                </a:cubicBezTo>
                                <a:cubicBezTo>
                                  <a:pt x="681" y="1695"/>
                                  <a:pt x="676" y="1685"/>
                                  <a:pt x="683" y="1682"/>
                                </a:cubicBezTo>
                                <a:cubicBezTo>
                                  <a:pt x="689" y="1678"/>
                                  <a:pt x="697" y="1679"/>
                                  <a:pt x="705" y="1679"/>
                                </a:cubicBezTo>
                                <a:cubicBezTo>
                                  <a:pt x="712" y="1678"/>
                                  <a:pt x="710" y="1672"/>
                                  <a:pt x="712" y="1656"/>
                                </a:cubicBezTo>
                                <a:cubicBezTo>
                                  <a:pt x="713" y="1641"/>
                                  <a:pt x="714" y="1637"/>
                                  <a:pt x="711" y="1630"/>
                                </a:cubicBezTo>
                                <a:cubicBezTo>
                                  <a:pt x="707" y="1623"/>
                                  <a:pt x="702" y="1625"/>
                                  <a:pt x="701" y="1621"/>
                                </a:cubicBezTo>
                                <a:cubicBezTo>
                                  <a:pt x="700" y="1617"/>
                                  <a:pt x="709" y="1613"/>
                                  <a:pt x="709" y="1604"/>
                                </a:cubicBezTo>
                                <a:cubicBezTo>
                                  <a:pt x="709" y="1595"/>
                                  <a:pt x="707" y="1577"/>
                                  <a:pt x="723" y="1556"/>
                                </a:cubicBezTo>
                                <a:cubicBezTo>
                                  <a:pt x="739" y="1536"/>
                                  <a:pt x="738" y="1536"/>
                                  <a:pt x="738" y="1522"/>
                                </a:cubicBezTo>
                                <a:cubicBezTo>
                                  <a:pt x="739" y="1508"/>
                                  <a:pt x="738" y="1522"/>
                                  <a:pt x="738" y="1512"/>
                                </a:cubicBezTo>
                                <a:cubicBezTo>
                                  <a:pt x="737" y="1501"/>
                                  <a:pt x="738" y="1497"/>
                                  <a:pt x="737" y="1493"/>
                                </a:cubicBezTo>
                                <a:cubicBezTo>
                                  <a:pt x="737" y="1488"/>
                                  <a:pt x="737" y="1482"/>
                                  <a:pt x="735" y="1478"/>
                                </a:cubicBezTo>
                                <a:cubicBezTo>
                                  <a:pt x="733" y="1474"/>
                                  <a:pt x="732" y="1470"/>
                                  <a:pt x="731" y="1465"/>
                                </a:cubicBezTo>
                                <a:cubicBezTo>
                                  <a:pt x="731" y="1460"/>
                                  <a:pt x="732" y="1455"/>
                                  <a:pt x="730" y="1450"/>
                                </a:cubicBezTo>
                                <a:cubicBezTo>
                                  <a:pt x="728" y="1445"/>
                                  <a:pt x="724" y="1439"/>
                                  <a:pt x="723" y="1432"/>
                                </a:cubicBezTo>
                                <a:cubicBezTo>
                                  <a:pt x="722" y="1425"/>
                                  <a:pt x="725" y="1422"/>
                                  <a:pt x="727" y="1408"/>
                                </a:cubicBezTo>
                                <a:cubicBezTo>
                                  <a:pt x="729" y="1395"/>
                                  <a:pt x="723" y="1381"/>
                                  <a:pt x="723" y="1376"/>
                                </a:cubicBezTo>
                                <a:cubicBezTo>
                                  <a:pt x="724" y="1371"/>
                                  <a:pt x="729" y="1366"/>
                                  <a:pt x="732" y="1355"/>
                                </a:cubicBezTo>
                                <a:cubicBezTo>
                                  <a:pt x="734" y="1344"/>
                                  <a:pt x="742" y="1339"/>
                                  <a:pt x="747" y="1336"/>
                                </a:cubicBezTo>
                                <a:cubicBezTo>
                                  <a:pt x="752" y="1333"/>
                                  <a:pt x="758" y="1335"/>
                                  <a:pt x="765" y="1334"/>
                                </a:cubicBezTo>
                                <a:cubicBezTo>
                                  <a:pt x="772" y="1332"/>
                                  <a:pt x="770" y="1329"/>
                                  <a:pt x="777" y="1328"/>
                                </a:cubicBezTo>
                                <a:cubicBezTo>
                                  <a:pt x="785" y="1327"/>
                                  <a:pt x="782" y="1332"/>
                                  <a:pt x="785" y="1333"/>
                                </a:cubicBezTo>
                                <a:cubicBezTo>
                                  <a:pt x="789" y="1334"/>
                                  <a:pt x="789" y="1331"/>
                                  <a:pt x="791" y="1325"/>
                                </a:cubicBezTo>
                                <a:cubicBezTo>
                                  <a:pt x="793" y="1320"/>
                                  <a:pt x="798" y="1305"/>
                                  <a:pt x="803" y="1301"/>
                                </a:cubicBezTo>
                                <a:cubicBezTo>
                                  <a:pt x="808" y="1296"/>
                                  <a:pt x="811" y="1299"/>
                                  <a:pt x="820" y="1300"/>
                                </a:cubicBezTo>
                                <a:cubicBezTo>
                                  <a:pt x="830" y="1300"/>
                                  <a:pt x="843" y="1297"/>
                                  <a:pt x="850" y="1292"/>
                                </a:cubicBezTo>
                                <a:cubicBezTo>
                                  <a:pt x="857" y="1287"/>
                                  <a:pt x="860" y="1285"/>
                                  <a:pt x="862" y="1281"/>
                                </a:cubicBezTo>
                                <a:cubicBezTo>
                                  <a:pt x="865" y="1276"/>
                                  <a:pt x="866" y="1271"/>
                                  <a:pt x="864" y="1266"/>
                                </a:cubicBezTo>
                                <a:cubicBezTo>
                                  <a:pt x="863" y="1261"/>
                                  <a:pt x="863" y="1255"/>
                                  <a:pt x="870" y="1249"/>
                                </a:cubicBezTo>
                                <a:cubicBezTo>
                                  <a:pt x="876" y="1243"/>
                                  <a:pt x="899" y="1231"/>
                                  <a:pt x="903" y="1229"/>
                                </a:cubicBezTo>
                                <a:cubicBezTo>
                                  <a:pt x="906" y="1227"/>
                                  <a:pt x="927" y="1219"/>
                                  <a:pt x="930" y="1212"/>
                                </a:cubicBezTo>
                                <a:cubicBezTo>
                                  <a:pt x="933" y="1204"/>
                                  <a:pt x="945" y="1190"/>
                                  <a:pt x="950" y="1185"/>
                                </a:cubicBezTo>
                                <a:cubicBezTo>
                                  <a:pt x="955" y="1181"/>
                                  <a:pt x="975" y="1178"/>
                                  <a:pt x="979" y="1171"/>
                                </a:cubicBezTo>
                                <a:cubicBezTo>
                                  <a:pt x="983" y="1165"/>
                                  <a:pt x="994" y="1156"/>
                                  <a:pt x="1000" y="1146"/>
                                </a:cubicBezTo>
                                <a:cubicBezTo>
                                  <a:pt x="1007" y="1135"/>
                                  <a:pt x="1017" y="1125"/>
                                  <a:pt x="1023" y="1119"/>
                                </a:cubicBezTo>
                                <a:cubicBezTo>
                                  <a:pt x="1030" y="1113"/>
                                  <a:pt x="1045" y="1106"/>
                                  <a:pt x="1048" y="1103"/>
                                </a:cubicBezTo>
                                <a:cubicBezTo>
                                  <a:pt x="1050" y="1099"/>
                                  <a:pt x="1054" y="1096"/>
                                  <a:pt x="1051" y="1094"/>
                                </a:cubicBezTo>
                                <a:cubicBezTo>
                                  <a:pt x="1048" y="1093"/>
                                  <a:pt x="1046" y="1085"/>
                                  <a:pt x="1051" y="1080"/>
                                </a:cubicBezTo>
                                <a:cubicBezTo>
                                  <a:pt x="1057" y="1076"/>
                                  <a:pt x="1062" y="1082"/>
                                  <a:pt x="1068" y="1084"/>
                                </a:cubicBezTo>
                                <a:cubicBezTo>
                                  <a:pt x="1075" y="1086"/>
                                  <a:pt x="1081" y="1080"/>
                                  <a:pt x="1089" y="1079"/>
                                </a:cubicBezTo>
                                <a:cubicBezTo>
                                  <a:pt x="1097" y="1077"/>
                                  <a:pt x="1108" y="1073"/>
                                  <a:pt x="1108" y="1068"/>
                                </a:cubicBezTo>
                                <a:cubicBezTo>
                                  <a:pt x="1108" y="1063"/>
                                  <a:pt x="1105" y="1061"/>
                                  <a:pt x="1109" y="1060"/>
                                </a:cubicBezTo>
                                <a:cubicBezTo>
                                  <a:pt x="1112" y="1060"/>
                                  <a:pt x="1112" y="1066"/>
                                  <a:pt x="1116" y="1066"/>
                                </a:cubicBezTo>
                                <a:cubicBezTo>
                                  <a:pt x="1119" y="1066"/>
                                  <a:pt x="1135" y="1046"/>
                                  <a:pt x="1141" y="1041"/>
                                </a:cubicBezTo>
                                <a:cubicBezTo>
                                  <a:pt x="1148" y="1035"/>
                                  <a:pt x="1155" y="1024"/>
                                  <a:pt x="1154" y="1020"/>
                                </a:cubicBezTo>
                                <a:cubicBezTo>
                                  <a:pt x="1153" y="1016"/>
                                  <a:pt x="1152" y="1010"/>
                                  <a:pt x="1151" y="1002"/>
                                </a:cubicBezTo>
                                <a:cubicBezTo>
                                  <a:pt x="1150" y="993"/>
                                  <a:pt x="1149" y="985"/>
                                  <a:pt x="1149" y="978"/>
                                </a:cubicBezTo>
                                <a:cubicBezTo>
                                  <a:pt x="1150" y="971"/>
                                  <a:pt x="1161" y="969"/>
                                  <a:pt x="1169" y="965"/>
                                </a:cubicBezTo>
                                <a:cubicBezTo>
                                  <a:pt x="1176" y="961"/>
                                  <a:pt x="1180" y="962"/>
                                  <a:pt x="1197" y="956"/>
                                </a:cubicBezTo>
                                <a:cubicBezTo>
                                  <a:pt x="1215" y="950"/>
                                  <a:pt x="1212" y="948"/>
                                  <a:pt x="1217" y="943"/>
                                </a:cubicBezTo>
                                <a:cubicBezTo>
                                  <a:pt x="1222" y="939"/>
                                  <a:pt x="1221" y="935"/>
                                  <a:pt x="1219" y="931"/>
                                </a:cubicBezTo>
                                <a:cubicBezTo>
                                  <a:pt x="1217" y="927"/>
                                  <a:pt x="1213" y="924"/>
                                  <a:pt x="1215" y="920"/>
                                </a:cubicBezTo>
                                <a:cubicBezTo>
                                  <a:pt x="1217" y="916"/>
                                  <a:pt x="1225" y="927"/>
                                  <a:pt x="1228" y="931"/>
                                </a:cubicBezTo>
                                <a:cubicBezTo>
                                  <a:pt x="1231" y="935"/>
                                  <a:pt x="1229" y="937"/>
                                  <a:pt x="1229" y="942"/>
                                </a:cubicBezTo>
                                <a:cubicBezTo>
                                  <a:pt x="1229" y="946"/>
                                  <a:pt x="1229" y="952"/>
                                  <a:pt x="1229" y="958"/>
                                </a:cubicBezTo>
                                <a:cubicBezTo>
                                  <a:pt x="1229" y="964"/>
                                  <a:pt x="1234" y="961"/>
                                  <a:pt x="1239" y="962"/>
                                </a:cubicBezTo>
                                <a:cubicBezTo>
                                  <a:pt x="1245" y="963"/>
                                  <a:pt x="1248" y="960"/>
                                  <a:pt x="1249" y="956"/>
                                </a:cubicBezTo>
                                <a:cubicBezTo>
                                  <a:pt x="1251" y="951"/>
                                  <a:pt x="1250" y="946"/>
                                  <a:pt x="1250" y="941"/>
                                </a:cubicBezTo>
                                <a:cubicBezTo>
                                  <a:pt x="1250" y="935"/>
                                  <a:pt x="1258" y="933"/>
                                  <a:pt x="1260" y="935"/>
                                </a:cubicBezTo>
                                <a:cubicBezTo>
                                  <a:pt x="1262" y="937"/>
                                  <a:pt x="1262" y="946"/>
                                  <a:pt x="1260" y="950"/>
                                </a:cubicBezTo>
                                <a:cubicBezTo>
                                  <a:pt x="1259" y="955"/>
                                  <a:pt x="1261" y="962"/>
                                  <a:pt x="1263" y="964"/>
                                </a:cubicBezTo>
                                <a:cubicBezTo>
                                  <a:pt x="1265" y="966"/>
                                  <a:pt x="1270" y="963"/>
                                  <a:pt x="1276" y="962"/>
                                </a:cubicBezTo>
                                <a:cubicBezTo>
                                  <a:pt x="1278" y="962"/>
                                  <a:pt x="1280" y="962"/>
                                  <a:pt x="1281" y="961"/>
                                </a:cubicBezTo>
                                <a:cubicBezTo>
                                  <a:pt x="1281" y="959"/>
                                  <a:pt x="1281" y="957"/>
                                  <a:pt x="1281" y="954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41" name="Freeform 328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5446031" y="3963088"/>
                            <a:ext cx="285750" cy="254794"/>
                          </a:xfrm>
                          <a:custGeom>
                            <a:avLst/>
                            <a:gdLst>
                              <a:gd name="T0" fmla="*/ 470 w 997"/>
                              <a:gd name="T1" fmla="*/ 869 h 888"/>
                              <a:gd name="T2" fmla="*/ 529 w 997"/>
                              <a:gd name="T3" fmla="*/ 857 h 888"/>
                              <a:gd name="T4" fmla="*/ 598 w 997"/>
                              <a:gd name="T5" fmla="*/ 854 h 888"/>
                              <a:gd name="T6" fmla="*/ 615 w 997"/>
                              <a:gd name="T7" fmla="*/ 852 h 888"/>
                              <a:gd name="T8" fmla="*/ 608 w 997"/>
                              <a:gd name="T9" fmla="*/ 803 h 888"/>
                              <a:gd name="T10" fmla="*/ 559 w 997"/>
                              <a:gd name="T11" fmla="*/ 753 h 888"/>
                              <a:gd name="T12" fmla="*/ 558 w 997"/>
                              <a:gd name="T13" fmla="*/ 715 h 888"/>
                              <a:gd name="T14" fmla="*/ 525 w 997"/>
                              <a:gd name="T15" fmla="*/ 668 h 888"/>
                              <a:gd name="T16" fmla="*/ 598 w 997"/>
                              <a:gd name="T17" fmla="*/ 619 h 888"/>
                              <a:gd name="T18" fmla="*/ 649 w 997"/>
                              <a:gd name="T19" fmla="*/ 617 h 888"/>
                              <a:gd name="T20" fmla="*/ 700 w 997"/>
                              <a:gd name="T21" fmla="*/ 559 h 888"/>
                              <a:gd name="T22" fmla="*/ 747 w 997"/>
                              <a:gd name="T23" fmla="*/ 506 h 888"/>
                              <a:gd name="T24" fmla="*/ 790 w 997"/>
                              <a:gd name="T25" fmla="*/ 465 h 888"/>
                              <a:gd name="T26" fmla="*/ 827 w 997"/>
                              <a:gd name="T27" fmla="*/ 413 h 888"/>
                              <a:gd name="T28" fmla="*/ 835 w 997"/>
                              <a:gd name="T29" fmla="*/ 352 h 888"/>
                              <a:gd name="T30" fmla="*/ 875 w 997"/>
                              <a:gd name="T31" fmla="*/ 329 h 888"/>
                              <a:gd name="T32" fmla="*/ 873 w 997"/>
                              <a:gd name="T33" fmla="*/ 319 h 888"/>
                              <a:gd name="T34" fmla="*/ 845 w 997"/>
                              <a:gd name="T35" fmla="*/ 300 h 888"/>
                              <a:gd name="T36" fmla="*/ 824 w 997"/>
                              <a:gd name="T37" fmla="*/ 291 h 888"/>
                              <a:gd name="T38" fmla="*/ 807 w 997"/>
                              <a:gd name="T39" fmla="*/ 245 h 888"/>
                              <a:gd name="T40" fmla="*/ 810 w 997"/>
                              <a:gd name="T41" fmla="*/ 210 h 888"/>
                              <a:gd name="T42" fmla="*/ 796 w 997"/>
                              <a:gd name="T43" fmla="*/ 201 h 888"/>
                              <a:gd name="T44" fmla="*/ 792 w 997"/>
                              <a:gd name="T45" fmla="*/ 184 h 888"/>
                              <a:gd name="T46" fmla="*/ 835 w 997"/>
                              <a:gd name="T47" fmla="*/ 152 h 888"/>
                              <a:gd name="T48" fmla="*/ 903 w 997"/>
                              <a:gd name="T49" fmla="*/ 164 h 888"/>
                              <a:gd name="T50" fmla="*/ 953 w 997"/>
                              <a:gd name="T51" fmla="*/ 150 h 888"/>
                              <a:gd name="T52" fmla="*/ 973 w 997"/>
                              <a:gd name="T53" fmla="*/ 94 h 888"/>
                              <a:gd name="T54" fmla="*/ 948 w 997"/>
                              <a:gd name="T55" fmla="*/ 79 h 888"/>
                              <a:gd name="T56" fmla="*/ 919 w 997"/>
                              <a:gd name="T57" fmla="*/ 49 h 888"/>
                              <a:gd name="T58" fmla="*/ 873 w 997"/>
                              <a:gd name="T59" fmla="*/ 1 h 888"/>
                              <a:gd name="T60" fmla="*/ 805 w 997"/>
                              <a:gd name="T61" fmla="*/ 14 h 888"/>
                              <a:gd name="T62" fmla="*/ 733 w 997"/>
                              <a:gd name="T63" fmla="*/ 14 h 888"/>
                              <a:gd name="T64" fmla="*/ 669 w 997"/>
                              <a:gd name="T65" fmla="*/ 40 h 888"/>
                              <a:gd name="T66" fmla="*/ 639 w 997"/>
                              <a:gd name="T67" fmla="*/ 58 h 888"/>
                              <a:gd name="T68" fmla="*/ 659 w 997"/>
                              <a:gd name="T69" fmla="*/ 105 h 888"/>
                              <a:gd name="T70" fmla="*/ 630 w 997"/>
                              <a:gd name="T71" fmla="*/ 155 h 888"/>
                              <a:gd name="T72" fmla="*/ 617 w 997"/>
                              <a:gd name="T73" fmla="*/ 205 h 888"/>
                              <a:gd name="T74" fmla="*/ 552 w 997"/>
                              <a:gd name="T75" fmla="*/ 208 h 888"/>
                              <a:gd name="T76" fmla="*/ 562 w 997"/>
                              <a:gd name="T77" fmla="*/ 228 h 888"/>
                              <a:gd name="T78" fmla="*/ 537 w 997"/>
                              <a:gd name="T79" fmla="*/ 273 h 888"/>
                              <a:gd name="T80" fmla="*/ 519 w 997"/>
                              <a:gd name="T81" fmla="*/ 305 h 888"/>
                              <a:gd name="T82" fmla="*/ 509 w 997"/>
                              <a:gd name="T83" fmla="*/ 352 h 888"/>
                              <a:gd name="T84" fmla="*/ 440 w 997"/>
                              <a:gd name="T85" fmla="*/ 365 h 888"/>
                              <a:gd name="T86" fmla="*/ 415 w 997"/>
                              <a:gd name="T87" fmla="*/ 382 h 888"/>
                              <a:gd name="T88" fmla="*/ 375 w 997"/>
                              <a:gd name="T89" fmla="*/ 399 h 888"/>
                              <a:gd name="T90" fmla="*/ 332 w 997"/>
                              <a:gd name="T91" fmla="*/ 428 h 888"/>
                              <a:gd name="T92" fmla="*/ 302 w 997"/>
                              <a:gd name="T93" fmla="*/ 501 h 888"/>
                              <a:gd name="T94" fmla="*/ 220 w 997"/>
                              <a:gd name="T95" fmla="*/ 512 h 888"/>
                              <a:gd name="T96" fmla="*/ 161 w 997"/>
                              <a:gd name="T97" fmla="*/ 518 h 888"/>
                              <a:gd name="T98" fmla="*/ 49 w 997"/>
                              <a:gd name="T99" fmla="*/ 510 h 888"/>
                              <a:gd name="T100" fmla="*/ 56 w 997"/>
                              <a:gd name="T101" fmla="*/ 572 h 888"/>
                              <a:gd name="T102" fmla="*/ 111 w 997"/>
                              <a:gd name="T103" fmla="*/ 658 h 888"/>
                              <a:gd name="T104" fmla="*/ 135 w 997"/>
                              <a:gd name="T105" fmla="*/ 699 h 888"/>
                              <a:gd name="T106" fmla="*/ 100 w 997"/>
                              <a:gd name="T107" fmla="*/ 714 h 888"/>
                              <a:gd name="T108" fmla="*/ 52 w 997"/>
                              <a:gd name="T109" fmla="*/ 742 h 888"/>
                              <a:gd name="T110" fmla="*/ 68 w 997"/>
                              <a:gd name="T111" fmla="*/ 801 h 888"/>
                              <a:gd name="T112" fmla="*/ 150 w 997"/>
                              <a:gd name="T113" fmla="*/ 801 h 888"/>
                              <a:gd name="T114" fmla="*/ 194 w 997"/>
                              <a:gd name="T115" fmla="*/ 788 h 888"/>
                              <a:gd name="T116" fmla="*/ 286 w 997"/>
                              <a:gd name="T117" fmla="*/ 787 h 888"/>
                              <a:gd name="T118" fmla="*/ 349 w 997"/>
                              <a:gd name="T119" fmla="*/ 795 h 888"/>
                              <a:gd name="T120" fmla="*/ 389 w 997"/>
                              <a:gd name="T121" fmla="*/ 869 h 888"/>
                              <a:gd name="T122" fmla="*/ 444 w 997"/>
                              <a:gd name="T123" fmla="*/ 885 h 888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  <a:cxn ang="0">
                                <a:pos x="T118" y="T119"/>
                              </a:cxn>
                              <a:cxn ang="0">
                                <a:pos x="T120" y="T121"/>
                              </a:cxn>
                              <a:cxn ang="0">
                                <a:pos x="T122" y="T123"/>
                              </a:cxn>
                            </a:cxnLst>
                            <a:rect l="0" t="0" r="r" b="b"/>
                            <a:pathLst>
                              <a:path w="997" h="888">
                                <a:moveTo>
                                  <a:pt x="444" y="885"/>
                                </a:moveTo>
                                <a:cubicBezTo>
                                  <a:pt x="445" y="882"/>
                                  <a:pt x="447" y="880"/>
                                  <a:pt x="449" y="877"/>
                                </a:cubicBezTo>
                                <a:cubicBezTo>
                                  <a:pt x="452" y="874"/>
                                  <a:pt x="456" y="873"/>
                                  <a:pt x="461" y="872"/>
                                </a:cubicBezTo>
                                <a:cubicBezTo>
                                  <a:pt x="465" y="871"/>
                                  <a:pt x="469" y="870"/>
                                  <a:pt x="470" y="869"/>
                                </a:cubicBezTo>
                                <a:cubicBezTo>
                                  <a:pt x="471" y="866"/>
                                  <a:pt x="471" y="864"/>
                                  <a:pt x="471" y="863"/>
                                </a:cubicBezTo>
                                <a:cubicBezTo>
                                  <a:pt x="471" y="859"/>
                                  <a:pt x="472" y="856"/>
                                  <a:pt x="476" y="853"/>
                                </a:cubicBezTo>
                                <a:cubicBezTo>
                                  <a:pt x="480" y="851"/>
                                  <a:pt x="507" y="855"/>
                                  <a:pt x="529" y="857"/>
                                </a:cubicBezTo>
                                <a:cubicBezTo>
                                  <a:pt x="529" y="857"/>
                                  <a:pt x="529" y="857"/>
                                  <a:pt x="529" y="857"/>
                                </a:cubicBezTo>
                                <a:cubicBezTo>
                                  <a:pt x="542" y="859"/>
                                  <a:pt x="553" y="860"/>
                                  <a:pt x="556" y="860"/>
                                </a:cubicBezTo>
                                <a:cubicBezTo>
                                  <a:pt x="560" y="860"/>
                                  <a:pt x="564" y="857"/>
                                  <a:pt x="569" y="854"/>
                                </a:cubicBezTo>
                                <a:cubicBezTo>
                                  <a:pt x="575" y="850"/>
                                  <a:pt x="581" y="846"/>
                                  <a:pt x="587" y="846"/>
                                </a:cubicBezTo>
                                <a:cubicBezTo>
                                  <a:pt x="594" y="846"/>
                                  <a:pt x="596" y="850"/>
                                  <a:pt x="598" y="854"/>
                                </a:cubicBezTo>
                                <a:cubicBezTo>
                                  <a:pt x="599" y="856"/>
                                  <a:pt x="600" y="858"/>
                                  <a:pt x="603" y="858"/>
                                </a:cubicBezTo>
                                <a:cubicBezTo>
                                  <a:pt x="606" y="858"/>
                                  <a:pt x="607" y="858"/>
                                  <a:pt x="609" y="857"/>
                                </a:cubicBezTo>
                                <a:cubicBezTo>
                                  <a:pt x="612" y="856"/>
                                  <a:pt x="613" y="856"/>
                                  <a:pt x="614" y="854"/>
                                </a:cubicBezTo>
                                <a:cubicBezTo>
                                  <a:pt x="615" y="854"/>
                                  <a:pt x="616" y="853"/>
                                  <a:pt x="615" y="852"/>
                                </a:cubicBezTo>
                                <a:cubicBezTo>
                                  <a:pt x="615" y="852"/>
                                  <a:pt x="615" y="852"/>
                                  <a:pt x="615" y="851"/>
                                </a:cubicBezTo>
                                <a:cubicBezTo>
                                  <a:pt x="614" y="845"/>
                                  <a:pt x="615" y="842"/>
                                  <a:pt x="616" y="835"/>
                                </a:cubicBezTo>
                                <a:cubicBezTo>
                                  <a:pt x="617" y="832"/>
                                  <a:pt x="617" y="832"/>
                                  <a:pt x="617" y="832"/>
                                </a:cubicBezTo>
                                <a:cubicBezTo>
                                  <a:pt x="617" y="828"/>
                                  <a:pt x="613" y="816"/>
                                  <a:pt x="608" y="803"/>
                                </a:cubicBezTo>
                                <a:cubicBezTo>
                                  <a:pt x="603" y="787"/>
                                  <a:pt x="596" y="772"/>
                                  <a:pt x="595" y="771"/>
                                </a:cubicBezTo>
                                <a:cubicBezTo>
                                  <a:pt x="593" y="771"/>
                                  <a:pt x="589" y="771"/>
                                  <a:pt x="585" y="771"/>
                                </a:cubicBezTo>
                                <a:cubicBezTo>
                                  <a:pt x="578" y="770"/>
                                  <a:pt x="571" y="770"/>
                                  <a:pt x="567" y="767"/>
                                </a:cubicBezTo>
                                <a:cubicBezTo>
                                  <a:pt x="565" y="764"/>
                                  <a:pt x="562" y="759"/>
                                  <a:pt x="559" y="753"/>
                                </a:cubicBezTo>
                                <a:cubicBezTo>
                                  <a:pt x="558" y="749"/>
                                  <a:pt x="557" y="743"/>
                                  <a:pt x="557" y="737"/>
                                </a:cubicBezTo>
                                <a:cubicBezTo>
                                  <a:pt x="557" y="730"/>
                                  <a:pt x="558" y="726"/>
                                  <a:pt x="558" y="722"/>
                                </a:cubicBezTo>
                                <a:cubicBezTo>
                                  <a:pt x="559" y="719"/>
                                  <a:pt x="559" y="716"/>
                                  <a:pt x="558" y="715"/>
                                </a:cubicBezTo>
                                <a:cubicBezTo>
                                  <a:pt x="558" y="715"/>
                                  <a:pt x="558" y="715"/>
                                  <a:pt x="558" y="715"/>
                                </a:cubicBezTo>
                                <a:cubicBezTo>
                                  <a:pt x="557" y="713"/>
                                  <a:pt x="548" y="709"/>
                                  <a:pt x="541" y="706"/>
                                </a:cubicBezTo>
                                <a:cubicBezTo>
                                  <a:pt x="534" y="703"/>
                                  <a:pt x="527" y="701"/>
                                  <a:pt x="525" y="699"/>
                                </a:cubicBezTo>
                                <a:cubicBezTo>
                                  <a:pt x="523" y="696"/>
                                  <a:pt x="520" y="690"/>
                                  <a:pt x="520" y="683"/>
                                </a:cubicBezTo>
                                <a:cubicBezTo>
                                  <a:pt x="520" y="678"/>
                                  <a:pt x="522" y="673"/>
                                  <a:pt x="525" y="668"/>
                                </a:cubicBezTo>
                                <a:cubicBezTo>
                                  <a:pt x="529" y="663"/>
                                  <a:pt x="542" y="646"/>
                                  <a:pt x="554" y="633"/>
                                </a:cubicBezTo>
                                <a:cubicBezTo>
                                  <a:pt x="561" y="624"/>
                                  <a:pt x="568" y="617"/>
                                  <a:pt x="571" y="615"/>
                                </a:cubicBezTo>
                                <a:cubicBezTo>
                                  <a:pt x="575" y="612"/>
                                  <a:pt x="580" y="610"/>
                                  <a:pt x="584" y="611"/>
                                </a:cubicBezTo>
                                <a:cubicBezTo>
                                  <a:pt x="589" y="612"/>
                                  <a:pt x="593" y="615"/>
                                  <a:pt x="598" y="619"/>
                                </a:cubicBezTo>
                                <a:cubicBezTo>
                                  <a:pt x="600" y="620"/>
                                  <a:pt x="602" y="622"/>
                                  <a:pt x="603" y="623"/>
                                </a:cubicBezTo>
                                <a:cubicBezTo>
                                  <a:pt x="607" y="627"/>
                                  <a:pt x="609" y="628"/>
                                  <a:pt x="616" y="626"/>
                                </a:cubicBezTo>
                                <a:cubicBezTo>
                                  <a:pt x="621" y="625"/>
                                  <a:pt x="625" y="624"/>
                                  <a:pt x="630" y="622"/>
                                </a:cubicBezTo>
                                <a:cubicBezTo>
                                  <a:pt x="636" y="620"/>
                                  <a:pt x="642" y="617"/>
                                  <a:pt x="649" y="617"/>
                                </a:cubicBezTo>
                                <a:cubicBezTo>
                                  <a:pt x="649" y="617"/>
                                  <a:pt x="650" y="617"/>
                                  <a:pt x="651" y="617"/>
                                </a:cubicBezTo>
                                <a:cubicBezTo>
                                  <a:pt x="658" y="617"/>
                                  <a:pt x="662" y="617"/>
                                  <a:pt x="665" y="614"/>
                                </a:cubicBezTo>
                                <a:cubicBezTo>
                                  <a:pt x="667" y="612"/>
                                  <a:pt x="670" y="605"/>
                                  <a:pt x="675" y="598"/>
                                </a:cubicBezTo>
                                <a:cubicBezTo>
                                  <a:pt x="683" y="583"/>
                                  <a:pt x="694" y="564"/>
                                  <a:pt x="700" y="559"/>
                                </a:cubicBezTo>
                                <a:cubicBezTo>
                                  <a:pt x="705" y="555"/>
                                  <a:pt x="713" y="550"/>
                                  <a:pt x="720" y="546"/>
                                </a:cubicBezTo>
                                <a:cubicBezTo>
                                  <a:pt x="725" y="543"/>
                                  <a:pt x="731" y="540"/>
                                  <a:pt x="734" y="537"/>
                                </a:cubicBezTo>
                                <a:cubicBezTo>
                                  <a:pt x="737" y="534"/>
                                  <a:pt x="739" y="530"/>
                                  <a:pt x="740" y="524"/>
                                </a:cubicBezTo>
                                <a:cubicBezTo>
                                  <a:pt x="742" y="519"/>
                                  <a:pt x="744" y="514"/>
                                  <a:pt x="747" y="506"/>
                                </a:cubicBezTo>
                                <a:cubicBezTo>
                                  <a:pt x="750" y="501"/>
                                  <a:pt x="752" y="496"/>
                                  <a:pt x="753" y="492"/>
                                </a:cubicBezTo>
                                <a:cubicBezTo>
                                  <a:pt x="755" y="485"/>
                                  <a:pt x="757" y="480"/>
                                  <a:pt x="764" y="476"/>
                                </a:cubicBezTo>
                                <a:cubicBezTo>
                                  <a:pt x="769" y="473"/>
                                  <a:pt x="774" y="471"/>
                                  <a:pt x="779" y="470"/>
                                </a:cubicBezTo>
                                <a:cubicBezTo>
                                  <a:pt x="784" y="468"/>
                                  <a:pt x="789" y="467"/>
                                  <a:pt x="790" y="465"/>
                                </a:cubicBezTo>
                                <a:cubicBezTo>
                                  <a:pt x="791" y="464"/>
                                  <a:pt x="790" y="461"/>
                                  <a:pt x="789" y="459"/>
                                </a:cubicBezTo>
                                <a:cubicBezTo>
                                  <a:pt x="788" y="455"/>
                                  <a:pt x="786" y="451"/>
                                  <a:pt x="789" y="447"/>
                                </a:cubicBezTo>
                                <a:cubicBezTo>
                                  <a:pt x="791" y="442"/>
                                  <a:pt x="804" y="432"/>
                                  <a:pt x="815" y="424"/>
                                </a:cubicBezTo>
                                <a:cubicBezTo>
                                  <a:pt x="820" y="419"/>
                                  <a:pt x="825" y="415"/>
                                  <a:pt x="827" y="413"/>
                                </a:cubicBezTo>
                                <a:cubicBezTo>
                                  <a:pt x="830" y="411"/>
                                  <a:pt x="831" y="408"/>
                                  <a:pt x="831" y="405"/>
                                </a:cubicBezTo>
                                <a:cubicBezTo>
                                  <a:pt x="832" y="401"/>
                                  <a:pt x="831" y="397"/>
                                  <a:pt x="831" y="391"/>
                                </a:cubicBezTo>
                                <a:cubicBezTo>
                                  <a:pt x="830" y="385"/>
                                  <a:pt x="829" y="376"/>
                                  <a:pt x="830" y="367"/>
                                </a:cubicBezTo>
                                <a:cubicBezTo>
                                  <a:pt x="831" y="361"/>
                                  <a:pt x="832" y="356"/>
                                  <a:pt x="835" y="352"/>
                                </a:cubicBezTo>
                                <a:cubicBezTo>
                                  <a:pt x="838" y="349"/>
                                  <a:pt x="841" y="346"/>
                                  <a:pt x="844" y="344"/>
                                </a:cubicBezTo>
                                <a:cubicBezTo>
                                  <a:pt x="848" y="342"/>
                                  <a:pt x="851" y="340"/>
                                  <a:pt x="856" y="338"/>
                                </a:cubicBezTo>
                                <a:cubicBezTo>
                                  <a:pt x="858" y="337"/>
                                  <a:pt x="861" y="336"/>
                                  <a:pt x="863" y="335"/>
                                </a:cubicBezTo>
                                <a:cubicBezTo>
                                  <a:pt x="869" y="333"/>
                                  <a:pt x="873" y="331"/>
                                  <a:pt x="875" y="329"/>
                                </a:cubicBezTo>
                                <a:cubicBezTo>
                                  <a:pt x="875" y="329"/>
                                  <a:pt x="876" y="328"/>
                                  <a:pt x="876" y="327"/>
                                </a:cubicBezTo>
                                <a:cubicBezTo>
                                  <a:pt x="876" y="326"/>
                                  <a:pt x="877" y="324"/>
                                  <a:pt x="876" y="323"/>
                                </a:cubicBezTo>
                                <a:cubicBezTo>
                                  <a:pt x="876" y="322"/>
                                  <a:pt x="876" y="320"/>
                                  <a:pt x="875" y="320"/>
                                </a:cubicBezTo>
                                <a:cubicBezTo>
                                  <a:pt x="874" y="319"/>
                                  <a:pt x="874" y="319"/>
                                  <a:pt x="873" y="319"/>
                                </a:cubicBezTo>
                                <a:cubicBezTo>
                                  <a:pt x="871" y="318"/>
                                  <a:pt x="867" y="318"/>
                                  <a:pt x="864" y="318"/>
                                </a:cubicBezTo>
                                <a:cubicBezTo>
                                  <a:pt x="858" y="317"/>
                                  <a:pt x="851" y="317"/>
                                  <a:pt x="848" y="312"/>
                                </a:cubicBezTo>
                                <a:cubicBezTo>
                                  <a:pt x="848" y="312"/>
                                  <a:pt x="848" y="312"/>
                                  <a:pt x="848" y="312"/>
                                </a:cubicBezTo>
                                <a:cubicBezTo>
                                  <a:pt x="845" y="309"/>
                                  <a:pt x="845" y="305"/>
                                  <a:pt x="845" y="300"/>
                                </a:cubicBezTo>
                                <a:cubicBezTo>
                                  <a:pt x="845" y="298"/>
                                  <a:pt x="845" y="295"/>
                                  <a:pt x="844" y="294"/>
                                </a:cubicBezTo>
                                <a:cubicBezTo>
                                  <a:pt x="843" y="292"/>
                                  <a:pt x="840" y="293"/>
                                  <a:pt x="837" y="293"/>
                                </a:cubicBezTo>
                                <a:cubicBezTo>
                                  <a:pt x="833" y="293"/>
                                  <a:pt x="829" y="294"/>
                                  <a:pt x="824" y="291"/>
                                </a:cubicBezTo>
                                <a:cubicBezTo>
                                  <a:pt x="824" y="291"/>
                                  <a:pt x="824" y="291"/>
                                  <a:pt x="824" y="291"/>
                                </a:cubicBezTo>
                                <a:cubicBezTo>
                                  <a:pt x="820" y="289"/>
                                  <a:pt x="814" y="283"/>
                                  <a:pt x="809" y="277"/>
                                </a:cubicBezTo>
                                <a:cubicBezTo>
                                  <a:pt x="805" y="272"/>
                                  <a:pt x="802" y="267"/>
                                  <a:pt x="801" y="263"/>
                                </a:cubicBezTo>
                                <a:cubicBezTo>
                                  <a:pt x="801" y="259"/>
                                  <a:pt x="803" y="256"/>
                                  <a:pt x="804" y="253"/>
                                </a:cubicBezTo>
                                <a:cubicBezTo>
                                  <a:pt x="805" y="251"/>
                                  <a:pt x="807" y="249"/>
                                  <a:pt x="807" y="245"/>
                                </a:cubicBezTo>
                                <a:cubicBezTo>
                                  <a:pt x="807" y="241"/>
                                  <a:pt x="805" y="238"/>
                                  <a:pt x="804" y="235"/>
                                </a:cubicBezTo>
                                <a:cubicBezTo>
                                  <a:pt x="803" y="232"/>
                                  <a:pt x="801" y="229"/>
                                  <a:pt x="801" y="225"/>
                                </a:cubicBezTo>
                                <a:cubicBezTo>
                                  <a:pt x="800" y="219"/>
                                  <a:pt x="804" y="216"/>
                                  <a:pt x="807" y="214"/>
                                </a:cubicBezTo>
                                <a:cubicBezTo>
                                  <a:pt x="809" y="212"/>
                                  <a:pt x="810" y="211"/>
                                  <a:pt x="810" y="210"/>
                                </a:cubicBezTo>
                                <a:cubicBezTo>
                                  <a:pt x="810" y="210"/>
                                  <a:pt x="808" y="209"/>
                                  <a:pt x="807" y="209"/>
                                </a:cubicBezTo>
                                <a:cubicBezTo>
                                  <a:pt x="807" y="209"/>
                                  <a:pt x="807" y="209"/>
                                  <a:pt x="807" y="209"/>
                                </a:cubicBezTo>
                                <a:cubicBezTo>
                                  <a:pt x="802" y="208"/>
                                  <a:pt x="798" y="206"/>
                                  <a:pt x="796" y="201"/>
                                </a:cubicBezTo>
                                <a:cubicBezTo>
                                  <a:pt x="796" y="201"/>
                                  <a:pt x="796" y="201"/>
                                  <a:pt x="796" y="201"/>
                                </a:cubicBezTo>
                                <a:cubicBezTo>
                                  <a:pt x="794" y="197"/>
                                  <a:pt x="795" y="193"/>
                                  <a:pt x="795" y="191"/>
                                </a:cubicBezTo>
                                <a:cubicBezTo>
                                  <a:pt x="795" y="191"/>
                                  <a:pt x="795" y="191"/>
                                  <a:pt x="795" y="191"/>
                                </a:cubicBezTo>
                                <a:cubicBezTo>
                                  <a:pt x="795" y="189"/>
                                  <a:pt x="795" y="187"/>
                                  <a:pt x="795" y="186"/>
                                </a:cubicBezTo>
                                <a:cubicBezTo>
                                  <a:pt x="794" y="185"/>
                                  <a:pt x="793" y="184"/>
                                  <a:pt x="792" y="184"/>
                                </a:cubicBezTo>
                                <a:cubicBezTo>
                                  <a:pt x="789" y="181"/>
                                  <a:pt x="786" y="178"/>
                                  <a:pt x="789" y="171"/>
                                </a:cubicBezTo>
                                <a:cubicBezTo>
                                  <a:pt x="791" y="167"/>
                                  <a:pt x="793" y="163"/>
                                  <a:pt x="797" y="159"/>
                                </a:cubicBezTo>
                                <a:cubicBezTo>
                                  <a:pt x="800" y="156"/>
                                  <a:pt x="804" y="154"/>
                                  <a:pt x="808" y="153"/>
                                </a:cubicBezTo>
                                <a:cubicBezTo>
                                  <a:pt x="813" y="153"/>
                                  <a:pt x="823" y="152"/>
                                  <a:pt x="835" y="152"/>
                                </a:cubicBezTo>
                                <a:cubicBezTo>
                                  <a:pt x="843" y="151"/>
                                  <a:pt x="852" y="151"/>
                                  <a:pt x="859" y="152"/>
                                </a:cubicBezTo>
                                <a:cubicBezTo>
                                  <a:pt x="869" y="153"/>
                                  <a:pt x="876" y="156"/>
                                  <a:pt x="882" y="158"/>
                                </a:cubicBezTo>
                                <a:cubicBezTo>
                                  <a:pt x="887" y="159"/>
                                  <a:pt x="891" y="161"/>
                                  <a:pt x="895" y="161"/>
                                </a:cubicBezTo>
                                <a:cubicBezTo>
                                  <a:pt x="899" y="162"/>
                                  <a:pt x="901" y="163"/>
                                  <a:pt x="903" y="164"/>
                                </a:cubicBezTo>
                                <a:cubicBezTo>
                                  <a:pt x="906" y="166"/>
                                  <a:pt x="908" y="167"/>
                                  <a:pt x="917" y="162"/>
                                </a:cubicBezTo>
                                <a:cubicBezTo>
                                  <a:pt x="918" y="161"/>
                                  <a:pt x="918" y="161"/>
                                  <a:pt x="918" y="161"/>
                                </a:cubicBezTo>
                                <a:cubicBezTo>
                                  <a:pt x="934" y="152"/>
                                  <a:pt x="936" y="150"/>
                                  <a:pt x="949" y="150"/>
                                </a:cubicBezTo>
                                <a:cubicBezTo>
                                  <a:pt x="951" y="150"/>
                                  <a:pt x="952" y="150"/>
                                  <a:pt x="953" y="150"/>
                                </a:cubicBezTo>
                                <a:cubicBezTo>
                                  <a:pt x="961" y="150"/>
                                  <a:pt x="963" y="150"/>
                                  <a:pt x="970" y="143"/>
                                </a:cubicBezTo>
                                <a:cubicBezTo>
                                  <a:pt x="978" y="135"/>
                                  <a:pt x="986" y="124"/>
                                  <a:pt x="988" y="122"/>
                                </a:cubicBezTo>
                                <a:cubicBezTo>
                                  <a:pt x="989" y="120"/>
                                  <a:pt x="994" y="109"/>
                                  <a:pt x="997" y="101"/>
                                </a:cubicBezTo>
                                <a:cubicBezTo>
                                  <a:pt x="990" y="100"/>
                                  <a:pt x="981" y="98"/>
                                  <a:pt x="973" y="94"/>
                                </a:cubicBezTo>
                                <a:cubicBezTo>
                                  <a:pt x="962" y="90"/>
                                  <a:pt x="961" y="86"/>
                                  <a:pt x="959" y="83"/>
                                </a:cubicBezTo>
                                <a:cubicBezTo>
                                  <a:pt x="959" y="83"/>
                                  <a:pt x="959" y="83"/>
                                  <a:pt x="959" y="83"/>
                                </a:cubicBezTo>
                                <a:cubicBezTo>
                                  <a:pt x="959" y="82"/>
                                  <a:pt x="958" y="80"/>
                                  <a:pt x="956" y="79"/>
                                </a:cubicBezTo>
                                <a:cubicBezTo>
                                  <a:pt x="953" y="77"/>
                                  <a:pt x="951" y="78"/>
                                  <a:pt x="948" y="79"/>
                                </a:cubicBezTo>
                                <a:cubicBezTo>
                                  <a:pt x="943" y="80"/>
                                  <a:pt x="938" y="81"/>
                                  <a:pt x="931" y="76"/>
                                </a:cubicBezTo>
                                <a:cubicBezTo>
                                  <a:pt x="919" y="68"/>
                                  <a:pt x="919" y="65"/>
                                  <a:pt x="919" y="50"/>
                                </a:cubicBezTo>
                                <a:cubicBezTo>
                                  <a:pt x="919" y="50"/>
                                  <a:pt x="919" y="50"/>
                                  <a:pt x="919" y="50"/>
                                </a:cubicBezTo>
                                <a:cubicBezTo>
                                  <a:pt x="919" y="49"/>
                                  <a:pt x="919" y="49"/>
                                  <a:pt x="919" y="49"/>
                                </a:cubicBezTo>
                                <a:cubicBezTo>
                                  <a:pt x="919" y="48"/>
                                  <a:pt x="919" y="46"/>
                                  <a:pt x="920" y="44"/>
                                </a:cubicBezTo>
                                <a:cubicBezTo>
                                  <a:pt x="920" y="34"/>
                                  <a:pt x="920" y="30"/>
                                  <a:pt x="913" y="26"/>
                                </a:cubicBezTo>
                                <a:cubicBezTo>
                                  <a:pt x="908" y="21"/>
                                  <a:pt x="897" y="14"/>
                                  <a:pt x="888" y="9"/>
                                </a:cubicBezTo>
                                <a:cubicBezTo>
                                  <a:pt x="882" y="5"/>
                                  <a:pt x="876" y="2"/>
                                  <a:pt x="873" y="1"/>
                                </a:cubicBezTo>
                                <a:cubicBezTo>
                                  <a:pt x="869" y="0"/>
                                  <a:pt x="863" y="0"/>
                                  <a:pt x="857" y="0"/>
                                </a:cubicBezTo>
                                <a:cubicBezTo>
                                  <a:pt x="848" y="0"/>
                                  <a:pt x="838" y="1"/>
                                  <a:pt x="833" y="2"/>
                                </a:cubicBezTo>
                                <a:cubicBezTo>
                                  <a:pt x="829" y="2"/>
                                  <a:pt x="825" y="4"/>
                                  <a:pt x="821" y="6"/>
                                </a:cubicBezTo>
                                <a:cubicBezTo>
                                  <a:pt x="817" y="9"/>
                                  <a:pt x="812" y="12"/>
                                  <a:pt x="805" y="14"/>
                                </a:cubicBezTo>
                                <a:cubicBezTo>
                                  <a:pt x="795" y="16"/>
                                  <a:pt x="791" y="14"/>
                                  <a:pt x="788" y="12"/>
                                </a:cubicBezTo>
                                <a:cubicBezTo>
                                  <a:pt x="787" y="11"/>
                                  <a:pt x="786" y="10"/>
                                  <a:pt x="783" y="10"/>
                                </a:cubicBezTo>
                                <a:cubicBezTo>
                                  <a:pt x="779" y="10"/>
                                  <a:pt x="770" y="11"/>
                                  <a:pt x="759" y="12"/>
                                </a:cubicBezTo>
                                <a:cubicBezTo>
                                  <a:pt x="750" y="13"/>
                                  <a:pt x="740" y="13"/>
                                  <a:pt x="733" y="14"/>
                                </a:cubicBezTo>
                                <a:cubicBezTo>
                                  <a:pt x="731" y="14"/>
                                  <a:pt x="728" y="15"/>
                                  <a:pt x="725" y="15"/>
                                </a:cubicBezTo>
                                <a:cubicBezTo>
                                  <a:pt x="717" y="16"/>
                                  <a:pt x="713" y="16"/>
                                  <a:pt x="706" y="20"/>
                                </a:cubicBezTo>
                                <a:cubicBezTo>
                                  <a:pt x="703" y="21"/>
                                  <a:pt x="698" y="24"/>
                                  <a:pt x="693" y="28"/>
                                </a:cubicBezTo>
                                <a:cubicBezTo>
                                  <a:pt x="685" y="34"/>
                                  <a:pt x="676" y="41"/>
                                  <a:pt x="669" y="40"/>
                                </a:cubicBezTo>
                                <a:cubicBezTo>
                                  <a:pt x="669" y="40"/>
                                  <a:pt x="669" y="40"/>
                                  <a:pt x="669" y="40"/>
                                </a:cubicBezTo>
                                <a:cubicBezTo>
                                  <a:pt x="668" y="40"/>
                                  <a:pt x="668" y="40"/>
                                  <a:pt x="668" y="40"/>
                                </a:cubicBezTo>
                                <a:cubicBezTo>
                                  <a:pt x="661" y="40"/>
                                  <a:pt x="661" y="40"/>
                                  <a:pt x="651" y="47"/>
                                </a:cubicBezTo>
                                <a:cubicBezTo>
                                  <a:pt x="646" y="51"/>
                                  <a:pt x="642" y="55"/>
                                  <a:pt x="639" y="58"/>
                                </a:cubicBezTo>
                                <a:cubicBezTo>
                                  <a:pt x="637" y="60"/>
                                  <a:pt x="635" y="62"/>
                                  <a:pt x="636" y="64"/>
                                </a:cubicBezTo>
                                <a:cubicBezTo>
                                  <a:pt x="636" y="67"/>
                                  <a:pt x="640" y="73"/>
                                  <a:pt x="645" y="78"/>
                                </a:cubicBezTo>
                                <a:cubicBezTo>
                                  <a:pt x="648" y="83"/>
                                  <a:pt x="652" y="88"/>
                                  <a:pt x="654" y="92"/>
                                </a:cubicBezTo>
                                <a:cubicBezTo>
                                  <a:pt x="658" y="98"/>
                                  <a:pt x="659" y="101"/>
                                  <a:pt x="659" y="105"/>
                                </a:cubicBezTo>
                                <a:cubicBezTo>
                                  <a:pt x="660" y="109"/>
                                  <a:pt x="659" y="113"/>
                                  <a:pt x="657" y="119"/>
                                </a:cubicBezTo>
                                <a:cubicBezTo>
                                  <a:pt x="655" y="126"/>
                                  <a:pt x="653" y="130"/>
                                  <a:pt x="650" y="134"/>
                                </a:cubicBezTo>
                                <a:cubicBezTo>
                                  <a:pt x="648" y="138"/>
                                  <a:pt x="645" y="141"/>
                                  <a:pt x="641" y="144"/>
                                </a:cubicBezTo>
                                <a:cubicBezTo>
                                  <a:pt x="638" y="147"/>
                                  <a:pt x="634" y="151"/>
                                  <a:pt x="630" y="155"/>
                                </a:cubicBezTo>
                                <a:cubicBezTo>
                                  <a:pt x="627" y="159"/>
                                  <a:pt x="624" y="164"/>
                                  <a:pt x="622" y="169"/>
                                </a:cubicBezTo>
                                <a:cubicBezTo>
                                  <a:pt x="622" y="173"/>
                                  <a:pt x="623" y="175"/>
                                  <a:pt x="625" y="178"/>
                                </a:cubicBezTo>
                                <a:cubicBezTo>
                                  <a:pt x="627" y="181"/>
                                  <a:pt x="629" y="185"/>
                                  <a:pt x="626" y="191"/>
                                </a:cubicBezTo>
                                <a:cubicBezTo>
                                  <a:pt x="624" y="196"/>
                                  <a:pt x="621" y="201"/>
                                  <a:pt x="617" y="205"/>
                                </a:cubicBezTo>
                                <a:cubicBezTo>
                                  <a:pt x="612" y="208"/>
                                  <a:pt x="606" y="211"/>
                                  <a:pt x="597" y="211"/>
                                </a:cubicBezTo>
                                <a:cubicBezTo>
                                  <a:pt x="588" y="212"/>
                                  <a:pt x="584" y="211"/>
                                  <a:pt x="579" y="209"/>
                                </a:cubicBezTo>
                                <a:cubicBezTo>
                                  <a:pt x="575" y="208"/>
                                  <a:pt x="570" y="207"/>
                                  <a:pt x="562" y="206"/>
                                </a:cubicBezTo>
                                <a:cubicBezTo>
                                  <a:pt x="555" y="206"/>
                                  <a:pt x="553" y="207"/>
                                  <a:pt x="552" y="208"/>
                                </a:cubicBezTo>
                                <a:cubicBezTo>
                                  <a:pt x="552" y="210"/>
                                  <a:pt x="554" y="213"/>
                                  <a:pt x="555" y="216"/>
                                </a:cubicBezTo>
                                <a:cubicBezTo>
                                  <a:pt x="555" y="217"/>
                                  <a:pt x="555" y="217"/>
                                  <a:pt x="555" y="217"/>
                                </a:cubicBezTo>
                                <a:cubicBezTo>
                                  <a:pt x="555" y="217"/>
                                  <a:pt x="555" y="217"/>
                                  <a:pt x="555" y="217"/>
                                </a:cubicBezTo>
                                <a:cubicBezTo>
                                  <a:pt x="556" y="219"/>
                                  <a:pt x="559" y="223"/>
                                  <a:pt x="562" y="228"/>
                                </a:cubicBezTo>
                                <a:cubicBezTo>
                                  <a:pt x="568" y="237"/>
                                  <a:pt x="575" y="248"/>
                                  <a:pt x="573" y="253"/>
                                </a:cubicBezTo>
                                <a:cubicBezTo>
                                  <a:pt x="572" y="256"/>
                                  <a:pt x="569" y="261"/>
                                  <a:pt x="565" y="264"/>
                                </a:cubicBezTo>
                                <a:cubicBezTo>
                                  <a:pt x="561" y="267"/>
                                  <a:pt x="557" y="270"/>
                                  <a:pt x="551" y="271"/>
                                </a:cubicBezTo>
                                <a:cubicBezTo>
                                  <a:pt x="545" y="273"/>
                                  <a:pt x="541" y="273"/>
                                  <a:pt x="537" y="273"/>
                                </a:cubicBezTo>
                                <a:cubicBezTo>
                                  <a:pt x="533" y="272"/>
                                  <a:pt x="530" y="272"/>
                                  <a:pt x="527" y="275"/>
                                </a:cubicBezTo>
                                <a:cubicBezTo>
                                  <a:pt x="524" y="277"/>
                                  <a:pt x="524" y="282"/>
                                  <a:pt x="525" y="287"/>
                                </a:cubicBezTo>
                                <a:cubicBezTo>
                                  <a:pt x="525" y="291"/>
                                  <a:pt x="526" y="294"/>
                                  <a:pt x="524" y="297"/>
                                </a:cubicBezTo>
                                <a:cubicBezTo>
                                  <a:pt x="523" y="301"/>
                                  <a:pt x="521" y="303"/>
                                  <a:pt x="519" y="305"/>
                                </a:cubicBezTo>
                                <a:cubicBezTo>
                                  <a:pt x="517" y="306"/>
                                  <a:pt x="515" y="308"/>
                                  <a:pt x="513" y="312"/>
                                </a:cubicBezTo>
                                <a:cubicBezTo>
                                  <a:pt x="511" y="316"/>
                                  <a:pt x="512" y="324"/>
                                  <a:pt x="513" y="331"/>
                                </a:cubicBezTo>
                                <a:cubicBezTo>
                                  <a:pt x="514" y="339"/>
                                  <a:pt x="515" y="346"/>
                                  <a:pt x="511" y="350"/>
                                </a:cubicBezTo>
                                <a:cubicBezTo>
                                  <a:pt x="511" y="351"/>
                                  <a:pt x="510" y="351"/>
                                  <a:pt x="509" y="352"/>
                                </a:cubicBezTo>
                                <a:cubicBezTo>
                                  <a:pt x="504" y="359"/>
                                  <a:pt x="493" y="371"/>
                                  <a:pt x="480" y="371"/>
                                </a:cubicBezTo>
                                <a:cubicBezTo>
                                  <a:pt x="472" y="371"/>
                                  <a:pt x="468" y="367"/>
                                  <a:pt x="464" y="364"/>
                                </a:cubicBezTo>
                                <a:cubicBezTo>
                                  <a:pt x="462" y="362"/>
                                  <a:pt x="461" y="360"/>
                                  <a:pt x="458" y="360"/>
                                </a:cubicBezTo>
                                <a:cubicBezTo>
                                  <a:pt x="452" y="360"/>
                                  <a:pt x="448" y="362"/>
                                  <a:pt x="440" y="365"/>
                                </a:cubicBezTo>
                                <a:cubicBezTo>
                                  <a:pt x="437" y="367"/>
                                  <a:pt x="434" y="368"/>
                                  <a:pt x="431" y="369"/>
                                </a:cubicBezTo>
                                <a:cubicBezTo>
                                  <a:pt x="417" y="375"/>
                                  <a:pt x="417" y="375"/>
                                  <a:pt x="415" y="378"/>
                                </a:cubicBezTo>
                                <a:cubicBezTo>
                                  <a:pt x="415" y="379"/>
                                  <a:pt x="415" y="379"/>
                                  <a:pt x="415" y="379"/>
                                </a:cubicBezTo>
                                <a:cubicBezTo>
                                  <a:pt x="414" y="380"/>
                                  <a:pt x="415" y="381"/>
                                  <a:pt x="415" y="382"/>
                                </a:cubicBezTo>
                                <a:cubicBezTo>
                                  <a:pt x="415" y="385"/>
                                  <a:pt x="416" y="387"/>
                                  <a:pt x="413" y="390"/>
                                </a:cubicBezTo>
                                <a:cubicBezTo>
                                  <a:pt x="411" y="393"/>
                                  <a:pt x="408" y="396"/>
                                  <a:pt x="403" y="399"/>
                                </a:cubicBezTo>
                                <a:cubicBezTo>
                                  <a:pt x="400" y="401"/>
                                  <a:pt x="396" y="403"/>
                                  <a:pt x="392" y="403"/>
                                </a:cubicBezTo>
                                <a:cubicBezTo>
                                  <a:pt x="386" y="404"/>
                                  <a:pt x="381" y="402"/>
                                  <a:pt x="375" y="399"/>
                                </a:cubicBezTo>
                                <a:cubicBezTo>
                                  <a:pt x="371" y="397"/>
                                  <a:pt x="366" y="395"/>
                                  <a:pt x="365" y="396"/>
                                </a:cubicBezTo>
                                <a:cubicBezTo>
                                  <a:pt x="362" y="396"/>
                                  <a:pt x="357" y="400"/>
                                  <a:pt x="351" y="405"/>
                                </a:cubicBezTo>
                                <a:cubicBezTo>
                                  <a:pt x="344" y="410"/>
                                  <a:pt x="337" y="417"/>
                                  <a:pt x="334" y="421"/>
                                </a:cubicBezTo>
                                <a:cubicBezTo>
                                  <a:pt x="331" y="423"/>
                                  <a:pt x="332" y="425"/>
                                  <a:pt x="332" y="428"/>
                                </a:cubicBezTo>
                                <a:cubicBezTo>
                                  <a:pt x="332" y="432"/>
                                  <a:pt x="332" y="437"/>
                                  <a:pt x="331" y="445"/>
                                </a:cubicBezTo>
                                <a:cubicBezTo>
                                  <a:pt x="330" y="451"/>
                                  <a:pt x="330" y="457"/>
                                  <a:pt x="331" y="462"/>
                                </a:cubicBezTo>
                                <a:cubicBezTo>
                                  <a:pt x="331" y="472"/>
                                  <a:pt x="331" y="479"/>
                                  <a:pt x="326" y="488"/>
                                </a:cubicBezTo>
                                <a:cubicBezTo>
                                  <a:pt x="320" y="498"/>
                                  <a:pt x="311" y="499"/>
                                  <a:pt x="302" y="501"/>
                                </a:cubicBezTo>
                                <a:cubicBezTo>
                                  <a:pt x="302" y="501"/>
                                  <a:pt x="302" y="501"/>
                                  <a:pt x="302" y="501"/>
                                </a:cubicBezTo>
                                <a:cubicBezTo>
                                  <a:pt x="298" y="501"/>
                                  <a:pt x="294" y="502"/>
                                  <a:pt x="290" y="504"/>
                                </a:cubicBezTo>
                                <a:cubicBezTo>
                                  <a:pt x="278" y="509"/>
                                  <a:pt x="250" y="511"/>
                                  <a:pt x="228" y="511"/>
                                </a:cubicBezTo>
                                <a:cubicBezTo>
                                  <a:pt x="225" y="512"/>
                                  <a:pt x="223" y="512"/>
                                  <a:pt x="220" y="512"/>
                                </a:cubicBezTo>
                                <a:cubicBezTo>
                                  <a:pt x="208" y="512"/>
                                  <a:pt x="205" y="515"/>
                                  <a:pt x="201" y="517"/>
                                </a:cubicBezTo>
                                <a:cubicBezTo>
                                  <a:pt x="198" y="520"/>
                                  <a:pt x="195" y="522"/>
                                  <a:pt x="189" y="523"/>
                                </a:cubicBezTo>
                                <a:cubicBezTo>
                                  <a:pt x="179" y="525"/>
                                  <a:pt x="174" y="523"/>
                                  <a:pt x="170" y="521"/>
                                </a:cubicBezTo>
                                <a:cubicBezTo>
                                  <a:pt x="167" y="520"/>
                                  <a:pt x="165" y="518"/>
                                  <a:pt x="161" y="518"/>
                                </a:cubicBezTo>
                                <a:cubicBezTo>
                                  <a:pt x="155" y="517"/>
                                  <a:pt x="150" y="517"/>
                                  <a:pt x="141" y="518"/>
                                </a:cubicBezTo>
                                <a:cubicBezTo>
                                  <a:pt x="136" y="519"/>
                                  <a:pt x="129" y="520"/>
                                  <a:pt x="120" y="521"/>
                                </a:cubicBezTo>
                                <a:cubicBezTo>
                                  <a:pt x="108" y="522"/>
                                  <a:pt x="96" y="520"/>
                                  <a:pt x="83" y="518"/>
                                </a:cubicBezTo>
                                <a:cubicBezTo>
                                  <a:pt x="71" y="516"/>
                                  <a:pt x="59" y="513"/>
                                  <a:pt x="49" y="510"/>
                                </a:cubicBezTo>
                                <a:cubicBezTo>
                                  <a:pt x="41" y="508"/>
                                  <a:pt x="33" y="505"/>
                                  <a:pt x="24" y="502"/>
                                </a:cubicBezTo>
                                <a:cubicBezTo>
                                  <a:pt x="15" y="500"/>
                                  <a:pt x="6" y="497"/>
                                  <a:pt x="0" y="494"/>
                                </a:cubicBezTo>
                                <a:cubicBezTo>
                                  <a:pt x="3" y="499"/>
                                  <a:pt x="8" y="506"/>
                                  <a:pt x="13" y="514"/>
                                </a:cubicBezTo>
                                <a:cubicBezTo>
                                  <a:pt x="29" y="538"/>
                                  <a:pt x="52" y="567"/>
                                  <a:pt x="56" y="572"/>
                                </a:cubicBezTo>
                                <a:cubicBezTo>
                                  <a:pt x="58" y="574"/>
                                  <a:pt x="68" y="578"/>
                                  <a:pt x="79" y="581"/>
                                </a:cubicBezTo>
                                <a:cubicBezTo>
                                  <a:pt x="93" y="586"/>
                                  <a:pt x="109" y="591"/>
                                  <a:pt x="111" y="599"/>
                                </a:cubicBezTo>
                                <a:cubicBezTo>
                                  <a:pt x="112" y="604"/>
                                  <a:pt x="112" y="618"/>
                                  <a:pt x="111" y="631"/>
                                </a:cubicBezTo>
                                <a:cubicBezTo>
                                  <a:pt x="111" y="644"/>
                                  <a:pt x="110" y="657"/>
                                  <a:pt x="111" y="658"/>
                                </a:cubicBezTo>
                                <a:cubicBezTo>
                                  <a:pt x="112" y="659"/>
                                  <a:pt x="118" y="660"/>
                                  <a:pt x="124" y="660"/>
                                </a:cubicBezTo>
                                <a:cubicBezTo>
                                  <a:pt x="131" y="660"/>
                                  <a:pt x="138" y="661"/>
                                  <a:pt x="140" y="664"/>
                                </a:cubicBezTo>
                                <a:cubicBezTo>
                                  <a:pt x="142" y="668"/>
                                  <a:pt x="139" y="682"/>
                                  <a:pt x="136" y="692"/>
                                </a:cubicBezTo>
                                <a:cubicBezTo>
                                  <a:pt x="136" y="695"/>
                                  <a:pt x="135" y="698"/>
                                  <a:pt x="135" y="699"/>
                                </a:cubicBezTo>
                                <a:cubicBezTo>
                                  <a:pt x="134" y="706"/>
                                  <a:pt x="132" y="707"/>
                                  <a:pt x="122" y="710"/>
                                </a:cubicBezTo>
                                <a:cubicBezTo>
                                  <a:pt x="122" y="710"/>
                                  <a:pt x="122" y="710"/>
                                  <a:pt x="122" y="710"/>
                                </a:cubicBezTo>
                                <a:cubicBezTo>
                                  <a:pt x="120" y="711"/>
                                  <a:pt x="120" y="711"/>
                                  <a:pt x="120" y="711"/>
                                </a:cubicBezTo>
                                <a:cubicBezTo>
                                  <a:pt x="115" y="713"/>
                                  <a:pt x="107" y="713"/>
                                  <a:pt x="100" y="714"/>
                                </a:cubicBezTo>
                                <a:cubicBezTo>
                                  <a:pt x="94" y="714"/>
                                  <a:pt x="89" y="715"/>
                                  <a:pt x="85" y="716"/>
                                </a:cubicBezTo>
                                <a:cubicBezTo>
                                  <a:pt x="80" y="717"/>
                                  <a:pt x="74" y="720"/>
                                  <a:pt x="68" y="724"/>
                                </a:cubicBezTo>
                                <a:cubicBezTo>
                                  <a:pt x="62" y="728"/>
                                  <a:pt x="58" y="731"/>
                                  <a:pt x="56" y="734"/>
                                </a:cubicBezTo>
                                <a:cubicBezTo>
                                  <a:pt x="54" y="736"/>
                                  <a:pt x="53" y="739"/>
                                  <a:pt x="52" y="742"/>
                                </a:cubicBezTo>
                                <a:cubicBezTo>
                                  <a:pt x="51" y="746"/>
                                  <a:pt x="50" y="751"/>
                                  <a:pt x="49" y="758"/>
                                </a:cubicBezTo>
                                <a:cubicBezTo>
                                  <a:pt x="48" y="769"/>
                                  <a:pt x="43" y="790"/>
                                  <a:pt x="40" y="802"/>
                                </a:cubicBezTo>
                                <a:cubicBezTo>
                                  <a:pt x="43" y="804"/>
                                  <a:pt x="40" y="808"/>
                                  <a:pt x="45" y="809"/>
                                </a:cubicBezTo>
                                <a:cubicBezTo>
                                  <a:pt x="53" y="810"/>
                                  <a:pt x="57" y="801"/>
                                  <a:pt x="68" y="801"/>
                                </a:cubicBezTo>
                                <a:cubicBezTo>
                                  <a:pt x="79" y="801"/>
                                  <a:pt x="72" y="805"/>
                                  <a:pt x="82" y="806"/>
                                </a:cubicBezTo>
                                <a:cubicBezTo>
                                  <a:pt x="92" y="807"/>
                                  <a:pt x="96" y="797"/>
                                  <a:pt x="100" y="795"/>
                                </a:cubicBezTo>
                                <a:cubicBezTo>
                                  <a:pt x="104" y="792"/>
                                  <a:pt x="114" y="796"/>
                                  <a:pt x="125" y="796"/>
                                </a:cubicBezTo>
                                <a:cubicBezTo>
                                  <a:pt x="136" y="796"/>
                                  <a:pt x="139" y="801"/>
                                  <a:pt x="150" y="801"/>
                                </a:cubicBezTo>
                                <a:cubicBezTo>
                                  <a:pt x="160" y="801"/>
                                  <a:pt x="157" y="797"/>
                                  <a:pt x="164" y="792"/>
                                </a:cubicBezTo>
                                <a:cubicBezTo>
                                  <a:pt x="170" y="787"/>
                                  <a:pt x="169" y="792"/>
                                  <a:pt x="176" y="791"/>
                                </a:cubicBezTo>
                                <a:cubicBezTo>
                                  <a:pt x="182" y="791"/>
                                  <a:pt x="178" y="783"/>
                                  <a:pt x="185" y="780"/>
                                </a:cubicBezTo>
                                <a:cubicBezTo>
                                  <a:pt x="192" y="778"/>
                                  <a:pt x="192" y="783"/>
                                  <a:pt x="194" y="788"/>
                                </a:cubicBezTo>
                                <a:cubicBezTo>
                                  <a:pt x="196" y="794"/>
                                  <a:pt x="199" y="791"/>
                                  <a:pt x="207" y="795"/>
                                </a:cubicBezTo>
                                <a:cubicBezTo>
                                  <a:pt x="214" y="798"/>
                                  <a:pt x="226" y="803"/>
                                  <a:pt x="234" y="802"/>
                                </a:cubicBezTo>
                                <a:cubicBezTo>
                                  <a:pt x="242" y="800"/>
                                  <a:pt x="243" y="797"/>
                                  <a:pt x="253" y="792"/>
                                </a:cubicBezTo>
                                <a:cubicBezTo>
                                  <a:pt x="264" y="786"/>
                                  <a:pt x="275" y="789"/>
                                  <a:pt x="286" y="787"/>
                                </a:cubicBezTo>
                                <a:cubicBezTo>
                                  <a:pt x="296" y="786"/>
                                  <a:pt x="301" y="788"/>
                                  <a:pt x="311" y="789"/>
                                </a:cubicBezTo>
                                <a:cubicBezTo>
                                  <a:pt x="322" y="790"/>
                                  <a:pt x="332" y="789"/>
                                  <a:pt x="333" y="784"/>
                                </a:cubicBezTo>
                                <a:cubicBezTo>
                                  <a:pt x="334" y="779"/>
                                  <a:pt x="331" y="774"/>
                                  <a:pt x="336" y="774"/>
                                </a:cubicBezTo>
                                <a:cubicBezTo>
                                  <a:pt x="342" y="775"/>
                                  <a:pt x="344" y="787"/>
                                  <a:pt x="349" y="795"/>
                                </a:cubicBezTo>
                                <a:cubicBezTo>
                                  <a:pt x="354" y="803"/>
                                  <a:pt x="351" y="808"/>
                                  <a:pt x="351" y="816"/>
                                </a:cubicBezTo>
                                <a:cubicBezTo>
                                  <a:pt x="351" y="825"/>
                                  <a:pt x="360" y="825"/>
                                  <a:pt x="364" y="825"/>
                                </a:cubicBezTo>
                                <a:cubicBezTo>
                                  <a:pt x="368" y="825"/>
                                  <a:pt x="377" y="831"/>
                                  <a:pt x="384" y="841"/>
                                </a:cubicBezTo>
                                <a:cubicBezTo>
                                  <a:pt x="392" y="852"/>
                                  <a:pt x="381" y="855"/>
                                  <a:pt x="389" y="869"/>
                                </a:cubicBezTo>
                                <a:cubicBezTo>
                                  <a:pt x="397" y="883"/>
                                  <a:pt x="404" y="875"/>
                                  <a:pt x="415" y="876"/>
                                </a:cubicBezTo>
                                <a:cubicBezTo>
                                  <a:pt x="426" y="877"/>
                                  <a:pt x="423" y="879"/>
                                  <a:pt x="428" y="884"/>
                                </a:cubicBezTo>
                                <a:cubicBezTo>
                                  <a:pt x="432" y="888"/>
                                  <a:pt x="434" y="888"/>
                                  <a:pt x="442" y="888"/>
                                </a:cubicBezTo>
                                <a:cubicBezTo>
                                  <a:pt x="443" y="887"/>
                                  <a:pt x="443" y="886"/>
                                  <a:pt x="444" y="885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42" name="Freeform 345"/>
                          <p:cNvSpPr>
                            <a:spLocks noEditPoints="1"/>
                          </p:cNvSpPr>
                          <p:nvPr/>
                        </p:nvSpPr>
                        <p:spPr bwMode="auto">
                          <a:xfrm>
                            <a:off x="7505813" y="4937019"/>
                            <a:ext cx="71437" cy="57150"/>
                          </a:xfrm>
                          <a:custGeom>
                            <a:avLst/>
                            <a:gdLst>
                              <a:gd name="T0" fmla="*/ 172 w 246"/>
                              <a:gd name="T1" fmla="*/ 51 h 200"/>
                              <a:gd name="T2" fmla="*/ 190 w 246"/>
                              <a:gd name="T3" fmla="*/ 44 h 200"/>
                              <a:gd name="T4" fmla="*/ 23 w 246"/>
                              <a:gd name="T5" fmla="*/ 39 h 200"/>
                              <a:gd name="T6" fmla="*/ 21 w 246"/>
                              <a:gd name="T7" fmla="*/ 49 h 200"/>
                              <a:gd name="T8" fmla="*/ 30 w 246"/>
                              <a:gd name="T9" fmla="*/ 34 h 200"/>
                              <a:gd name="T10" fmla="*/ 10 w 246"/>
                              <a:gd name="T11" fmla="*/ 59 h 200"/>
                              <a:gd name="T12" fmla="*/ 4 w 246"/>
                              <a:gd name="T13" fmla="*/ 72 h 200"/>
                              <a:gd name="T14" fmla="*/ 10 w 246"/>
                              <a:gd name="T15" fmla="*/ 59 h 200"/>
                              <a:gd name="T16" fmla="*/ 153 w 246"/>
                              <a:gd name="T17" fmla="*/ 10 h 200"/>
                              <a:gd name="T18" fmla="*/ 111 w 246"/>
                              <a:gd name="T19" fmla="*/ 26 h 200"/>
                              <a:gd name="T20" fmla="*/ 84 w 246"/>
                              <a:gd name="T21" fmla="*/ 36 h 200"/>
                              <a:gd name="T22" fmla="*/ 98 w 246"/>
                              <a:gd name="T23" fmla="*/ 57 h 200"/>
                              <a:gd name="T24" fmla="*/ 145 w 246"/>
                              <a:gd name="T25" fmla="*/ 37 h 200"/>
                              <a:gd name="T26" fmla="*/ 172 w 246"/>
                              <a:gd name="T27" fmla="*/ 4 h 200"/>
                              <a:gd name="T28" fmla="*/ 137 w 246"/>
                              <a:gd name="T29" fmla="*/ 81 h 200"/>
                              <a:gd name="T30" fmla="*/ 146 w 246"/>
                              <a:gd name="T31" fmla="*/ 76 h 200"/>
                              <a:gd name="T32" fmla="*/ 82 w 246"/>
                              <a:gd name="T33" fmla="*/ 96 h 200"/>
                              <a:gd name="T34" fmla="*/ 62 w 246"/>
                              <a:gd name="T35" fmla="*/ 78 h 200"/>
                              <a:gd name="T36" fmla="*/ 25 w 246"/>
                              <a:gd name="T37" fmla="*/ 93 h 200"/>
                              <a:gd name="T38" fmla="*/ 17 w 246"/>
                              <a:gd name="T39" fmla="*/ 127 h 200"/>
                              <a:gd name="T40" fmla="*/ 59 w 246"/>
                              <a:gd name="T41" fmla="*/ 127 h 200"/>
                              <a:gd name="T42" fmla="*/ 87 w 246"/>
                              <a:gd name="T43" fmla="*/ 110 h 200"/>
                              <a:gd name="T44" fmla="*/ 130 w 246"/>
                              <a:gd name="T45" fmla="*/ 115 h 200"/>
                              <a:gd name="T46" fmla="*/ 132 w 246"/>
                              <a:gd name="T47" fmla="*/ 126 h 200"/>
                              <a:gd name="T48" fmla="*/ 130 w 246"/>
                              <a:gd name="T49" fmla="*/ 115 h 200"/>
                              <a:gd name="T50" fmla="*/ 101 w 246"/>
                              <a:gd name="T51" fmla="*/ 94 h 200"/>
                              <a:gd name="T52" fmla="*/ 104 w 246"/>
                              <a:gd name="T53" fmla="*/ 102 h 200"/>
                              <a:gd name="T54" fmla="*/ 57 w 246"/>
                              <a:gd name="T55" fmla="*/ 186 h 200"/>
                              <a:gd name="T56" fmla="*/ 67 w 246"/>
                              <a:gd name="T57" fmla="*/ 190 h 200"/>
                              <a:gd name="T58" fmla="*/ 85 w 246"/>
                              <a:gd name="T59" fmla="*/ 183 h 200"/>
                              <a:gd name="T60" fmla="*/ 172 w 246"/>
                              <a:gd name="T61" fmla="*/ 152 h 200"/>
                              <a:gd name="T62" fmla="*/ 177 w 246"/>
                              <a:gd name="T63" fmla="*/ 163 h 200"/>
                              <a:gd name="T64" fmla="*/ 172 w 246"/>
                              <a:gd name="T65" fmla="*/ 152 h 200"/>
                              <a:gd name="T66" fmla="*/ 236 w 246"/>
                              <a:gd name="T67" fmla="*/ 72 h 200"/>
                              <a:gd name="T68" fmla="*/ 244 w 246"/>
                              <a:gd name="T69" fmla="*/ 70 h 200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</a:cxnLst>
                            <a:rect l="0" t="0" r="r" b="b"/>
                            <a:pathLst>
                              <a:path w="246" h="200">
                                <a:moveTo>
                                  <a:pt x="178" y="43"/>
                                </a:moveTo>
                                <a:cubicBezTo>
                                  <a:pt x="175" y="49"/>
                                  <a:pt x="172" y="47"/>
                                  <a:pt x="172" y="51"/>
                                </a:cubicBezTo>
                                <a:cubicBezTo>
                                  <a:pt x="172" y="56"/>
                                  <a:pt x="181" y="55"/>
                                  <a:pt x="184" y="51"/>
                                </a:cubicBezTo>
                                <a:cubicBezTo>
                                  <a:pt x="188" y="48"/>
                                  <a:pt x="191" y="50"/>
                                  <a:pt x="190" y="44"/>
                                </a:cubicBezTo>
                                <a:cubicBezTo>
                                  <a:pt x="190" y="38"/>
                                  <a:pt x="181" y="37"/>
                                  <a:pt x="178" y="43"/>
                                </a:cubicBezTo>
                                <a:close/>
                                <a:moveTo>
                                  <a:pt x="23" y="39"/>
                                </a:moveTo>
                                <a:cubicBezTo>
                                  <a:pt x="21" y="41"/>
                                  <a:pt x="15" y="43"/>
                                  <a:pt x="16" y="47"/>
                                </a:cubicBezTo>
                                <a:cubicBezTo>
                                  <a:pt x="16" y="51"/>
                                  <a:pt x="20" y="51"/>
                                  <a:pt x="21" y="49"/>
                                </a:cubicBezTo>
                                <a:cubicBezTo>
                                  <a:pt x="23" y="47"/>
                                  <a:pt x="24" y="43"/>
                                  <a:pt x="28" y="41"/>
                                </a:cubicBezTo>
                                <a:cubicBezTo>
                                  <a:pt x="33" y="40"/>
                                  <a:pt x="32" y="36"/>
                                  <a:pt x="30" y="34"/>
                                </a:cubicBezTo>
                                <a:cubicBezTo>
                                  <a:pt x="28" y="33"/>
                                  <a:pt x="26" y="35"/>
                                  <a:pt x="23" y="39"/>
                                </a:cubicBezTo>
                                <a:close/>
                                <a:moveTo>
                                  <a:pt x="10" y="59"/>
                                </a:moveTo>
                                <a:cubicBezTo>
                                  <a:pt x="9" y="64"/>
                                  <a:pt x="3" y="62"/>
                                  <a:pt x="1" y="66"/>
                                </a:cubicBezTo>
                                <a:cubicBezTo>
                                  <a:pt x="0" y="71"/>
                                  <a:pt x="3" y="74"/>
                                  <a:pt x="4" y="72"/>
                                </a:cubicBezTo>
                                <a:cubicBezTo>
                                  <a:pt x="7" y="70"/>
                                  <a:pt x="10" y="63"/>
                                  <a:pt x="13" y="63"/>
                                </a:cubicBezTo>
                                <a:cubicBezTo>
                                  <a:pt x="15" y="63"/>
                                  <a:pt x="12" y="57"/>
                                  <a:pt x="10" y="59"/>
                                </a:cubicBezTo>
                                <a:close/>
                                <a:moveTo>
                                  <a:pt x="172" y="4"/>
                                </a:moveTo>
                                <a:cubicBezTo>
                                  <a:pt x="170" y="0"/>
                                  <a:pt x="159" y="7"/>
                                  <a:pt x="153" y="10"/>
                                </a:cubicBezTo>
                                <a:cubicBezTo>
                                  <a:pt x="147" y="14"/>
                                  <a:pt x="137" y="20"/>
                                  <a:pt x="127" y="21"/>
                                </a:cubicBezTo>
                                <a:cubicBezTo>
                                  <a:pt x="118" y="22"/>
                                  <a:pt x="117" y="22"/>
                                  <a:pt x="111" y="26"/>
                                </a:cubicBezTo>
                                <a:cubicBezTo>
                                  <a:pt x="108" y="29"/>
                                  <a:pt x="102" y="33"/>
                                  <a:pt x="97" y="34"/>
                                </a:cubicBezTo>
                                <a:cubicBezTo>
                                  <a:pt x="92" y="35"/>
                                  <a:pt x="88" y="32"/>
                                  <a:pt x="84" y="36"/>
                                </a:cubicBezTo>
                                <a:cubicBezTo>
                                  <a:pt x="80" y="40"/>
                                  <a:pt x="84" y="42"/>
                                  <a:pt x="87" y="44"/>
                                </a:cubicBezTo>
                                <a:cubicBezTo>
                                  <a:pt x="89" y="46"/>
                                  <a:pt x="92" y="54"/>
                                  <a:pt x="98" y="57"/>
                                </a:cubicBezTo>
                                <a:cubicBezTo>
                                  <a:pt x="104" y="59"/>
                                  <a:pt x="125" y="49"/>
                                  <a:pt x="135" y="45"/>
                                </a:cubicBezTo>
                                <a:cubicBezTo>
                                  <a:pt x="143" y="46"/>
                                  <a:pt x="141" y="45"/>
                                  <a:pt x="145" y="37"/>
                                </a:cubicBezTo>
                                <a:cubicBezTo>
                                  <a:pt x="150" y="29"/>
                                  <a:pt x="157" y="27"/>
                                  <a:pt x="165" y="21"/>
                                </a:cubicBezTo>
                                <a:cubicBezTo>
                                  <a:pt x="173" y="15"/>
                                  <a:pt x="174" y="8"/>
                                  <a:pt x="172" y="4"/>
                                </a:cubicBezTo>
                                <a:close/>
                                <a:moveTo>
                                  <a:pt x="141" y="72"/>
                                </a:moveTo>
                                <a:cubicBezTo>
                                  <a:pt x="140" y="76"/>
                                  <a:pt x="137" y="78"/>
                                  <a:pt x="137" y="81"/>
                                </a:cubicBezTo>
                                <a:cubicBezTo>
                                  <a:pt x="137" y="84"/>
                                  <a:pt x="141" y="86"/>
                                  <a:pt x="142" y="83"/>
                                </a:cubicBezTo>
                                <a:cubicBezTo>
                                  <a:pt x="143" y="81"/>
                                  <a:pt x="142" y="80"/>
                                  <a:pt x="146" y="76"/>
                                </a:cubicBezTo>
                                <a:cubicBezTo>
                                  <a:pt x="151" y="73"/>
                                  <a:pt x="142" y="69"/>
                                  <a:pt x="141" y="72"/>
                                </a:cubicBezTo>
                                <a:close/>
                                <a:moveTo>
                                  <a:pt x="82" y="96"/>
                                </a:moveTo>
                                <a:cubicBezTo>
                                  <a:pt x="79" y="92"/>
                                  <a:pt x="75" y="94"/>
                                  <a:pt x="72" y="89"/>
                                </a:cubicBezTo>
                                <a:cubicBezTo>
                                  <a:pt x="68" y="85"/>
                                  <a:pt x="68" y="80"/>
                                  <a:pt x="62" y="78"/>
                                </a:cubicBezTo>
                                <a:cubicBezTo>
                                  <a:pt x="56" y="76"/>
                                  <a:pt x="53" y="78"/>
                                  <a:pt x="42" y="82"/>
                                </a:cubicBezTo>
                                <a:cubicBezTo>
                                  <a:pt x="31" y="86"/>
                                  <a:pt x="32" y="91"/>
                                  <a:pt x="25" y="93"/>
                                </a:cubicBezTo>
                                <a:cubicBezTo>
                                  <a:pt x="18" y="96"/>
                                  <a:pt x="14" y="103"/>
                                  <a:pt x="11" y="110"/>
                                </a:cubicBezTo>
                                <a:cubicBezTo>
                                  <a:pt x="8" y="117"/>
                                  <a:pt x="9" y="125"/>
                                  <a:pt x="17" y="127"/>
                                </a:cubicBezTo>
                                <a:cubicBezTo>
                                  <a:pt x="24" y="128"/>
                                  <a:pt x="27" y="130"/>
                                  <a:pt x="36" y="133"/>
                                </a:cubicBezTo>
                                <a:cubicBezTo>
                                  <a:pt x="45" y="136"/>
                                  <a:pt x="47" y="132"/>
                                  <a:pt x="59" y="127"/>
                                </a:cubicBezTo>
                                <a:cubicBezTo>
                                  <a:pt x="70" y="122"/>
                                  <a:pt x="78" y="127"/>
                                  <a:pt x="88" y="124"/>
                                </a:cubicBezTo>
                                <a:cubicBezTo>
                                  <a:pt x="98" y="121"/>
                                  <a:pt x="89" y="119"/>
                                  <a:pt x="87" y="110"/>
                                </a:cubicBezTo>
                                <a:cubicBezTo>
                                  <a:pt x="85" y="101"/>
                                  <a:pt x="86" y="99"/>
                                  <a:pt x="82" y="96"/>
                                </a:cubicBezTo>
                                <a:close/>
                                <a:moveTo>
                                  <a:pt x="130" y="115"/>
                                </a:moveTo>
                                <a:cubicBezTo>
                                  <a:pt x="127" y="118"/>
                                  <a:pt x="125" y="119"/>
                                  <a:pt x="128" y="121"/>
                                </a:cubicBezTo>
                                <a:cubicBezTo>
                                  <a:pt x="131" y="123"/>
                                  <a:pt x="128" y="126"/>
                                  <a:pt x="132" y="126"/>
                                </a:cubicBezTo>
                                <a:cubicBezTo>
                                  <a:pt x="135" y="126"/>
                                  <a:pt x="138" y="126"/>
                                  <a:pt x="138" y="122"/>
                                </a:cubicBezTo>
                                <a:cubicBezTo>
                                  <a:pt x="138" y="117"/>
                                  <a:pt x="133" y="113"/>
                                  <a:pt x="130" y="115"/>
                                </a:cubicBezTo>
                                <a:close/>
                                <a:moveTo>
                                  <a:pt x="104" y="102"/>
                                </a:moveTo>
                                <a:cubicBezTo>
                                  <a:pt x="109" y="98"/>
                                  <a:pt x="106" y="88"/>
                                  <a:pt x="101" y="94"/>
                                </a:cubicBezTo>
                                <a:cubicBezTo>
                                  <a:pt x="100" y="98"/>
                                  <a:pt x="97" y="100"/>
                                  <a:pt x="98" y="103"/>
                                </a:cubicBezTo>
                                <a:cubicBezTo>
                                  <a:pt x="100" y="107"/>
                                  <a:pt x="100" y="107"/>
                                  <a:pt x="104" y="102"/>
                                </a:cubicBezTo>
                                <a:close/>
                                <a:moveTo>
                                  <a:pt x="67" y="181"/>
                                </a:moveTo>
                                <a:cubicBezTo>
                                  <a:pt x="64" y="185"/>
                                  <a:pt x="58" y="183"/>
                                  <a:pt x="57" y="186"/>
                                </a:cubicBezTo>
                                <a:cubicBezTo>
                                  <a:pt x="55" y="189"/>
                                  <a:pt x="51" y="196"/>
                                  <a:pt x="54" y="198"/>
                                </a:cubicBezTo>
                                <a:cubicBezTo>
                                  <a:pt x="57" y="200"/>
                                  <a:pt x="64" y="193"/>
                                  <a:pt x="67" y="190"/>
                                </a:cubicBezTo>
                                <a:cubicBezTo>
                                  <a:pt x="70" y="188"/>
                                  <a:pt x="73" y="186"/>
                                  <a:pt x="77" y="186"/>
                                </a:cubicBezTo>
                                <a:cubicBezTo>
                                  <a:pt x="80" y="186"/>
                                  <a:pt x="85" y="189"/>
                                  <a:pt x="85" y="183"/>
                                </a:cubicBezTo>
                                <a:cubicBezTo>
                                  <a:pt x="85" y="177"/>
                                  <a:pt x="73" y="176"/>
                                  <a:pt x="67" y="181"/>
                                </a:cubicBezTo>
                                <a:close/>
                                <a:moveTo>
                                  <a:pt x="172" y="152"/>
                                </a:moveTo>
                                <a:cubicBezTo>
                                  <a:pt x="170" y="156"/>
                                  <a:pt x="166" y="157"/>
                                  <a:pt x="168" y="160"/>
                                </a:cubicBezTo>
                                <a:cubicBezTo>
                                  <a:pt x="171" y="164"/>
                                  <a:pt x="175" y="165"/>
                                  <a:pt x="177" y="163"/>
                                </a:cubicBezTo>
                                <a:cubicBezTo>
                                  <a:pt x="180" y="160"/>
                                  <a:pt x="181" y="158"/>
                                  <a:pt x="181" y="156"/>
                                </a:cubicBezTo>
                                <a:cubicBezTo>
                                  <a:pt x="180" y="154"/>
                                  <a:pt x="177" y="147"/>
                                  <a:pt x="172" y="152"/>
                                </a:cubicBezTo>
                                <a:close/>
                                <a:moveTo>
                                  <a:pt x="235" y="65"/>
                                </a:moveTo>
                                <a:cubicBezTo>
                                  <a:pt x="234" y="68"/>
                                  <a:pt x="235" y="70"/>
                                  <a:pt x="236" y="72"/>
                                </a:cubicBezTo>
                                <a:cubicBezTo>
                                  <a:pt x="238" y="74"/>
                                  <a:pt x="236" y="77"/>
                                  <a:pt x="241" y="77"/>
                                </a:cubicBezTo>
                                <a:cubicBezTo>
                                  <a:pt x="246" y="77"/>
                                  <a:pt x="245" y="73"/>
                                  <a:pt x="244" y="70"/>
                                </a:cubicBezTo>
                                <a:cubicBezTo>
                                  <a:pt x="244" y="66"/>
                                  <a:pt x="235" y="61"/>
                                  <a:pt x="235" y="65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43" name="Freeform 368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7320075" y="5408507"/>
                            <a:ext cx="136922" cy="134541"/>
                          </a:xfrm>
                          <a:custGeom>
                            <a:avLst/>
                            <a:gdLst>
                              <a:gd name="T0" fmla="*/ 453 w 475"/>
                              <a:gd name="T1" fmla="*/ 59 h 467"/>
                              <a:gd name="T2" fmla="*/ 447 w 475"/>
                              <a:gd name="T3" fmla="*/ 43 h 467"/>
                              <a:gd name="T4" fmla="*/ 437 w 475"/>
                              <a:gd name="T5" fmla="*/ 37 h 467"/>
                              <a:gd name="T6" fmla="*/ 411 w 475"/>
                              <a:gd name="T7" fmla="*/ 59 h 467"/>
                              <a:gd name="T8" fmla="*/ 400 w 475"/>
                              <a:gd name="T9" fmla="*/ 36 h 467"/>
                              <a:gd name="T10" fmla="*/ 378 w 475"/>
                              <a:gd name="T11" fmla="*/ 20 h 467"/>
                              <a:gd name="T12" fmla="*/ 393 w 475"/>
                              <a:gd name="T13" fmla="*/ 6 h 467"/>
                              <a:gd name="T14" fmla="*/ 368 w 475"/>
                              <a:gd name="T15" fmla="*/ 1 h 467"/>
                              <a:gd name="T16" fmla="*/ 341 w 475"/>
                              <a:gd name="T17" fmla="*/ 21 h 467"/>
                              <a:gd name="T18" fmla="*/ 333 w 475"/>
                              <a:gd name="T19" fmla="*/ 67 h 467"/>
                              <a:gd name="T20" fmla="*/ 300 w 475"/>
                              <a:gd name="T21" fmla="*/ 90 h 467"/>
                              <a:gd name="T22" fmla="*/ 284 w 475"/>
                              <a:gd name="T23" fmla="*/ 125 h 467"/>
                              <a:gd name="T24" fmla="*/ 258 w 475"/>
                              <a:gd name="T25" fmla="*/ 170 h 467"/>
                              <a:gd name="T26" fmla="*/ 203 w 475"/>
                              <a:gd name="T27" fmla="*/ 213 h 467"/>
                              <a:gd name="T28" fmla="*/ 138 w 475"/>
                              <a:gd name="T29" fmla="*/ 260 h 467"/>
                              <a:gd name="T30" fmla="*/ 97 w 475"/>
                              <a:gd name="T31" fmla="*/ 276 h 467"/>
                              <a:gd name="T32" fmla="*/ 76 w 475"/>
                              <a:gd name="T33" fmla="*/ 305 h 467"/>
                              <a:gd name="T34" fmla="*/ 53 w 475"/>
                              <a:gd name="T35" fmla="*/ 322 h 467"/>
                              <a:gd name="T36" fmla="*/ 40 w 475"/>
                              <a:gd name="T37" fmla="*/ 335 h 467"/>
                              <a:gd name="T38" fmla="*/ 29 w 475"/>
                              <a:gd name="T39" fmla="*/ 359 h 467"/>
                              <a:gd name="T40" fmla="*/ 23 w 475"/>
                              <a:gd name="T41" fmla="*/ 371 h 467"/>
                              <a:gd name="T42" fmla="*/ 6 w 475"/>
                              <a:gd name="T43" fmla="*/ 371 h 467"/>
                              <a:gd name="T44" fmla="*/ 18 w 475"/>
                              <a:gd name="T45" fmla="*/ 389 h 467"/>
                              <a:gd name="T46" fmla="*/ 2 w 475"/>
                              <a:gd name="T47" fmla="*/ 403 h 467"/>
                              <a:gd name="T48" fmla="*/ 13 w 475"/>
                              <a:gd name="T49" fmla="*/ 416 h 467"/>
                              <a:gd name="T50" fmla="*/ 3 w 475"/>
                              <a:gd name="T51" fmla="*/ 429 h 467"/>
                              <a:gd name="T52" fmla="*/ 64 w 475"/>
                              <a:gd name="T53" fmla="*/ 431 h 467"/>
                              <a:gd name="T54" fmla="*/ 104 w 475"/>
                              <a:gd name="T55" fmla="*/ 453 h 467"/>
                              <a:gd name="T56" fmla="*/ 145 w 475"/>
                              <a:gd name="T57" fmla="*/ 465 h 467"/>
                              <a:gd name="T58" fmla="*/ 205 w 475"/>
                              <a:gd name="T59" fmla="*/ 440 h 467"/>
                              <a:gd name="T60" fmla="*/ 238 w 475"/>
                              <a:gd name="T61" fmla="*/ 413 h 467"/>
                              <a:gd name="T62" fmla="*/ 247 w 475"/>
                              <a:gd name="T63" fmla="*/ 403 h 467"/>
                              <a:gd name="T64" fmla="*/ 255 w 475"/>
                              <a:gd name="T65" fmla="*/ 370 h 467"/>
                              <a:gd name="T66" fmla="*/ 284 w 475"/>
                              <a:gd name="T67" fmla="*/ 310 h 467"/>
                              <a:gd name="T68" fmla="*/ 318 w 475"/>
                              <a:gd name="T69" fmla="*/ 270 h 467"/>
                              <a:gd name="T70" fmla="*/ 364 w 475"/>
                              <a:gd name="T71" fmla="*/ 244 h 467"/>
                              <a:gd name="T72" fmla="*/ 395 w 475"/>
                              <a:gd name="T73" fmla="*/ 251 h 467"/>
                              <a:gd name="T74" fmla="*/ 380 w 475"/>
                              <a:gd name="T75" fmla="*/ 235 h 467"/>
                              <a:gd name="T76" fmla="*/ 380 w 475"/>
                              <a:gd name="T77" fmla="*/ 207 h 467"/>
                              <a:gd name="T78" fmla="*/ 434 w 475"/>
                              <a:gd name="T79" fmla="*/ 148 h 467"/>
                              <a:gd name="T80" fmla="*/ 463 w 475"/>
                              <a:gd name="T81" fmla="*/ 101 h 467"/>
                              <a:gd name="T82" fmla="*/ 464 w 475"/>
                              <a:gd name="T83" fmla="*/ 73 h 467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</a:cxnLst>
                            <a:rect l="0" t="0" r="r" b="b"/>
                            <a:pathLst>
                              <a:path w="475" h="467">
                                <a:moveTo>
                                  <a:pt x="463" y="64"/>
                                </a:moveTo>
                                <a:cubicBezTo>
                                  <a:pt x="462" y="59"/>
                                  <a:pt x="458" y="60"/>
                                  <a:pt x="453" y="59"/>
                                </a:cubicBezTo>
                                <a:cubicBezTo>
                                  <a:pt x="448" y="58"/>
                                  <a:pt x="446" y="57"/>
                                  <a:pt x="443" y="54"/>
                                </a:cubicBezTo>
                                <a:cubicBezTo>
                                  <a:pt x="439" y="51"/>
                                  <a:pt x="444" y="48"/>
                                  <a:pt x="447" y="43"/>
                                </a:cubicBezTo>
                                <a:cubicBezTo>
                                  <a:pt x="451" y="38"/>
                                  <a:pt x="457" y="33"/>
                                  <a:pt x="453" y="32"/>
                                </a:cubicBezTo>
                                <a:cubicBezTo>
                                  <a:pt x="450" y="31"/>
                                  <a:pt x="442" y="36"/>
                                  <a:pt x="437" y="37"/>
                                </a:cubicBezTo>
                                <a:cubicBezTo>
                                  <a:pt x="431" y="38"/>
                                  <a:pt x="427" y="42"/>
                                  <a:pt x="420" y="46"/>
                                </a:cubicBezTo>
                                <a:cubicBezTo>
                                  <a:pt x="413" y="51"/>
                                  <a:pt x="415" y="51"/>
                                  <a:pt x="411" y="59"/>
                                </a:cubicBezTo>
                                <a:cubicBezTo>
                                  <a:pt x="407" y="67"/>
                                  <a:pt x="399" y="59"/>
                                  <a:pt x="397" y="56"/>
                                </a:cubicBezTo>
                                <a:cubicBezTo>
                                  <a:pt x="395" y="53"/>
                                  <a:pt x="400" y="45"/>
                                  <a:pt x="400" y="36"/>
                                </a:cubicBezTo>
                                <a:cubicBezTo>
                                  <a:pt x="400" y="26"/>
                                  <a:pt x="395" y="25"/>
                                  <a:pt x="392" y="22"/>
                                </a:cubicBezTo>
                                <a:cubicBezTo>
                                  <a:pt x="389" y="19"/>
                                  <a:pt x="382" y="22"/>
                                  <a:pt x="378" y="20"/>
                                </a:cubicBezTo>
                                <a:cubicBezTo>
                                  <a:pt x="373" y="18"/>
                                  <a:pt x="377" y="13"/>
                                  <a:pt x="380" y="8"/>
                                </a:cubicBezTo>
                                <a:cubicBezTo>
                                  <a:pt x="382" y="3"/>
                                  <a:pt x="389" y="7"/>
                                  <a:pt x="393" y="6"/>
                                </a:cubicBezTo>
                                <a:cubicBezTo>
                                  <a:pt x="397" y="5"/>
                                  <a:pt x="392" y="2"/>
                                  <a:pt x="387" y="1"/>
                                </a:cubicBezTo>
                                <a:cubicBezTo>
                                  <a:pt x="382" y="0"/>
                                  <a:pt x="376" y="0"/>
                                  <a:pt x="368" y="1"/>
                                </a:cubicBezTo>
                                <a:cubicBezTo>
                                  <a:pt x="360" y="3"/>
                                  <a:pt x="363" y="5"/>
                                  <a:pt x="355" y="11"/>
                                </a:cubicBezTo>
                                <a:cubicBezTo>
                                  <a:pt x="348" y="17"/>
                                  <a:pt x="351" y="15"/>
                                  <a:pt x="341" y="21"/>
                                </a:cubicBezTo>
                                <a:cubicBezTo>
                                  <a:pt x="332" y="27"/>
                                  <a:pt x="338" y="29"/>
                                  <a:pt x="338" y="40"/>
                                </a:cubicBezTo>
                                <a:cubicBezTo>
                                  <a:pt x="338" y="52"/>
                                  <a:pt x="337" y="57"/>
                                  <a:pt x="333" y="67"/>
                                </a:cubicBezTo>
                                <a:cubicBezTo>
                                  <a:pt x="329" y="77"/>
                                  <a:pt x="328" y="76"/>
                                  <a:pt x="320" y="81"/>
                                </a:cubicBezTo>
                                <a:cubicBezTo>
                                  <a:pt x="312" y="85"/>
                                  <a:pt x="309" y="85"/>
                                  <a:pt x="300" y="90"/>
                                </a:cubicBezTo>
                                <a:cubicBezTo>
                                  <a:pt x="290" y="94"/>
                                  <a:pt x="296" y="96"/>
                                  <a:pt x="292" y="105"/>
                                </a:cubicBezTo>
                                <a:cubicBezTo>
                                  <a:pt x="289" y="114"/>
                                  <a:pt x="288" y="114"/>
                                  <a:pt x="284" y="125"/>
                                </a:cubicBezTo>
                                <a:cubicBezTo>
                                  <a:pt x="280" y="136"/>
                                  <a:pt x="280" y="144"/>
                                  <a:pt x="279" y="154"/>
                                </a:cubicBezTo>
                                <a:cubicBezTo>
                                  <a:pt x="277" y="165"/>
                                  <a:pt x="268" y="161"/>
                                  <a:pt x="258" y="170"/>
                                </a:cubicBezTo>
                                <a:cubicBezTo>
                                  <a:pt x="248" y="178"/>
                                  <a:pt x="243" y="181"/>
                                  <a:pt x="237" y="187"/>
                                </a:cubicBezTo>
                                <a:cubicBezTo>
                                  <a:pt x="223" y="199"/>
                                  <a:pt x="214" y="203"/>
                                  <a:pt x="203" y="213"/>
                                </a:cubicBezTo>
                                <a:cubicBezTo>
                                  <a:pt x="193" y="223"/>
                                  <a:pt x="184" y="229"/>
                                  <a:pt x="171" y="234"/>
                                </a:cubicBezTo>
                                <a:cubicBezTo>
                                  <a:pt x="159" y="240"/>
                                  <a:pt x="148" y="253"/>
                                  <a:pt x="138" y="260"/>
                                </a:cubicBezTo>
                                <a:cubicBezTo>
                                  <a:pt x="129" y="267"/>
                                  <a:pt x="122" y="260"/>
                                  <a:pt x="112" y="264"/>
                                </a:cubicBezTo>
                                <a:cubicBezTo>
                                  <a:pt x="103" y="267"/>
                                  <a:pt x="104" y="269"/>
                                  <a:pt x="97" y="276"/>
                                </a:cubicBezTo>
                                <a:cubicBezTo>
                                  <a:pt x="90" y="283"/>
                                  <a:pt x="89" y="285"/>
                                  <a:pt x="81" y="293"/>
                                </a:cubicBezTo>
                                <a:cubicBezTo>
                                  <a:pt x="73" y="300"/>
                                  <a:pt x="78" y="297"/>
                                  <a:pt x="76" y="305"/>
                                </a:cubicBezTo>
                                <a:cubicBezTo>
                                  <a:pt x="74" y="312"/>
                                  <a:pt x="76" y="312"/>
                                  <a:pt x="70" y="316"/>
                                </a:cubicBezTo>
                                <a:cubicBezTo>
                                  <a:pt x="65" y="320"/>
                                  <a:pt x="61" y="319"/>
                                  <a:pt x="53" y="322"/>
                                </a:cubicBezTo>
                                <a:cubicBezTo>
                                  <a:pt x="45" y="326"/>
                                  <a:pt x="47" y="325"/>
                                  <a:pt x="45" y="329"/>
                                </a:cubicBezTo>
                                <a:cubicBezTo>
                                  <a:pt x="44" y="333"/>
                                  <a:pt x="44" y="332"/>
                                  <a:pt x="40" y="335"/>
                                </a:cubicBezTo>
                                <a:cubicBezTo>
                                  <a:pt x="36" y="337"/>
                                  <a:pt x="33" y="340"/>
                                  <a:pt x="30" y="345"/>
                                </a:cubicBezTo>
                                <a:cubicBezTo>
                                  <a:pt x="28" y="350"/>
                                  <a:pt x="30" y="351"/>
                                  <a:pt x="29" y="359"/>
                                </a:cubicBezTo>
                                <a:cubicBezTo>
                                  <a:pt x="28" y="368"/>
                                  <a:pt x="29" y="367"/>
                                  <a:pt x="29" y="372"/>
                                </a:cubicBezTo>
                                <a:cubicBezTo>
                                  <a:pt x="29" y="376"/>
                                  <a:pt x="27" y="373"/>
                                  <a:pt x="23" y="371"/>
                                </a:cubicBezTo>
                                <a:cubicBezTo>
                                  <a:pt x="19" y="370"/>
                                  <a:pt x="19" y="366"/>
                                  <a:pt x="13" y="365"/>
                                </a:cubicBezTo>
                                <a:cubicBezTo>
                                  <a:pt x="7" y="365"/>
                                  <a:pt x="7" y="369"/>
                                  <a:pt x="6" y="371"/>
                                </a:cubicBezTo>
                                <a:cubicBezTo>
                                  <a:pt x="5" y="372"/>
                                  <a:pt x="4" y="379"/>
                                  <a:pt x="9" y="380"/>
                                </a:cubicBezTo>
                                <a:cubicBezTo>
                                  <a:pt x="14" y="382"/>
                                  <a:pt x="15" y="382"/>
                                  <a:pt x="18" y="389"/>
                                </a:cubicBezTo>
                                <a:cubicBezTo>
                                  <a:pt x="21" y="395"/>
                                  <a:pt x="17" y="394"/>
                                  <a:pt x="13" y="397"/>
                                </a:cubicBezTo>
                                <a:cubicBezTo>
                                  <a:pt x="8" y="400"/>
                                  <a:pt x="4" y="400"/>
                                  <a:pt x="2" y="403"/>
                                </a:cubicBezTo>
                                <a:cubicBezTo>
                                  <a:pt x="0" y="406"/>
                                  <a:pt x="1" y="408"/>
                                  <a:pt x="4" y="412"/>
                                </a:cubicBezTo>
                                <a:cubicBezTo>
                                  <a:pt x="7" y="417"/>
                                  <a:pt x="12" y="413"/>
                                  <a:pt x="13" y="416"/>
                                </a:cubicBezTo>
                                <a:cubicBezTo>
                                  <a:pt x="14" y="419"/>
                                  <a:pt x="11" y="419"/>
                                  <a:pt x="6" y="421"/>
                                </a:cubicBezTo>
                                <a:cubicBezTo>
                                  <a:pt x="2" y="422"/>
                                  <a:pt x="1" y="425"/>
                                  <a:pt x="3" y="429"/>
                                </a:cubicBezTo>
                                <a:cubicBezTo>
                                  <a:pt x="5" y="432"/>
                                  <a:pt x="17" y="432"/>
                                  <a:pt x="26" y="431"/>
                                </a:cubicBezTo>
                                <a:cubicBezTo>
                                  <a:pt x="36" y="431"/>
                                  <a:pt x="55" y="425"/>
                                  <a:pt x="64" y="431"/>
                                </a:cubicBezTo>
                                <a:cubicBezTo>
                                  <a:pt x="72" y="438"/>
                                  <a:pt x="74" y="443"/>
                                  <a:pt x="81" y="445"/>
                                </a:cubicBezTo>
                                <a:cubicBezTo>
                                  <a:pt x="88" y="447"/>
                                  <a:pt x="97" y="446"/>
                                  <a:pt x="104" y="453"/>
                                </a:cubicBezTo>
                                <a:cubicBezTo>
                                  <a:pt x="112" y="459"/>
                                  <a:pt x="108" y="461"/>
                                  <a:pt x="117" y="464"/>
                                </a:cubicBezTo>
                                <a:cubicBezTo>
                                  <a:pt x="126" y="467"/>
                                  <a:pt x="136" y="466"/>
                                  <a:pt x="145" y="465"/>
                                </a:cubicBezTo>
                                <a:cubicBezTo>
                                  <a:pt x="154" y="464"/>
                                  <a:pt x="164" y="464"/>
                                  <a:pt x="174" y="462"/>
                                </a:cubicBezTo>
                                <a:cubicBezTo>
                                  <a:pt x="185" y="460"/>
                                  <a:pt x="192" y="454"/>
                                  <a:pt x="205" y="440"/>
                                </a:cubicBezTo>
                                <a:cubicBezTo>
                                  <a:pt x="219" y="426"/>
                                  <a:pt x="215" y="428"/>
                                  <a:pt x="221" y="423"/>
                                </a:cubicBezTo>
                                <a:cubicBezTo>
                                  <a:pt x="227" y="417"/>
                                  <a:pt x="233" y="416"/>
                                  <a:pt x="238" y="413"/>
                                </a:cubicBezTo>
                                <a:cubicBezTo>
                                  <a:pt x="244" y="409"/>
                                  <a:pt x="253" y="410"/>
                                  <a:pt x="254" y="408"/>
                                </a:cubicBezTo>
                                <a:cubicBezTo>
                                  <a:pt x="255" y="406"/>
                                  <a:pt x="251" y="405"/>
                                  <a:pt x="247" y="403"/>
                                </a:cubicBezTo>
                                <a:cubicBezTo>
                                  <a:pt x="242" y="401"/>
                                  <a:pt x="245" y="403"/>
                                  <a:pt x="244" y="394"/>
                                </a:cubicBezTo>
                                <a:cubicBezTo>
                                  <a:pt x="243" y="384"/>
                                  <a:pt x="252" y="377"/>
                                  <a:pt x="255" y="370"/>
                                </a:cubicBezTo>
                                <a:cubicBezTo>
                                  <a:pt x="258" y="364"/>
                                  <a:pt x="273" y="354"/>
                                  <a:pt x="279" y="340"/>
                                </a:cubicBezTo>
                                <a:cubicBezTo>
                                  <a:pt x="285" y="326"/>
                                  <a:pt x="282" y="325"/>
                                  <a:pt x="284" y="310"/>
                                </a:cubicBezTo>
                                <a:cubicBezTo>
                                  <a:pt x="286" y="295"/>
                                  <a:pt x="287" y="296"/>
                                  <a:pt x="292" y="285"/>
                                </a:cubicBezTo>
                                <a:cubicBezTo>
                                  <a:pt x="298" y="274"/>
                                  <a:pt x="313" y="277"/>
                                  <a:pt x="318" y="270"/>
                                </a:cubicBezTo>
                                <a:cubicBezTo>
                                  <a:pt x="323" y="263"/>
                                  <a:pt x="333" y="260"/>
                                  <a:pt x="338" y="256"/>
                                </a:cubicBezTo>
                                <a:cubicBezTo>
                                  <a:pt x="344" y="251"/>
                                  <a:pt x="355" y="244"/>
                                  <a:pt x="364" y="244"/>
                                </a:cubicBezTo>
                                <a:cubicBezTo>
                                  <a:pt x="373" y="244"/>
                                  <a:pt x="373" y="250"/>
                                  <a:pt x="376" y="251"/>
                                </a:cubicBezTo>
                                <a:cubicBezTo>
                                  <a:pt x="379" y="252"/>
                                  <a:pt x="391" y="255"/>
                                  <a:pt x="395" y="251"/>
                                </a:cubicBezTo>
                                <a:cubicBezTo>
                                  <a:pt x="400" y="247"/>
                                  <a:pt x="396" y="245"/>
                                  <a:pt x="394" y="238"/>
                                </a:cubicBezTo>
                                <a:cubicBezTo>
                                  <a:pt x="391" y="231"/>
                                  <a:pt x="386" y="235"/>
                                  <a:pt x="380" y="235"/>
                                </a:cubicBezTo>
                                <a:cubicBezTo>
                                  <a:pt x="373" y="235"/>
                                  <a:pt x="375" y="235"/>
                                  <a:pt x="373" y="224"/>
                                </a:cubicBezTo>
                                <a:cubicBezTo>
                                  <a:pt x="370" y="214"/>
                                  <a:pt x="374" y="216"/>
                                  <a:pt x="380" y="207"/>
                                </a:cubicBezTo>
                                <a:cubicBezTo>
                                  <a:pt x="386" y="197"/>
                                  <a:pt x="394" y="193"/>
                                  <a:pt x="401" y="186"/>
                                </a:cubicBezTo>
                                <a:cubicBezTo>
                                  <a:pt x="409" y="178"/>
                                  <a:pt x="420" y="166"/>
                                  <a:pt x="434" y="148"/>
                                </a:cubicBezTo>
                                <a:cubicBezTo>
                                  <a:pt x="448" y="130"/>
                                  <a:pt x="442" y="135"/>
                                  <a:pt x="445" y="121"/>
                                </a:cubicBezTo>
                                <a:cubicBezTo>
                                  <a:pt x="449" y="108"/>
                                  <a:pt x="455" y="108"/>
                                  <a:pt x="463" y="101"/>
                                </a:cubicBezTo>
                                <a:cubicBezTo>
                                  <a:pt x="472" y="94"/>
                                  <a:pt x="472" y="98"/>
                                  <a:pt x="473" y="92"/>
                                </a:cubicBezTo>
                                <a:cubicBezTo>
                                  <a:pt x="475" y="87"/>
                                  <a:pt x="467" y="80"/>
                                  <a:pt x="464" y="73"/>
                                </a:cubicBezTo>
                                <a:cubicBezTo>
                                  <a:pt x="461" y="66"/>
                                  <a:pt x="464" y="69"/>
                                  <a:pt x="463" y="64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44" name="Freeform 389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7427231" y="5283491"/>
                            <a:ext cx="103584" cy="148828"/>
                          </a:xfrm>
                          <a:custGeom>
                            <a:avLst/>
                            <a:gdLst>
                              <a:gd name="T0" fmla="*/ 337 w 360"/>
                              <a:gd name="T1" fmla="*/ 227 h 519"/>
                              <a:gd name="T2" fmla="*/ 274 w 360"/>
                              <a:gd name="T3" fmla="*/ 259 h 519"/>
                              <a:gd name="T4" fmla="*/ 211 w 360"/>
                              <a:gd name="T5" fmla="*/ 232 h 519"/>
                              <a:gd name="T6" fmla="*/ 190 w 360"/>
                              <a:gd name="T7" fmla="*/ 170 h 519"/>
                              <a:gd name="T8" fmla="*/ 176 w 360"/>
                              <a:gd name="T9" fmla="*/ 151 h 519"/>
                              <a:gd name="T10" fmla="*/ 176 w 360"/>
                              <a:gd name="T11" fmla="*/ 174 h 519"/>
                              <a:gd name="T12" fmla="*/ 160 w 360"/>
                              <a:gd name="T13" fmla="*/ 185 h 519"/>
                              <a:gd name="T14" fmla="*/ 132 w 360"/>
                              <a:gd name="T15" fmla="*/ 168 h 519"/>
                              <a:gd name="T16" fmla="*/ 128 w 360"/>
                              <a:gd name="T17" fmla="*/ 144 h 519"/>
                              <a:gd name="T18" fmla="*/ 113 w 360"/>
                              <a:gd name="T19" fmla="*/ 117 h 519"/>
                              <a:gd name="T20" fmla="*/ 102 w 360"/>
                              <a:gd name="T21" fmla="*/ 81 h 519"/>
                              <a:gd name="T22" fmla="*/ 96 w 360"/>
                              <a:gd name="T23" fmla="*/ 64 h 519"/>
                              <a:gd name="T24" fmla="*/ 81 w 360"/>
                              <a:gd name="T25" fmla="*/ 51 h 519"/>
                              <a:gd name="T26" fmla="*/ 53 w 360"/>
                              <a:gd name="T27" fmla="*/ 42 h 519"/>
                              <a:gd name="T28" fmla="*/ 40 w 360"/>
                              <a:gd name="T29" fmla="*/ 42 h 519"/>
                              <a:gd name="T30" fmla="*/ 24 w 360"/>
                              <a:gd name="T31" fmla="*/ 27 h 519"/>
                              <a:gd name="T32" fmla="*/ 20 w 360"/>
                              <a:gd name="T33" fmla="*/ 9 h 519"/>
                              <a:gd name="T34" fmla="*/ 11 w 360"/>
                              <a:gd name="T35" fmla="*/ 2 h 519"/>
                              <a:gd name="T36" fmla="*/ 9 w 360"/>
                              <a:gd name="T37" fmla="*/ 18 h 519"/>
                              <a:gd name="T38" fmla="*/ 25 w 360"/>
                              <a:gd name="T39" fmla="*/ 42 h 519"/>
                              <a:gd name="T40" fmla="*/ 41 w 360"/>
                              <a:gd name="T41" fmla="*/ 76 h 519"/>
                              <a:gd name="T42" fmla="*/ 55 w 360"/>
                              <a:gd name="T43" fmla="*/ 68 h 519"/>
                              <a:gd name="T44" fmla="*/ 55 w 360"/>
                              <a:gd name="T45" fmla="*/ 81 h 519"/>
                              <a:gd name="T46" fmla="*/ 75 w 360"/>
                              <a:gd name="T47" fmla="*/ 118 h 519"/>
                              <a:gd name="T48" fmla="*/ 91 w 360"/>
                              <a:gd name="T49" fmla="*/ 132 h 519"/>
                              <a:gd name="T50" fmla="*/ 103 w 360"/>
                              <a:gd name="T51" fmla="*/ 140 h 519"/>
                              <a:gd name="T52" fmla="*/ 104 w 360"/>
                              <a:gd name="T53" fmla="*/ 154 h 519"/>
                              <a:gd name="T54" fmla="*/ 102 w 360"/>
                              <a:gd name="T55" fmla="*/ 167 h 519"/>
                              <a:gd name="T56" fmla="*/ 114 w 360"/>
                              <a:gd name="T57" fmla="*/ 188 h 519"/>
                              <a:gd name="T58" fmla="*/ 129 w 360"/>
                              <a:gd name="T59" fmla="*/ 182 h 519"/>
                              <a:gd name="T60" fmla="*/ 130 w 360"/>
                              <a:gd name="T61" fmla="*/ 200 h 519"/>
                              <a:gd name="T62" fmla="*/ 129 w 360"/>
                              <a:gd name="T63" fmla="*/ 219 h 519"/>
                              <a:gd name="T64" fmla="*/ 136 w 360"/>
                              <a:gd name="T65" fmla="*/ 258 h 519"/>
                              <a:gd name="T66" fmla="*/ 119 w 360"/>
                              <a:gd name="T67" fmla="*/ 313 h 519"/>
                              <a:gd name="T68" fmla="*/ 79 w 360"/>
                              <a:gd name="T69" fmla="*/ 341 h 519"/>
                              <a:gd name="T70" fmla="*/ 85 w 360"/>
                              <a:gd name="T71" fmla="*/ 369 h 519"/>
                              <a:gd name="T72" fmla="*/ 132 w 360"/>
                              <a:gd name="T73" fmla="*/ 394 h 519"/>
                              <a:gd name="T74" fmla="*/ 160 w 360"/>
                              <a:gd name="T75" fmla="*/ 427 h 519"/>
                              <a:gd name="T76" fmla="*/ 140 w 360"/>
                              <a:gd name="T77" fmla="*/ 476 h 519"/>
                              <a:gd name="T78" fmla="*/ 135 w 360"/>
                              <a:gd name="T79" fmla="*/ 501 h 519"/>
                              <a:gd name="T80" fmla="*/ 155 w 360"/>
                              <a:gd name="T81" fmla="*/ 507 h 519"/>
                              <a:gd name="T82" fmla="*/ 172 w 360"/>
                              <a:gd name="T83" fmla="*/ 511 h 519"/>
                              <a:gd name="T84" fmla="*/ 210 w 360"/>
                              <a:gd name="T85" fmla="*/ 486 h 519"/>
                              <a:gd name="T86" fmla="*/ 246 w 360"/>
                              <a:gd name="T87" fmla="*/ 440 h 519"/>
                              <a:gd name="T88" fmla="*/ 273 w 360"/>
                              <a:gd name="T89" fmla="*/ 379 h 519"/>
                              <a:gd name="T90" fmla="*/ 285 w 360"/>
                              <a:gd name="T91" fmla="*/ 337 h 519"/>
                              <a:gd name="T92" fmla="*/ 327 w 360"/>
                              <a:gd name="T93" fmla="*/ 340 h 519"/>
                              <a:gd name="T94" fmla="*/ 327 w 360"/>
                              <a:gd name="T95" fmla="*/ 323 h 519"/>
                              <a:gd name="T96" fmla="*/ 350 w 360"/>
                              <a:gd name="T97" fmla="*/ 285 h 519"/>
                              <a:gd name="T98" fmla="*/ 358 w 360"/>
                              <a:gd name="T99" fmla="*/ 245 h 519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</a:cxnLst>
                            <a:rect l="0" t="0" r="r" b="b"/>
                            <a:pathLst>
                              <a:path w="360" h="519">
                                <a:moveTo>
                                  <a:pt x="354" y="235"/>
                                </a:moveTo>
                                <a:cubicBezTo>
                                  <a:pt x="347" y="234"/>
                                  <a:pt x="347" y="225"/>
                                  <a:pt x="337" y="227"/>
                                </a:cubicBezTo>
                                <a:cubicBezTo>
                                  <a:pt x="328" y="229"/>
                                  <a:pt x="320" y="232"/>
                                  <a:pt x="313" y="241"/>
                                </a:cubicBezTo>
                                <a:cubicBezTo>
                                  <a:pt x="306" y="249"/>
                                  <a:pt x="282" y="259"/>
                                  <a:pt x="274" y="259"/>
                                </a:cubicBezTo>
                                <a:cubicBezTo>
                                  <a:pt x="266" y="260"/>
                                  <a:pt x="258" y="255"/>
                                  <a:pt x="246" y="250"/>
                                </a:cubicBezTo>
                                <a:cubicBezTo>
                                  <a:pt x="233" y="245"/>
                                  <a:pt x="219" y="241"/>
                                  <a:pt x="211" y="232"/>
                                </a:cubicBezTo>
                                <a:cubicBezTo>
                                  <a:pt x="203" y="223"/>
                                  <a:pt x="198" y="206"/>
                                  <a:pt x="198" y="192"/>
                                </a:cubicBezTo>
                                <a:cubicBezTo>
                                  <a:pt x="198" y="179"/>
                                  <a:pt x="191" y="174"/>
                                  <a:pt x="190" y="170"/>
                                </a:cubicBezTo>
                                <a:cubicBezTo>
                                  <a:pt x="188" y="165"/>
                                  <a:pt x="190" y="160"/>
                                  <a:pt x="185" y="158"/>
                                </a:cubicBezTo>
                                <a:cubicBezTo>
                                  <a:pt x="180" y="155"/>
                                  <a:pt x="181" y="153"/>
                                  <a:pt x="176" y="151"/>
                                </a:cubicBezTo>
                                <a:cubicBezTo>
                                  <a:pt x="171" y="149"/>
                                  <a:pt x="167" y="152"/>
                                  <a:pt x="171" y="157"/>
                                </a:cubicBezTo>
                                <a:cubicBezTo>
                                  <a:pt x="175" y="162"/>
                                  <a:pt x="176" y="164"/>
                                  <a:pt x="176" y="174"/>
                                </a:cubicBezTo>
                                <a:cubicBezTo>
                                  <a:pt x="176" y="185"/>
                                  <a:pt x="181" y="195"/>
                                  <a:pt x="175" y="194"/>
                                </a:cubicBezTo>
                                <a:cubicBezTo>
                                  <a:pt x="169" y="194"/>
                                  <a:pt x="167" y="191"/>
                                  <a:pt x="160" y="185"/>
                                </a:cubicBezTo>
                                <a:cubicBezTo>
                                  <a:pt x="153" y="179"/>
                                  <a:pt x="151" y="181"/>
                                  <a:pt x="143" y="177"/>
                                </a:cubicBezTo>
                                <a:cubicBezTo>
                                  <a:pt x="136" y="174"/>
                                  <a:pt x="132" y="173"/>
                                  <a:pt x="132" y="168"/>
                                </a:cubicBezTo>
                                <a:cubicBezTo>
                                  <a:pt x="133" y="164"/>
                                  <a:pt x="135" y="163"/>
                                  <a:pt x="130" y="158"/>
                                </a:cubicBezTo>
                                <a:cubicBezTo>
                                  <a:pt x="126" y="153"/>
                                  <a:pt x="124" y="150"/>
                                  <a:pt x="128" y="144"/>
                                </a:cubicBezTo>
                                <a:cubicBezTo>
                                  <a:pt x="133" y="138"/>
                                  <a:pt x="128" y="131"/>
                                  <a:pt x="123" y="126"/>
                                </a:cubicBezTo>
                                <a:cubicBezTo>
                                  <a:pt x="117" y="122"/>
                                  <a:pt x="115" y="124"/>
                                  <a:pt x="113" y="117"/>
                                </a:cubicBezTo>
                                <a:cubicBezTo>
                                  <a:pt x="111" y="109"/>
                                  <a:pt x="110" y="107"/>
                                  <a:pt x="106" y="100"/>
                                </a:cubicBezTo>
                                <a:cubicBezTo>
                                  <a:pt x="101" y="94"/>
                                  <a:pt x="102" y="91"/>
                                  <a:pt x="102" y="81"/>
                                </a:cubicBezTo>
                                <a:cubicBezTo>
                                  <a:pt x="103" y="71"/>
                                  <a:pt x="103" y="66"/>
                                  <a:pt x="101" y="63"/>
                                </a:cubicBezTo>
                                <a:cubicBezTo>
                                  <a:pt x="99" y="61"/>
                                  <a:pt x="99" y="62"/>
                                  <a:pt x="96" y="64"/>
                                </a:cubicBezTo>
                                <a:cubicBezTo>
                                  <a:pt x="92" y="67"/>
                                  <a:pt x="88" y="70"/>
                                  <a:pt x="85" y="64"/>
                                </a:cubicBezTo>
                                <a:cubicBezTo>
                                  <a:pt x="82" y="59"/>
                                  <a:pt x="84" y="57"/>
                                  <a:pt x="81" y="51"/>
                                </a:cubicBezTo>
                                <a:cubicBezTo>
                                  <a:pt x="78" y="45"/>
                                  <a:pt x="79" y="45"/>
                                  <a:pt x="70" y="44"/>
                                </a:cubicBezTo>
                                <a:cubicBezTo>
                                  <a:pt x="62" y="44"/>
                                  <a:pt x="56" y="46"/>
                                  <a:pt x="53" y="42"/>
                                </a:cubicBezTo>
                                <a:cubicBezTo>
                                  <a:pt x="51" y="39"/>
                                  <a:pt x="46" y="31"/>
                                  <a:pt x="43" y="34"/>
                                </a:cubicBezTo>
                                <a:cubicBezTo>
                                  <a:pt x="41" y="36"/>
                                  <a:pt x="43" y="41"/>
                                  <a:pt x="40" y="42"/>
                                </a:cubicBezTo>
                                <a:cubicBezTo>
                                  <a:pt x="37" y="42"/>
                                  <a:pt x="33" y="39"/>
                                  <a:pt x="29" y="36"/>
                                </a:cubicBezTo>
                                <a:cubicBezTo>
                                  <a:pt x="26" y="33"/>
                                  <a:pt x="26" y="33"/>
                                  <a:pt x="24" y="27"/>
                                </a:cubicBezTo>
                                <a:cubicBezTo>
                                  <a:pt x="22" y="21"/>
                                  <a:pt x="18" y="19"/>
                                  <a:pt x="18" y="16"/>
                                </a:cubicBezTo>
                                <a:cubicBezTo>
                                  <a:pt x="17" y="13"/>
                                  <a:pt x="18" y="12"/>
                                  <a:pt x="20" y="9"/>
                                </a:cubicBezTo>
                                <a:cubicBezTo>
                                  <a:pt x="23" y="7"/>
                                  <a:pt x="26" y="6"/>
                                  <a:pt x="24" y="3"/>
                                </a:cubicBezTo>
                                <a:cubicBezTo>
                                  <a:pt x="22" y="1"/>
                                  <a:pt x="18" y="1"/>
                                  <a:pt x="11" y="2"/>
                                </a:cubicBezTo>
                                <a:cubicBezTo>
                                  <a:pt x="5" y="2"/>
                                  <a:pt x="1" y="0"/>
                                  <a:pt x="1" y="4"/>
                                </a:cubicBezTo>
                                <a:cubicBezTo>
                                  <a:pt x="0" y="9"/>
                                  <a:pt x="5" y="15"/>
                                  <a:pt x="9" y="18"/>
                                </a:cubicBezTo>
                                <a:cubicBezTo>
                                  <a:pt x="13" y="21"/>
                                  <a:pt x="16" y="22"/>
                                  <a:pt x="18" y="28"/>
                                </a:cubicBezTo>
                                <a:cubicBezTo>
                                  <a:pt x="19" y="35"/>
                                  <a:pt x="19" y="36"/>
                                  <a:pt x="25" y="42"/>
                                </a:cubicBezTo>
                                <a:cubicBezTo>
                                  <a:pt x="31" y="48"/>
                                  <a:pt x="28" y="44"/>
                                  <a:pt x="31" y="54"/>
                                </a:cubicBezTo>
                                <a:cubicBezTo>
                                  <a:pt x="34" y="65"/>
                                  <a:pt x="36" y="73"/>
                                  <a:pt x="41" y="76"/>
                                </a:cubicBezTo>
                                <a:cubicBezTo>
                                  <a:pt x="45" y="79"/>
                                  <a:pt x="48" y="76"/>
                                  <a:pt x="49" y="73"/>
                                </a:cubicBezTo>
                                <a:cubicBezTo>
                                  <a:pt x="49" y="70"/>
                                  <a:pt x="50" y="67"/>
                                  <a:pt x="55" y="68"/>
                                </a:cubicBezTo>
                                <a:cubicBezTo>
                                  <a:pt x="59" y="69"/>
                                  <a:pt x="62" y="73"/>
                                  <a:pt x="60" y="75"/>
                                </a:cubicBezTo>
                                <a:cubicBezTo>
                                  <a:pt x="57" y="77"/>
                                  <a:pt x="53" y="74"/>
                                  <a:pt x="55" y="81"/>
                                </a:cubicBezTo>
                                <a:cubicBezTo>
                                  <a:pt x="57" y="88"/>
                                  <a:pt x="55" y="93"/>
                                  <a:pt x="62" y="101"/>
                                </a:cubicBezTo>
                                <a:cubicBezTo>
                                  <a:pt x="70" y="109"/>
                                  <a:pt x="74" y="111"/>
                                  <a:pt x="75" y="118"/>
                                </a:cubicBezTo>
                                <a:cubicBezTo>
                                  <a:pt x="76" y="124"/>
                                  <a:pt x="76" y="130"/>
                                  <a:pt x="80" y="133"/>
                                </a:cubicBezTo>
                                <a:cubicBezTo>
                                  <a:pt x="84" y="136"/>
                                  <a:pt x="91" y="135"/>
                                  <a:pt x="91" y="132"/>
                                </a:cubicBezTo>
                                <a:cubicBezTo>
                                  <a:pt x="92" y="128"/>
                                  <a:pt x="94" y="120"/>
                                  <a:pt x="102" y="126"/>
                                </a:cubicBezTo>
                                <a:cubicBezTo>
                                  <a:pt x="110" y="132"/>
                                  <a:pt x="106" y="138"/>
                                  <a:pt x="103" y="140"/>
                                </a:cubicBezTo>
                                <a:cubicBezTo>
                                  <a:pt x="100" y="141"/>
                                  <a:pt x="99" y="147"/>
                                  <a:pt x="101" y="148"/>
                                </a:cubicBezTo>
                                <a:cubicBezTo>
                                  <a:pt x="103" y="150"/>
                                  <a:pt x="106" y="153"/>
                                  <a:pt x="104" y="154"/>
                                </a:cubicBezTo>
                                <a:cubicBezTo>
                                  <a:pt x="101" y="155"/>
                                  <a:pt x="97" y="151"/>
                                  <a:pt x="95" y="153"/>
                                </a:cubicBezTo>
                                <a:cubicBezTo>
                                  <a:pt x="93" y="156"/>
                                  <a:pt x="99" y="165"/>
                                  <a:pt x="102" y="167"/>
                                </a:cubicBezTo>
                                <a:cubicBezTo>
                                  <a:pt x="105" y="169"/>
                                  <a:pt x="106" y="172"/>
                                  <a:pt x="107" y="177"/>
                                </a:cubicBezTo>
                                <a:cubicBezTo>
                                  <a:pt x="109" y="182"/>
                                  <a:pt x="111" y="187"/>
                                  <a:pt x="114" y="188"/>
                                </a:cubicBezTo>
                                <a:cubicBezTo>
                                  <a:pt x="116" y="189"/>
                                  <a:pt x="122" y="190"/>
                                  <a:pt x="123" y="186"/>
                                </a:cubicBezTo>
                                <a:cubicBezTo>
                                  <a:pt x="123" y="182"/>
                                  <a:pt x="124" y="177"/>
                                  <a:pt x="129" y="182"/>
                                </a:cubicBezTo>
                                <a:cubicBezTo>
                                  <a:pt x="133" y="186"/>
                                  <a:pt x="137" y="189"/>
                                  <a:pt x="137" y="193"/>
                                </a:cubicBezTo>
                                <a:cubicBezTo>
                                  <a:pt x="137" y="196"/>
                                  <a:pt x="133" y="200"/>
                                  <a:pt x="130" y="200"/>
                                </a:cubicBezTo>
                                <a:cubicBezTo>
                                  <a:pt x="126" y="200"/>
                                  <a:pt x="120" y="201"/>
                                  <a:pt x="123" y="205"/>
                                </a:cubicBezTo>
                                <a:cubicBezTo>
                                  <a:pt x="125" y="210"/>
                                  <a:pt x="123" y="212"/>
                                  <a:pt x="129" y="219"/>
                                </a:cubicBezTo>
                                <a:cubicBezTo>
                                  <a:pt x="135" y="227"/>
                                  <a:pt x="138" y="231"/>
                                  <a:pt x="139" y="238"/>
                                </a:cubicBezTo>
                                <a:cubicBezTo>
                                  <a:pt x="139" y="245"/>
                                  <a:pt x="141" y="250"/>
                                  <a:pt x="136" y="258"/>
                                </a:cubicBezTo>
                                <a:cubicBezTo>
                                  <a:pt x="132" y="266"/>
                                  <a:pt x="129" y="277"/>
                                  <a:pt x="129" y="286"/>
                                </a:cubicBezTo>
                                <a:cubicBezTo>
                                  <a:pt x="129" y="296"/>
                                  <a:pt x="122" y="309"/>
                                  <a:pt x="119" y="313"/>
                                </a:cubicBezTo>
                                <a:cubicBezTo>
                                  <a:pt x="116" y="317"/>
                                  <a:pt x="114" y="318"/>
                                  <a:pt x="104" y="325"/>
                                </a:cubicBezTo>
                                <a:cubicBezTo>
                                  <a:pt x="95" y="332"/>
                                  <a:pt x="86" y="338"/>
                                  <a:pt x="79" y="341"/>
                                </a:cubicBezTo>
                                <a:cubicBezTo>
                                  <a:pt x="73" y="344"/>
                                  <a:pt x="69" y="347"/>
                                  <a:pt x="70" y="352"/>
                                </a:cubicBezTo>
                                <a:cubicBezTo>
                                  <a:pt x="71" y="358"/>
                                  <a:pt x="74" y="365"/>
                                  <a:pt x="85" y="369"/>
                                </a:cubicBezTo>
                                <a:cubicBezTo>
                                  <a:pt x="97" y="374"/>
                                  <a:pt x="103" y="382"/>
                                  <a:pt x="111" y="387"/>
                                </a:cubicBezTo>
                                <a:cubicBezTo>
                                  <a:pt x="120" y="391"/>
                                  <a:pt x="124" y="390"/>
                                  <a:pt x="132" y="394"/>
                                </a:cubicBezTo>
                                <a:cubicBezTo>
                                  <a:pt x="140" y="399"/>
                                  <a:pt x="144" y="398"/>
                                  <a:pt x="150" y="405"/>
                                </a:cubicBezTo>
                                <a:cubicBezTo>
                                  <a:pt x="156" y="412"/>
                                  <a:pt x="159" y="417"/>
                                  <a:pt x="160" y="427"/>
                                </a:cubicBezTo>
                                <a:cubicBezTo>
                                  <a:pt x="160" y="438"/>
                                  <a:pt x="164" y="439"/>
                                  <a:pt x="156" y="451"/>
                                </a:cubicBezTo>
                                <a:cubicBezTo>
                                  <a:pt x="148" y="462"/>
                                  <a:pt x="147" y="463"/>
                                  <a:pt x="140" y="476"/>
                                </a:cubicBezTo>
                                <a:cubicBezTo>
                                  <a:pt x="134" y="489"/>
                                  <a:pt x="127" y="487"/>
                                  <a:pt x="124" y="495"/>
                                </a:cubicBezTo>
                                <a:cubicBezTo>
                                  <a:pt x="122" y="502"/>
                                  <a:pt x="130" y="502"/>
                                  <a:pt x="135" y="501"/>
                                </a:cubicBezTo>
                                <a:cubicBezTo>
                                  <a:pt x="140" y="501"/>
                                  <a:pt x="140" y="503"/>
                                  <a:pt x="146" y="505"/>
                                </a:cubicBezTo>
                                <a:cubicBezTo>
                                  <a:pt x="152" y="507"/>
                                  <a:pt x="152" y="502"/>
                                  <a:pt x="155" y="507"/>
                                </a:cubicBezTo>
                                <a:cubicBezTo>
                                  <a:pt x="158" y="511"/>
                                  <a:pt x="152" y="517"/>
                                  <a:pt x="160" y="518"/>
                                </a:cubicBezTo>
                                <a:cubicBezTo>
                                  <a:pt x="167" y="519"/>
                                  <a:pt x="165" y="518"/>
                                  <a:pt x="172" y="511"/>
                                </a:cubicBezTo>
                                <a:cubicBezTo>
                                  <a:pt x="179" y="504"/>
                                  <a:pt x="181" y="505"/>
                                  <a:pt x="191" y="499"/>
                                </a:cubicBezTo>
                                <a:cubicBezTo>
                                  <a:pt x="201" y="493"/>
                                  <a:pt x="206" y="495"/>
                                  <a:pt x="210" y="486"/>
                                </a:cubicBezTo>
                                <a:cubicBezTo>
                                  <a:pt x="215" y="477"/>
                                  <a:pt x="210" y="478"/>
                                  <a:pt x="224" y="463"/>
                                </a:cubicBezTo>
                                <a:cubicBezTo>
                                  <a:pt x="237" y="448"/>
                                  <a:pt x="245" y="451"/>
                                  <a:pt x="246" y="440"/>
                                </a:cubicBezTo>
                                <a:cubicBezTo>
                                  <a:pt x="247" y="429"/>
                                  <a:pt x="260" y="414"/>
                                  <a:pt x="264" y="404"/>
                                </a:cubicBezTo>
                                <a:cubicBezTo>
                                  <a:pt x="268" y="394"/>
                                  <a:pt x="276" y="387"/>
                                  <a:pt x="273" y="379"/>
                                </a:cubicBezTo>
                                <a:cubicBezTo>
                                  <a:pt x="270" y="370"/>
                                  <a:pt x="266" y="369"/>
                                  <a:pt x="266" y="360"/>
                                </a:cubicBezTo>
                                <a:cubicBezTo>
                                  <a:pt x="266" y="351"/>
                                  <a:pt x="280" y="337"/>
                                  <a:pt x="285" y="337"/>
                                </a:cubicBezTo>
                                <a:cubicBezTo>
                                  <a:pt x="291" y="337"/>
                                  <a:pt x="303" y="335"/>
                                  <a:pt x="311" y="336"/>
                                </a:cubicBezTo>
                                <a:cubicBezTo>
                                  <a:pt x="320" y="337"/>
                                  <a:pt x="320" y="344"/>
                                  <a:pt x="327" y="340"/>
                                </a:cubicBezTo>
                                <a:cubicBezTo>
                                  <a:pt x="334" y="336"/>
                                  <a:pt x="338" y="335"/>
                                  <a:pt x="334" y="332"/>
                                </a:cubicBezTo>
                                <a:cubicBezTo>
                                  <a:pt x="330" y="328"/>
                                  <a:pt x="323" y="329"/>
                                  <a:pt x="327" y="323"/>
                                </a:cubicBezTo>
                                <a:cubicBezTo>
                                  <a:pt x="330" y="318"/>
                                  <a:pt x="334" y="313"/>
                                  <a:pt x="342" y="307"/>
                                </a:cubicBezTo>
                                <a:cubicBezTo>
                                  <a:pt x="350" y="301"/>
                                  <a:pt x="350" y="297"/>
                                  <a:pt x="350" y="285"/>
                                </a:cubicBezTo>
                                <a:cubicBezTo>
                                  <a:pt x="349" y="274"/>
                                  <a:pt x="345" y="266"/>
                                  <a:pt x="351" y="257"/>
                                </a:cubicBezTo>
                                <a:cubicBezTo>
                                  <a:pt x="356" y="248"/>
                                  <a:pt x="357" y="250"/>
                                  <a:pt x="358" y="245"/>
                                </a:cubicBezTo>
                                <a:cubicBezTo>
                                  <a:pt x="359" y="239"/>
                                  <a:pt x="360" y="235"/>
                                  <a:pt x="354" y="235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</p:grpSp>
                  </p:grpSp>
                </p:grpSp>
              </p:grpSp>
            </p:grpSp>
          </p:grpSp>
        </p:grpSp>
        <p:sp>
          <p:nvSpPr>
            <p:cNvPr id="300" name="Freeform 390"/>
            <p:cNvSpPr>
              <a:spLocks/>
            </p:cNvSpPr>
            <p:nvPr/>
          </p:nvSpPr>
          <p:spPr bwMode="auto">
            <a:xfrm>
              <a:off x="7484381" y="4669129"/>
              <a:ext cx="3572" cy="4762"/>
            </a:xfrm>
            <a:custGeom>
              <a:avLst/>
              <a:gdLst>
                <a:gd name="T0" fmla="*/ 11 w 11"/>
                <a:gd name="T1" fmla="*/ 12 h 16"/>
                <a:gd name="T2" fmla="*/ 3 w 11"/>
                <a:gd name="T3" fmla="*/ 4 h 16"/>
                <a:gd name="T4" fmla="*/ 3 w 11"/>
                <a:gd name="T5" fmla="*/ 13 h 16"/>
                <a:gd name="T6" fmla="*/ 11 w 11"/>
                <a:gd name="T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6">
                  <a:moveTo>
                    <a:pt x="11" y="12"/>
                  </a:moveTo>
                  <a:cubicBezTo>
                    <a:pt x="11" y="9"/>
                    <a:pt x="4" y="0"/>
                    <a:pt x="3" y="4"/>
                  </a:cubicBezTo>
                  <a:cubicBezTo>
                    <a:pt x="1" y="9"/>
                    <a:pt x="0" y="10"/>
                    <a:pt x="3" y="13"/>
                  </a:cubicBezTo>
                  <a:cubicBezTo>
                    <a:pt x="7" y="16"/>
                    <a:pt x="10" y="15"/>
                    <a:pt x="11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1" name="Freeform 391"/>
            <p:cNvSpPr>
              <a:spLocks/>
            </p:cNvSpPr>
            <p:nvPr/>
          </p:nvSpPr>
          <p:spPr bwMode="auto">
            <a:xfrm>
              <a:off x="7507003" y="4756044"/>
              <a:ext cx="3572" cy="3572"/>
            </a:xfrm>
            <a:custGeom>
              <a:avLst/>
              <a:gdLst>
                <a:gd name="T0" fmla="*/ 1 w 10"/>
                <a:gd name="T1" fmla="*/ 8 h 10"/>
                <a:gd name="T2" fmla="*/ 9 w 10"/>
                <a:gd name="T3" fmla="*/ 7 h 10"/>
                <a:gd name="T4" fmla="*/ 4 w 10"/>
                <a:gd name="T5" fmla="*/ 3 h 10"/>
                <a:gd name="T6" fmla="*/ 1 w 10"/>
                <a:gd name="T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1" y="8"/>
                  </a:moveTo>
                  <a:cubicBezTo>
                    <a:pt x="3" y="9"/>
                    <a:pt x="8" y="10"/>
                    <a:pt x="9" y="7"/>
                  </a:cubicBezTo>
                  <a:cubicBezTo>
                    <a:pt x="10" y="5"/>
                    <a:pt x="9" y="0"/>
                    <a:pt x="4" y="3"/>
                  </a:cubicBezTo>
                  <a:cubicBezTo>
                    <a:pt x="2" y="4"/>
                    <a:pt x="0" y="7"/>
                    <a:pt x="1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2" name="Freeform 392"/>
            <p:cNvSpPr>
              <a:spLocks/>
            </p:cNvSpPr>
            <p:nvPr/>
          </p:nvSpPr>
          <p:spPr bwMode="auto">
            <a:xfrm>
              <a:off x="7490334" y="4759616"/>
              <a:ext cx="2381" cy="2381"/>
            </a:xfrm>
            <a:custGeom>
              <a:avLst/>
              <a:gdLst>
                <a:gd name="T0" fmla="*/ 8 w 8"/>
                <a:gd name="T1" fmla="*/ 2 h 6"/>
                <a:gd name="T2" fmla="*/ 3 w 8"/>
                <a:gd name="T3" fmla="*/ 1 h 6"/>
                <a:gd name="T4" fmla="*/ 2 w 8"/>
                <a:gd name="T5" fmla="*/ 5 h 6"/>
                <a:gd name="T6" fmla="*/ 8 w 8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6">
                  <a:moveTo>
                    <a:pt x="8" y="2"/>
                  </a:moveTo>
                  <a:cubicBezTo>
                    <a:pt x="8" y="0"/>
                    <a:pt x="6" y="0"/>
                    <a:pt x="3" y="1"/>
                  </a:cubicBezTo>
                  <a:cubicBezTo>
                    <a:pt x="1" y="2"/>
                    <a:pt x="0" y="5"/>
                    <a:pt x="2" y="5"/>
                  </a:cubicBezTo>
                  <a:cubicBezTo>
                    <a:pt x="4" y="6"/>
                    <a:pt x="7" y="5"/>
                    <a:pt x="8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3" name="Freeform 393"/>
            <p:cNvSpPr>
              <a:spLocks/>
            </p:cNvSpPr>
            <p:nvPr/>
          </p:nvSpPr>
          <p:spPr bwMode="auto">
            <a:xfrm>
              <a:off x="5103131" y="4342897"/>
              <a:ext cx="7144" cy="9525"/>
            </a:xfrm>
            <a:custGeom>
              <a:avLst/>
              <a:gdLst>
                <a:gd name="T0" fmla="*/ 14 w 25"/>
                <a:gd name="T1" fmla="*/ 25 h 32"/>
                <a:gd name="T2" fmla="*/ 25 w 25"/>
                <a:gd name="T3" fmla="*/ 28 h 32"/>
                <a:gd name="T4" fmla="*/ 20 w 25"/>
                <a:gd name="T5" fmla="*/ 18 h 32"/>
                <a:gd name="T6" fmla="*/ 14 w 25"/>
                <a:gd name="T7" fmla="*/ 10 h 32"/>
                <a:gd name="T8" fmla="*/ 1 w 25"/>
                <a:gd name="T9" fmla="*/ 15 h 32"/>
                <a:gd name="T10" fmla="*/ 14 w 25"/>
                <a:gd name="T11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32">
                  <a:moveTo>
                    <a:pt x="14" y="25"/>
                  </a:moveTo>
                  <a:cubicBezTo>
                    <a:pt x="19" y="31"/>
                    <a:pt x="25" y="32"/>
                    <a:pt x="25" y="28"/>
                  </a:cubicBezTo>
                  <a:cubicBezTo>
                    <a:pt x="25" y="23"/>
                    <a:pt x="24" y="20"/>
                    <a:pt x="20" y="18"/>
                  </a:cubicBezTo>
                  <a:cubicBezTo>
                    <a:pt x="16" y="16"/>
                    <a:pt x="16" y="17"/>
                    <a:pt x="14" y="10"/>
                  </a:cubicBezTo>
                  <a:cubicBezTo>
                    <a:pt x="10" y="0"/>
                    <a:pt x="0" y="8"/>
                    <a:pt x="1" y="15"/>
                  </a:cubicBezTo>
                  <a:cubicBezTo>
                    <a:pt x="2" y="22"/>
                    <a:pt x="9" y="19"/>
                    <a:pt x="14" y="2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4" name="Freeform 395"/>
            <p:cNvSpPr>
              <a:spLocks/>
            </p:cNvSpPr>
            <p:nvPr/>
          </p:nvSpPr>
          <p:spPr bwMode="auto">
            <a:xfrm>
              <a:off x="4556635" y="3499935"/>
              <a:ext cx="4762" cy="5953"/>
            </a:xfrm>
            <a:custGeom>
              <a:avLst/>
              <a:gdLst>
                <a:gd name="T0" fmla="*/ 12 w 18"/>
                <a:gd name="T1" fmla="*/ 7 h 20"/>
                <a:gd name="T2" fmla="*/ 1 w 18"/>
                <a:gd name="T3" fmla="*/ 13 h 20"/>
                <a:gd name="T4" fmla="*/ 5 w 18"/>
                <a:gd name="T5" fmla="*/ 18 h 20"/>
                <a:gd name="T6" fmla="*/ 16 w 18"/>
                <a:gd name="T7" fmla="*/ 9 h 20"/>
                <a:gd name="T8" fmla="*/ 12 w 18"/>
                <a:gd name="T9" fmla="*/ 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0">
                  <a:moveTo>
                    <a:pt x="12" y="7"/>
                  </a:moveTo>
                  <a:cubicBezTo>
                    <a:pt x="5" y="11"/>
                    <a:pt x="0" y="9"/>
                    <a:pt x="1" y="13"/>
                  </a:cubicBezTo>
                  <a:cubicBezTo>
                    <a:pt x="2" y="18"/>
                    <a:pt x="1" y="20"/>
                    <a:pt x="5" y="18"/>
                  </a:cubicBezTo>
                  <a:cubicBezTo>
                    <a:pt x="10" y="16"/>
                    <a:pt x="14" y="11"/>
                    <a:pt x="16" y="9"/>
                  </a:cubicBezTo>
                  <a:cubicBezTo>
                    <a:pt x="18" y="7"/>
                    <a:pt x="18" y="0"/>
                    <a:pt x="12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5" name="Freeform 396"/>
            <p:cNvSpPr>
              <a:spLocks/>
            </p:cNvSpPr>
            <p:nvPr/>
          </p:nvSpPr>
          <p:spPr bwMode="auto">
            <a:xfrm>
              <a:off x="5343638" y="4158351"/>
              <a:ext cx="17859" cy="7144"/>
            </a:xfrm>
            <a:custGeom>
              <a:avLst/>
              <a:gdLst>
                <a:gd name="T0" fmla="*/ 51 w 64"/>
                <a:gd name="T1" fmla="*/ 0 h 25"/>
                <a:gd name="T2" fmla="*/ 29 w 64"/>
                <a:gd name="T3" fmla="*/ 10 h 25"/>
                <a:gd name="T4" fmla="*/ 10 w 64"/>
                <a:gd name="T5" fmla="*/ 16 h 25"/>
                <a:gd name="T6" fmla="*/ 7 w 64"/>
                <a:gd name="T7" fmla="*/ 25 h 25"/>
                <a:gd name="T8" fmla="*/ 25 w 64"/>
                <a:gd name="T9" fmla="*/ 21 h 25"/>
                <a:gd name="T10" fmla="*/ 51 w 64"/>
                <a:gd name="T11" fmla="*/ 13 h 25"/>
                <a:gd name="T12" fmla="*/ 64 w 64"/>
                <a:gd name="T13" fmla="*/ 5 h 25"/>
                <a:gd name="T14" fmla="*/ 51 w 64"/>
                <a:gd name="T1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25">
                  <a:moveTo>
                    <a:pt x="51" y="0"/>
                  </a:moveTo>
                  <a:cubicBezTo>
                    <a:pt x="42" y="0"/>
                    <a:pt x="38" y="9"/>
                    <a:pt x="29" y="10"/>
                  </a:cubicBezTo>
                  <a:cubicBezTo>
                    <a:pt x="22" y="13"/>
                    <a:pt x="16" y="11"/>
                    <a:pt x="10" y="16"/>
                  </a:cubicBezTo>
                  <a:cubicBezTo>
                    <a:pt x="4" y="21"/>
                    <a:pt x="0" y="25"/>
                    <a:pt x="7" y="25"/>
                  </a:cubicBezTo>
                  <a:cubicBezTo>
                    <a:pt x="14" y="25"/>
                    <a:pt x="17" y="21"/>
                    <a:pt x="25" y="21"/>
                  </a:cubicBezTo>
                  <a:cubicBezTo>
                    <a:pt x="34" y="20"/>
                    <a:pt x="44" y="16"/>
                    <a:pt x="51" y="13"/>
                  </a:cubicBezTo>
                  <a:cubicBezTo>
                    <a:pt x="57" y="11"/>
                    <a:pt x="64" y="10"/>
                    <a:pt x="64" y="5"/>
                  </a:cubicBezTo>
                  <a:cubicBezTo>
                    <a:pt x="64" y="0"/>
                    <a:pt x="59" y="0"/>
                    <a:pt x="51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6" name="Freeform 397"/>
            <p:cNvSpPr>
              <a:spLocks/>
            </p:cNvSpPr>
            <p:nvPr/>
          </p:nvSpPr>
          <p:spPr bwMode="auto">
            <a:xfrm>
              <a:off x="5010263" y="4327419"/>
              <a:ext cx="116681" cy="98822"/>
            </a:xfrm>
            <a:custGeom>
              <a:avLst/>
              <a:gdLst>
                <a:gd name="T0" fmla="*/ 375 w 406"/>
                <a:gd name="T1" fmla="*/ 303 h 346"/>
                <a:gd name="T2" fmla="*/ 360 w 406"/>
                <a:gd name="T3" fmla="*/ 291 h 346"/>
                <a:gd name="T4" fmla="*/ 333 w 406"/>
                <a:gd name="T5" fmla="*/ 260 h 346"/>
                <a:gd name="T6" fmla="*/ 299 w 406"/>
                <a:gd name="T7" fmla="*/ 226 h 346"/>
                <a:gd name="T8" fmla="*/ 278 w 406"/>
                <a:gd name="T9" fmla="*/ 203 h 346"/>
                <a:gd name="T10" fmla="*/ 244 w 406"/>
                <a:gd name="T11" fmla="*/ 187 h 346"/>
                <a:gd name="T12" fmla="*/ 216 w 406"/>
                <a:gd name="T13" fmla="*/ 164 h 346"/>
                <a:gd name="T14" fmla="*/ 202 w 406"/>
                <a:gd name="T15" fmla="*/ 162 h 346"/>
                <a:gd name="T16" fmla="*/ 196 w 406"/>
                <a:gd name="T17" fmla="*/ 174 h 346"/>
                <a:gd name="T18" fmla="*/ 185 w 406"/>
                <a:gd name="T19" fmla="*/ 152 h 346"/>
                <a:gd name="T20" fmla="*/ 168 w 406"/>
                <a:gd name="T21" fmla="*/ 118 h 346"/>
                <a:gd name="T22" fmla="*/ 157 w 406"/>
                <a:gd name="T23" fmla="*/ 61 h 346"/>
                <a:gd name="T24" fmla="*/ 137 w 406"/>
                <a:gd name="T25" fmla="*/ 15 h 346"/>
                <a:gd name="T26" fmla="*/ 126 w 406"/>
                <a:gd name="T27" fmla="*/ 4 h 346"/>
                <a:gd name="T28" fmla="*/ 100 w 406"/>
                <a:gd name="T29" fmla="*/ 27 h 346"/>
                <a:gd name="T30" fmla="*/ 75 w 406"/>
                <a:gd name="T31" fmla="*/ 46 h 346"/>
                <a:gd name="T32" fmla="*/ 45 w 406"/>
                <a:gd name="T33" fmla="*/ 59 h 346"/>
                <a:gd name="T34" fmla="*/ 29 w 406"/>
                <a:gd name="T35" fmla="*/ 69 h 346"/>
                <a:gd name="T36" fmla="*/ 27 w 406"/>
                <a:gd name="T37" fmla="*/ 102 h 346"/>
                <a:gd name="T38" fmla="*/ 12 w 406"/>
                <a:gd name="T39" fmla="*/ 144 h 346"/>
                <a:gd name="T40" fmla="*/ 4 w 406"/>
                <a:gd name="T41" fmla="*/ 177 h 346"/>
                <a:gd name="T42" fmla="*/ 3 w 406"/>
                <a:gd name="T43" fmla="*/ 207 h 346"/>
                <a:gd name="T44" fmla="*/ 18 w 406"/>
                <a:gd name="T45" fmla="*/ 229 h 346"/>
                <a:gd name="T46" fmla="*/ 40 w 406"/>
                <a:gd name="T47" fmla="*/ 226 h 346"/>
                <a:gd name="T48" fmla="*/ 50 w 406"/>
                <a:gd name="T49" fmla="*/ 219 h 346"/>
                <a:gd name="T50" fmla="*/ 60 w 406"/>
                <a:gd name="T51" fmla="*/ 222 h 346"/>
                <a:gd name="T52" fmla="*/ 61 w 406"/>
                <a:gd name="T53" fmla="*/ 223 h 346"/>
                <a:gd name="T54" fmla="*/ 63 w 406"/>
                <a:gd name="T55" fmla="*/ 223 h 346"/>
                <a:gd name="T56" fmla="*/ 67 w 406"/>
                <a:gd name="T57" fmla="*/ 221 h 346"/>
                <a:gd name="T58" fmla="*/ 81 w 406"/>
                <a:gd name="T59" fmla="*/ 199 h 346"/>
                <a:gd name="T60" fmla="*/ 104 w 406"/>
                <a:gd name="T61" fmla="*/ 199 h 346"/>
                <a:gd name="T62" fmla="*/ 118 w 406"/>
                <a:gd name="T63" fmla="*/ 216 h 346"/>
                <a:gd name="T64" fmla="*/ 156 w 406"/>
                <a:gd name="T65" fmla="*/ 205 h 346"/>
                <a:gd name="T66" fmla="*/ 170 w 406"/>
                <a:gd name="T67" fmla="*/ 212 h 346"/>
                <a:gd name="T68" fmla="*/ 173 w 406"/>
                <a:gd name="T69" fmla="*/ 214 h 346"/>
                <a:gd name="T70" fmla="*/ 178 w 406"/>
                <a:gd name="T71" fmla="*/ 214 h 346"/>
                <a:gd name="T72" fmla="*/ 178 w 406"/>
                <a:gd name="T73" fmla="*/ 214 h 346"/>
                <a:gd name="T74" fmla="*/ 203 w 406"/>
                <a:gd name="T75" fmla="*/ 212 h 346"/>
                <a:gd name="T76" fmla="*/ 219 w 406"/>
                <a:gd name="T77" fmla="*/ 213 h 346"/>
                <a:gd name="T78" fmla="*/ 246 w 406"/>
                <a:gd name="T79" fmla="*/ 222 h 346"/>
                <a:gd name="T80" fmla="*/ 265 w 406"/>
                <a:gd name="T81" fmla="*/ 232 h 346"/>
                <a:gd name="T82" fmla="*/ 293 w 406"/>
                <a:gd name="T83" fmla="*/ 258 h 346"/>
                <a:gd name="T84" fmla="*/ 334 w 406"/>
                <a:gd name="T85" fmla="*/ 305 h 346"/>
                <a:gd name="T86" fmla="*/ 369 w 406"/>
                <a:gd name="T87" fmla="*/ 342 h 346"/>
                <a:gd name="T88" fmla="*/ 383 w 406"/>
                <a:gd name="T89" fmla="*/ 344 h 346"/>
                <a:gd name="T90" fmla="*/ 392 w 406"/>
                <a:gd name="T91" fmla="*/ 319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6" h="346">
                  <a:moveTo>
                    <a:pt x="384" y="313"/>
                  </a:moveTo>
                  <a:cubicBezTo>
                    <a:pt x="381" y="308"/>
                    <a:pt x="379" y="306"/>
                    <a:pt x="375" y="303"/>
                  </a:cubicBezTo>
                  <a:cubicBezTo>
                    <a:pt x="371" y="300"/>
                    <a:pt x="368" y="300"/>
                    <a:pt x="365" y="297"/>
                  </a:cubicBezTo>
                  <a:cubicBezTo>
                    <a:pt x="362" y="294"/>
                    <a:pt x="361" y="293"/>
                    <a:pt x="360" y="291"/>
                  </a:cubicBezTo>
                  <a:cubicBezTo>
                    <a:pt x="359" y="288"/>
                    <a:pt x="355" y="274"/>
                    <a:pt x="350" y="271"/>
                  </a:cubicBezTo>
                  <a:cubicBezTo>
                    <a:pt x="345" y="267"/>
                    <a:pt x="338" y="264"/>
                    <a:pt x="333" y="260"/>
                  </a:cubicBezTo>
                  <a:cubicBezTo>
                    <a:pt x="327" y="256"/>
                    <a:pt x="322" y="255"/>
                    <a:pt x="320" y="251"/>
                  </a:cubicBezTo>
                  <a:cubicBezTo>
                    <a:pt x="318" y="248"/>
                    <a:pt x="302" y="233"/>
                    <a:pt x="299" y="226"/>
                  </a:cubicBezTo>
                  <a:cubicBezTo>
                    <a:pt x="297" y="220"/>
                    <a:pt x="296" y="218"/>
                    <a:pt x="290" y="213"/>
                  </a:cubicBezTo>
                  <a:cubicBezTo>
                    <a:pt x="284" y="208"/>
                    <a:pt x="283" y="207"/>
                    <a:pt x="278" y="203"/>
                  </a:cubicBezTo>
                  <a:cubicBezTo>
                    <a:pt x="273" y="199"/>
                    <a:pt x="270" y="199"/>
                    <a:pt x="263" y="195"/>
                  </a:cubicBezTo>
                  <a:cubicBezTo>
                    <a:pt x="257" y="191"/>
                    <a:pt x="255" y="189"/>
                    <a:pt x="244" y="187"/>
                  </a:cubicBezTo>
                  <a:cubicBezTo>
                    <a:pt x="233" y="186"/>
                    <a:pt x="228" y="190"/>
                    <a:pt x="225" y="184"/>
                  </a:cubicBezTo>
                  <a:cubicBezTo>
                    <a:pt x="222" y="178"/>
                    <a:pt x="219" y="169"/>
                    <a:pt x="216" y="164"/>
                  </a:cubicBezTo>
                  <a:cubicBezTo>
                    <a:pt x="212" y="159"/>
                    <a:pt x="210" y="155"/>
                    <a:pt x="206" y="156"/>
                  </a:cubicBezTo>
                  <a:cubicBezTo>
                    <a:pt x="201" y="157"/>
                    <a:pt x="200" y="158"/>
                    <a:pt x="202" y="162"/>
                  </a:cubicBezTo>
                  <a:cubicBezTo>
                    <a:pt x="203" y="167"/>
                    <a:pt x="207" y="172"/>
                    <a:pt x="204" y="173"/>
                  </a:cubicBezTo>
                  <a:cubicBezTo>
                    <a:pt x="200" y="174"/>
                    <a:pt x="199" y="178"/>
                    <a:pt x="196" y="174"/>
                  </a:cubicBezTo>
                  <a:cubicBezTo>
                    <a:pt x="193" y="169"/>
                    <a:pt x="192" y="167"/>
                    <a:pt x="191" y="162"/>
                  </a:cubicBezTo>
                  <a:cubicBezTo>
                    <a:pt x="190" y="158"/>
                    <a:pt x="192" y="160"/>
                    <a:pt x="185" y="152"/>
                  </a:cubicBezTo>
                  <a:cubicBezTo>
                    <a:pt x="178" y="143"/>
                    <a:pt x="178" y="150"/>
                    <a:pt x="177" y="141"/>
                  </a:cubicBezTo>
                  <a:cubicBezTo>
                    <a:pt x="175" y="132"/>
                    <a:pt x="173" y="124"/>
                    <a:pt x="168" y="118"/>
                  </a:cubicBezTo>
                  <a:cubicBezTo>
                    <a:pt x="163" y="112"/>
                    <a:pt x="164" y="100"/>
                    <a:pt x="162" y="87"/>
                  </a:cubicBezTo>
                  <a:cubicBezTo>
                    <a:pt x="161" y="74"/>
                    <a:pt x="161" y="71"/>
                    <a:pt x="157" y="61"/>
                  </a:cubicBezTo>
                  <a:cubicBezTo>
                    <a:pt x="153" y="50"/>
                    <a:pt x="157" y="48"/>
                    <a:pt x="151" y="37"/>
                  </a:cubicBezTo>
                  <a:cubicBezTo>
                    <a:pt x="145" y="25"/>
                    <a:pt x="144" y="25"/>
                    <a:pt x="137" y="15"/>
                  </a:cubicBezTo>
                  <a:cubicBezTo>
                    <a:pt x="133" y="8"/>
                    <a:pt x="131" y="4"/>
                    <a:pt x="129" y="0"/>
                  </a:cubicBezTo>
                  <a:cubicBezTo>
                    <a:pt x="128" y="1"/>
                    <a:pt x="127" y="3"/>
                    <a:pt x="126" y="4"/>
                  </a:cubicBezTo>
                  <a:cubicBezTo>
                    <a:pt x="121" y="12"/>
                    <a:pt x="117" y="19"/>
                    <a:pt x="114" y="21"/>
                  </a:cubicBezTo>
                  <a:cubicBezTo>
                    <a:pt x="111" y="24"/>
                    <a:pt x="106" y="25"/>
                    <a:pt x="100" y="27"/>
                  </a:cubicBezTo>
                  <a:cubicBezTo>
                    <a:pt x="95" y="28"/>
                    <a:pt x="90" y="30"/>
                    <a:pt x="89" y="31"/>
                  </a:cubicBezTo>
                  <a:cubicBezTo>
                    <a:pt x="86" y="34"/>
                    <a:pt x="81" y="41"/>
                    <a:pt x="75" y="46"/>
                  </a:cubicBezTo>
                  <a:cubicBezTo>
                    <a:pt x="71" y="50"/>
                    <a:pt x="66" y="54"/>
                    <a:pt x="63" y="56"/>
                  </a:cubicBezTo>
                  <a:cubicBezTo>
                    <a:pt x="57" y="60"/>
                    <a:pt x="51" y="59"/>
                    <a:pt x="45" y="59"/>
                  </a:cubicBezTo>
                  <a:cubicBezTo>
                    <a:pt x="40" y="59"/>
                    <a:pt x="36" y="58"/>
                    <a:pt x="35" y="60"/>
                  </a:cubicBezTo>
                  <a:cubicBezTo>
                    <a:pt x="33" y="62"/>
                    <a:pt x="31" y="65"/>
                    <a:pt x="29" y="69"/>
                  </a:cubicBezTo>
                  <a:cubicBezTo>
                    <a:pt x="28" y="74"/>
                    <a:pt x="27" y="79"/>
                    <a:pt x="28" y="85"/>
                  </a:cubicBezTo>
                  <a:cubicBezTo>
                    <a:pt x="28" y="92"/>
                    <a:pt x="28" y="97"/>
                    <a:pt x="27" y="102"/>
                  </a:cubicBezTo>
                  <a:cubicBezTo>
                    <a:pt x="26" y="107"/>
                    <a:pt x="24" y="111"/>
                    <a:pt x="21" y="119"/>
                  </a:cubicBezTo>
                  <a:cubicBezTo>
                    <a:pt x="18" y="126"/>
                    <a:pt x="15" y="135"/>
                    <a:pt x="12" y="144"/>
                  </a:cubicBezTo>
                  <a:cubicBezTo>
                    <a:pt x="9" y="154"/>
                    <a:pt x="7" y="162"/>
                    <a:pt x="6" y="169"/>
                  </a:cubicBezTo>
                  <a:cubicBezTo>
                    <a:pt x="5" y="172"/>
                    <a:pt x="4" y="175"/>
                    <a:pt x="4" y="177"/>
                  </a:cubicBezTo>
                  <a:cubicBezTo>
                    <a:pt x="2" y="184"/>
                    <a:pt x="0" y="189"/>
                    <a:pt x="3" y="203"/>
                  </a:cubicBezTo>
                  <a:cubicBezTo>
                    <a:pt x="3" y="207"/>
                    <a:pt x="3" y="207"/>
                    <a:pt x="3" y="207"/>
                  </a:cubicBezTo>
                  <a:cubicBezTo>
                    <a:pt x="5" y="216"/>
                    <a:pt x="6" y="223"/>
                    <a:pt x="7" y="229"/>
                  </a:cubicBezTo>
                  <a:cubicBezTo>
                    <a:pt x="18" y="229"/>
                    <a:pt x="18" y="229"/>
                    <a:pt x="18" y="229"/>
                  </a:cubicBezTo>
                  <a:cubicBezTo>
                    <a:pt x="20" y="229"/>
                    <a:pt x="22" y="229"/>
                    <a:pt x="24" y="229"/>
                  </a:cubicBezTo>
                  <a:cubicBezTo>
                    <a:pt x="31" y="229"/>
                    <a:pt x="37" y="230"/>
                    <a:pt x="40" y="226"/>
                  </a:cubicBezTo>
                  <a:cubicBezTo>
                    <a:pt x="40" y="226"/>
                    <a:pt x="41" y="225"/>
                    <a:pt x="41" y="224"/>
                  </a:cubicBezTo>
                  <a:cubicBezTo>
                    <a:pt x="44" y="221"/>
                    <a:pt x="47" y="220"/>
                    <a:pt x="50" y="219"/>
                  </a:cubicBezTo>
                  <a:cubicBezTo>
                    <a:pt x="54" y="219"/>
                    <a:pt x="57" y="220"/>
                    <a:pt x="59" y="222"/>
                  </a:cubicBezTo>
                  <a:cubicBezTo>
                    <a:pt x="60" y="222"/>
                    <a:pt x="60" y="222"/>
                    <a:pt x="60" y="222"/>
                  </a:cubicBezTo>
                  <a:cubicBezTo>
                    <a:pt x="60" y="223"/>
                    <a:pt x="60" y="223"/>
                    <a:pt x="61" y="223"/>
                  </a:cubicBezTo>
                  <a:cubicBezTo>
                    <a:pt x="61" y="223"/>
                    <a:pt x="61" y="223"/>
                    <a:pt x="61" y="223"/>
                  </a:cubicBezTo>
                  <a:cubicBezTo>
                    <a:pt x="61" y="223"/>
                    <a:pt x="62" y="223"/>
                    <a:pt x="63" y="223"/>
                  </a:cubicBezTo>
                  <a:cubicBezTo>
                    <a:pt x="63" y="223"/>
                    <a:pt x="63" y="223"/>
                    <a:pt x="63" y="223"/>
                  </a:cubicBezTo>
                  <a:cubicBezTo>
                    <a:pt x="64" y="223"/>
                    <a:pt x="65" y="223"/>
                    <a:pt x="66" y="222"/>
                  </a:cubicBezTo>
                  <a:cubicBezTo>
                    <a:pt x="66" y="221"/>
                    <a:pt x="67" y="221"/>
                    <a:pt x="67" y="221"/>
                  </a:cubicBezTo>
                  <a:cubicBezTo>
                    <a:pt x="68" y="220"/>
                    <a:pt x="69" y="217"/>
                    <a:pt x="70" y="215"/>
                  </a:cubicBezTo>
                  <a:cubicBezTo>
                    <a:pt x="73" y="209"/>
                    <a:pt x="76" y="202"/>
                    <a:pt x="81" y="199"/>
                  </a:cubicBezTo>
                  <a:cubicBezTo>
                    <a:pt x="84" y="196"/>
                    <a:pt x="88" y="195"/>
                    <a:pt x="92" y="195"/>
                  </a:cubicBezTo>
                  <a:cubicBezTo>
                    <a:pt x="97" y="195"/>
                    <a:pt x="101" y="197"/>
                    <a:pt x="104" y="199"/>
                  </a:cubicBezTo>
                  <a:cubicBezTo>
                    <a:pt x="106" y="200"/>
                    <a:pt x="107" y="203"/>
                    <a:pt x="108" y="205"/>
                  </a:cubicBezTo>
                  <a:cubicBezTo>
                    <a:pt x="110" y="209"/>
                    <a:pt x="113" y="215"/>
                    <a:pt x="118" y="216"/>
                  </a:cubicBezTo>
                  <a:cubicBezTo>
                    <a:pt x="125" y="217"/>
                    <a:pt x="143" y="210"/>
                    <a:pt x="152" y="207"/>
                  </a:cubicBezTo>
                  <a:cubicBezTo>
                    <a:pt x="154" y="206"/>
                    <a:pt x="155" y="206"/>
                    <a:pt x="156" y="205"/>
                  </a:cubicBezTo>
                  <a:cubicBezTo>
                    <a:pt x="159" y="204"/>
                    <a:pt x="162" y="205"/>
                    <a:pt x="164" y="206"/>
                  </a:cubicBezTo>
                  <a:cubicBezTo>
                    <a:pt x="167" y="207"/>
                    <a:pt x="169" y="209"/>
                    <a:pt x="170" y="212"/>
                  </a:cubicBezTo>
                  <a:cubicBezTo>
                    <a:pt x="170" y="212"/>
                    <a:pt x="170" y="212"/>
                    <a:pt x="170" y="212"/>
                  </a:cubicBezTo>
                  <a:cubicBezTo>
                    <a:pt x="170" y="212"/>
                    <a:pt x="172" y="213"/>
                    <a:pt x="173" y="214"/>
                  </a:cubicBezTo>
                  <a:cubicBezTo>
                    <a:pt x="175" y="214"/>
                    <a:pt x="176" y="215"/>
                    <a:pt x="178" y="214"/>
                  </a:cubicBezTo>
                  <a:cubicBezTo>
                    <a:pt x="178" y="214"/>
                    <a:pt x="178" y="214"/>
                    <a:pt x="178" y="214"/>
                  </a:cubicBezTo>
                  <a:cubicBezTo>
                    <a:pt x="178" y="214"/>
                    <a:pt x="178" y="214"/>
                    <a:pt x="178" y="214"/>
                  </a:cubicBezTo>
                  <a:cubicBezTo>
                    <a:pt x="178" y="214"/>
                    <a:pt x="178" y="214"/>
                    <a:pt x="178" y="214"/>
                  </a:cubicBezTo>
                  <a:cubicBezTo>
                    <a:pt x="182" y="212"/>
                    <a:pt x="187" y="210"/>
                    <a:pt x="192" y="209"/>
                  </a:cubicBezTo>
                  <a:cubicBezTo>
                    <a:pt x="196" y="209"/>
                    <a:pt x="200" y="210"/>
                    <a:pt x="203" y="212"/>
                  </a:cubicBezTo>
                  <a:cubicBezTo>
                    <a:pt x="205" y="214"/>
                    <a:pt x="208" y="214"/>
                    <a:pt x="210" y="214"/>
                  </a:cubicBezTo>
                  <a:cubicBezTo>
                    <a:pt x="212" y="214"/>
                    <a:pt x="215" y="214"/>
                    <a:pt x="219" y="213"/>
                  </a:cubicBezTo>
                  <a:cubicBezTo>
                    <a:pt x="223" y="212"/>
                    <a:pt x="228" y="212"/>
                    <a:pt x="233" y="214"/>
                  </a:cubicBezTo>
                  <a:cubicBezTo>
                    <a:pt x="238" y="216"/>
                    <a:pt x="244" y="220"/>
                    <a:pt x="246" y="222"/>
                  </a:cubicBezTo>
                  <a:cubicBezTo>
                    <a:pt x="249" y="225"/>
                    <a:pt x="253" y="227"/>
                    <a:pt x="259" y="230"/>
                  </a:cubicBezTo>
                  <a:cubicBezTo>
                    <a:pt x="261" y="231"/>
                    <a:pt x="263" y="231"/>
                    <a:pt x="265" y="232"/>
                  </a:cubicBezTo>
                  <a:cubicBezTo>
                    <a:pt x="273" y="236"/>
                    <a:pt x="281" y="245"/>
                    <a:pt x="287" y="252"/>
                  </a:cubicBezTo>
                  <a:cubicBezTo>
                    <a:pt x="289" y="254"/>
                    <a:pt x="291" y="257"/>
                    <a:pt x="293" y="258"/>
                  </a:cubicBezTo>
                  <a:cubicBezTo>
                    <a:pt x="300" y="265"/>
                    <a:pt x="318" y="287"/>
                    <a:pt x="330" y="301"/>
                  </a:cubicBezTo>
                  <a:cubicBezTo>
                    <a:pt x="334" y="305"/>
                    <a:pt x="334" y="305"/>
                    <a:pt x="334" y="305"/>
                  </a:cubicBezTo>
                  <a:cubicBezTo>
                    <a:pt x="340" y="312"/>
                    <a:pt x="348" y="321"/>
                    <a:pt x="355" y="329"/>
                  </a:cubicBezTo>
                  <a:cubicBezTo>
                    <a:pt x="362" y="335"/>
                    <a:pt x="367" y="340"/>
                    <a:pt x="369" y="342"/>
                  </a:cubicBezTo>
                  <a:cubicBezTo>
                    <a:pt x="372" y="343"/>
                    <a:pt x="374" y="345"/>
                    <a:pt x="377" y="345"/>
                  </a:cubicBezTo>
                  <a:cubicBezTo>
                    <a:pt x="379" y="346"/>
                    <a:pt x="381" y="346"/>
                    <a:pt x="383" y="344"/>
                  </a:cubicBezTo>
                  <a:cubicBezTo>
                    <a:pt x="387" y="341"/>
                    <a:pt x="399" y="329"/>
                    <a:pt x="406" y="323"/>
                  </a:cubicBezTo>
                  <a:cubicBezTo>
                    <a:pt x="401" y="320"/>
                    <a:pt x="396" y="320"/>
                    <a:pt x="392" y="319"/>
                  </a:cubicBezTo>
                  <a:cubicBezTo>
                    <a:pt x="388" y="318"/>
                    <a:pt x="386" y="318"/>
                    <a:pt x="384" y="3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7" name="Freeform 398"/>
            <p:cNvSpPr>
              <a:spLocks/>
            </p:cNvSpPr>
            <p:nvPr/>
          </p:nvSpPr>
          <p:spPr bwMode="auto">
            <a:xfrm>
              <a:off x="4780472" y="4431004"/>
              <a:ext cx="216694" cy="153591"/>
            </a:xfrm>
            <a:custGeom>
              <a:avLst/>
              <a:gdLst>
                <a:gd name="T0" fmla="*/ 720 w 755"/>
                <a:gd name="T1" fmla="*/ 467 h 536"/>
                <a:gd name="T2" fmla="*/ 753 w 755"/>
                <a:gd name="T3" fmla="*/ 465 h 536"/>
                <a:gd name="T4" fmla="*/ 752 w 755"/>
                <a:gd name="T5" fmla="*/ 432 h 536"/>
                <a:gd name="T6" fmla="*/ 723 w 755"/>
                <a:gd name="T7" fmla="*/ 416 h 536"/>
                <a:gd name="T8" fmla="*/ 698 w 755"/>
                <a:gd name="T9" fmla="*/ 371 h 536"/>
                <a:gd name="T10" fmla="*/ 677 w 755"/>
                <a:gd name="T11" fmla="*/ 340 h 536"/>
                <a:gd name="T12" fmla="*/ 617 w 755"/>
                <a:gd name="T13" fmla="*/ 282 h 536"/>
                <a:gd name="T14" fmla="*/ 593 w 755"/>
                <a:gd name="T15" fmla="*/ 273 h 536"/>
                <a:gd name="T16" fmla="*/ 590 w 755"/>
                <a:gd name="T17" fmla="*/ 244 h 536"/>
                <a:gd name="T18" fmla="*/ 637 w 755"/>
                <a:gd name="T19" fmla="*/ 229 h 536"/>
                <a:gd name="T20" fmla="*/ 648 w 755"/>
                <a:gd name="T21" fmla="*/ 221 h 536"/>
                <a:gd name="T22" fmla="*/ 649 w 755"/>
                <a:gd name="T23" fmla="*/ 168 h 536"/>
                <a:gd name="T24" fmla="*/ 640 w 755"/>
                <a:gd name="T25" fmla="*/ 147 h 536"/>
                <a:gd name="T26" fmla="*/ 621 w 755"/>
                <a:gd name="T27" fmla="*/ 109 h 536"/>
                <a:gd name="T28" fmla="*/ 599 w 755"/>
                <a:gd name="T29" fmla="*/ 90 h 536"/>
                <a:gd name="T30" fmla="*/ 590 w 755"/>
                <a:gd name="T31" fmla="*/ 42 h 536"/>
                <a:gd name="T32" fmla="*/ 598 w 755"/>
                <a:gd name="T33" fmla="*/ 3 h 536"/>
                <a:gd name="T34" fmla="*/ 576 w 755"/>
                <a:gd name="T35" fmla="*/ 2 h 536"/>
                <a:gd name="T36" fmla="*/ 575 w 755"/>
                <a:gd name="T37" fmla="*/ 14 h 536"/>
                <a:gd name="T38" fmla="*/ 546 w 755"/>
                <a:gd name="T39" fmla="*/ 23 h 536"/>
                <a:gd name="T40" fmla="*/ 551 w 755"/>
                <a:gd name="T41" fmla="*/ 41 h 536"/>
                <a:gd name="T42" fmla="*/ 546 w 755"/>
                <a:gd name="T43" fmla="*/ 82 h 536"/>
                <a:gd name="T44" fmla="*/ 517 w 755"/>
                <a:gd name="T45" fmla="*/ 115 h 536"/>
                <a:gd name="T46" fmla="*/ 461 w 755"/>
                <a:gd name="T47" fmla="*/ 160 h 536"/>
                <a:gd name="T48" fmla="*/ 400 w 755"/>
                <a:gd name="T49" fmla="*/ 130 h 536"/>
                <a:gd name="T50" fmla="*/ 371 w 755"/>
                <a:gd name="T51" fmla="*/ 146 h 536"/>
                <a:gd name="T52" fmla="*/ 337 w 755"/>
                <a:gd name="T53" fmla="*/ 160 h 536"/>
                <a:gd name="T54" fmla="*/ 290 w 755"/>
                <a:gd name="T55" fmla="*/ 182 h 536"/>
                <a:gd name="T56" fmla="*/ 269 w 755"/>
                <a:gd name="T57" fmla="*/ 167 h 536"/>
                <a:gd name="T58" fmla="*/ 202 w 755"/>
                <a:gd name="T59" fmla="*/ 172 h 536"/>
                <a:gd name="T60" fmla="*/ 170 w 755"/>
                <a:gd name="T61" fmla="*/ 169 h 536"/>
                <a:gd name="T62" fmla="*/ 163 w 755"/>
                <a:gd name="T63" fmla="*/ 158 h 536"/>
                <a:gd name="T64" fmla="*/ 147 w 755"/>
                <a:gd name="T65" fmla="*/ 129 h 536"/>
                <a:gd name="T66" fmla="*/ 136 w 755"/>
                <a:gd name="T67" fmla="*/ 116 h 536"/>
                <a:gd name="T68" fmla="*/ 94 w 755"/>
                <a:gd name="T69" fmla="*/ 136 h 536"/>
                <a:gd name="T70" fmla="*/ 60 w 755"/>
                <a:gd name="T71" fmla="*/ 153 h 536"/>
                <a:gd name="T72" fmla="*/ 13 w 755"/>
                <a:gd name="T73" fmla="*/ 163 h 536"/>
                <a:gd name="T74" fmla="*/ 10 w 755"/>
                <a:gd name="T75" fmla="*/ 179 h 536"/>
                <a:gd name="T76" fmla="*/ 1 w 755"/>
                <a:gd name="T77" fmla="*/ 194 h 536"/>
                <a:gd name="T78" fmla="*/ 2 w 755"/>
                <a:gd name="T79" fmla="*/ 210 h 536"/>
                <a:gd name="T80" fmla="*/ 34 w 755"/>
                <a:gd name="T81" fmla="*/ 218 h 536"/>
                <a:gd name="T82" fmla="*/ 46 w 755"/>
                <a:gd name="T83" fmla="*/ 238 h 536"/>
                <a:gd name="T84" fmla="*/ 82 w 755"/>
                <a:gd name="T85" fmla="*/ 250 h 536"/>
                <a:gd name="T86" fmla="*/ 108 w 755"/>
                <a:gd name="T87" fmla="*/ 280 h 536"/>
                <a:gd name="T88" fmla="*/ 173 w 755"/>
                <a:gd name="T89" fmla="*/ 340 h 536"/>
                <a:gd name="T90" fmla="*/ 190 w 755"/>
                <a:gd name="T91" fmla="*/ 377 h 536"/>
                <a:gd name="T92" fmla="*/ 232 w 755"/>
                <a:gd name="T93" fmla="*/ 411 h 536"/>
                <a:gd name="T94" fmla="*/ 246 w 755"/>
                <a:gd name="T95" fmla="*/ 444 h 536"/>
                <a:gd name="T96" fmla="*/ 264 w 755"/>
                <a:gd name="T97" fmla="*/ 470 h 536"/>
                <a:gd name="T98" fmla="*/ 301 w 755"/>
                <a:gd name="T99" fmla="*/ 486 h 536"/>
                <a:gd name="T100" fmla="*/ 341 w 755"/>
                <a:gd name="T101" fmla="*/ 485 h 536"/>
                <a:gd name="T102" fmla="*/ 366 w 755"/>
                <a:gd name="T103" fmla="*/ 474 h 536"/>
                <a:gd name="T104" fmla="*/ 392 w 755"/>
                <a:gd name="T105" fmla="*/ 482 h 536"/>
                <a:gd name="T106" fmla="*/ 412 w 755"/>
                <a:gd name="T107" fmla="*/ 505 h 536"/>
                <a:gd name="T108" fmla="*/ 438 w 755"/>
                <a:gd name="T109" fmla="*/ 525 h 536"/>
                <a:gd name="T110" fmla="*/ 450 w 755"/>
                <a:gd name="T111" fmla="*/ 536 h 536"/>
                <a:gd name="T112" fmla="*/ 489 w 755"/>
                <a:gd name="T113" fmla="*/ 530 h 536"/>
                <a:gd name="T114" fmla="*/ 522 w 755"/>
                <a:gd name="T115" fmla="*/ 528 h 536"/>
                <a:gd name="T116" fmla="*/ 551 w 755"/>
                <a:gd name="T117" fmla="*/ 522 h 536"/>
                <a:gd name="T118" fmla="*/ 596 w 755"/>
                <a:gd name="T119" fmla="*/ 518 h 536"/>
                <a:gd name="T120" fmla="*/ 631 w 755"/>
                <a:gd name="T121" fmla="*/ 506 h 536"/>
                <a:gd name="T122" fmla="*/ 634 w 755"/>
                <a:gd name="T123" fmla="*/ 503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55" h="536">
                  <a:moveTo>
                    <a:pt x="663" y="472"/>
                  </a:moveTo>
                  <a:cubicBezTo>
                    <a:pt x="674" y="465"/>
                    <a:pt x="697" y="466"/>
                    <a:pt x="713" y="467"/>
                  </a:cubicBezTo>
                  <a:cubicBezTo>
                    <a:pt x="716" y="467"/>
                    <a:pt x="718" y="467"/>
                    <a:pt x="720" y="467"/>
                  </a:cubicBezTo>
                  <a:cubicBezTo>
                    <a:pt x="729" y="468"/>
                    <a:pt x="737" y="467"/>
                    <a:pt x="743" y="466"/>
                  </a:cubicBezTo>
                  <a:cubicBezTo>
                    <a:pt x="747" y="466"/>
                    <a:pt x="749" y="465"/>
                    <a:pt x="751" y="465"/>
                  </a:cubicBezTo>
                  <a:cubicBezTo>
                    <a:pt x="752" y="465"/>
                    <a:pt x="753" y="465"/>
                    <a:pt x="753" y="465"/>
                  </a:cubicBezTo>
                  <a:cubicBezTo>
                    <a:pt x="753" y="465"/>
                    <a:pt x="753" y="465"/>
                    <a:pt x="753" y="465"/>
                  </a:cubicBezTo>
                  <a:cubicBezTo>
                    <a:pt x="754" y="461"/>
                    <a:pt x="755" y="448"/>
                    <a:pt x="755" y="444"/>
                  </a:cubicBezTo>
                  <a:cubicBezTo>
                    <a:pt x="755" y="441"/>
                    <a:pt x="754" y="436"/>
                    <a:pt x="752" y="432"/>
                  </a:cubicBezTo>
                  <a:cubicBezTo>
                    <a:pt x="751" y="430"/>
                    <a:pt x="750" y="429"/>
                    <a:pt x="747" y="428"/>
                  </a:cubicBezTo>
                  <a:cubicBezTo>
                    <a:pt x="741" y="427"/>
                    <a:pt x="738" y="425"/>
                    <a:pt x="734" y="423"/>
                  </a:cubicBezTo>
                  <a:cubicBezTo>
                    <a:pt x="731" y="421"/>
                    <a:pt x="728" y="419"/>
                    <a:pt x="723" y="416"/>
                  </a:cubicBezTo>
                  <a:cubicBezTo>
                    <a:pt x="711" y="411"/>
                    <a:pt x="710" y="405"/>
                    <a:pt x="708" y="399"/>
                  </a:cubicBezTo>
                  <a:cubicBezTo>
                    <a:pt x="708" y="397"/>
                    <a:pt x="707" y="394"/>
                    <a:pt x="705" y="391"/>
                  </a:cubicBezTo>
                  <a:cubicBezTo>
                    <a:pt x="701" y="383"/>
                    <a:pt x="700" y="377"/>
                    <a:pt x="698" y="371"/>
                  </a:cubicBezTo>
                  <a:cubicBezTo>
                    <a:pt x="697" y="369"/>
                    <a:pt x="697" y="367"/>
                    <a:pt x="696" y="365"/>
                  </a:cubicBezTo>
                  <a:cubicBezTo>
                    <a:pt x="695" y="362"/>
                    <a:pt x="694" y="358"/>
                    <a:pt x="691" y="354"/>
                  </a:cubicBezTo>
                  <a:cubicBezTo>
                    <a:pt x="688" y="350"/>
                    <a:pt x="684" y="345"/>
                    <a:pt x="677" y="340"/>
                  </a:cubicBezTo>
                  <a:cubicBezTo>
                    <a:pt x="669" y="333"/>
                    <a:pt x="658" y="321"/>
                    <a:pt x="649" y="310"/>
                  </a:cubicBezTo>
                  <a:cubicBezTo>
                    <a:pt x="640" y="300"/>
                    <a:pt x="633" y="292"/>
                    <a:pt x="629" y="289"/>
                  </a:cubicBezTo>
                  <a:cubicBezTo>
                    <a:pt x="623" y="284"/>
                    <a:pt x="621" y="283"/>
                    <a:pt x="617" y="282"/>
                  </a:cubicBezTo>
                  <a:cubicBezTo>
                    <a:pt x="617" y="282"/>
                    <a:pt x="617" y="282"/>
                    <a:pt x="617" y="282"/>
                  </a:cubicBezTo>
                  <a:cubicBezTo>
                    <a:pt x="614" y="282"/>
                    <a:pt x="611" y="281"/>
                    <a:pt x="607" y="279"/>
                  </a:cubicBezTo>
                  <a:cubicBezTo>
                    <a:pt x="601" y="277"/>
                    <a:pt x="596" y="275"/>
                    <a:pt x="593" y="273"/>
                  </a:cubicBezTo>
                  <a:cubicBezTo>
                    <a:pt x="589" y="270"/>
                    <a:pt x="586" y="267"/>
                    <a:pt x="586" y="264"/>
                  </a:cubicBezTo>
                  <a:cubicBezTo>
                    <a:pt x="586" y="261"/>
                    <a:pt x="586" y="258"/>
                    <a:pt x="587" y="254"/>
                  </a:cubicBezTo>
                  <a:cubicBezTo>
                    <a:pt x="588" y="251"/>
                    <a:pt x="589" y="248"/>
                    <a:pt x="590" y="244"/>
                  </a:cubicBezTo>
                  <a:cubicBezTo>
                    <a:pt x="592" y="240"/>
                    <a:pt x="595" y="237"/>
                    <a:pt x="598" y="234"/>
                  </a:cubicBezTo>
                  <a:cubicBezTo>
                    <a:pt x="602" y="232"/>
                    <a:pt x="606" y="231"/>
                    <a:pt x="612" y="231"/>
                  </a:cubicBezTo>
                  <a:cubicBezTo>
                    <a:pt x="618" y="231"/>
                    <a:pt x="629" y="230"/>
                    <a:pt x="637" y="229"/>
                  </a:cubicBezTo>
                  <a:cubicBezTo>
                    <a:pt x="642" y="229"/>
                    <a:pt x="646" y="228"/>
                    <a:pt x="646" y="228"/>
                  </a:cubicBezTo>
                  <a:cubicBezTo>
                    <a:pt x="646" y="228"/>
                    <a:pt x="646" y="228"/>
                    <a:pt x="646" y="228"/>
                  </a:cubicBezTo>
                  <a:cubicBezTo>
                    <a:pt x="647" y="227"/>
                    <a:pt x="647" y="224"/>
                    <a:pt x="648" y="221"/>
                  </a:cubicBezTo>
                  <a:cubicBezTo>
                    <a:pt x="648" y="217"/>
                    <a:pt x="649" y="213"/>
                    <a:pt x="649" y="207"/>
                  </a:cubicBezTo>
                  <a:cubicBezTo>
                    <a:pt x="648" y="196"/>
                    <a:pt x="649" y="184"/>
                    <a:pt x="649" y="174"/>
                  </a:cubicBezTo>
                  <a:cubicBezTo>
                    <a:pt x="649" y="168"/>
                    <a:pt x="649" y="168"/>
                    <a:pt x="649" y="168"/>
                  </a:cubicBezTo>
                  <a:cubicBezTo>
                    <a:pt x="649" y="167"/>
                    <a:pt x="649" y="167"/>
                    <a:pt x="649" y="167"/>
                  </a:cubicBezTo>
                  <a:cubicBezTo>
                    <a:pt x="647" y="165"/>
                    <a:pt x="644" y="163"/>
                    <a:pt x="643" y="160"/>
                  </a:cubicBezTo>
                  <a:cubicBezTo>
                    <a:pt x="641" y="156"/>
                    <a:pt x="640" y="152"/>
                    <a:pt x="640" y="147"/>
                  </a:cubicBezTo>
                  <a:cubicBezTo>
                    <a:pt x="641" y="142"/>
                    <a:pt x="640" y="136"/>
                    <a:pt x="640" y="131"/>
                  </a:cubicBezTo>
                  <a:cubicBezTo>
                    <a:pt x="639" y="127"/>
                    <a:pt x="638" y="124"/>
                    <a:pt x="636" y="121"/>
                  </a:cubicBezTo>
                  <a:cubicBezTo>
                    <a:pt x="634" y="117"/>
                    <a:pt x="628" y="113"/>
                    <a:pt x="621" y="109"/>
                  </a:cubicBezTo>
                  <a:cubicBezTo>
                    <a:pt x="618" y="107"/>
                    <a:pt x="615" y="105"/>
                    <a:pt x="612" y="103"/>
                  </a:cubicBezTo>
                  <a:cubicBezTo>
                    <a:pt x="609" y="100"/>
                    <a:pt x="609" y="100"/>
                    <a:pt x="609" y="100"/>
                  </a:cubicBezTo>
                  <a:cubicBezTo>
                    <a:pt x="602" y="95"/>
                    <a:pt x="602" y="95"/>
                    <a:pt x="599" y="90"/>
                  </a:cubicBezTo>
                  <a:cubicBezTo>
                    <a:pt x="596" y="85"/>
                    <a:pt x="595" y="77"/>
                    <a:pt x="594" y="68"/>
                  </a:cubicBezTo>
                  <a:cubicBezTo>
                    <a:pt x="593" y="65"/>
                    <a:pt x="593" y="61"/>
                    <a:pt x="592" y="57"/>
                  </a:cubicBezTo>
                  <a:cubicBezTo>
                    <a:pt x="591" y="52"/>
                    <a:pt x="590" y="47"/>
                    <a:pt x="590" y="42"/>
                  </a:cubicBezTo>
                  <a:cubicBezTo>
                    <a:pt x="589" y="36"/>
                    <a:pt x="589" y="31"/>
                    <a:pt x="591" y="25"/>
                  </a:cubicBezTo>
                  <a:cubicBezTo>
                    <a:pt x="592" y="21"/>
                    <a:pt x="594" y="18"/>
                    <a:pt x="595" y="14"/>
                  </a:cubicBezTo>
                  <a:cubicBezTo>
                    <a:pt x="598" y="9"/>
                    <a:pt x="600" y="5"/>
                    <a:pt x="598" y="3"/>
                  </a:cubicBezTo>
                  <a:cubicBezTo>
                    <a:pt x="598" y="3"/>
                    <a:pt x="598" y="3"/>
                    <a:pt x="598" y="3"/>
                  </a:cubicBezTo>
                  <a:cubicBezTo>
                    <a:pt x="596" y="1"/>
                    <a:pt x="591" y="0"/>
                    <a:pt x="586" y="0"/>
                  </a:cubicBezTo>
                  <a:cubicBezTo>
                    <a:pt x="582" y="0"/>
                    <a:pt x="578" y="1"/>
                    <a:pt x="576" y="2"/>
                  </a:cubicBezTo>
                  <a:cubicBezTo>
                    <a:pt x="576" y="2"/>
                    <a:pt x="576" y="2"/>
                    <a:pt x="576" y="2"/>
                  </a:cubicBezTo>
                  <a:cubicBezTo>
                    <a:pt x="576" y="3"/>
                    <a:pt x="576" y="5"/>
                    <a:pt x="576" y="7"/>
                  </a:cubicBezTo>
                  <a:cubicBezTo>
                    <a:pt x="576" y="9"/>
                    <a:pt x="575" y="11"/>
                    <a:pt x="575" y="14"/>
                  </a:cubicBezTo>
                  <a:cubicBezTo>
                    <a:pt x="573" y="17"/>
                    <a:pt x="571" y="19"/>
                    <a:pt x="567" y="20"/>
                  </a:cubicBezTo>
                  <a:cubicBezTo>
                    <a:pt x="564" y="21"/>
                    <a:pt x="560" y="21"/>
                    <a:pt x="555" y="22"/>
                  </a:cubicBezTo>
                  <a:cubicBezTo>
                    <a:pt x="550" y="22"/>
                    <a:pt x="547" y="22"/>
                    <a:pt x="546" y="23"/>
                  </a:cubicBezTo>
                  <a:cubicBezTo>
                    <a:pt x="545" y="23"/>
                    <a:pt x="545" y="24"/>
                    <a:pt x="545" y="25"/>
                  </a:cubicBezTo>
                  <a:cubicBezTo>
                    <a:pt x="545" y="28"/>
                    <a:pt x="546" y="30"/>
                    <a:pt x="548" y="31"/>
                  </a:cubicBezTo>
                  <a:cubicBezTo>
                    <a:pt x="550" y="34"/>
                    <a:pt x="551" y="37"/>
                    <a:pt x="551" y="41"/>
                  </a:cubicBezTo>
                  <a:cubicBezTo>
                    <a:pt x="551" y="42"/>
                    <a:pt x="551" y="44"/>
                    <a:pt x="551" y="45"/>
                  </a:cubicBezTo>
                  <a:cubicBezTo>
                    <a:pt x="551" y="50"/>
                    <a:pt x="551" y="57"/>
                    <a:pt x="553" y="63"/>
                  </a:cubicBezTo>
                  <a:cubicBezTo>
                    <a:pt x="555" y="73"/>
                    <a:pt x="554" y="74"/>
                    <a:pt x="546" y="82"/>
                  </a:cubicBezTo>
                  <a:cubicBezTo>
                    <a:pt x="545" y="84"/>
                    <a:pt x="543" y="85"/>
                    <a:pt x="542" y="87"/>
                  </a:cubicBezTo>
                  <a:cubicBezTo>
                    <a:pt x="535" y="95"/>
                    <a:pt x="529" y="101"/>
                    <a:pt x="524" y="107"/>
                  </a:cubicBezTo>
                  <a:cubicBezTo>
                    <a:pt x="521" y="110"/>
                    <a:pt x="519" y="113"/>
                    <a:pt x="517" y="115"/>
                  </a:cubicBezTo>
                  <a:cubicBezTo>
                    <a:pt x="514" y="119"/>
                    <a:pt x="506" y="127"/>
                    <a:pt x="499" y="135"/>
                  </a:cubicBezTo>
                  <a:cubicBezTo>
                    <a:pt x="491" y="143"/>
                    <a:pt x="482" y="151"/>
                    <a:pt x="478" y="155"/>
                  </a:cubicBezTo>
                  <a:cubicBezTo>
                    <a:pt x="473" y="159"/>
                    <a:pt x="468" y="161"/>
                    <a:pt x="461" y="160"/>
                  </a:cubicBezTo>
                  <a:cubicBezTo>
                    <a:pt x="455" y="160"/>
                    <a:pt x="448" y="158"/>
                    <a:pt x="440" y="155"/>
                  </a:cubicBezTo>
                  <a:cubicBezTo>
                    <a:pt x="433" y="153"/>
                    <a:pt x="426" y="147"/>
                    <a:pt x="419" y="142"/>
                  </a:cubicBezTo>
                  <a:cubicBezTo>
                    <a:pt x="413" y="136"/>
                    <a:pt x="406" y="131"/>
                    <a:pt x="400" y="130"/>
                  </a:cubicBezTo>
                  <a:cubicBezTo>
                    <a:pt x="392" y="129"/>
                    <a:pt x="390" y="130"/>
                    <a:pt x="387" y="133"/>
                  </a:cubicBezTo>
                  <a:cubicBezTo>
                    <a:pt x="384" y="134"/>
                    <a:pt x="382" y="136"/>
                    <a:pt x="377" y="139"/>
                  </a:cubicBezTo>
                  <a:cubicBezTo>
                    <a:pt x="372" y="142"/>
                    <a:pt x="371" y="144"/>
                    <a:pt x="371" y="146"/>
                  </a:cubicBezTo>
                  <a:cubicBezTo>
                    <a:pt x="370" y="150"/>
                    <a:pt x="370" y="153"/>
                    <a:pt x="365" y="157"/>
                  </a:cubicBezTo>
                  <a:cubicBezTo>
                    <a:pt x="359" y="161"/>
                    <a:pt x="353" y="160"/>
                    <a:pt x="348" y="160"/>
                  </a:cubicBezTo>
                  <a:cubicBezTo>
                    <a:pt x="345" y="159"/>
                    <a:pt x="341" y="159"/>
                    <a:pt x="337" y="160"/>
                  </a:cubicBezTo>
                  <a:cubicBezTo>
                    <a:pt x="333" y="161"/>
                    <a:pt x="330" y="165"/>
                    <a:pt x="328" y="169"/>
                  </a:cubicBezTo>
                  <a:cubicBezTo>
                    <a:pt x="325" y="174"/>
                    <a:pt x="322" y="179"/>
                    <a:pt x="316" y="181"/>
                  </a:cubicBezTo>
                  <a:cubicBezTo>
                    <a:pt x="306" y="186"/>
                    <a:pt x="299" y="184"/>
                    <a:pt x="290" y="182"/>
                  </a:cubicBezTo>
                  <a:cubicBezTo>
                    <a:pt x="289" y="182"/>
                    <a:pt x="289" y="182"/>
                    <a:pt x="287" y="182"/>
                  </a:cubicBezTo>
                  <a:cubicBezTo>
                    <a:pt x="279" y="180"/>
                    <a:pt x="276" y="177"/>
                    <a:pt x="273" y="172"/>
                  </a:cubicBezTo>
                  <a:cubicBezTo>
                    <a:pt x="272" y="170"/>
                    <a:pt x="271" y="169"/>
                    <a:pt x="269" y="167"/>
                  </a:cubicBezTo>
                  <a:cubicBezTo>
                    <a:pt x="267" y="164"/>
                    <a:pt x="261" y="163"/>
                    <a:pt x="254" y="163"/>
                  </a:cubicBezTo>
                  <a:cubicBezTo>
                    <a:pt x="247" y="163"/>
                    <a:pt x="239" y="163"/>
                    <a:pt x="234" y="164"/>
                  </a:cubicBezTo>
                  <a:cubicBezTo>
                    <a:pt x="226" y="165"/>
                    <a:pt x="214" y="168"/>
                    <a:pt x="202" y="172"/>
                  </a:cubicBezTo>
                  <a:cubicBezTo>
                    <a:pt x="199" y="173"/>
                    <a:pt x="199" y="173"/>
                    <a:pt x="199" y="173"/>
                  </a:cubicBezTo>
                  <a:cubicBezTo>
                    <a:pt x="199" y="173"/>
                    <a:pt x="199" y="173"/>
                    <a:pt x="199" y="173"/>
                  </a:cubicBezTo>
                  <a:cubicBezTo>
                    <a:pt x="186" y="177"/>
                    <a:pt x="178" y="173"/>
                    <a:pt x="170" y="169"/>
                  </a:cubicBezTo>
                  <a:cubicBezTo>
                    <a:pt x="170" y="169"/>
                    <a:pt x="170" y="169"/>
                    <a:pt x="170" y="169"/>
                  </a:cubicBezTo>
                  <a:cubicBezTo>
                    <a:pt x="169" y="169"/>
                    <a:pt x="169" y="169"/>
                    <a:pt x="169" y="169"/>
                  </a:cubicBezTo>
                  <a:cubicBezTo>
                    <a:pt x="164" y="166"/>
                    <a:pt x="163" y="163"/>
                    <a:pt x="163" y="158"/>
                  </a:cubicBezTo>
                  <a:cubicBezTo>
                    <a:pt x="162" y="155"/>
                    <a:pt x="161" y="151"/>
                    <a:pt x="159" y="145"/>
                  </a:cubicBezTo>
                  <a:cubicBezTo>
                    <a:pt x="155" y="137"/>
                    <a:pt x="153" y="136"/>
                    <a:pt x="152" y="135"/>
                  </a:cubicBezTo>
                  <a:cubicBezTo>
                    <a:pt x="150" y="134"/>
                    <a:pt x="148" y="133"/>
                    <a:pt x="147" y="129"/>
                  </a:cubicBezTo>
                  <a:cubicBezTo>
                    <a:pt x="146" y="127"/>
                    <a:pt x="146" y="126"/>
                    <a:pt x="146" y="125"/>
                  </a:cubicBezTo>
                  <a:cubicBezTo>
                    <a:pt x="146" y="125"/>
                    <a:pt x="146" y="125"/>
                    <a:pt x="146" y="125"/>
                  </a:cubicBezTo>
                  <a:cubicBezTo>
                    <a:pt x="144" y="120"/>
                    <a:pt x="143" y="115"/>
                    <a:pt x="136" y="116"/>
                  </a:cubicBezTo>
                  <a:cubicBezTo>
                    <a:pt x="134" y="116"/>
                    <a:pt x="133" y="116"/>
                    <a:pt x="133" y="116"/>
                  </a:cubicBezTo>
                  <a:cubicBezTo>
                    <a:pt x="123" y="117"/>
                    <a:pt x="113" y="118"/>
                    <a:pt x="102" y="125"/>
                  </a:cubicBezTo>
                  <a:cubicBezTo>
                    <a:pt x="95" y="129"/>
                    <a:pt x="95" y="132"/>
                    <a:pt x="94" y="136"/>
                  </a:cubicBezTo>
                  <a:cubicBezTo>
                    <a:pt x="94" y="139"/>
                    <a:pt x="93" y="143"/>
                    <a:pt x="89" y="147"/>
                  </a:cubicBezTo>
                  <a:cubicBezTo>
                    <a:pt x="83" y="154"/>
                    <a:pt x="77" y="154"/>
                    <a:pt x="68" y="153"/>
                  </a:cubicBezTo>
                  <a:cubicBezTo>
                    <a:pt x="65" y="153"/>
                    <a:pt x="63" y="153"/>
                    <a:pt x="60" y="153"/>
                  </a:cubicBezTo>
                  <a:cubicBezTo>
                    <a:pt x="54" y="153"/>
                    <a:pt x="50" y="153"/>
                    <a:pt x="46" y="154"/>
                  </a:cubicBezTo>
                  <a:cubicBezTo>
                    <a:pt x="42" y="156"/>
                    <a:pt x="38" y="158"/>
                    <a:pt x="33" y="161"/>
                  </a:cubicBezTo>
                  <a:cubicBezTo>
                    <a:pt x="24" y="166"/>
                    <a:pt x="19" y="165"/>
                    <a:pt x="13" y="163"/>
                  </a:cubicBezTo>
                  <a:cubicBezTo>
                    <a:pt x="13" y="163"/>
                    <a:pt x="12" y="163"/>
                    <a:pt x="12" y="163"/>
                  </a:cubicBezTo>
                  <a:cubicBezTo>
                    <a:pt x="12" y="167"/>
                    <a:pt x="11" y="170"/>
                    <a:pt x="11" y="173"/>
                  </a:cubicBezTo>
                  <a:cubicBezTo>
                    <a:pt x="11" y="175"/>
                    <a:pt x="11" y="177"/>
                    <a:pt x="10" y="179"/>
                  </a:cubicBezTo>
                  <a:cubicBezTo>
                    <a:pt x="10" y="184"/>
                    <a:pt x="6" y="188"/>
                    <a:pt x="2" y="192"/>
                  </a:cubicBezTo>
                  <a:cubicBezTo>
                    <a:pt x="2" y="192"/>
                    <a:pt x="1" y="193"/>
                    <a:pt x="1" y="194"/>
                  </a:cubicBezTo>
                  <a:cubicBezTo>
                    <a:pt x="1" y="194"/>
                    <a:pt x="1" y="194"/>
                    <a:pt x="1" y="194"/>
                  </a:cubicBezTo>
                  <a:cubicBezTo>
                    <a:pt x="0" y="195"/>
                    <a:pt x="0" y="197"/>
                    <a:pt x="1" y="202"/>
                  </a:cubicBezTo>
                  <a:cubicBezTo>
                    <a:pt x="1" y="203"/>
                    <a:pt x="1" y="205"/>
                    <a:pt x="1" y="206"/>
                  </a:cubicBezTo>
                  <a:cubicBezTo>
                    <a:pt x="1" y="208"/>
                    <a:pt x="2" y="209"/>
                    <a:pt x="2" y="210"/>
                  </a:cubicBezTo>
                  <a:cubicBezTo>
                    <a:pt x="2" y="214"/>
                    <a:pt x="2" y="217"/>
                    <a:pt x="4" y="217"/>
                  </a:cubicBezTo>
                  <a:cubicBezTo>
                    <a:pt x="7" y="217"/>
                    <a:pt x="12" y="217"/>
                    <a:pt x="17" y="217"/>
                  </a:cubicBezTo>
                  <a:cubicBezTo>
                    <a:pt x="23" y="217"/>
                    <a:pt x="30" y="217"/>
                    <a:pt x="34" y="218"/>
                  </a:cubicBezTo>
                  <a:cubicBezTo>
                    <a:pt x="38" y="219"/>
                    <a:pt x="41" y="221"/>
                    <a:pt x="43" y="224"/>
                  </a:cubicBezTo>
                  <a:cubicBezTo>
                    <a:pt x="44" y="226"/>
                    <a:pt x="45" y="229"/>
                    <a:pt x="46" y="232"/>
                  </a:cubicBezTo>
                  <a:cubicBezTo>
                    <a:pt x="47" y="235"/>
                    <a:pt x="46" y="236"/>
                    <a:pt x="46" y="238"/>
                  </a:cubicBezTo>
                  <a:cubicBezTo>
                    <a:pt x="46" y="239"/>
                    <a:pt x="46" y="241"/>
                    <a:pt x="52" y="243"/>
                  </a:cubicBezTo>
                  <a:cubicBezTo>
                    <a:pt x="60" y="245"/>
                    <a:pt x="66" y="246"/>
                    <a:pt x="72" y="247"/>
                  </a:cubicBezTo>
                  <a:cubicBezTo>
                    <a:pt x="76" y="248"/>
                    <a:pt x="80" y="249"/>
                    <a:pt x="82" y="250"/>
                  </a:cubicBezTo>
                  <a:cubicBezTo>
                    <a:pt x="85" y="251"/>
                    <a:pt x="89" y="253"/>
                    <a:pt x="92" y="256"/>
                  </a:cubicBezTo>
                  <a:cubicBezTo>
                    <a:pt x="96" y="259"/>
                    <a:pt x="100" y="264"/>
                    <a:pt x="104" y="269"/>
                  </a:cubicBezTo>
                  <a:cubicBezTo>
                    <a:pt x="108" y="273"/>
                    <a:pt x="108" y="277"/>
                    <a:pt x="108" y="280"/>
                  </a:cubicBezTo>
                  <a:cubicBezTo>
                    <a:pt x="108" y="282"/>
                    <a:pt x="107" y="284"/>
                    <a:pt x="115" y="289"/>
                  </a:cubicBezTo>
                  <a:cubicBezTo>
                    <a:pt x="123" y="295"/>
                    <a:pt x="137" y="306"/>
                    <a:pt x="149" y="317"/>
                  </a:cubicBezTo>
                  <a:cubicBezTo>
                    <a:pt x="159" y="326"/>
                    <a:pt x="169" y="335"/>
                    <a:pt x="173" y="340"/>
                  </a:cubicBezTo>
                  <a:cubicBezTo>
                    <a:pt x="181" y="349"/>
                    <a:pt x="181" y="355"/>
                    <a:pt x="180" y="362"/>
                  </a:cubicBezTo>
                  <a:cubicBezTo>
                    <a:pt x="180" y="364"/>
                    <a:pt x="180" y="366"/>
                    <a:pt x="181" y="369"/>
                  </a:cubicBezTo>
                  <a:cubicBezTo>
                    <a:pt x="181" y="373"/>
                    <a:pt x="185" y="374"/>
                    <a:pt x="190" y="377"/>
                  </a:cubicBezTo>
                  <a:cubicBezTo>
                    <a:pt x="194" y="380"/>
                    <a:pt x="199" y="382"/>
                    <a:pt x="206" y="387"/>
                  </a:cubicBezTo>
                  <a:cubicBezTo>
                    <a:pt x="210" y="390"/>
                    <a:pt x="214" y="393"/>
                    <a:pt x="218" y="395"/>
                  </a:cubicBezTo>
                  <a:cubicBezTo>
                    <a:pt x="226" y="400"/>
                    <a:pt x="230" y="402"/>
                    <a:pt x="232" y="411"/>
                  </a:cubicBezTo>
                  <a:cubicBezTo>
                    <a:pt x="233" y="417"/>
                    <a:pt x="232" y="419"/>
                    <a:pt x="231" y="422"/>
                  </a:cubicBezTo>
                  <a:cubicBezTo>
                    <a:pt x="231" y="424"/>
                    <a:pt x="230" y="426"/>
                    <a:pt x="234" y="433"/>
                  </a:cubicBezTo>
                  <a:cubicBezTo>
                    <a:pt x="238" y="439"/>
                    <a:pt x="242" y="442"/>
                    <a:pt x="246" y="444"/>
                  </a:cubicBezTo>
                  <a:cubicBezTo>
                    <a:pt x="249" y="446"/>
                    <a:pt x="252" y="448"/>
                    <a:pt x="255" y="452"/>
                  </a:cubicBezTo>
                  <a:cubicBezTo>
                    <a:pt x="259" y="457"/>
                    <a:pt x="260" y="461"/>
                    <a:pt x="260" y="464"/>
                  </a:cubicBezTo>
                  <a:cubicBezTo>
                    <a:pt x="261" y="466"/>
                    <a:pt x="261" y="468"/>
                    <a:pt x="264" y="470"/>
                  </a:cubicBezTo>
                  <a:cubicBezTo>
                    <a:pt x="268" y="474"/>
                    <a:pt x="276" y="480"/>
                    <a:pt x="284" y="484"/>
                  </a:cubicBezTo>
                  <a:cubicBezTo>
                    <a:pt x="289" y="486"/>
                    <a:pt x="293" y="488"/>
                    <a:pt x="295" y="488"/>
                  </a:cubicBezTo>
                  <a:cubicBezTo>
                    <a:pt x="298" y="488"/>
                    <a:pt x="299" y="487"/>
                    <a:pt x="301" y="486"/>
                  </a:cubicBezTo>
                  <a:cubicBezTo>
                    <a:pt x="303" y="484"/>
                    <a:pt x="307" y="482"/>
                    <a:pt x="314" y="482"/>
                  </a:cubicBezTo>
                  <a:cubicBezTo>
                    <a:pt x="320" y="481"/>
                    <a:pt x="325" y="482"/>
                    <a:pt x="330" y="483"/>
                  </a:cubicBezTo>
                  <a:cubicBezTo>
                    <a:pt x="334" y="484"/>
                    <a:pt x="337" y="485"/>
                    <a:pt x="341" y="485"/>
                  </a:cubicBezTo>
                  <a:cubicBezTo>
                    <a:pt x="347" y="485"/>
                    <a:pt x="354" y="481"/>
                    <a:pt x="359" y="478"/>
                  </a:cubicBezTo>
                  <a:cubicBezTo>
                    <a:pt x="362" y="476"/>
                    <a:pt x="364" y="475"/>
                    <a:pt x="366" y="474"/>
                  </a:cubicBezTo>
                  <a:cubicBezTo>
                    <a:pt x="366" y="474"/>
                    <a:pt x="366" y="474"/>
                    <a:pt x="366" y="474"/>
                  </a:cubicBezTo>
                  <a:cubicBezTo>
                    <a:pt x="367" y="474"/>
                    <a:pt x="367" y="474"/>
                    <a:pt x="367" y="474"/>
                  </a:cubicBezTo>
                  <a:cubicBezTo>
                    <a:pt x="371" y="473"/>
                    <a:pt x="380" y="471"/>
                    <a:pt x="386" y="473"/>
                  </a:cubicBezTo>
                  <a:cubicBezTo>
                    <a:pt x="392" y="475"/>
                    <a:pt x="392" y="478"/>
                    <a:pt x="392" y="482"/>
                  </a:cubicBezTo>
                  <a:cubicBezTo>
                    <a:pt x="391" y="484"/>
                    <a:pt x="391" y="487"/>
                    <a:pt x="393" y="490"/>
                  </a:cubicBezTo>
                  <a:cubicBezTo>
                    <a:pt x="393" y="491"/>
                    <a:pt x="394" y="493"/>
                    <a:pt x="394" y="494"/>
                  </a:cubicBezTo>
                  <a:cubicBezTo>
                    <a:pt x="395" y="497"/>
                    <a:pt x="396" y="498"/>
                    <a:pt x="412" y="505"/>
                  </a:cubicBezTo>
                  <a:cubicBezTo>
                    <a:pt x="424" y="511"/>
                    <a:pt x="429" y="512"/>
                    <a:pt x="431" y="512"/>
                  </a:cubicBezTo>
                  <a:cubicBezTo>
                    <a:pt x="436" y="513"/>
                    <a:pt x="437" y="513"/>
                    <a:pt x="438" y="517"/>
                  </a:cubicBezTo>
                  <a:cubicBezTo>
                    <a:pt x="439" y="520"/>
                    <a:pt x="438" y="522"/>
                    <a:pt x="438" y="525"/>
                  </a:cubicBezTo>
                  <a:cubicBezTo>
                    <a:pt x="437" y="526"/>
                    <a:pt x="437" y="528"/>
                    <a:pt x="440" y="531"/>
                  </a:cubicBezTo>
                  <a:cubicBezTo>
                    <a:pt x="443" y="534"/>
                    <a:pt x="446" y="535"/>
                    <a:pt x="448" y="535"/>
                  </a:cubicBezTo>
                  <a:cubicBezTo>
                    <a:pt x="449" y="536"/>
                    <a:pt x="449" y="536"/>
                    <a:pt x="450" y="536"/>
                  </a:cubicBezTo>
                  <a:cubicBezTo>
                    <a:pt x="454" y="531"/>
                    <a:pt x="461" y="524"/>
                    <a:pt x="467" y="522"/>
                  </a:cubicBezTo>
                  <a:cubicBezTo>
                    <a:pt x="472" y="521"/>
                    <a:pt x="475" y="523"/>
                    <a:pt x="480" y="525"/>
                  </a:cubicBezTo>
                  <a:cubicBezTo>
                    <a:pt x="482" y="527"/>
                    <a:pt x="486" y="529"/>
                    <a:pt x="489" y="530"/>
                  </a:cubicBezTo>
                  <a:cubicBezTo>
                    <a:pt x="493" y="530"/>
                    <a:pt x="496" y="528"/>
                    <a:pt x="499" y="525"/>
                  </a:cubicBezTo>
                  <a:cubicBezTo>
                    <a:pt x="502" y="523"/>
                    <a:pt x="505" y="521"/>
                    <a:pt x="509" y="520"/>
                  </a:cubicBezTo>
                  <a:cubicBezTo>
                    <a:pt x="515" y="519"/>
                    <a:pt x="518" y="523"/>
                    <a:pt x="522" y="528"/>
                  </a:cubicBezTo>
                  <a:cubicBezTo>
                    <a:pt x="524" y="531"/>
                    <a:pt x="526" y="534"/>
                    <a:pt x="529" y="534"/>
                  </a:cubicBezTo>
                  <a:cubicBezTo>
                    <a:pt x="533" y="534"/>
                    <a:pt x="536" y="532"/>
                    <a:pt x="539" y="530"/>
                  </a:cubicBezTo>
                  <a:cubicBezTo>
                    <a:pt x="542" y="527"/>
                    <a:pt x="546" y="525"/>
                    <a:pt x="551" y="522"/>
                  </a:cubicBezTo>
                  <a:cubicBezTo>
                    <a:pt x="557" y="520"/>
                    <a:pt x="563" y="518"/>
                    <a:pt x="568" y="517"/>
                  </a:cubicBezTo>
                  <a:cubicBezTo>
                    <a:pt x="574" y="516"/>
                    <a:pt x="579" y="515"/>
                    <a:pt x="584" y="516"/>
                  </a:cubicBezTo>
                  <a:cubicBezTo>
                    <a:pt x="588" y="516"/>
                    <a:pt x="592" y="517"/>
                    <a:pt x="596" y="518"/>
                  </a:cubicBezTo>
                  <a:cubicBezTo>
                    <a:pt x="596" y="518"/>
                    <a:pt x="596" y="518"/>
                    <a:pt x="596" y="518"/>
                  </a:cubicBezTo>
                  <a:cubicBezTo>
                    <a:pt x="602" y="519"/>
                    <a:pt x="608" y="521"/>
                    <a:pt x="612" y="521"/>
                  </a:cubicBezTo>
                  <a:cubicBezTo>
                    <a:pt x="619" y="521"/>
                    <a:pt x="625" y="513"/>
                    <a:pt x="631" y="506"/>
                  </a:cubicBezTo>
                  <a:cubicBezTo>
                    <a:pt x="631" y="506"/>
                    <a:pt x="631" y="506"/>
                    <a:pt x="631" y="506"/>
                  </a:cubicBezTo>
                  <a:cubicBezTo>
                    <a:pt x="632" y="505"/>
                    <a:pt x="632" y="505"/>
                    <a:pt x="632" y="505"/>
                  </a:cubicBezTo>
                  <a:cubicBezTo>
                    <a:pt x="634" y="503"/>
                    <a:pt x="634" y="503"/>
                    <a:pt x="634" y="503"/>
                  </a:cubicBezTo>
                  <a:cubicBezTo>
                    <a:pt x="641" y="494"/>
                    <a:pt x="653" y="479"/>
                    <a:pt x="663" y="47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8" name="Freeform 399"/>
            <p:cNvSpPr>
              <a:spLocks/>
            </p:cNvSpPr>
            <p:nvPr/>
          </p:nvSpPr>
          <p:spPr bwMode="auto">
            <a:xfrm>
              <a:off x="4603069" y="4226216"/>
              <a:ext cx="184547" cy="286941"/>
            </a:xfrm>
            <a:custGeom>
              <a:avLst/>
              <a:gdLst>
                <a:gd name="T0" fmla="*/ 36 w 643"/>
                <a:gd name="T1" fmla="*/ 658 h 999"/>
                <a:gd name="T2" fmla="*/ 77 w 643"/>
                <a:gd name="T3" fmla="*/ 670 h 999"/>
                <a:gd name="T4" fmla="*/ 96 w 643"/>
                <a:gd name="T5" fmla="*/ 718 h 999"/>
                <a:gd name="T6" fmla="*/ 102 w 643"/>
                <a:gd name="T7" fmla="*/ 768 h 999"/>
                <a:gd name="T8" fmla="*/ 117 w 643"/>
                <a:gd name="T9" fmla="*/ 830 h 999"/>
                <a:gd name="T10" fmla="*/ 128 w 643"/>
                <a:gd name="T11" fmla="*/ 858 h 999"/>
                <a:gd name="T12" fmla="*/ 75 w 643"/>
                <a:gd name="T13" fmla="*/ 863 h 999"/>
                <a:gd name="T14" fmla="*/ 41 w 643"/>
                <a:gd name="T15" fmla="*/ 867 h 999"/>
                <a:gd name="T16" fmla="*/ 62 w 643"/>
                <a:gd name="T17" fmla="*/ 901 h 999"/>
                <a:gd name="T18" fmla="*/ 129 w 643"/>
                <a:gd name="T19" fmla="*/ 997 h 999"/>
                <a:gd name="T20" fmla="*/ 175 w 643"/>
                <a:gd name="T21" fmla="*/ 990 h 999"/>
                <a:gd name="T22" fmla="*/ 202 w 643"/>
                <a:gd name="T23" fmla="*/ 998 h 999"/>
                <a:gd name="T24" fmla="*/ 238 w 643"/>
                <a:gd name="T25" fmla="*/ 980 h 999"/>
                <a:gd name="T26" fmla="*/ 303 w 643"/>
                <a:gd name="T27" fmla="*/ 970 h 999"/>
                <a:gd name="T28" fmla="*/ 333 w 643"/>
                <a:gd name="T29" fmla="*/ 933 h 999"/>
                <a:gd name="T30" fmla="*/ 334 w 643"/>
                <a:gd name="T31" fmla="*/ 916 h 999"/>
                <a:gd name="T32" fmla="*/ 382 w 643"/>
                <a:gd name="T33" fmla="*/ 909 h 999"/>
                <a:gd name="T34" fmla="*/ 441 w 643"/>
                <a:gd name="T35" fmla="*/ 888 h 999"/>
                <a:gd name="T36" fmla="*/ 499 w 643"/>
                <a:gd name="T37" fmla="*/ 826 h 999"/>
                <a:gd name="T38" fmla="*/ 519 w 643"/>
                <a:gd name="T39" fmla="*/ 801 h 999"/>
                <a:gd name="T40" fmla="*/ 576 w 643"/>
                <a:gd name="T41" fmla="*/ 786 h 999"/>
                <a:gd name="T42" fmla="*/ 565 w 643"/>
                <a:gd name="T43" fmla="*/ 762 h 999"/>
                <a:gd name="T44" fmla="*/ 558 w 643"/>
                <a:gd name="T45" fmla="*/ 727 h 999"/>
                <a:gd name="T46" fmla="*/ 542 w 643"/>
                <a:gd name="T47" fmla="*/ 700 h 999"/>
                <a:gd name="T48" fmla="*/ 535 w 643"/>
                <a:gd name="T49" fmla="*/ 689 h 999"/>
                <a:gd name="T50" fmla="*/ 517 w 643"/>
                <a:gd name="T51" fmla="*/ 690 h 999"/>
                <a:gd name="T52" fmla="*/ 520 w 643"/>
                <a:gd name="T53" fmla="*/ 660 h 999"/>
                <a:gd name="T54" fmla="*/ 538 w 643"/>
                <a:gd name="T55" fmla="*/ 640 h 999"/>
                <a:gd name="T56" fmla="*/ 535 w 643"/>
                <a:gd name="T57" fmla="*/ 601 h 999"/>
                <a:gd name="T58" fmla="*/ 545 w 643"/>
                <a:gd name="T59" fmla="*/ 596 h 999"/>
                <a:gd name="T60" fmla="*/ 543 w 643"/>
                <a:gd name="T61" fmla="*/ 563 h 999"/>
                <a:gd name="T62" fmla="*/ 571 w 643"/>
                <a:gd name="T63" fmla="*/ 530 h 999"/>
                <a:gd name="T64" fmla="*/ 597 w 643"/>
                <a:gd name="T65" fmla="*/ 489 h 999"/>
                <a:gd name="T66" fmla="*/ 643 w 643"/>
                <a:gd name="T67" fmla="*/ 486 h 999"/>
                <a:gd name="T68" fmla="*/ 641 w 643"/>
                <a:gd name="T69" fmla="*/ 321 h 999"/>
                <a:gd name="T70" fmla="*/ 149 w 643"/>
                <a:gd name="T71" fmla="*/ 3 h 999"/>
                <a:gd name="T72" fmla="*/ 99 w 643"/>
                <a:gd name="T73" fmla="*/ 28 h 999"/>
                <a:gd name="T74" fmla="*/ 106 w 643"/>
                <a:gd name="T75" fmla="*/ 90 h 999"/>
                <a:gd name="T76" fmla="*/ 119 w 643"/>
                <a:gd name="T77" fmla="*/ 138 h 999"/>
                <a:gd name="T78" fmla="*/ 132 w 643"/>
                <a:gd name="T79" fmla="*/ 173 h 999"/>
                <a:gd name="T80" fmla="*/ 148 w 643"/>
                <a:gd name="T81" fmla="*/ 216 h 999"/>
                <a:gd name="T82" fmla="*/ 139 w 643"/>
                <a:gd name="T83" fmla="*/ 259 h 999"/>
                <a:gd name="T84" fmla="*/ 128 w 643"/>
                <a:gd name="T85" fmla="*/ 371 h 999"/>
                <a:gd name="T86" fmla="*/ 113 w 643"/>
                <a:gd name="T87" fmla="*/ 433 h 999"/>
                <a:gd name="T88" fmla="*/ 37 w 643"/>
                <a:gd name="T89" fmla="*/ 524 h 999"/>
                <a:gd name="T90" fmla="*/ 8 w 643"/>
                <a:gd name="T91" fmla="*/ 569 h 999"/>
                <a:gd name="T92" fmla="*/ 22 w 643"/>
                <a:gd name="T93" fmla="*/ 641 h 9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3" h="999">
                  <a:moveTo>
                    <a:pt x="22" y="641"/>
                  </a:moveTo>
                  <a:cubicBezTo>
                    <a:pt x="24" y="643"/>
                    <a:pt x="26" y="646"/>
                    <a:pt x="29" y="649"/>
                  </a:cubicBezTo>
                  <a:cubicBezTo>
                    <a:pt x="33" y="654"/>
                    <a:pt x="35" y="657"/>
                    <a:pt x="36" y="658"/>
                  </a:cubicBezTo>
                  <a:cubicBezTo>
                    <a:pt x="37" y="658"/>
                    <a:pt x="38" y="658"/>
                    <a:pt x="39" y="657"/>
                  </a:cubicBezTo>
                  <a:cubicBezTo>
                    <a:pt x="42" y="655"/>
                    <a:pt x="45" y="654"/>
                    <a:pt x="57" y="658"/>
                  </a:cubicBezTo>
                  <a:cubicBezTo>
                    <a:pt x="65" y="661"/>
                    <a:pt x="72" y="665"/>
                    <a:pt x="77" y="670"/>
                  </a:cubicBezTo>
                  <a:cubicBezTo>
                    <a:pt x="83" y="676"/>
                    <a:pt x="86" y="683"/>
                    <a:pt x="87" y="690"/>
                  </a:cubicBezTo>
                  <a:cubicBezTo>
                    <a:pt x="88" y="694"/>
                    <a:pt x="88" y="696"/>
                    <a:pt x="88" y="698"/>
                  </a:cubicBezTo>
                  <a:cubicBezTo>
                    <a:pt x="89" y="702"/>
                    <a:pt x="89" y="704"/>
                    <a:pt x="96" y="718"/>
                  </a:cubicBezTo>
                  <a:cubicBezTo>
                    <a:pt x="98" y="724"/>
                    <a:pt x="101" y="728"/>
                    <a:pt x="102" y="731"/>
                  </a:cubicBezTo>
                  <a:cubicBezTo>
                    <a:pt x="107" y="739"/>
                    <a:pt x="108" y="741"/>
                    <a:pt x="106" y="754"/>
                  </a:cubicBezTo>
                  <a:cubicBezTo>
                    <a:pt x="105" y="760"/>
                    <a:pt x="103" y="764"/>
                    <a:pt x="102" y="768"/>
                  </a:cubicBezTo>
                  <a:cubicBezTo>
                    <a:pt x="100" y="775"/>
                    <a:pt x="99" y="779"/>
                    <a:pt x="101" y="786"/>
                  </a:cubicBezTo>
                  <a:cubicBezTo>
                    <a:pt x="101" y="788"/>
                    <a:pt x="102" y="791"/>
                    <a:pt x="102" y="794"/>
                  </a:cubicBezTo>
                  <a:cubicBezTo>
                    <a:pt x="105" y="805"/>
                    <a:pt x="107" y="820"/>
                    <a:pt x="117" y="830"/>
                  </a:cubicBezTo>
                  <a:cubicBezTo>
                    <a:pt x="125" y="838"/>
                    <a:pt x="129" y="844"/>
                    <a:pt x="130" y="849"/>
                  </a:cubicBezTo>
                  <a:cubicBezTo>
                    <a:pt x="131" y="850"/>
                    <a:pt x="131" y="852"/>
                    <a:pt x="130" y="853"/>
                  </a:cubicBezTo>
                  <a:cubicBezTo>
                    <a:pt x="130" y="855"/>
                    <a:pt x="129" y="857"/>
                    <a:pt x="128" y="858"/>
                  </a:cubicBezTo>
                  <a:cubicBezTo>
                    <a:pt x="127" y="859"/>
                    <a:pt x="126" y="859"/>
                    <a:pt x="124" y="860"/>
                  </a:cubicBezTo>
                  <a:cubicBezTo>
                    <a:pt x="120" y="861"/>
                    <a:pt x="108" y="864"/>
                    <a:pt x="96" y="865"/>
                  </a:cubicBezTo>
                  <a:cubicBezTo>
                    <a:pt x="88" y="866"/>
                    <a:pt x="81" y="865"/>
                    <a:pt x="75" y="863"/>
                  </a:cubicBezTo>
                  <a:cubicBezTo>
                    <a:pt x="68" y="861"/>
                    <a:pt x="63" y="859"/>
                    <a:pt x="58" y="859"/>
                  </a:cubicBezTo>
                  <a:cubicBezTo>
                    <a:pt x="54" y="859"/>
                    <a:pt x="51" y="859"/>
                    <a:pt x="48" y="860"/>
                  </a:cubicBezTo>
                  <a:cubicBezTo>
                    <a:pt x="45" y="862"/>
                    <a:pt x="43" y="864"/>
                    <a:pt x="41" y="867"/>
                  </a:cubicBezTo>
                  <a:cubicBezTo>
                    <a:pt x="40" y="869"/>
                    <a:pt x="39" y="871"/>
                    <a:pt x="39" y="872"/>
                  </a:cubicBezTo>
                  <a:cubicBezTo>
                    <a:pt x="40" y="875"/>
                    <a:pt x="43" y="880"/>
                    <a:pt x="47" y="885"/>
                  </a:cubicBezTo>
                  <a:cubicBezTo>
                    <a:pt x="51" y="891"/>
                    <a:pt x="57" y="897"/>
                    <a:pt x="62" y="901"/>
                  </a:cubicBezTo>
                  <a:cubicBezTo>
                    <a:pt x="69" y="906"/>
                    <a:pt x="74" y="911"/>
                    <a:pt x="81" y="918"/>
                  </a:cubicBezTo>
                  <a:cubicBezTo>
                    <a:pt x="87" y="925"/>
                    <a:pt x="95" y="935"/>
                    <a:pt x="105" y="948"/>
                  </a:cubicBezTo>
                  <a:cubicBezTo>
                    <a:pt x="122" y="969"/>
                    <a:pt x="128" y="989"/>
                    <a:pt x="129" y="997"/>
                  </a:cubicBezTo>
                  <a:cubicBezTo>
                    <a:pt x="133" y="997"/>
                    <a:pt x="136" y="997"/>
                    <a:pt x="140" y="996"/>
                  </a:cubicBezTo>
                  <a:cubicBezTo>
                    <a:pt x="147" y="996"/>
                    <a:pt x="154" y="995"/>
                    <a:pt x="160" y="994"/>
                  </a:cubicBezTo>
                  <a:cubicBezTo>
                    <a:pt x="168" y="993"/>
                    <a:pt x="172" y="991"/>
                    <a:pt x="175" y="990"/>
                  </a:cubicBezTo>
                  <a:cubicBezTo>
                    <a:pt x="178" y="989"/>
                    <a:pt x="180" y="988"/>
                    <a:pt x="183" y="987"/>
                  </a:cubicBezTo>
                  <a:cubicBezTo>
                    <a:pt x="188" y="986"/>
                    <a:pt x="191" y="989"/>
                    <a:pt x="195" y="993"/>
                  </a:cubicBezTo>
                  <a:cubicBezTo>
                    <a:pt x="197" y="995"/>
                    <a:pt x="199" y="997"/>
                    <a:pt x="202" y="998"/>
                  </a:cubicBezTo>
                  <a:cubicBezTo>
                    <a:pt x="207" y="999"/>
                    <a:pt x="215" y="994"/>
                    <a:pt x="220" y="990"/>
                  </a:cubicBezTo>
                  <a:cubicBezTo>
                    <a:pt x="222" y="989"/>
                    <a:pt x="223" y="988"/>
                    <a:pt x="224" y="988"/>
                  </a:cubicBezTo>
                  <a:cubicBezTo>
                    <a:pt x="228" y="985"/>
                    <a:pt x="233" y="983"/>
                    <a:pt x="238" y="980"/>
                  </a:cubicBezTo>
                  <a:cubicBezTo>
                    <a:pt x="244" y="977"/>
                    <a:pt x="251" y="975"/>
                    <a:pt x="260" y="973"/>
                  </a:cubicBezTo>
                  <a:cubicBezTo>
                    <a:pt x="269" y="972"/>
                    <a:pt x="278" y="971"/>
                    <a:pt x="286" y="971"/>
                  </a:cubicBezTo>
                  <a:cubicBezTo>
                    <a:pt x="292" y="971"/>
                    <a:pt x="298" y="971"/>
                    <a:pt x="303" y="970"/>
                  </a:cubicBezTo>
                  <a:cubicBezTo>
                    <a:pt x="311" y="969"/>
                    <a:pt x="317" y="962"/>
                    <a:pt x="323" y="954"/>
                  </a:cubicBezTo>
                  <a:cubicBezTo>
                    <a:pt x="325" y="951"/>
                    <a:pt x="327" y="949"/>
                    <a:pt x="330" y="946"/>
                  </a:cubicBezTo>
                  <a:cubicBezTo>
                    <a:pt x="335" y="940"/>
                    <a:pt x="334" y="937"/>
                    <a:pt x="333" y="933"/>
                  </a:cubicBezTo>
                  <a:cubicBezTo>
                    <a:pt x="332" y="932"/>
                    <a:pt x="332" y="930"/>
                    <a:pt x="332" y="929"/>
                  </a:cubicBezTo>
                  <a:cubicBezTo>
                    <a:pt x="331" y="927"/>
                    <a:pt x="331" y="926"/>
                    <a:pt x="331" y="924"/>
                  </a:cubicBezTo>
                  <a:cubicBezTo>
                    <a:pt x="331" y="921"/>
                    <a:pt x="332" y="918"/>
                    <a:pt x="334" y="916"/>
                  </a:cubicBezTo>
                  <a:cubicBezTo>
                    <a:pt x="335" y="914"/>
                    <a:pt x="338" y="912"/>
                    <a:pt x="342" y="911"/>
                  </a:cubicBezTo>
                  <a:cubicBezTo>
                    <a:pt x="343" y="911"/>
                    <a:pt x="344" y="911"/>
                    <a:pt x="346" y="911"/>
                  </a:cubicBezTo>
                  <a:cubicBezTo>
                    <a:pt x="351" y="911"/>
                    <a:pt x="367" y="910"/>
                    <a:pt x="382" y="909"/>
                  </a:cubicBezTo>
                  <a:cubicBezTo>
                    <a:pt x="393" y="908"/>
                    <a:pt x="403" y="907"/>
                    <a:pt x="409" y="906"/>
                  </a:cubicBezTo>
                  <a:cubicBezTo>
                    <a:pt x="422" y="904"/>
                    <a:pt x="433" y="894"/>
                    <a:pt x="440" y="888"/>
                  </a:cubicBezTo>
                  <a:cubicBezTo>
                    <a:pt x="441" y="888"/>
                    <a:pt x="441" y="888"/>
                    <a:pt x="441" y="888"/>
                  </a:cubicBezTo>
                  <a:cubicBezTo>
                    <a:pt x="441" y="888"/>
                    <a:pt x="441" y="888"/>
                    <a:pt x="441" y="888"/>
                  </a:cubicBezTo>
                  <a:cubicBezTo>
                    <a:pt x="445" y="885"/>
                    <a:pt x="457" y="872"/>
                    <a:pt x="469" y="859"/>
                  </a:cubicBezTo>
                  <a:cubicBezTo>
                    <a:pt x="483" y="844"/>
                    <a:pt x="497" y="829"/>
                    <a:pt x="499" y="826"/>
                  </a:cubicBezTo>
                  <a:cubicBezTo>
                    <a:pt x="500" y="825"/>
                    <a:pt x="500" y="824"/>
                    <a:pt x="500" y="822"/>
                  </a:cubicBezTo>
                  <a:cubicBezTo>
                    <a:pt x="500" y="818"/>
                    <a:pt x="500" y="814"/>
                    <a:pt x="505" y="809"/>
                  </a:cubicBezTo>
                  <a:cubicBezTo>
                    <a:pt x="508" y="807"/>
                    <a:pt x="513" y="803"/>
                    <a:pt x="519" y="801"/>
                  </a:cubicBezTo>
                  <a:cubicBezTo>
                    <a:pt x="527" y="796"/>
                    <a:pt x="535" y="792"/>
                    <a:pt x="539" y="791"/>
                  </a:cubicBezTo>
                  <a:cubicBezTo>
                    <a:pt x="544" y="789"/>
                    <a:pt x="567" y="789"/>
                    <a:pt x="576" y="789"/>
                  </a:cubicBezTo>
                  <a:cubicBezTo>
                    <a:pt x="576" y="788"/>
                    <a:pt x="576" y="787"/>
                    <a:pt x="576" y="786"/>
                  </a:cubicBezTo>
                  <a:cubicBezTo>
                    <a:pt x="577" y="785"/>
                    <a:pt x="577" y="783"/>
                    <a:pt x="577" y="782"/>
                  </a:cubicBezTo>
                  <a:cubicBezTo>
                    <a:pt x="578" y="777"/>
                    <a:pt x="579" y="774"/>
                    <a:pt x="575" y="769"/>
                  </a:cubicBezTo>
                  <a:cubicBezTo>
                    <a:pt x="573" y="766"/>
                    <a:pt x="569" y="764"/>
                    <a:pt x="565" y="762"/>
                  </a:cubicBezTo>
                  <a:cubicBezTo>
                    <a:pt x="561" y="760"/>
                    <a:pt x="557" y="758"/>
                    <a:pt x="556" y="754"/>
                  </a:cubicBezTo>
                  <a:cubicBezTo>
                    <a:pt x="556" y="752"/>
                    <a:pt x="557" y="748"/>
                    <a:pt x="557" y="744"/>
                  </a:cubicBezTo>
                  <a:cubicBezTo>
                    <a:pt x="558" y="737"/>
                    <a:pt x="559" y="729"/>
                    <a:pt x="558" y="727"/>
                  </a:cubicBezTo>
                  <a:cubicBezTo>
                    <a:pt x="557" y="726"/>
                    <a:pt x="556" y="725"/>
                    <a:pt x="554" y="724"/>
                  </a:cubicBezTo>
                  <a:cubicBezTo>
                    <a:pt x="553" y="723"/>
                    <a:pt x="551" y="722"/>
                    <a:pt x="548" y="720"/>
                  </a:cubicBezTo>
                  <a:cubicBezTo>
                    <a:pt x="542" y="715"/>
                    <a:pt x="542" y="707"/>
                    <a:pt x="542" y="700"/>
                  </a:cubicBezTo>
                  <a:cubicBezTo>
                    <a:pt x="542" y="699"/>
                    <a:pt x="543" y="699"/>
                    <a:pt x="543" y="697"/>
                  </a:cubicBezTo>
                  <a:cubicBezTo>
                    <a:pt x="543" y="695"/>
                    <a:pt x="542" y="693"/>
                    <a:pt x="541" y="692"/>
                  </a:cubicBezTo>
                  <a:cubicBezTo>
                    <a:pt x="540" y="691"/>
                    <a:pt x="538" y="689"/>
                    <a:pt x="535" y="689"/>
                  </a:cubicBezTo>
                  <a:cubicBezTo>
                    <a:pt x="531" y="688"/>
                    <a:pt x="527" y="689"/>
                    <a:pt x="525" y="689"/>
                  </a:cubicBezTo>
                  <a:cubicBezTo>
                    <a:pt x="525" y="689"/>
                    <a:pt x="525" y="689"/>
                    <a:pt x="525" y="689"/>
                  </a:cubicBezTo>
                  <a:cubicBezTo>
                    <a:pt x="522" y="690"/>
                    <a:pt x="520" y="691"/>
                    <a:pt x="517" y="690"/>
                  </a:cubicBezTo>
                  <a:cubicBezTo>
                    <a:pt x="515" y="689"/>
                    <a:pt x="512" y="686"/>
                    <a:pt x="511" y="683"/>
                  </a:cubicBezTo>
                  <a:cubicBezTo>
                    <a:pt x="510" y="680"/>
                    <a:pt x="510" y="676"/>
                    <a:pt x="511" y="673"/>
                  </a:cubicBezTo>
                  <a:cubicBezTo>
                    <a:pt x="512" y="669"/>
                    <a:pt x="516" y="664"/>
                    <a:pt x="520" y="660"/>
                  </a:cubicBezTo>
                  <a:cubicBezTo>
                    <a:pt x="521" y="658"/>
                    <a:pt x="523" y="656"/>
                    <a:pt x="524" y="655"/>
                  </a:cubicBezTo>
                  <a:cubicBezTo>
                    <a:pt x="525" y="653"/>
                    <a:pt x="527" y="651"/>
                    <a:pt x="530" y="649"/>
                  </a:cubicBezTo>
                  <a:cubicBezTo>
                    <a:pt x="534" y="646"/>
                    <a:pt x="538" y="643"/>
                    <a:pt x="538" y="640"/>
                  </a:cubicBezTo>
                  <a:cubicBezTo>
                    <a:pt x="538" y="637"/>
                    <a:pt x="535" y="633"/>
                    <a:pt x="532" y="628"/>
                  </a:cubicBezTo>
                  <a:cubicBezTo>
                    <a:pt x="530" y="625"/>
                    <a:pt x="528" y="623"/>
                    <a:pt x="527" y="620"/>
                  </a:cubicBezTo>
                  <a:cubicBezTo>
                    <a:pt x="523" y="611"/>
                    <a:pt x="528" y="607"/>
                    <a:pt x="535" y="601"/>
                  </a:cubicBezTo>
                  <a:cubicBezTo>
                    <a:pt x="536" y="600"/>
                    <a:pt x="536" y="600"/>
                    <a:pt x="536" y="600"/>
                  </a:cubicBezTo>
                  <a:cubicBezTo>
                    <a:pt x="536" y="600"/>
                    <a:pt x="536" y="600"/>
                    <a:pt x="536" y="600"/>
                  </a:cubicBezTo>
                  <a:cubicBezTo>
                    <a:pt x="539" y="597"/>
                    <a:pt x="542" y="596"/>
                    <a:pt x="545" y="596"/>
                  </a:cubicBezTo>
                  <a:cubicBezTo>
                    <a:pt x="548" y="595"/>
                    <a:pt x="550" y="594"/>
                    <a:pt x="550" y="591"/>
                  </a:cubicBezTo>
                  <a:cubicBezTo>
                    <a:pt x="551" y="586"/>
                    <a:pt x="548" y="581"/>
                    <a:pt x="546" y="576"/>
                  </a:cubicBezTo>
                  <a:cubicBezTo>
                    <a:pt x="544" y="571"/>
                    <a:pt x="542" y="567"/>
                    <a:pt x="543" y="563"/>
                  </a:cubicBezTo>
                  <a:cubicBezTo>
                    <a:pt x="545" y="559"/>
                    <a:pt x="550" y="557"/>
                    <a:pt x="556" y="556"/>
                  </a:cubicBezTo>
                  <a:cubicBezTo>
                    <a:pt x="560" y="555"/>
                    <a:pt x="564" y="553"/>
                    <a:pt x="566" y="551"/>
                  </a:cubicBezTo>
                  <a:cubicBezTo>
                    <a:pt x="569" y="549"/>
                    <a:pt x="570" y="539"/>
                    <a:pt x="571" y="530"/>
                  </a:cubicBezTo>
                  <a:cubicBezTo>
                    <a:pt x="572" y="524"/>
                    <a:pt x="572" y="517"/>
                    <a:pt x="574" y="513"/>
                  </a:cubicBezTo>
                  <a:cubicBezTo>
                    <a:pt x="575" y="507"/>
                    <a:pt x="579" y="502"/>
                    <a:pt x="582" y="498"/>
                  </a:cubicBezTo>
                  <a:cubicBezTo>
                    <a:pt x="587" y="493"/>
                    <a:pt x="594" y="490"/>
                    <a:pt x="597" y="489"/>
                  </a:cubicBezTo>
                  <a:cubicBezTo>
                    <a:pt x="599" y="489"/>
                    <a:pt x="604" y="489"/>
                    <a:pt x="611" y="490"/>
                  </a:cubicBezTo>
                  <a:cubicBezTo>
                    <a:pt x="618" y="490"/>
                    <a:pt x="627" y="491"/>
                    <a:pt x="635" y="490"/>
                  </a:cubicBezTo>
                  <a:cubicBezTo>
                    <a:pt x="642" y="490"/>
                    <a:pt x="643" y="489"/>
                    <a:pt x="643" y="486"/>
                  </a:cubicBezTo>
                  <a:cubicBezTo>
                    <a:pt x="643" y="486"/>
                    <a:pt x="643" y="485"/>
                    <a:pt x="643" y="483"/>
                  </a:cubicBezTo>
                  <a:cubicBezTo>
                    <a:pt x="643" y="482"/>
                    <a:pt x="642" y="481"/>
                    <a:pt x="642" y="480"/>
                  </a:cubicBezTo>
                  <a:cubicBezTo>
                    <a:pt x="642" y="475"/>
                    <a:pt x="642" y="388"/>
                    <a:pt x="641" y="321"/>
                  </a:cubicBezTo>
                  <a:cubicBezTo>
                    <a:pt x="641" y="290"/>
                    <a:pt x="641" y="264"/>
                    <a:pt x="642" y="251"/>
                  </a:cubicBezTo>
                  <a:cubicBezTo>
                    <a:pt x="598" y="228"/>
                    <a:pt x="190" y="19"/>
                    <a:pt x="170" y="8"/>
                  </a:cubicBezTo>
                  <a:cubicBezTo>
                    <a:pt x="155" y="0"/>
                    <a:pt x="154" y="0"/>
                    <a:pt x="149" y="3"/>
                  </a:cubicBezTo>
                  <a:cubicBezTo>
                    <a:pt x="148" y="4"/>
                    <a:pt x="146" y="5"/>
                    <a:pt x="143" y="6"/>
                  </a:cubicBezTo>
                  <a:cubicBezTo>
                    <a:pt x="139" y="8"/>
                    <a:pt x="128" y="13"/>
                    <a:pt x="115" y="20"/>
                  </a:cubicBezTo>
                  <a:cubicBezTo>
                    <a:pt x="110" y="23"/>
                    <a:pt x="104" y="25"/>
                    <a:pt x="99" y="28"/>
                  </a:cubicBezTo>
                  <a:cubicBezTo>
                    <a:pt x="100" y="33"/>
                    <a:pt x="104" y="43"/>
                    <a:pt x="105" y="52"/>
                  </a:cubicBezTo>
                  <a:cubicBezTo>
                    <a:pt x="106" y="60"/>
                    <a:pt x="106" y="69"/>
                    <a:pt x="106" y="77"/>
                  </a:cubicBezTo>
                  <a:cubicBezTo>
                    <a:pt x="106" y="81"/>
                    <a:pt x="106" y="86"/>
                    <a:pt x="106" y="90"/>
                  </a:cubicBezTo>
                  <a:cubicBezTo>
                    <a:pt x="107" y="92"/>
                    <a:pt x="107" y="96"/>
                    <a:pt x="107" y="99"/>
                  </a:cubicBezTo>
                  <a:cubicBezTo>
                    <a:pt x="107" y="108"/>
                    <a:pt x="107" y="117"/>
                    <a:pt x="108" y="123"/>
                  </a:cubicBezTo>
                  <a:cubicBezTo>
                    <a:pt x="109" y="127"/>
                    <a:pt x="114" y="133"/>
                    <a:pt x="119" y="138"/>
                  </a:cubicBezTo>
                  <a:cubicBezTo>
                    <a:pt x="123" y="143"/>
                    <a:pt x="127" y="148"/>
                    <a:pt x="129" y="152"/>
                  </a:cubicBezTo>
                  <a:cubicBezTo>
                    <a:pt x="130" y="156"/>
                    <a:pt x="130" y="158"/>
                    <a:pt x="130" y="161"/>
                  </a:cubicBezTo>
                  <a:cubicBezTo>
                    <a:pt x="130" y="164"/>
                    <a:pt x="130" y="167"/>
                    <a:pt x="132" y="173"/>
                  </a:cubicBezTo>
                  <a:cubicBezTo>
                    <a:pt x="133" y="177"/>
                    <a:pt x="138" y="181"/>
                    <a:pt x="142" y="186"/>
                  </a:cubicBezTo>
                  <a:cubicBezTo>
                    <a:pt x="148" y="191"/>
                    <a:pt x="153" y="196"/>
                    <a:pt x="152" y="202"/>
                  </a:cubicBezTo>
                  <a:cubicBezTo>
                    <a:pt x="152" y="209"/>
                    <a:pt x="150" y="211"/>
                    <a:pt x="148" y="216"/>
                  </a:cubicBezTo>
                  <a:cubicBezTo>
                    <a:pt x="146" y="218"/>
                    <a:pt x="145" y="221"/>
                    <a:pt x="143" y="225"/>
                  </a:cubicBezTo>
                  <a:cubicBezTo>
                    <a:pt x="139" y="233"/>
                    <a:pt x="139" y="241"/>
                    <a:pt x="139" y="248"/>
                  </a:cubicBezTo>
                  <a:cubicBezTo>
                    <a:pt x="139" y="252"/>
                    <a:pt x="139" y="256"/>
                    <a:pt x="139" y="259"/>
                  </a:cubicBezTo>
                  <a:cubicBezTo>
                    <a:pt x="137" y="265"/>
                    <a:pt x="135" y="290"/>
                    <a:pt x="133" y="310"/>
                  </a:cubicBezTo>
                  <a:cubicBezTo>
                    <a:pt x="132" y="318"/>
                    <a:pt x="131" y="325"/>
                    <a:pt x="131" y="329"/>
                  </a:cubicBezTo>
                  <a:cubicBezTo>
                    <a:pt x="130" y="337"/>
                    <a:pt x="128" y="355"/>
                    <a:pt x="128" y="371"/>
                  </a:cubicBezTo>
                  <a:cubicBezTo>
                    <a:pt x="127" y="384"/>
                    <a:pt x="127" y="396"/>
                    <a:pt x="127" y="400"/>
                  </a:cubicBezTo>
                  <a:cubicBezTo>
                    <a:pt x="128" y="405"/>
                    <a:pt x="126" y="411"/>
                    <a:pt x="124" y="417"/>
                  </a:cubicBezTo>
                  <a:cubicBezTo>
                    <a:pt x="121" y="423"/>
                    <a:pt x="117" y="429"/>
                    <a:pt x="113" y="433"/>
                  </a:cubicBezTo>
                  <a:cubicBezTo>
                    <a:pt x="109" y="437"/>
                    <a:pt x="98" y="448"/>
                    <a:pt x="87" y="460"/>
                  </a:cubicBezTo>
                  <a:cubicBezTo>
                    <a:pt x="77" y="471"/>
                    <a:pt x="67" y="482"/>
                    <a:pt x="60" y="490"/>
                  </a:cubicBezTo>
                  <a:cubicBezTo>
                    <a:pt x="52" y="500"/>
                    <a:pt x="44" y="514"/>
                    <a:pt x="37" y="524"/>
                  </a:cubicBezTo>
                  <a:cubicBezTo>
                    <a:pt x="33" y="531"/>
                    <a:pt x="30" y="537"/>
                    <a:pt x="28" y="540"/>
                  </a:cubicBezTo>
                  <a:cubicBezTo>
                    <a:pt x="25" y="542"/>
                    <a:pt x="21" y="547"/>
                    <a:pt x="17" y="553"/>
                  </a:cubicBezTo>
                  <a:cubicBezTo>
                    <a:pt x="14" y="559"/>
                    <a:pt x="10" y="565"/>
                    <a:pt x="8" y="569"/>
                  </a:cubicBezTo>
                  <a:cubicBezTo>
                    <a:pt x="7" y="570"/>
                    <a:pt x="7" y="571"/>
                    <a:pt x="6" y="572"/>
                  </a:cubicBezTo>
                  <a:cubicBezTo>
                    <a:pt x="3" y="578"/>
                    <a:pt x="0" y="583"/>
                    <a:pt x="7" y="608"/>
                  </a:cubicBezTo>
                  <a:cubicBezTo>
                    <a:pt x="13" y="630"/>
                    <a:pt x="16" y="633"/>
                    <a:pt x="22" y="64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9" name="Freeform 400"/>
            <p:cNvSpPr>
              <a:spLocks/>
            </p:cNvSpPr>
            <p:nvPr/>
          </p:nvSpPr>
          <p:spPr bwMode="auto">
            <a:xfrm>
              <a:off x="5070985" y="4365519"/>
              <a:ext cx="8334" cy="4762"/>
            </a:xfrm>
            <a:custGeom>
              <a:avLst/>
              <a:gdLst>
                <a:gd name="T0" fmla="*/ 24 w 30"/>
                <a:gd name="T1" fmla="*/ 15 h 17"/>
                <a:gd name="T2" fmla="*/ 24 w 30"/>
                <a:gd name="T3" fmla="*/ 9 h 17"/>
                <a:gd name="T4" fmla="*/ 10 w 30"/>
                <a:gd name="T5" fmla="*/ 5 h 17"/>
                <a:gd name="T6" fmla="*/ 3 w 30"/>
                <a:gd name="T7" fmla="*/ 13 h 17"/>
                <a:gd name="T8" fmla="*/ 24 w 30"/>
                <a:gd name="T9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4" y="15"/>
                  </a:moveTo>
                  <a:cubicBezTo>
                    <a:pt x="30" y="13"/>
                    <a:pt x="27" y="11"/>
                    <a:pt x="24" y="9"/>
                  </a:cubicBezTo>
                  <a:cubicBezTo>
                    <a:pt x="21" y="6"/>
                    <a:pt x="17" y="8"/>
                    <a:pt x="10" y="5"/>
                  </a:cubicBezTo>
                  <a:cubicBezTo>
                    <a:pt x="2" y="0"/>
                    <a:pt x="0" y="8"/>
                    <a:pt x="3" y="13"/>
                  </a:cubicBezTo>
                  <a:cubicBezTo>
                    <a:pt x="6" y="17"/>
                    <a:pt x="18" y="16"/>
                    <a:pt x="24" y="1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0" name="Freeform 405"/>
            <p:cNvSpPr>
              <a:spLocks/>
            </p:cNvSpPr>
            <p:nvPr/>
          </p:nvSpPr>
          <p:spPr bwMode="auto">
            <a:xfrm>
              <a:off x="4820953" y="3927369"/>
              <a:ext cx="5953" cy="9525"/>
            </a:xfrm>
            <a:custGeom>
              <a:avLst/>
              <a:gdLst>
                <a:gd name="T0" fmla="*/ 0 w 19"/>
                <a:gd name="T1" fmla="*/ 7 h 33"/>
                <a:gd name="T2" fmla="*/ 2 w 19"/>
                <a:gd name="T3" fmla="*/ 19 h 33"/>
                <a:gd name="T4" fmla="*/ 6 w 19"/>
                <a:gd name="T5" fmla="*/ 29 h 33"/>
                <a:gd name="T6" fmla="*/ 13 w 19"/>
                <a:gd name="T7" fmla="*/ 27 h 33"/>
                <a:gd name="T8" fmla="*/ 18 w 19"/>
                <a:gd name="T9" fmla="*/ 20 h 33"/>
                <a:gd name="T10" fmla="*/ 16 w 19"/>
                <a:gd name="T11" fmla="*/ 9 h 33"/>
                <a:gd name="T12" fmla="*/ 0 w 19"/>
                <a:gd name="T13" fmla="*/ 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3">
                  <a:moveTo>
                    <a:pt x="0" y="7"/>
                  </a:moveTo>
                  <a:cubicBezTo>
                    <a:pt x="1" y="15"/>
                    <a:pt x="2" y="15"/>
                    <a:pt x="2" y="19"/>
                  </a:cubicBezTo>
                  <a:cubicBezTo>
                    <a:pt x="2" y="24"/>
                    <a:pt x="1" y="27"/>
                    <a:pt x="6" y="29"/>
                  </a:cubicBezTo>
                  <a:cubicBezTo>
                    <a:pt x="11" y="30"/>
                    <a:pt x="12" y="33"/>
                    <a:pt x="13" y="27"/>
                  </a:cubicBezTo>
                  <a:cubicBezTo>
                    <a:pt x="14" y="22"/>
                    <a:pt x="18" y="26"/>
                    <a:pt x="18" y="20"/>
                  </a:cubicBezTo>
                  <a:cubicBezTo>
                    <a:pt x="19" y="13"/>
                    <a:pt x="19" y="14"/>
                    <a:pt x="16" y="9"/>
                  </a:cubicBezTo>
                  <a:cubicBezTo>
                    <a:pt x="14" y="4"/>
                    <a:pt x="0" y="0"/>
                    <a:pt x="0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1" name="Freeform 408"/>
            <p:cNvSpPr>
              <a:spLocks/>
            </p:cNvSpPr>
            <p:nvPr/>
          </p:nvSpPr>
          <p:spPr bwMode="auto">
            <a:xfrm>
              <a:off x="4653075" y="3501125"/>
              <a:ext cx="14287" cy="26194"/>
            </a:xfrm>
            <a:custGeom>
              <a:avLst/>
              <a:gdLst>
                <a:gd name="T0" fmla="*/ 7 w 48"/>
                <a:gd name="T1" fmla="*/ 86 h 90"/>
                <a:gd name="T2" fmla="*/ 17 w 48"/>
                <a:gd name="T3" fmla="*/ 67 h 90"/>
                <a:gd name="T4" fmla="*/ 25 w 48"/>
                <a:gd name="T5" fmla="*/ 48 h 90"/>
                <a:gd name="T6" fmla="*/ 35 w 48"/>
                <a:gd name="T7" fmla="*/ 32 h 90"/>
                <a:gd name="T8" fmla="*/ 43 w 48"/>
                <a:gd name="T9" fmla="*/ 12 h 90"/>
                <a:gd name="T10" fmla="*/ 38 w 48"/>
                <a:gd name="T11" fmla="*/ 5 h 90"/>
                <a:gd name="T12" fmla="*/ 28 w 48"/>
                <a:gd name="T13" fmla="*/ 23 h 90"/>
                <a:gd name="T14" fmla="*/ 20 w 48"/>
                <a:gd name="T15" fmla="*/ 42 h 90"/>
                <a:gd name="T16" fmla="*/ 8 w 48"/>
                <a:gd name="T17" fmla="*/ 56 h 90"/>
                <a:gd name="T18" fmla="*/ 4 w 48"/>
                <a:gd name="T19" fmla="*/ 74 h 90"/>
                <a:gd name="T20" fmla="*/ 7 w 48"/>
                <a:gd name="T21" fmla="*/ 8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90">
                  <a:moveTo>
                    <a:pt x="7" y="86"/>
                  </a:moveTo>
                  <a:cubicBezTo>
                    <a:pt x="14" y="81"/>
                    <a:pt x="15" y="77"/>
                    <a:pt x="17" y="67"/>
                  </a:cubicBezTo>
                  <a:cubicBezTo>
                    <a:pt x="19" y="58"/>
                    <a:pt x="18" y="55"/>
                    <a:pt x="25" y="48"/>
                  </a:cubicBezTo>
                  <a:cubicBezTo>
                    <a:pt x="32" y="41"/>
                    <a:pt x="33" y="41"/>
                    <a:pt x="35" y="32"/>
                  </a:cubicBezTo>
                  <a:cubicBezTo>
                    <a:pt x="37" y="23"/>
                    <a:pt x="39" y="19"/>
                    <a:pt x="43" y="12"/>
                  </a:cubicBezTo>
                  <a:cubicBezTo>
                    <a:pt x="48" y="5"/>
                    <a:pt x="45" y="0"/>
                    <a:pt x="38" y="5"/>
                  </a:cubicBezTo>
                  <a:cubicBezTo>
                    <a:pt x="33" y="12"/>
                    <a:pt x="32" y="13"/>
                    <a:pt x="28" y="23"/>
                  </a:cubicBezTo>
                  <a:cubicBezTo>
                    <a:pt x="25" y="34"/>
                    <a:pt x="26" y="34"/>
                    <a:pt x="20" y="42"/>
                  </a:cubicBezTo>
                  <a:cubicBezTo>
                    <a:pt x="13" y="49"/>
                    <a:pt x="9" y="51"/>
                    <a:pt x="8" y="56"/>
                  </a:cubicBezTo>
                  <a:cubicBezTo>
                    <a:pt x="6" y="62"/>
                    <a:pt x="3" y="64"/>
                    <a:pt x="4" y="74"/>
                  </a:cubicBezTo>
                  <a:cubicBezTo>
                    <a:pt x="4" y="83"/>
                    <a:pt x="0" y="90"/>
                    <a:pt x="7" y="8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2" name="Freeform 410"/>
            <p:cNvSpPr>
              <a:spLocks/>
            </p:cNvSpPr>
            <p:nvPr/>
          </p:nvSpPr>
          <p:spPr bwMode="auto">
            <a:xfrm>
              <a:off x="4595925" y="3566610"/>
              <a:ext cx="10716" cy="10716"/>
            </a:xfrm>
            <a:custGeom>
              <a:avLst/>
              <a:gdLst>
                <a:gd name="T0" fmla="*/ 25 w 40"/>
                <a:gd name="T1" fmla="*/ 12 h 39"/>
                <a:gd name="T2" fmla="*/ 21 w 40"/>
                <a:gd name="T3" fmla="*/ 6 h 39"/>
                <a:gd name="T4" fmla="*/ 8 w 40"/>
                <a:gd name="T5" fmla="*/ 8 h 39"/>
                <a:gd name="T6" fmla="*/ 1 w 40"/>
                <a:gd name="T7" fmla="*/ 20 h 39"/>
                <a:gd name="T8" fmla="*/ 9 w 40"/>
                <a:gd name="T9" fmla="*/ 34 h 39"/>
                <a:gd name="T10" fmla="*/ 24 w 40"/>
                <a:gd name="T11" fmla="*/ 34 h 39"/>
                <a:gd name="T12" fmla="*/ 35 w 40"/>
                <a:gd name="T13" fmla="*/ 32 h 39"/>
                <a:gd name="T14" fmla="*/ 31 w 40"/>
                <a:gd name="T15" fmla="*/ 24 h 39"/>
                <a:gd name="T16" fmla="*/ 34 w 40"/>
                <a:gd name="T17" fmla="*/ 16 h 39"/>
                <a:gd name="T18" fmla="*/ 25 w 40"/>
                <a:gd name="T19" fmla="*/ 1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39">
                  <a:moveTo>
                    <a:pt x="25" y="12"/>
                  </a:moveTo>
                  <a:cubicBezTo>
                    <a:pt x="22" y="10"/>
                    <a:pt x="22" y="9"/>
                    <a:pt x="21" y="6"/>
                  </a:cubicBezTo>
                  <a:cubicBezTo>
                    <a:pt x="19" y="3"/>
                    <a:pt x="12" y="0"/>
                    <a:pt x="8" y="8"/>
                  </a:cubicBezTo>
                  <a:cubicBezTo>
                    <a:pt x="2" y="13"/>
                    <a:pt x="0" y="13"/>
                    <a:pt x="1" y="20"/>
                  </a:cubicBezTo>
                  <a:cubicBezTo>
                    <a:pt x="2" y="26"/>
                    <a:pt x="2" y="29"/>
                    <a:pt x="9" y="34"/>
                  </a:cubicBezTo>
                  <a:cubicBezTo>
                    <a:pt x="16" y="39"/>
                    <a:pt x="19" y="37"/>
                    <a:pt x="24" y="34"/>
                  </a:cubicBezTo>
                  <a:cubicBezTo>
                    <a:pt x="28" y="30"/>
                    <a:pt x="29" y="37"/>
                    <a:pt x="35" y="32"/>
                  </a:cubicBezTo>
                  <a:cubicBezTo>
                    <a:pt x="40" y="26"/>
                    <a:pt x="32" y="28"/>
                    <a:pt x="31" y="24"/>
                  </a:cubicBezTo>
                  <a:cubicBezTo>
                    <a:pt x="30" y="19"/>
                    <a:pt x="33" y="20"/>
                    <a:pt x="34" y="16"/>
                  </a:cubicBezTo>
                  <a:cubicBezTo>
                    <a:pt x="34" y="13"/>
                    <a:pt x="28" y="15"/>
                    <a:pt x="25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3" name="Freeform 412"/>
            <p:cNvSpPr>
              <a:spLocks/>
            </p:cNvSpPr>
            <p:nvPr/>
          </p:nvSpPr>
          <p:spPr bwMode="auto">
            <a:xfrm>
              <a:off x="5188856" y="4100010"/>
              <a:ext cx="32147" cy="28575"/>
            </a:xfrm>
            <a:custGeom>
              <a:avLst/>
              <a:gdLst>
                <a:gd name="T0" fmla="*/ 65 w 114"/>
                <a:gd name="T1" fmla="*/ 1 h 103"/>
                <a:gd name="T2" fmla="*/ 49 w 114"/>
                <a:gd name="T3" fmla="*/ 1 h 103"/>
                <a:gd name="T4" fmla="*/ 39 w 114"/>
                <a:gd name="T5" fmla="*/ 7 h 103"/>
                <a:gd name="T6" fmla="*/ 28 w 114"/>
                <a:gd name="T7" fmla="*/ 22 h 103"/>
                <a:gd name="T8" fmla="*/ 11 w 114"/>
                <a:gd name="T9" fmla="*/ 48 h 103"/>
                <a:gd name="T10" fmla="*/ 0 w 114"/>
                <a:gd name="T11" fmla="*/ 65 h 103"/>
                <a:gd name="T12" fmla="*/ 50 w 114"/>
                <a:gd name="T13" fmla="*/ 74 h 103"/>
                <a:gd name="T14" fmla="*/ 52 w 114"/>
                <a:gd name="T15" fmla="*/ 74 h 103"/>
                <a:gd name="T16" fmla="*/ 69 w 114"/>
                <a:gd name="T17" fmla="*/ 91 h 103"/>
                <a:gd name="T18" fmla="*/ 73 w 114"/>
                <a:gd name="T19" fmla="*/ 99 h 103"/>
                <a:gd name="T20" fmla="*/ 111 w 114"/>
                <a:gd name="T21" fmla="*/ 99 h 103"/>
                <a:gd name="T22" fmla="*/ 114 w 114"/>
                <a:gd name="T23" fmla="*/ 98 h 103"/>
                <a:gd name="T24" fmla="*/ 113 w 114"/>
                <a:gd name="T25" fmla="*/ 98 h 103"/>
                <a:gd name="T26" fmla="*/ 105 w 114"/>
                <a:gd name="T27" fmla="*/ 76 h 103"/>
                <a:gd name="T28" fmla="*/ 100 w 114"/>
                <a:gd name="T29" fmla="*/ 62 h 103"/>
                <a:gd name="T30" fmla="*/ 88 w 114"/>
                <a:gd name="T31" fmla="*/ 49 h 103"/>
                <a:gd name="T32" fmla="*/ 83 w 114"/>
                <a:gd name="T33" fmla="*/ 35 h 103"/>
                <a:gd name="T34" fmla="*/ 100 w 114"/>
                <a:gd name="T35" fmla="*/ 27 h 103"/>
                <a:gd name="T36" fmla="*/ 103 w 114"/>
                <a:gd name="T37" fmla="*/ 20 h 103"/>
                <a:gd name="T38" fmla="*/ 84 w 114"/>
                <a:gd name="T39" fmla="*/ 9 h 103"/>
                <a:gd name="T40" fmla="*/ 65 w 114"/>
                <a:gd name="T41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4" h="103">
                  <a:moveTo>
                    <a:pt x="65" y="1"/>
                  </a:moveTo>
                  <a:cubicBezTo>
                    <a:pt x="60" y="0"/>
                    <a:pt x="54" y="0"/>
                    <a:pt x="49" y="1"/>
                  </a:cubicBezTo>
                  <a:cubicBezTo>
                    <a:pt x="45" y="2"/>
                    <a:pt x="41" y="4"/>
                    <a:pt x="39" y="7"/>
                  </a:cubicBezTo>
                  <a:cubicBezTo>
                    <a:pt x="36" y="10"/>
                    <a:pt x="32" y="15"/>
                    <a:pt x="28" y="22"/>
                  </a:cubicBezTo>
                  <a:cubicBezTo>
                    <a:pt x="21" y="32"/>
                    <a:pt x="14" y="44"/>
                    <a:pt x="11" y="48"/>
                  </a:cubicBezTo>
                  <a:cubicBezTo>
                    <a:pt x="9" y="52"/>
                    <a:pt x="4" y="60"/>
                    <a:pt x="0" y="65"/>
                  </a:cubicBezTo>
                  <a:cubicBezTo>
                    <a:pt x="24" y="68"/>
                    <a:pt x="39" y="71"/>
                    <a:pt x="50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64" y="77"/>
                    <a:pt x="66" y="84"/>
                    <a:pt x="69" y="91"/>
                  </a:cubicBezTo>
                  <a:cubicBezTo>
                    <a:pt x="70" y="94"/>
                    <a:pt x="71" y="97"/>
                    <a:pt x="73" y="99"/>
                  </a:cubicBezTo>
                  <a:cubicBezTo>
                    <a:pt x="76" y="103"/>
                    <a:pt x="95" y="101"/>
                    <a:pt x="111" y="99"/>
                  </a:cubicBezTo>
                  <a:cubicBezTo>
                    <a:pt x="112" y="99"/>
                    <a:pt x="113" y="99"/>
                    <a:pt x="114" y="98"/>
                  </a:cubicBezTo>
                  <a:cubicBezTo>
                    <a:pt x="114" y="98"/>
                    <a:pt x="114" y="98"/>
                    <a:pt x="113" y="98"/>
                  </a:cubicBezTo>
                  <a:cubicBezTo>
                    <a:pt x="108" y="90"/>
                    <a:pt x="108" y="85"/>
                    <a:pt x="105" y="76"/>
                  </a:cubicBezTo>
                  <a:cubicBezTo>
                    <a:pt x="101" y="67"/>
                    <a:pt x="100" y="64"/>
                    <a:pt x="100" y="62"/>
                  </a:cubicBezTo>
                  <a:cubicBezTo>
                    <a:pt x="100" y="59"/>
                    <a:pt x="93" y="52"/>
                    <a:pt x="88" y="49"/>
                  </a:cubicBezTo>
                  <a:cubicBezTo>
                    <a:pt x="84" y="46"/>
                    <a:pt x="82" y="38"/>
                    <a:pt x="83" y="35"/>
                  </a:cubicBezTo>
                  <a:cubicBezTo>
                    <a:pt x="83" y="33"/>
                    <a:pt x="95" y="28"/>
                    <a:pt x="100" y="27"/>
                  </a:cubicBezTo>
                  <a:cubicBezTo>
                    <a:pt x="103" y="26"/>
                    <a:pt x="104" y="23"/>
                    <a:pt x="103" y="20"/>
                  </a:cubicBezTo>
                  <a:cubicBezTo>
                    <a:pt x="98" y="17"/>
                    <a:pt x="91" y="12"/>
                    <a:pt x="84" y="9"/>
                  </a:cubicBezTo>
                  <a:cubicBezTo>
                    <a:pt x="77" y="5"/>
                    <a:pt x="70" y="2"/>
                    <a:pt x="65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4" name="Freeform 417"/>
            <p:cNvSpPr>
              <a:spLocks/>
            </p:cNvSpPr>
            <p:nvPr/>
          </p:nvSpPr>
          <p:spPr bwMode="auto">
            <a:xfrm>
              <a:off x="4449478" y="3605900"/>
              <a:ext cx="5953" cy="4763"/>
            </a:xfrm>
            <a:custGeom>
              <a:avLst/>
              <a:gdLst>
                <a:gd name="T0" fmla="*/ 3 w 22"/>
                <a:gd name="T1" fmla="*/ 14 h 16"/>
                <a:gd name="T2" fmla="*/ 9 w 22"/>
                <a:gd name="T3" fmla="*/ 14 h 16"/>
                <a:gd name="T4" fmla="*/ 12 w 22"/>
                <a:gd name="T5" fmla="*/ 10 h 16"/>
                <a:gd name="T6" fmla="*/ 20 w 22"/>
                <a:gd name="T7" fmla="*/ 3 h 16"/>
                <a:gd name="T8" fmla="*/ 15 w 22"/>
                <a:gd name="T9" fmla="*/ 4 h 16"/>
                <a:gd name="T10" fmla="*/ 5 w 22"/>
                <a:gd name="T11" fmla="*/ 12 h 16"/>
                <a:gd name="T12" fmla="*/ 3 w 22"/>
                <a:gd name="T1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16">
                  <a:moveTo>
                    <a:pt x="3" y="14"/>
                  </a:moveTo>
                  <a:cubicBezTo>
                    <a:pt x="6" y="15"/>
                    <a:pt x="9" y="16"/>
                    <a:pt x="9" y="14"/>
                  </a:cubicBezTo>
                  <a:cubicBezTo>
                    <a:pt x="9" y="12"/>
                    <a:pt x="10" y="13"/>
                    <a:pt x="12" y="10"/>
                  </a:cubicBezTo>
                  <a:cubicBezTo>
                    <a:pt x="14" y="8"/>
                    <a:pt x="18" y="5"/>
                    <a:pt x="20" y="3"/>
                  </a:cubicBezTo>
                  <a:cubicBezTo>
                    <a:pt x="22" y="1"/>
                    <a:pt x="18" y="0"/>
                    <a:pt x="15" y="4"/>
                  </a:cubicBezTo>
                  <a:cubicBezTo>
                    <a:pt x="12" y="8"/>
                    <a:pt x="10" y="8"/>
                    <a:pt x="5" y="12"/>
                  </a:cubicBezTo>
                  <a:cubicBezTo>
                    <a:pt x="3" y="12"/>
                    <a:pt x="0" y="13"/>
                    <a:pt x="3" y="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5" name="Freeform 418"/>
            <p:cNvSpPr>
              <a:spLocks/>
            </p:cNvSpPr>
            <p:nvPr/>
          </p:nvSpPr>
          <p:spPr bwMode="auto">
            <a:xfrm>
              <a:off x="4772138" y="3463025"/>
              <a:ext cx="3572" cy="7144"/>
            </a:xfrm>
            <a:custGeom>
              <a:avLst/>
              <a:gdLst>
                <a:gd name="T0" fmla="*/ 12 w 13"/>
                <a:gd name="T1" fmla="*/ 17 h 23"/>
                <a:gd name="T2" fmla="*/ 5 w 13"/>
                <a:gd name="T3" fmla="*/ 7 h 23"/>
                <a:gd name="T4" fmla="*/ 3 w 13"/>
                <a:gd name="T5" fmla="*/ 14 h 23"/>
                <a:gd name="T6" fmla="*/ 12 w 13"/>
                <a:gd name="T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3">
                  <a:moveTo>
                    <a:pt x="12" y="17"/>
                  </a:moveTo>
                  <a:cubicBezTo>
                    <a:pt x="13" y="11"/>
                    <a:pt x="10" y="0"/>
                    <a:pt x="5" y="7"/>
                  </a:cubicBezTo>
                  <a:cubicBezTo>
                    <a:pt x="1" y="10"/>
                    <a:pt x="0" y="12"/>
                    <a:pt x="3" y="14"/>
                  </a:cubicBezTo>
                  <a:cubicBezTo>
                    <a:pt x="7" y="17"/>
                    <a:pt x="10" y="23"/>
                    <a:pt x="12" y="1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6" name="Freeform 419"/>
            <p:cNvSpPr>
              <a:spLocks/>
            </p:cNvSpPr>
            <p:nvPr/>
          </p:nvSpPr>
          <p:spPr bwMode="auto">
            <a:xfrm>
              <a:off x="4453050" y="3596375"/>
              <a:ext cx="9525" cy="3572"/>
            </a:xfrm>
            <a:custGeom>
              <a:avLst/>
              <a:gdLst>
                <a:gd name="T0" fmla="*/ 6 w 32"/>
                <a:gd name="T1" fmla="*/ 12 h 12"/>
                <a:gd name="T2" fmla="*/ 18 w 32"/>
                <a:gd name="T3" fmla="*/ 9 h 12"/>
                <a:gd name="T4" fmla="*/ 28 w 32"/>
                <a:gd name="T5" fmla="*/ 5 h 12"/>
                <a:gd name="T6" fmla="*/ 18 w 32"/>
                <a:gd name="T7" fmla="*/ 3 h 12"/>
                <a:gd name="T8" fmla="*/ 7 w 32"/>
                <a:gd name="T9" fmla="*/ 7 h 12"/>
                <a:gd name="T10" fmla="*/ 6 w 32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12">
                  <a:moveTo>
                    <a:pt x="6" y="12"/>
                  </a:moveTo>
                  <a:cubicBezTo>
                    <a:pt x="12" y="12"/>
                    <a:pt x="14" y="11"/>
                    <a:pt x="18" y="9"/>
                  </a:cubicBezTo>
                  <a:cubicBezTo>
                    <a:pt x="23" y="8"/>
                    <a:pt x="24" y="9"/>
                    <a:pt x="28" y="5"/>
                  </a:cubicBezTo>
                  <a:cubicBezTo>
                    <a:pt x="32" y="1"/>
                    <a:pt x="28" y="0"/>
                    <a:pt x="18" y="3"/>
                  </a:cubicBezTo>
                  <a:cubicBezTo>
                    <a:pt x="11" y="6"/>
                    <a:pt x="9" y="5"/>
                    <a:pt x="7" y="7"/>
                  </a:cubicBezTo>
                  <a:cubicBezTo>
                    <a:pt x="5" y="9"/>
                    <a:pt x="0" y="12"/>
                    <a:pt x="6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7" name="Freeform 421"/>
            <p:cNvSpPr>
              <a:spLocks/>
            </p:cNvSpPr>
            <p:nvPr/>
          </p:nvSpPr>
          <p:spPr bwMode="auto">
            <a:xfrm>
              <a:off x="4754278" y="3455882"/>
              <a:ext cx="15478" cy="10716"/>
            </a:xfrm>
            <a:custGeom>
              <a:avLst/>
              <a:gdLst>
                <a:gd name="T0" fmla="*/ 8 w 52"/>
                <a:gd name="T1" fmla="*/ 8 h 36"/>
                <a:gd name="T2" fmla="*/ 6 w 52"/>
                <a:gd name="T3" fmla="*/ 15 h 36"/>
                <a:gd name="T4" fmla="*/ 17 w 52"/>
                <a:gd name="T5" fmla="*/ 18 h 36"/>
                <a:gd name="T6" fmla="*/ 24 w 52"/>
                <a:gd name="T7" fmla="*/ 30 h 36"/>
                <a:gd name="T8" fmla="*/ 36 w 52"/>
                <a:gd name="T9" fmla="*/ 28 h 36"/>
                <a:gd name="T10" fmla="*/ 49 w 52"/>
                <a:gd name="T11" fmla="*/ 21 h 36"/>
                <a:gd name="T12" fmla="*/ 41 w 52"/>
                <a:gd name="T13" fmla="*/ 11 h 36"/>
                <a:gd name="T14" fmla="*/ 33 w 52"/>
                <a:gd name="T15" fmla="*/ 3 h 36"/>
                <a:gd name="T16" fmla="*/ 23 w 52"/>
                <a:gd name="T17" fmla="*/ 9 h 36"/>
                <a:gd name="T18" fmla="*/ 8 w 52"/>
                <a:gd name="T19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36">
                  <a:moveTo>
                    <a:pt x="8" y="8"/>
                  </a:moveTo>
                  <a:cubicBezTo>
                    <a:pt x="0" y="9"/>
                    <a:pt x="4" y="12"/>
                    <a:pt x="6" y="15"/>
                  </a:cubicBezTo>
                  <a:cubicBezTo>
                    <a:pt x="8" y="18"/>
                    <a:pt x="12" y="16"/>
                    <a:pt x="17" y="18"/>
                  </a:cubicBezTo>
                  <a:cubicBezTo>
                    <a:pt x="22" y="21"/>
                    <a:pt x="19" y="24"/>
                    <a:pt x="24" y="30"/>
                  </a:cubicBezTo>
                  <a:cubicBezTo>
                    <a:pt x="29" y="36"/>
                    <a:pt x="30" y="29"/>
                    <a:pt x="36" y="28"/>
                  </a:cubicBezTo>
                  <a:cubicBezTo>
                    <a:pt x="43" y="26"/>
                    <a:pt x="46" y="27"/>
                    <a:pt x="49" y="21"/>
                  </a:cubicBezTo>
                  <a:cubicBezTo>
                    <a:pt x="52" y="15"/>
                    <a:pt x="46" y="17"/>
                    <a:pt x="41" y="11"/>
                  </a:cubicBezTo>
                  <a:cubicBezTo>
                    <a:pt x="37" y="5"/>
                    <a:pt x="37" y="5"/>
                    <a:pt x="33" y="3"/>
                  </a:cubicBezTo>
                  <a:cubicBezTo>
                    <a:pt x="28" y="0"/>
                    <a:pt x="27" y="4"/>
                    <a:pt x="23" y="9"/>
                  </a:cubicBezTo>
                  <a:cubicBezTo>
                    <a:pt x="18" y="13"/>
                    <a:pt x="19" y="9"/>
                    <a:pt x="8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8" name="Freeform 422"/>
            <p:cNvSpPr>
              <a:spLocks/>
            </p:cNvSpPr>
            <p:nvPr/>
          </p:nvSpPr>
          <p:spPr bwMode="auto">
            <a:xfrm>
              <a:off x="4761422" y="3426116"/>
              <a:ext cx="5953" cy="7144"/>
            </a:xfrm>
            <a:custGeom>
              <a:avLst/>
              <a:gdLst>
                <a:gd name="T0" fmla="*/ 22 w 23"/>
                <a:gd name="T1" fmla="*/ 4 h 26"/>
                <a:gd name="T2" fmla="*/ 15 w 23"/>
                <a:gd name="T3" fmla="*/ 1 h 26"/>
                <a:gd name="T4" fmla="*/ 8 w 23"/>
                <a:gd name="T5" fmla="*/ 12 h 26"/>
                <a:gd name="T6" fmla="*/ 2 w 23"/>
                <a:gd name="T7" fmla="*/ 18 h 26"/>
                <a:gd name="T8" fmla="*/ 12 w 23"/>
                <a:gd name="T9" fmla="*/ 22 h 26"/>
                <a:gd name="T10" fmla="*/ 22 w 23"/>
                <a:gd name="T11" fmla="*/ 14 h 26"/>
                <a:gd name="T12" fmla="*/ 22 w 23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26">
                  <a:moveTo>
                    <a:pt x="22" y="4"/>
                  </a:moveTo>
                  <a:cubicBezTo>
                    <a:pt x="21" y="1"/>
                    <a:pt x="20" y="0"/>
                    <a:pt x="15" y="1"/>
                  </a:cubicBezTo>
                  <a:cubicBezTo>
                    <a:pt x="7" y="7"/>
                    <a:pt x="11" y="11"/>
                    <a:pt x="8" y="12"/>
                  </a:cubicBezTo>
                  <a:cubicBezTo>
                    <a:pt x="5" y="14"/>
                    <a:pt x="0" y="14"/>
                    <a:pt x="2" y="18"/>
                  </a:cubicBezTo>
                  <a:cubicBezTo>
                    <a:pt x="4" y="23"/>
                    <a:pt x="7" y="26"/>
                    <a:pt x="12" y="22"/>
                  </a:cubicBezTo>
                  <a:cubicBezTo>
                    <a:pt x="17" y="18"/>
                    <a:pt x="22" y="21"/>
                    <a:pt x="22" y="14"/>
                  </a:cubicBezTo>
                  <a:cubicBezTo>
                    <a:pt x="22" y="8"/>
                    <a:pt x="23" y="7"/>
                    <a:pt x="22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9" name="Freeform 423"/>
            <p:cNvSpPr>
              <a:spLocks/>
            </p:cNvSpPr>
            <p:nvPr/>
          </p:nvSpPr>
          <p:spPr bwMode="auto">
            <a:xfrm>
              <a:off x="4423285" y="3640428"/>
              <a:ext cx="9525" cy="5953"/>
            </a:xfrm>
            <a:custGeom>
              <a:avLst/>
              <a:gdLst>
                <a:gd name="T0" fmla="*/ 6 w 31"/>
                <a:gd name="T1" fmla="*/ 12 h 20"/>
                <a:gd name="T2" fmla="*/ 18 w 31"/>
                <a:gd name="T3" fmla="*/ 16 h 20"/>
                <a:gd name="T4" fmla="*/ 30 w 31"/>
                <a:gd name="T5" fmla="*/ 17 h 20"/>
                <a:gd name="T6" fmla="*/ 24 w 31"/>
                <a:gd name="T7" fmla="*/ 10 h 20"/>
                <a:gd name="T8" fmla="*/ 5 w 31"/>
                <a:gd name="T9" fmla="*/ 6 h 20"/>
                <a:gd name="T10" fmla="*/ 6 w 31"/>
                <a:gd name="T11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20">
                  <a:moveTo>
                    <a:pt x="6" y="12"/>
                  </a:moveTo>
                  <a:cubicBezTo>
                    <a:pt x="11" y="13"/>
                    <a:pt x="14" y="13"/>
                    <a:pt x="18" y="16"/>
                  </a:cubicBezTo>
                  <a:cubicBezTo>
                    <a:pt x="23" y="18"/>
                    <a:pt x="30" y="20"/>
                    <a:pt x="30" y="17"/>
                  </a:cubicBezTo>
                  <a:cubicBezTo>
                    <a:pt x="31" y="14"/>
                    <a:pt x="26" y="15"/>
                    <a:pt x="24" y="10"/>
                  </a:cubicBezTo>
                  <a:cubicBezTo>
                    <a:pt x="21" y="5"/>
                    <a:pt x="10" y="0"/>
                    <a:pt x="5" y="6"/>
                  </a:cubicBezTo>
                  <a:cubicBezTo>
                    <a:pt x="2" y="10"/>
                    <a:pt x="0" y="10"/>
                    <a:pt x="6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0" name="Freeform 424"/>
            <p:cNvSpPr>
              <a:spLocks/>
            </p:cNvSpPr>
            <p:nvPr/>
          </p:nvSpPr>
          <p:spPr bwMode="auto">
            <a:xfrm>
              <a:off x="4454241" y="3616616"/>
              <a:ext cx="11906" cy="7144"/>
            </a:xfrm>
            <a:custGeom>
              <a:avLst/>
              <a:gdLst>
                <a:gd name="T0" fmla="*/ 2 w 42"/>
                <a:gd name="T1" fmla="*/ 22 h 27"/>
                <a:gd name="T2" fmla="*/ 11 w 42"/>
                <a:gd name="T3" fmla="*/ 26 h 27"/>
                <a:gd name="T4" fmla="*/ 24 w 42"/>
                <a:gd name="T5" fmla="*/ 22 h 27"/>
                <a:gd name="T6" fmla="*/ 37 w 42"/>
                <a:gd name="T7" fmla="*/ 14 h 27"/>
                <a:gd name="T8" fmla="*/ 37 w 42"/>
                <a:gd name="T9" fmla="*/ 6 h 27"/>
                <a:gd name="T10" fmla="*/ 18 w 42"/>
                <a:gd name="T11" fmla="*/ 9 h 27"/>
                <a:gd name="T12" fmla="*/ 10 w 42"/>
                <a:gd name="T13" fmla="*/ 15 h 27"/>
                <a:gd name="T14" fmla="*/ 2 w 42"/>
                <a:gd name="T15" fmla="*/ 2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7">
                  <a:moveTo>
                    <a:pt x="2" y="22"/>
                  </a:moveTo>
                  <a:cubicBezTo>
                    <a:pt x="5" y="25"/>
                    <a:pt x="4" y="27"/>
                    <a:pt x="11" y="26"/>
                  </a:cubicBezTo>
                  <a:cubicBezTo>
                    <a:pt x="18" y="26"/>
                    <a:pt x="17" y="26"/>
                    <a:pt x="24" y="22"/>
                  </a:cubicBezTo>
                  <a:cubicBezTo>
                    <a:pt x="30" y="18"/>
                    <a:pt x="34" y="20"/>
                    <a:pt x="37" y="14"/>
                  </a:cubicBezTo>
                  <a:cubicBezTo>
                    <a:pt x="39" y="8"/>
                    <a:pt x="42" y="7"/>
                    <a:pt x="37" y="6"/>
                  </a:cubicBezTo>
                  <a:cubicBezTo>
                    <a:pt x="32" y="5"/>
                    <a:pt x="23" y="0"/>
                    <a:pt x="18" y="9"/>
                  </a:cubicBezTo>
                  <a:cubicBezTo>
                    <a:pt x="16" y="12"/>
                    <a:pt x="16" y="12"/>
                    <a:pt x="10" y="15"/>
                  </a:cubicBezTo>
                  <a:cubicBezTo>
                    <a:pt x="5" y="17"/>
                    <a:pt x="0" y="19"/>
                    <a:pt x="2" y="2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1" name="Freeform 426"/>
            <p:cNvSpPr>
              <a:spLocks/>
            </p:cNvSpPr>
            <p:nvPr/>
          </p:nvSpPr>
          <p:spPr bwMode="auto">
            <a:xfrm>
              <a:off x="4428047" y="3634475"/>
              <a:ext cx="9525" cy="8334"/>
            </a:xfrm>
            <a:custGeom>
              <a:avLst/>
              <a:gdLst>
                <a:gd name="T0" fmla="*/ 7 w 32"/>
                <a:gd name="T1" fmla="*/ 16 h 28"/>
                <a:gd name="T2" fmla="*/ 20 w 32"/>
                <a:gd name="T3" fmla="*/ 19 h 28"/>
                <a:gd name="T4" fmla="*/ 28 w 32"/>
                <a:gd name="T5" fmla="*/ 24 h 28"/>
                <a:gd name="T6" fmla="*/ 28 w 32"/>
                <a:gd name="T7" fmla="*/ 15 h 28"/>
                <a:gd name="T8" fmla="*/ 9 w 32"/>
                <a:gd name="T9" fmla="*/ 10 h 28"/>
                <a:gd name="T10" fmla="*/ 7 w 32"/>
                <a:gd name="T11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8">
                  <a:moveTo>
                    <a:pt x="7" y="16"/>
                  </a:moveTo>
                  <a:cubicBezTo>
                    <a:pt x="13" y="17"/>
                    <a:pt x="16" y="15"/>
                    <a:pt x="20" y="19"/>
                  </a:cubicBezTo>
                  <a:cubicBezTo>
                    <a:pt x="25" y="24"/>
                    <a:pt x="25" y="28"/>
                    <a:pt x="28" y="24"/>
                  </a:cubicBezTo>
                  <a:cubicBezTo>
                    <a:pt x="31" y="19"/>
                    <a:pt x="32" y="17"/>
                    <a:pt x="28" y="15"/>
                  </a:cubicBezTo>
                  <a:cubicBezTo>
                    <a:pt x="24" y="14"/>
                    <a:pt x="19" y="0"/>
                    <a:pt x="9" y="10"/>
                  </a:cubicBezTo>
                  <a:cubicBezTo>
                    <a:pt x="5" y="13"/>
                    <a:pt x="0" y="15"/>
                    <a:pt x="7" y="1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2" name="Freeform 428"/>
            <p:cNvSpPr>
              <a:spLocks/>
            </p:cNvSpPr>
            <p:nvPr/>
          </p:nvSpPr>
          <p:spPr bwMode="auto">
            <a:xfrm>
              <a:off x="4447097" y="3601138"/>
              <a:ext cx="3572" cy="7144"/>
            </a:xfrm>
            <a:custGeom>
              <a:avLst/>
              <a:gdLst>
                <a:gd name="T0" fmla="*/ 9 w 14"/>
                <a:gd name="T1" fmla="*/ 22 h 25"/>
                <a:gd name="T2" fmla="*/ 14 w 14"/>
                <a:gd name="T3" fmla="*/ 14 h 25"/>
                <a:gd name="T4" fmla="*/ 7 w 14"/>
                <a:gd name="T5" fmla="*/ 8 h 25"/>
                <a:gd name="T6" fmla="*/ 5 w 14"/>
                <a:gd name="T7" fmla="*/ 17 h 25"/>
                <a:gd name="T8" fmla="*/ 0 w 14"/>
                <a:gd name="T9" fmla="*/ 24 h 25"/>
                <a:gd name="T10" fmla="*/ 9 w 14"/>
                <a:gd name="T11" fmla="*/ 2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5">
                  <a:moveTo>
                    <a:pt x="9" y="22"/>
                  </a:moveTo>
                  <a:cubicBezTo>
                    <a:pt x="12" y="18"/>
                    <a:pt x="14" y="17"/>
                    <a:pt x="14" y="14"/>
                  </a:cubicBezTo>
                  <a:cubicBezTo>
                    <a:pt x="13" y="10"/>
                    <a:pt x="9" y="0"/>
                    <a:pt x="7" y="8"/>
                  </a:cubicBezTo>
                  <a:cubicBezTo>
                    <a:pt x="6" y="13"/>
                    <a:pt x="7" y="14"/>
                    <a:pt x="5" y="17"/>
                  </a:cubicBezTo>
                  <a:cubicBezTo>
                    <a:pt x="2" y="20"/>
                    <a:pt x="0" y="24"/>
                    <a:pt x="0" y="24"/>
                  </a:cubicBezTo>
                  <a:cubicBezTo>
                    <a:pt x="0" y="24"/>
                    <a:pt x="6" y="25"/>
                    <a:pt x="9" y="2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3" name="Freeform 429"/>
            <p:cNvSpPr>
              <a:spLocks/>
            </p:cNvSpPr>
            <p:nvPr/>
          </p:nvSpPr>
          <p:spPr bwMode="auto">
            <a:xfrm>
              <a:off x="4792378" y="3945228"/>
              <a:ext cx="3572" cy="4763"/>
            </a:xfrm>
            <a:custGeom>
              <a:avLst/>
              <a:gdLst>
                <a:gd name="T0" fmla="*/ 11 w 12"/>
                <a:gd name="T1" fmla="*/ 10 h 18"/>
                <a:gd name="T2" fmla="*/ 6 w 12"/>
                <a:gd name="T3" fmla="*/ 7 h 18"/>
                <a:gd name="T4" fmla="*/ 2 w 12"/>
                <a:gd name="T5" fmla="*/ 15 h 18"/>
                <a:gd name="T6" fmla="*/ 11 w 12"/>
                <a:gd name="T7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8">
                  <a:moveTo>
                    <a:pt x="11" y="10"/>
                  </a:moveTo>
                  <a:cubicBezTo>
                    <a:pt x="12" y="6"/>
                    <a:pt x="9" y="0"/>
                    <a:pt x="6" y="7"/>
                  </a:cubicBezTo>
                  <a:cubicBezTo>
                    <a:pt x="6" y="9"/>
                    <a:pt x="3" y="10"/>
                    <a:pt x="2" y="15"/>
                  </a:cubicBezTo>
                  <a:cubicBezTo>
                    <a:pt x="0" y="18"/>
                    <a:pt x="10" y="14"/>
                    <a:pt x="11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4" name="Freeform 437"/>
            <p:cNvSpPr>
              <a:spLocks/>
            </p:cNvSpPr>
            <p:nvPr/>
          </p:nvSpPr>
          <p:spPr bwMode="auto">
            <a:xfrm>
              <a:off x="4529250" y="4038097"/>
              <a:ext cx="278606" cy="257175"/>
            </a:xfrm>
            <a:custGeom>
              <a:avLst/>
              <a:gdLst>
                <a:gd name="T0" fmla="*/ 15 w 969"/>
                <a:gd name="T1" fmla="*/ 464 h 899"/>
                <a:gd name="T2" fmla="*/ 6 w 969"/>
                <a:gd name="T3" fmla="*/ 475 h 899"/>
                <a:gd name="T4" fmla="*/ 23 w 969"/>
                <a:gd name="T5" fmla="*/ 499 h 899"/>
                <a:gd name="T6" fmla="*/ 42 w 969"/>
                <a:gd name="T7" fmla="*/ 541 h 899"/>
                <a:gd name="T8" fmla="*/ 53 w 969"/>
                <a:gd name="T9" fmla="*/ 574 h 899"/>
                <a:gd name="T10" fmla="*/ 70 w 969"/>
                <a:gd name="T11" fmla="*/ 580 h 899"/>
                <a:gd name="T12" fmla="*/ 95 w 969"/>
                <a:gd name="T13" fmla="*/ 578 h 899"/>
                <a:gd name="T14" fmla="*/ 133 w 969"/>
                <a:gd name="T15" fmla="*/ 596 h 899"/>
                <a:gd name="T16" fmla="*/ 149 w 969"/>
                <a:gd name="T17" fmla="*/ 623 h 899"/>
                <a:gd name="T18" fmla="*/ 213 w 969"/>
                <a:gd name="T19" fmla="*/ 654 h 899"/>
                <a:gd name="T20" fmla="*/ 269 w 969"/>
                <a:gd name="T21" fmla="*/ 672 h 899"/>
                <a:gd name="T22" fmla="*/ 294 w 969"/>
                <a:gd name="T23" fmla="*/ 692 h 899"/>
                <a:gd name="T24" fmla="*/ 367 w 969"/>
                <a:gd name="T25" fmla="*/ 670 h 899"/>
                <a:gd name="T26" fmla="*/ 400 w 969"/>
                <a:gd name="T27" fmla="*/ 653 h 899"/>
                <a:gd name="T28" fmla="*/ 897 w 969"/>
                <a:gd name="T29" fmla="*/ 899 h 899"/>
                <a:gd name="T30" fmla="*/ 915 w 969"/>
                <a:gd name="T31" fmla="*/ 876 h 899"/>
                <a:gd name="T32" fmla="*/ 934 w 969"/>
                <a:gd name="T33" fmla="*/ 875 h 899"/>
                <a:gd name="T34" fmla="*/ 961 w 969"/>
                <a:gd name="T35" fmla="*/ 868 h 899"/>
                <a:gd name="T36" fmla="*/ 960 w 969"/>
                <a:gd name="T37" fmla="*/ 856 h 899"/>
                <a:gd name="T38" fmla="*/ 958 w 969"/>
                <a:gd name="T39" fmla="*/ 391 h 899"/>
                <a:gd name="T40" fmla="*/ 955 w 969"/>
                <a:gd name="T41" fmla="*/ 249 h 899"/>
                <a:gd name="T42" fmla="*/ 945 w 969"/>
                <a:gd name="T43" fmla="*/ 203 h 899"/>
                <a:gd name="T44" fmla="*/ 956 w 969"/>
                <a:gd name="T45" fmla="*/ 170 h 899"/>
                <a:gd name="T46" fmla="*/ 956 w 969"/>
                <a:gd name="T47" fmla="*/ 121 h 899"/>
                <a:gd name="T48" fmla="*/ 960 w 969"/>
                <a:gd name="T49" fmla="*/ 85 h 899"/>
                <a:gd name="T50" fmla="*/ 864 w 969"/>
                <a:gd name="T51" fmla="*/ 69 h 899"/>
                <a:gd name="T52" fmla="*/ 825 w 969"/>
                <a:gd name="T53" fmla="*/ 32 h 899"/>
                <a:gd name="T54" fmla="*/ 772 w 969"/>
                <a:gd name="T55" fmla="*/ 17 h 899"/>
                <a:gd name="T56" fmla="*/ 689 w 969"/>
                <a:gd name="T57" fmla="*/ 38 h 899"/>
                <a:gd name="T58" fmla="*/ 651 w 969"/>
                <a:gd name="T59" fmla="*/ 98 h 899"/>
                <a:gd name="T60" fmla="*/ 660 w 969"/>
                <a:gd name="T61" fmla="*/ 150 h 899"/>
                <a:gd name="T62" fmla="*/ 600 w 969"/>
                <a:gd name="T63" fmla="*/ 195 h 899"/>
                <a:gd name="T64" fmla="*/ 497 w 969"/>
                <a:gd name="T65" fmla="*/ 147 h 899"/>
                <a:gd name="T66" fmla="*/ 378 w 969"/>
                <a:gd name="T67" fmla="*/ 116 h 899"/>
                <a:gd name="T68" fmla="*/ 317 w 969"/>
                <a:gd name="T69" fmla="*/ 47 h 899"/>
                <a:gd name="T70" fmla="*/ 226 w 969"/>
                <a:gd name="T71" fmla="*/ 22 h 899"/>
                <a:gd name="T72" fmla="*/ 151 w 969"/>
                <a:gd name="T73" fmla="*/ 7 h 899"/>
                <a:gd name="T74" fmla="*/ 134 w 969"/>
                <a:gd name="T75" fmla="*/ 49 h 899"/>
                <a:gd name="T76" fmla="*/ 133 w 969"/>
                <a:gd name="T77" fmla="*/ 52 h 899"/>
                <a:gd name="T78" fmla="*/ 58 w 969"/>
                <a:gd name="T79" fmla="*/ 140 h 899"/>
                <a:gd name="T80" fmla="*/ 48 w 969"/>
                <a:gd name="T81" fmla="*/ 178 h 899"/>
                <a:gd name="T82" fmla="*/ 30 w 969"/>
                <a:gd name="T83" fmla="*/ 198 h 899"/>
                <a:gd name="T84" fmla="*/ 1 w 969"/>
                <a:gd name="T85" fmla="*/ 209 h 899"/>
                <a:gd name="T86" fmla="*/ 3 w 969"/>
                <a:gd name="T87" fmla="*/ 215 h 899"/>
                <a:gd name="T88" fmla="*/ 16 w 969"/>
                <a:gd name="T89" fmla="*/ 239 h 899"/>
                <a:gd name="T90" fmla="*/ 27 w 969"/>
                <a:gd name="T91" fmla="*/ 270 h 899"/>
                <a:gd name="T92" fmla="*/ 29 w 969"/>
                <a:gd name="T93" fmla="*/ 313 h 899"/>
                <a:gd name="T94" fmla="*/ 29 w 969"/>
                <a:gd name="T95" fmla="*/ 336 h 899"/>
                <a:gd name="T96" fmla="*/ 34 w 969"/>
                <a:gd name="T97" fmla="*/ 364 h 899"/>
                <a:gd name="T98" fmla="*/ 23 w 969"/>
                <a:gd name="T99" fmla="*/ 397 h 899"/>
                <a:gd name="T100" fmla="*/ 28 w 969"/>
                <a:gd name="T101" fmla="*/ 443 h 8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69" h="899">
                  <a:moveTo>
                    <a:pt x="15" y="464"/>
                  </a:moveTo>
                  <a:cubicBezTo>
                    <a:pt x="15" y="464"/>
                    <a:pt x="15" y="464"/>
                    <a:pt x="15" y="464"/>
                  </a:cubicBezTo>
                  <a:cubicBezTo>
                    <a:pt x="13" y="465"/>
                    <a:pt x="11" y="467"/>
                    <a:pt x="10" y="468"/>
                  </a:cubicBezTo>
                  <a:cubicBezTo>
                    <a:pt x="7" y="471"/>
                    <a:pt x="6" y="473"/>
                    <a:pt x="6" y="475"/>
                  </a:cubicBezTo>
                  <a:cubicBezTo>
                    <a:pt x="6" y="478"/>
                    <a:pt x="9" y="482"/>
                    <a:pt x="14" y="489"/>
                  </a:cubicBezTo>
                  <a:cubicBezTo>
                    <a:pt x="18" y="493"/>
                    <a:pt x="20" y="496"/>
                    <a:pt x="23" y="499"/>
                  </a:cubicBezTo>
                  <a:cubicBezTo>
                    <a:pt x="28" y="506"/>
                    <a:pt x="31" y="509"/>
                    <a:pt x="36" y="519"/>
                  </a:cubicBezTo>
                  <a:cubicBezTo>
                    <a:pt x="40" y="528"/>
                    <a:pt x="41" y="533"/>
                    <a:pt x="42" y="541"/>
                  </a:cubicBezTo>
                  <a:cubicBezTo>
                    <a:pt x="43" y="545"/>
                    <a:pt x="44" y="549"/>
                    <a:pt x="45" y="556"/>
                  </a:cubicBezTo>
                  <a:cubicBezTo>
                    <a:pt x="47" y="564"/>
                    <a:pt x="50" y="570"/>
                    <a:pt x="53" y="574"/>
                  </a:cubicBezTo>
                  <a:cubicBezTo>
                    <a:pt x="56" y="577"/>
                    <a:pt x="60" y="579"/>
                    <a:pt x="63" y="581"/>
                  </a:cubicBezTo>
                  <a:cubicBezTo>
                    <a:pt x="66" y="583"/>
                    <a:pt x="68" y="581"/>
                    <a:pt x="70" y="580"/>
                  </a:cubicBezTo>
                  <a:cubicBezTo>
                    <a:pt x="73" y="578"/>
                    <a:pt x="76" y="577"/>
                    <a:pt x="79" y="576"/>
                  </a:cubicBezTo>
                  <a:cubicBezTo>
                    <a:pt x="84" y="576"/>
                    <a:pt x="89" y="577"/>
                    <a:pt x="95" y="578"/>
                  </a:cubicBezTo>
                  <a:cubicBezTo>
                    <a:pt x="101" y="580"/>
                    <a:pt x="108" y="582"/>
                    <a:pt x="116" y="585"/>
                  </a:cubicBezTo>
                  <a:cubicBezTo>
                    <a:pt x="123" y="588"/>
                    <a:pt x="128" y="592"/>
                    <a:pt x="133" y="596"/>
                  </a:cubicBezTo>
                  <a:cubicBezTo>
                    <a:pt x="137" y="600"/>
                    <a:pt x="140" y="606"/>
                    <a:pt x="144" y="613"/>
                  </a:cubicBezTo>
                  <a:cubicBezTo>
                    <a:pt x="146" y="616"/>
                    <a:pt x="148" y="620"/>
                    <a:pt x="149" y="623"/>
                  </a:cubicBezTo>
                  <a:cubicBezTo>
                    <a:pt x="152" y="631"/>
                    <a:pt x="155" y="639"/>
                    <a:pt x="169" y="644"/>
                  </a:cubicBezTo>
                  <a:cubicBezTo>
                    <a:pt x="180" y="648"/>
                    <a:pt x="197" y="651"/>
                    <a:pt x="213" y="654"/>
                  </a:cubicBezTo>
                  <a:cubicBezTo>
                    <a:pt x="227" y="656"/>
                    <a:pt x="239" y="659"/>
                    <a:pt x="247" y="661"/>
                  </a:cubicBezTo>
                  <a:cubicBezTo>
                    <a:pt x="254" y="664"/>
                    <a:pt x="262" y="668"/>
                    <a:pt x="269" y="672"/>
                  </a:cubicBezTo>
                  <a:cubicBezTo>
                    <a:pt x="276" y="676"/>
                    <a:pt x="283" y="681"/>
                    <a:pt x="289" y="688"/>
                  </a:cubicBezTo>
                  <a:cubicBezTo>
                    <a:pt x="291" y="690"/>
                    <a:pt x="293" y="691"/>
                    <a:pt x="294" y="692"/>
                  </a:cubicBezTo>
                  <a:cubicBezTo>
                    <a:pt x="300" y="699"/>
                    <a:pt x="301" y="700"/>
                    <a:pt x="309" y="697"/>
                  </a:cubicBezTo>
                  <a:cubicBezTo>
                    <a:pt x="316" y="695"/>
                    <a:pt x="344" y="681"/>
                    <a:pt x="367" y="670"/>
                  </a:cubicBezTo>
                  <a:cubicBezTo>
                    <a:pt x="380" y="663"/>
                    <a:pt x="391" y="658"/>
                    <a:pt x="395" y="656"/>
                  </a:cubicBezTo>
                  <a:cubicBezTo>
                    <a:pt x="397" y="655"/>
                    <a:pt x="399" y="654"/>
                    <a:pt x="400" y="653"/>
                  </a:cubicBezTo>
                  <a:cubicBezTo>
                    <a:pt x="408" y="649"/>
                    <a:pt x="410" y="647"/>
                    <a:pt x="429" y="658"/>
                  </a:cubicBezTo>
                  <a:cubicBezTo>
                    <a:pt x="449" y="668"/>
                    <a:pt x="839" y="869"/>
                    <a:pt x="897" y="899"/>
                  </a:cubicBezTo>
                  <a:cubicBezTo>
                    <a:pt x="899" y="878"/>
                    <a:pt x="904" y="877"/>
                    <a:pt x="914" y="876"/>
                  </a:cubicBezTo>
                  <a:cubicBezTo>
                    <a:pt x="915" y="876"/>
                    <a:pt x="915" y="876"/>
                    <a:pt x="915" y="876"/>
                  </a:cubicBezTo>
                  <a:cubicBezTo>
                    <a:pt x="915" y="876"/>
                    <a:pt x="915" y="876"/>
                    <a:pt x="915" y="876"/>
                  </a:cubicBezTo>
                  <a:cubicBezTo>
                    <a:pt x="920" y="875"/>
                    <a:pt x="926" y="875"/>
                    <a:pt x="934" y="875"/>
                  </a:cubicBezTo>
                  <a:cubicBezTo>
                    <a:pt x="939" y="875"/>
                    <a:pt x="945" y="875"/>
                    <a:pt x="952" y="875"/>
                  </a:cubicBezTo>
                  <a:cubicBezTo>
                    <a:pt x="960" y="875"/>
                    <a:pt x="961" y="872"/>
                    <a:pt x="961" y="868"/>
                  </a:cubicBezTo>
                  <a:cubicBezTo>
                    <a:pt x="961" y="866"/>
                    <a:pt x="961" y="864"/>
                    <a:pt x="960" y="863"/>
                  </a:cubicBezTo>
                  <a:cubicBezTo>
                    <a:pt x="960" y="861"/>
                    <a:pt x="960" y="858"/>
                    <a:pt x="960" y="856"/>
                  </a:cubicBezTo>
                  <a:cubicBezTo>
                    <a:pt x="960" y="848"/>
                    <a:pt x="960" y="786"/>
                    <a:pt x="959" y="709"/>
                  </a:cubicBezTo>
                  <a:cubicBezTo>
                    <a:pt x="959" y="577"/>
                    <a:pt x="958" y="404"/>
                    <a:pt x="958" y="391"/>
                  </a:cubicBezTo>
                  <a:cubicBezTo>
                    <a:pt x="958" y="374"/>
                    <a:pt x="958" y="330"/>
                    <a:pt x="957" y="295"/>
                  </a:cubicBezTo>
                  <a:cubicBezTo>
                    <a:pt x="957" y="273"/>
                    <a:pt x="956" y="254"/>
                    <a:pt x="955" y="249"/>
                  </a:cubicBezTo>
                  <a:cubicBezTo>
                    <a:pt x="955" y="243"/>
                    <a:pt x="953" y="237"/>
                    <a:pt x="951" y="231"/>
                  </a:cubicBezTo>
                  <a:cubicBezTo>
                    <a:pt x="948" y="221"/>
                    <a:pt x="945" y="211"/>
                    <a:pt x="945" y="203"/>
                  </a:cubicBezTo>
                  <a:cubicBezTo>
                    <a:pt x="946" y="197"/>
                    <a:pt x="948" y="191"/>
                    <a:pt x="951" y="186"/>
                  </a:cubicBezTo>
                  <a:cubicBezTo>
                    <a:pt x="953" y="181"/>
                    <a:pt x="956" y="176"/>
                    <a:pt x="956" y="170"/>
                  </a:cubicBezTo>
                  <a:cubicBezTo>
                    <a:pt x="955" y="163"/>
                    <a:pt x="955" y="151"/>
                    <a:pt x="955" y="141"/>
                  </a:cubicBezTo>
                  <a:cubicBezTo>
                    <a:pt x="955" y="133"/>
                    <a:pt x="955" y="126"/>
                    <a:pt x="956" y="121"/>
                  </a:cubicBezTo>
                  <a:cubicBezTo>
                    <a:pt x="956" y="115"/>
                    <a:pt x="963" y="108"/>
                    <a:pt x="969" y="102"/>
                  </a:cubicBezTo>
                  <a:cubicBezTo>
                    <a:pt x="968" y="96"/>
                    <a:pt x="969" y="88"/>
                    <a:pt x="960" y="85"/>
                  </a:cubicBezTo>
                  <a:cubicBezTo>
                    <a:pt x="946" y="81"/>
                    <a:pt x="948" y="81"/>
                    <a:pt x="923" y="80"/>
                  </a:cubicBezTo>
                  <a:cubicBezTo>
                    <a:pt x="897" y="78"/>
                    <a:pt x="872" y="73"/>
                    <a:pt x="864" y="69"/>
                  </a:cubicBezTo>
                  <a:cubicBezTo>
                    <a:pt x="855" y="66"/>
                    <a:pt x="846" y="57"/>
                    <a:pt x="846" y="48"/>
                  </a:cubicBezTo>
                  <a:cubicBezTo>
                    <a:pt x="845" y="39"/>
                    <a:pt x="834" y="34"/>
                    <a:pt x="825" y="32"/>
                  </a:cubicBezTo>
                  <a:cubicBezTo>
                    <a:pt x="817" y="30"/>
                    <a:pt x="808" y="34"/>
                    <a:pt x="798" y="26"/>
                  </a:cubicBezTo>
                  <a:cubicBezTo>
                    <a:pt x="787" y="18"/>
                    <a:pt x="792" y="12"/>
                    <a:pt x="772" y="17"/>
                  </a:cubicBezTo>
                  <a:cubicBezTo>
                    <a:pt x="753" y="21"/>
                    <a:pt x="756" y="29"/>
                    <a:pt x="735" y="31"/>
                  </a:cubicBezTo>
                  <a:cubicBezTo>
                    <a:pt x="714" y="33"/>
                    <a:pt x="698" y="30"/>
                    <a:pt x="689" y="38"/>
                  </a:cubicBezTo>
                  <a:cubicBezTo>
                    <a:pt x="680" y="45"/>
                    <a:pt x="693" y="63"/>
                    <a:pt x="672" y="71"/>
                  </a:cubicBezTo>
                  <a:cubicBezTo>
                    <a:pt x="651" y="79"/>
                    <a:pt x="650" y="87"/>
                    <a:pt x="651" y="98"/>
                  </a:cubicBezTo>
                  <a:cubicBezTo>
                    <a:pt x="651" y="109"/>
                    <a:pt x="652" y="114"/>
                    <a:pt x="657" y="121"/>
                  </a:cubicBezTo>
                  <a:cubicBezTo>
                    <a:pt x="663" y="128"/>
                    <a:pt x="664" y="138"/>
                    <a:pt x="660" y="150"/>
                  </a:cubicBezTo>
                  <a:cubicBezTo>
                    <a:pt x="655" y="162"/>
                    <a:pt x="642" y="175"/>
                    <a:pt x="634" y="180"/>
                  </a:cubicBezTo>
                  <a:cubicBezTo>
                    <a:pt x="626" y="186"/>
                    <a:pt x="613" y="194"/>
                    <a:pt x="600" y="195"/>
                  </a:cubicBezTo>
                  <a:cubicBezTo>
                    <a:pt x="586" y="197"/>
                    <a:pt x="559" y="178"/>
                    <a:pt x="543" y="167"/>
                  </a:cubicBezTo>
                  <a:cubicBezTo>
                    <a:pt x="526" y="156"/>
                    <a:pt x="513" y="150"/>
                    <a:pt x="497" y="147"/>
                  </a:cubicBezTo>
                  <a:cubicBezTo>
                    <a:pt x="480" y="143"/>
                    <a:pt x="461" y="137"/>
                    <a:pt x="435" y="135"/>
                  </a:cubicBezTo>
                  <a:cubicBezTo>
                    <a:pt x="410" y="132"/>
                    <a:pt x="386" y="127"/>
                    <a:pt x="378" y="116"/>
                  </a:cubicBezTo>
                  <a:cubicBezTo>
                    <a:pt x="371" y="105"/>
                    <a:pt x="371" y="74"/>
                    <a:pt x="355" y="62"/>
                  </a:cubicBezTo>
                  <a:cubicBezTo>
                    <a:pt x="339" y="50"/>
                    <a:pt x="335" y="55"/>
                    <a:pt x="317" y="47"/>
                  </a:cubicBezTo>
                  <a:cubicBezTo>
                    <a:pt x="299" y="40"/>
                    <a:pt x="293" y="24"/>
                    <a:pt x="278" y="22"/>
                  </a:cubicBezTo>
                  <a:cubicBezTo>
                    <a:pt x="263" y="21"/>
                    <a:pt x="237" y="22"/>
                    <a:pt x="226" y="22"/>
                  </a:cubicBezTo>
                  <a:cubicBezTo>
                    <a:pt x="215" y="21"/>
                    <a:pt x="202" y="26"/>
                    <a:pt x="190" y="24"/>
                  </a:cubicBezTo>
                  <a:cubicBezTo>
                    <a:pt x="178" y="22"/>
                    <a:pt x="160" y="14"/>
                    <a:pt x="151" y="7"/>
                  </a:cubicBezTo>
                  <a:cubicBezTo>
                    <a:pt x="146" y="3"/>
                    <a:pt x="141" y="1"/>
                    <a:pt x="136" y="0"/>
                  </a:cubicBezTo>
                  <a:cubicBezTo>
                    <a:pt x="135" y="19"/>
                    <a:pt x="134" y="49"/>
                    <a:pt x="134" y="49"/>
                  </a:cubicBezTo>
                  <a:cubicBezTo>
                    <a:pt x="134" y="51"/>
                    <a:pt x="134" y="51"/>
                    <a:pt x="134" y="51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2" y="52"/>
                    <a:pt x="65" y="95"/>
                    <a:pt x="60" y="99"/>
                  </a:cubicBezTo>
                  <a:cubicBezTo>
                    <a:pt x="58" y="102"/>
                    <a:pt x="58" y="124"/>
                    <a:pt x="58" y="140"/>
                  </a:cubicBezTo>
                  <a:cubicBezTo>
                    <a:pt x="58" y="148"/>
                    <a:pt x="58" y="154"/>
                    <a:pt x="57" y="157"/>
                  </a:cubicBezTo>
                  <a:cubicBezTo>
                    <a:pt x="57" y="162"/>
                    <a:pt x="53" y="170"/>
                    <a:pt x="48" y="178"/>
                  </a:cubicBezTo>
                  <a:cubicBezTo>
                    <a:pt x="48" y="178"/>
                    <a:pt x="48" y="178"/>
                    <a:pt x="48" y="178"/>
                  </a:cubicBezTo>
                  <a:cubicBezTo>
                    <a:pt x="41" y="187"/>
                    <a:pt x="34" y="196"/>
                    <a:pt x="30" y="198"/>
                  </a:cubicBezTo>
                  <a:cubicBezTo>
                    <a:pt x="28" y="199"/>
                    <a:pt x="25" y="200"/>
                    <a:pt x="20" y="201"/>
                  </a:cubicBezTo>
                  <a:cubicBezTo>
                    <a:pt x="12" y="203"/>
                    <a:pt x="1" y="207"/>
                    <a:pt x="1" y="209"/>
                  </a:cubicBezTo>
                  <a:cubicBezTo>
                    <a:pt x="0" y="210"/>
                    <a:pt x="1" y="212"/>
                    <a:pt x="3" y="215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5" y="218"/>
                    <a:pt x="7" y="222"/>
                    <a:pt x="9" y="228"/>
                  </a:cubicBezTo>
                  <a:cubicBezTo>
                    <a:pt x="10" y="232"/>
                    <a:pt x="13" y="236"/>
                    <a:pt x="16" y="239"/>
                  </a:cubicBezTo>
                  <a:cubicBezTo>
                    <a:pt x="20" y="245"/>
                    <a:pt x="24" y="251"/>
                    <a:pt x="26" y="262"/>
                  </a:cubicBezTo>
                  <a:cubicBezTo>
                    <a:pt x="26" y="264"/>
                    <a:pt x="27" y="267"/>
                    <a:pt x="27" y="270"/>
                  </a:cubicBezTo>
                  <a:cubicBezTo>
                    <a:pt x="30" y="282"/>
                    <a:pt x="32" y="292"/>
                    <a:pt x="30" y="303"/>
                  </a:cubicBezTo>
                  <a:cubicBezTo>
                    <a:pt x="30" y="307"/>
                    <a:pt x="29" y="310"/>
                    <a:pt x="29" y="313"/>
                  </a:cubicBezTo>
                  <a:cubicBezTo>
                    <a:pt x="29" y="313"/>
                    <a:pt x="29" y="313"/>
                    <a:pt x="29" y="313"/>
                  </a:cubicBezTo>
                  <a:cubicBezTo>
                    <a:pt x="28" y="320"/>
                    <a:pt x="27" y="327"/>
                    <a:pt x="29" y="336"/>
                  </a:cubicBezTo>
                  <a:cubicBezTo>
                    <a:pt x="30" y="340"/>
                    <a:pt x="31" y="343"/>
                    <a:pt x="32" y="345"/>
                  </a:cubicBezTo>
                  <a:cubicBezTo>
                    <a:pt x="34" y="352"/>
                    <a:pt x="35" y="355"/>
                    <a:pt x="34" y="364"/>
                  </a:cubicBezTo>
                  <a:cubicBezTo>
                    <a:pt x="34" y="370"/>
                    <a:pt x="32" y="374"/>
                    <a:pt x="29" y="379"/>
                  </a:cubicBezTo>
                  <a:cubicBezTo>
                    <a:pt x="27" y="383"/>
                    <a:pt x="24" y="389"/>
                    <a:pt x="23" y="397"/>
                  </a:cubicBezTo>
                  <a:cubicBezTo>
                    <a:pt x="22" y="407"/>
                    <a:pt x="24" y="419"/>
                    <a:pt x="26" y="428"/>
                  </a:cubicBezTo>
                  <a:cubicBezTo>
                    <a:pt x="27" y="434"/>
                    <a:pt x="28" y="439"/>
                    <a:pt x="28" y="443"/>
                  </a:cubicBezTo>
                  <a:cubicBezTo>
                    <a:pt x="29" y="453"/>
                    <a:pt x="22" y="459"/>
                    <a:pt x="15" y="46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5" name="Freeform 439"/>
            <p:cNvSpPr>
              <a:spLocks/>
            </p:cNvSpPr>
            <p:nvPr/>
          </p:nvSpPr>
          <p:spPr bwMode="auto">
            <a:xfrm>
              <a:off x="4750706" y="4232169"/>
              <a:ext cx="295275" cy="250031"/>
            </a:xfrm>
            <a:custGeom>
              <a:avLst/>
              <a:gdLst>
                <a:gd name="T0" fmla="*/ 860 w 1028"/>
                <a:gd name="T1" fmla="*/ 12 h 872"/>
                <a:gd name="T2" fmla="*/ 811 w 1028"/>
                <a:gd name="T3" fmla="*/ 29 h 872"/>
                <a:gd name="T4" fmla="*/ 761 w 1028"/>
                <a:gd name="T5" fmla="*/ 68 h 872"/>
                <a:gd name="T6" fmla="*/ 705 w 1028"/>
                <a:gd name="T7" fmla="*/ 79 h 872"/>
                <a:gd name="T8" fmla="*/ 589 w 1028"/>
                <a:gd name="T9" fmla="*/ 64 h 872"/>
                <a:gd name="T10" fmla="*/ 195 w 1028"/>
                <a:gd name="T11" fmla="*/ 71 h 872"/>
                <a:gd name="T12" fmla="*/ 180 w 1028"/>
                <a:gd name="T13" fmla="*/ 206 h 872"/>
                <a:gd name="T14" fmla="*/ 143 w 1028"/>
                <a:gd name="T15" fmla="*/ 206 h 872"/>
                <a:gd name="T16" fmla="*/ 132 w 1028"/>
                <a:gd name="T17" fmla="*/ 460 h 872"/>
                <a:gd name="T18" fmla="*/ 92 w 1028"/>
                <a:gd name="T19" fmla="*/ 478 h 872"/>
                <a:gd name="T20" fmla="*/ 61 w 1028"/>
                <a:gd name="T21" fmla="*/ 511 h 872"/>
                <a:gd name="T22" fmla="*/ 36 w 1028"/>
                <a:gd name="T23" fmla="*/ 553 h 872"/>
                <a:gd name="T24" fmla="*/ 23 w 1028"/>
                <a:gd name="T25" fmla="*/ 586 h 872"/>
                <a:gd name="T26" fmla="*/ 28 w 1028"/>
                <a:gd name="T27" fmla="*/ 621 h 872"/>
                <a:gd name="T28" fmla="*/ 0 w 1028"/>
                <a:gd name="T29" fmla="*/ 655 h 872"/>
                <a:gd name="T30" fmla="*/ 5 w 1028"/>
                <a:gd name="T31" fmla="*/ 662 h 872"/>
                <a:gd name="T32" fmla="*/ 32 w 1028"/>
                <a:gd name="T33" fmla="*/ 681 h 872"/>
                <a:gd name="T34" fmla="*/ 47 w 1028"/>
                <a:gd name="T35" fmla="*/ 725 h 872"/>
                <a:gd name="T36" fmla="*/ 67 w 1028"/>
                <a:gd name="T37" fmla="*/ 764 h 872"/>
                <a:gd name="T38" fmla="*/ 72 w 1028"/>
                <a:gd name="T39" fmla="*/ 782 h 872"/>
                <a:gd name="T40" fmla="*/ 113 w 1028"/>
                <a:gd name="T41" fmla="*/ 849 h 872"/>
                <a:gd name="T42" fmla="*/ 161 w 1028"/>
                <a:gd name="T43" fmla="*/ 839 h 872"/>
                <a:gd name="T44" fmla="*/ 198 w 1028"/>
                <a:gd name="T45" fmla="*/ 812 h 872"/>
                <a:gd name="T46" fmla="*/ 254 w 1028"/>
                <a:gd name="T47" fmla="*/ 817 h 872"/>
                <a:gd name="T48" fmla="*/ 271 w 1028"/>
                <a:gd name="T49" fmla="*/ 851 h 872"/>
                <a:gd name="T50" fmla="*/ 298 w 1028"/>
                <a:gd name="T51" fmla="*/ 859 h 872"/>
                <a:gd name="T52" fmla="*/ 356 w 1028"/>
                <a:gd name="T53" fmla="*/ 849 h 872"/>
                <a:gd name="T54" fmla="*/ 393 w 1028"/>
                <a:gd name="T55" fmla="*/ 868 h 872"/>
                <a:gd name="T56" fmla="*/ 450 w 1028"/>
                <a:gd name="T57" fmla="*/ 846 h 872"/>
                <a:gd name="T58" fmla="*/ 483 w 1028"/>
                <a:gd name="T59" fmla="*/ 820 h 872"/>
                <a:gd name="T60" fmla="*/ 562 w 1028"/>
                <a:gd name="T61" fmla="*/ 846 h 872"/>
                <a:gd name="T62" fmla="*/ 619 w 1028"/>
                <a:gd name="T63" fmla="*/ 796 h 872"/>
                <a:gd name="T64" fmla="*/ 644 w 1028"/>
                <a:gd name="T65" fmla="*/ 739 h 872"/>
                <a:gd name="T66" fmla="*/ 643 w 1028"/>
                <a:gd name="T67" fmla="*/ 710 h 872"/>
                <a:gd name="T68" fmla="*/ 669 w 1028"/>
                <a:gd name="T69" fmla="*/ 701 h 872"/>
                <a:gd name="T70" fmla="*/ 672 w 1028"/>
                <a:gd name="T71" fmla="*/ 690 h 872"/>
                <a:gd name="T72" fmla="*/ 705 w 1028"/>
                <a:gd name="T73" fmla="*/ 691 h 872"/>
                <a:gd name="T74" fmla="*/ 701 w 1028"/>
                <a:gd name="T75" fmla="*/ 750 h 872"/>
                <a:gd name="T76" fmla="*/ 718 w 1028"/>
                <a:gd name="T77" fmla="*/ 790 h 872"/>
                <a:gd name="T78" fmla="*/ 749 w 1028"/>
                <a:gd name="T79" fmla="*/ 841 h 872"/>
                <a:gd name="T80" fmla="*/ 758 w 1028"/>
                <a:gd name="T81" fmla="*/ 838 h 872"/>
                <a:gd name="T82" fmla="*/ 769 w 1028"/>
                <a:gd name="T83" fmla="*/ 788 h 872"/>
                <a:gd name="T84" fmla="*/ 806 w 1028"/>
                <a:gd name="T85" fmla="*/ 778 h 872"/>
                <a:gd name="T86" fmla="*/ 819 w 1028"/>
                <a:gd name="T87" fmla="*/ 714 h 872"/>
                <a:gd name="T88" fmla="*/ 851 w 1028"/>
                <a:gd name="T89" fmla="*/ 664 h 872"/>
                <a:gd name="T90" fmla="*/ 902 w 1028"/>
                <a:gd name="T91" fmla="*/ 575 h 872"/>
                <a:gd name="T92" fmla="*/ 902 w 1028"/>
                <a:gd name="T93" fmla="*/ 500 h 872"/>
                <a:gd name="T94" fmla="*/ 924 w 1028"/>
                <a:gd name="T95" fmla="*/ 418 h 872"/>
                <a:gd name="T96" fmla="*/ 963 w 1028"/>
                <a:gd name="T97" fmla="*/ 383 h 872"/>
                <a:gd name="T98" fmla="*/ 1013 w 1028"/>
                <a:gd name="T99" fmla="*/ 348 h 872"/>
                <a:gd name="T100" fmla="*/ 966 w 1028"/>
                <a:gd name="T101" fmla="*/ 276 h 872"/>
                <a:gd name="T102" fmla="*/ 946 w 1028"/>
                <a:gd name="T103" fmla="*/ 158 h 872"/>
                <a:gd name="T104" fmla="*/ 947 w 1028"/>
                <a:gd name="T105" fmla="*/ 119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28" h="872">
                  <a:moveTo>
                    <a:pt x="928" y="73"/>
                  </a:moveTo>
                  <a:cubicBezTo>
                    <a:pt x="926" y="69"/>
                    <a:pt x="908" y="55"/>
                    <a:pt x="899" y="50"/>
                  </a:cubicBezTo>
                  <a:cubicBezTo>
                    <a:pt x="889" y="44"/>
                    <a:pt x="878" y="34"/>
                    <a:pt x="874" y="28"/>
                  </a:cubicBezTo>
                  <a:cubicBezTo>
                    <a:pt x="870" y="22"/>
                    <a:pt x="862" y="21"/>
                    <a:pt x="860" y="12"/>
                  </a:cubicBezTo>
                  <a:cubicBezTo>
                    <a:pt x="859" y="6"/>
                    <a:pt x="856" y="3"/>
                    <a:pt x="854" y="0"/>
                  </a:cubicBezTo>
                  <a:cubicBezTo>
                    <a:pt x="852" y="1"/>
                    <a:pt x="852" y="1"/>
                    <a:pt x="852" y="1"/>
                  </a:cubicBezTo>
                  <a:cubicBezTo>
                    <a:pt x="839" y="6"/>
                    <a:pt x="820" y="13"/>
                    <a:pt x="816" y="17"/>
                  </a:cubicBezTo>
                  <a:cubicBezTo>
                    <a:pt x="814" y="19"/>
                    <a:pt x="813" y="24"/>
                    <a:pt x="811" y="29"/>
                  </a:cubicBezTo>
                  <a:cubicBezTo>
                    <a:pt x="809" y="37"/>
                    <a:pt x="807" y="46"/>
                    <a:pt x="799" y="51"/>
                  </a:cubicBezTo>
                  <a:cubicBezTo>
                    <a:pt x="791" y="56"/>
                    <a:pt x="782" y="57"/>
                    <a:pt x="774" y="58"/>
                  </a:cubicBezTo>
                  <a:cubicBezTo>
                    <a:pt x="769" y="59"/>
                    <a:pt x="765" y="59"/>
                    <a:pt x="763" y="61"/>
                  </a:cubicBezTo>
                  <a:cubicBezTo>
                    <a:pt x="762" y="62"/>
                    <a:pt x="761" y="65"/>
                    <a:pt x="761" y="68"/>
                  </a:cubicBezTo>
                  <a:cubicBezTo>
                    <a:pt x="760" y="74"/>
                    <a:pt x="759" y="81"/>
                    <a:pt x="752" y="85"/>
                  </a:cubicBezTo>
                  <a:cubicBezTo>
                    <a:pt x="751" y="85"/>
                    <a:pt x="751" y="86"/>
                    <a:pt x="750" y="86"/>
                  </a:cubicBezTo>
                  <a:cubicBezTo>
                    <a:pt x="741" y="92"/>
                    <a:pt x="734" y="97"/>
                    <a:pt x="719" y="90"/>
                  </a:cubicBezTo>
                  <a:cubicBezTo>
                    <a:pt x="711" y="87"/>
                    <a:pt x="708" y="83"/>
                    <a:pt x="705" y="79"/>
                  </a:cubicBezTo>
                  <a:cubicBezTo>
                    <a:pt x="703" y="76"/>
                    <a:pt x="701" y="73"/>
                    <a:pt x="696" y="73"/>
                  </a:cubicBezTo>
                  <a:cubicBezTo>
                    <a:pt x="690" y="73"/>
                    <a:pt x="673" y="73"/>
                    <a:pt x="655" y="73"/>
                  </a:cubicBezTo>
                  <a:cubicBezTo>
                    <a:pt x="630" y="73"/>
                    <a:pt x="603" y="73"/>
                    <a:pt x="599" y="73"/>
                  </a:cubicBezTo>
                  <a:cubicBezTo>
                    <a:pt x="594" y="72"/>
                    <a:pt x="591" y="68"/>
                    <a:pt x="589" y="64"/>
                  </a:cubicBezTo>
                  <a:cubicBezTo>
                    <a:pt x="588" y="62"/>
                    <a:pt x="587" y="60"/>
                    <a:pt x="585" y="60"/>
                  </a:cubicBezTo>
                  <a:cubicBezTo>
                    <a:pt x="582" y="60"/>
                    <a:pt x="580" y="61"/>
                    <a:pt x="577" y="62"/>
                  </a:cubicBezTo>
                  <a:cubicBezTo>
                    <a:pt x="574" y="64"/>
                    <a:pt x="570" y="65"/>
                    <a:pt x="565" y="66"/>
                  </a:cubicBezTo>
                  <a:cubicBezTo>
                    <a:pt x="556" y="68"/>
                    <a:pt x="231" y="70"/>
                    <a:pt x="195" y="71"/>
                  </a:cubicBezTo>
                  <a:cubicBezTo>
                    <a:pt x="195" y="179"/>
                    <a:pt x="195" y="179"/>
                    <a:pt x="195" y="179"/>
                  </a:cubicBezTo>
                  <a:cubicBezTo>
                    <a:pt x="195" y="181"/>
                    <a:pt x="195" y="183"/>
                    <a:pt x="195" y="185"/>
                  </a:cubicBezTo>
                  <a:cubicBezTo>
                    <a:pt x="196" y="187"/>
                    <a:pt x="196" y="189"/>
                    <a:pt x="196" y="190"/>
                  </a:cubicBezTo>
                  <a:cubicBezTo>
                    <a:pt x="196" y="199"/>
                    <a:pt x="194" y="206"/>
                    <a:pt x="180" y="206"/>
                  </a:cubicBezTo>
                  <a:cubicBezTo>
                    <a:pt x="172" y="206"/>
                    <a:pt x="166" y="206"/>
                    <a:pt x="161" y="206"/>
                  </a:cubicBezTo>
                  <a:cubicBezTo>
                    <a:pt x="161" y="206"/>
                    <a:pt x="161" y="206"/>
                    <a:pt x="161" y="206"/>
                  </a:cubicBezTo>
                  <a:cubicBezTo>
                    <a:pt x="154" y="206"/>
                    <a:pt x="148" y="206"/>
                    <a:pt x="143" y="206"/>
                  </a:cubicBezTo>
                  <a:cubicBezTo>
                    <a:pt x="143" y="206"/>
                    <a:pt x="143" y="206"/>
                    <a:pt x="143" y="206"/>
                  </a:cubicBezTo>
                  <a:cubicBezTo>
                    <a:pt x="142" y="207"/>
                    <a:pt x="142" y="207"/>
                    <a:pt x="142" y="207"/>
                  </a:cubicBezTo>
                  <a:cubicBezTo>
                    <a:pt x="136" y="208"/>
                    <a:pt x="133" y="208"/>
                    <a:pt x="132" y="224"/>
                  </a:cubicBezTo>
                  <a:cubicBezTo>
                    <a:pt x="131" y="231"/>
                    <a:pt x="131" y="263"/>
                    <a:pt x="131" y="301"/>
                  </a:cubicBezTo>
                  <a:cubicBezTo>
                    <a:pt x="131" y="368"/>
                    <a:pt x="132" y="455"/>
                    <a:pt x="132" y="460"/>
                  </a:cubicBezTo>
                  <a:cubicBezTo>
                    <a:pt x="132" y="461"/>
                    <a:pt x="133" y="462"/>
                    <a:pt x="133" y="463"/>
                  </a:cubicBezTo>
                  <a:cubicBezTo>
                    <a:pt x="133" y="464"/>
                    <a:pt x="133" y="465"/>
                    <a:pt x="133" y="466"/>
                  </a:cubicBezTo>
                  <a:cubicBezTo>
                    <a:pt x="133" y="473"/>
                    <a:pt x="131" y="478"/>
                    <a:pt x="117" y="478"/>
                  </a:cubicBezTo>
                  <a:cubicBezTo>
                    <a:pt x="109" y="478"/>
                    <a:pt x="99" y="478"/>
                    <a:pt x="92" y="478"/>
                  </a:cubicBezTo>
                  <a:cubicBezTo>
                    <a:pt x="86" y="477"/>
                    <a:pt x="82" y="477"/>
                    <a:pt x="80" y="477"/>
                  </a:cubicBezTo>
                  <a:cubicBezTo>
                    <a:pt x="78" y="477"/>
                    <a:pt x="74" y="480"/>
                    <a:pt x="70" y="484"/>
                  </a:cubicBezTo>
                  <a:cubicBezTo>
                    <a:pt x="67" y="487"/>
                    <a:pt x="65" y="490"/>
                    <a:pt x="63" y="495"/>
                  </a:cubicBezTo>
                  <a:cubicBezTo>
                    <a:pt x="62" y="499"/>
                    <a:pt x="62" y="505"/>
                    <a:pt x="61" y="511"/>
                  </a:cubicBezTo>
                  <a:cubicBezTo>
                    <a:pt x="60" y="521"/>
                    <a:pt x="59" y="532"/>
                    <a:pt x="54" y="537"/>
                  </a:cubicBezTo>
                  <a:cubicBezTo>
                    <a:pt x="50" y="541"/>
                    <a:pt x="45" y="542"/>
                    <a:pt x="40" y="544"/>
                  </a:cubicBezTo>
                  <a:cubicBezTo>
                    <a:pt x="36" y="545"/>
                    <a:pt x="33" y="546"/>
                    <a:pt x="33" y="546"/>
                  </a:cubicBezTo>
                  <a:cubicBezTo>
                    <a:pt x="33" y="547"/>
                    <a:pt x="34" y="550"/>
                    <a:pt x="36" y="553"/>
                  </a:cubicBezTo>
                  <a:cubicBezTo>
                    <a:pt x="38" y="559"/>
                    <a:pt x="41" y="565"/>
                    <a:pt x="40" y="572"/>
                  </a:cubicBezTo>
                  <a:cubicBezTo>
                    <a:pt x="39" y="580"/>
                    <a:pt x="35" y="582"/>
                    <a:pt x="29" y="583"/>
                  </a:cubicBezTo>
                  <a:cubicBezTo>
                    <a:pt x="27" y="584"/>
                    <a:pt x="25" y="584"/>
                    <a:pt x="23" y="586"/>
                  </a:cubicBezTo>
                  <a:cubicBezTo>
                    <a:pt x="23" y="586"/>
                    <a:pt x="23" y="586"/>
                    <a:pt x="23" y="586"/>
                  </a:cubicBezTo>
                  <a:cubicBezTo>
                    <a:pt x="22" y="587"/>
                    <a:pt x="22" y="587"/>
                    <a:pt x="22" y="587"/>
                  </a:cubicBezTo>
                  <a:cubicBezTo>
                    <a:pt x="18" y="591"/>
                    <a:pt x="15" y="593"/>
                    <a:pt x="16" y="597"/>
                  </a:cubicBezTo>
                  <a:cubicBezTo>
                    <a:pt x="17" y="599"/>
                    <a:pt x="19" y="601"/>
                    <a:pt x="21" y="604"/>
                  </a:cubicBezTo>
                  <a:cubicBezTo>
                    <a:pt x="24" y="609"/>
                    <a:pt x="28" y="615"/>
                    <a:pt x="28" y="621"/>
                  </a:cubicBezTo>
                  <a:cubicBezTo>
                    <a:pt x="27" y="627"/>
                    <a:pt x="22" y="632"/>
                    <a:pt x="17" y="635"/>
                  </a:cubicBezTo>
                  <a:cubicBezTo>
                    <a:pt x="15" y="637"/>
                    <a:pt x="13" y="638"/>
                    <a:pt x="12" y="639"/>
                  </a:cubicBezTo>
                  <a:cubicBezTo>
                    <a:pt x="11" y="641"/>
                    <a:pt x="10" y="643"/>
                    <a:pt x="8" y="645"/>
                  </a:cubicBezTo>
                  <a:cubicBezTo>
                    <a:pt x="5" y="649"/>
                    <a:pt x="1" y="653"/>
                    <a:pt x="0" y="655"/>
                  </a:cubicBezTo>
                  <a:cubicBezTo>
                    <a:pt x="0" y="657"/>
                    <a:pt x="0" y="659"/>
                    <a:pt x="1" y="660"/>
                  </a:cubicBezTo>
                  <a:cubicBezTo>
                    <a:pt x="1" y="661"/>
                    <a:pt x="2" y="662"/>
                    <a:pt x="2" y="662"/>
                  </a:cubicBezTo>
                  <a:cubicBezTo>
                    <a:pt x="2" y="662"/>
                    <a:pt x="3" y="662"/>
                    <a:pt x="5" y="662"/>
                  </a:cubicBezTo>
                  <a:cubicBezTo>
                    <a:pt x="5" y="662"/>
                    <a:pt x="5" y="662"/>
                    <a:pt x="5" y="662"/>
                  </a:cubicBezTo>
                  <a:cubicBezTo>
                    <a:pt x="8" y="661"/>
                    <a:pt x="12" y="660"/>
                    <a:pt x="18" y="661"/>
                  </a:cubicBezTo>
                  <a:cubicBezTo>
                    <a:pt x="24" y="662"/>
                    <a:pt x="27" y="664"/>
                    <a:pt x="29" y="667"/>
                  </a:cubicBezTo>
                  <a:cubicBezTo>
                    <a:pt x="32" y="670"/>
                    <a:pt x="33" y="673"/>
                    <a:pt x="33" y="677"/>
                  </a:cubicBezTo>
                  <a:cubicBezTo>
                    <a:pt x="33" y="678"/>
                    <a:pt x="32" y="679"/>
                    <a:pt x="32" y="681"/>
                  </a:cubicBezTo>
                  <a:cubicBezTo>
                    <a:pt x="32" y="685"/>
                    <a:pt x="32" y="691"/>
                    <a:pt x="35" y="694"/>
                  </a:cubicBezTo>
                  <a:cubicBezTo>
                    <a:pt x="37" y="696"/>
                    <a:pt x="39" y="697"/>
                    <a:pt x="40" y="697"/>
                  </a:cubicBezTo>
                  <a:cubicBezTo>
                    <a:pt x="43" y="699"/>
                    <a:pt x="45" y="700"/>
                    <a:pt x="47" y="704"/>
                  </a:cubicBezTo>
                  <a:cubicBezTo>
                    <a:pt x="49" y="708"/>
                    <a:pt x="48" y="717"/>
                    <a:pt x="47" y="725"/>
                  </a:cubicBezTo>
                  <a:cubicBezTo>
                    <a:pt x="47" y="728"/>
                    <a:pt x="46" y="732"/>
                    <a:pt x="46" y="733"/>
                  </a:cubicBezTo>
                  <a:cubicBezTo>
                    <a:pt x="46" y="733"/>
                    <a:pt x="48" y="734"/>
                    <a:pt x="51" y="735"/>
                  </a:cubicBezTo>
                  <a:cubicBezTo>
                    <a:pt x="55" y="738"/>
                    <a:pt x="60" y="740"/>
                    <a:pt x="63" y="744"/>
                  </a:cubicBezTo>
                  <a:cubicBezTo>
                    <a:pt x="69" y="752"/>
                    <a:pt x="68" y="757"/>
                    <a:pt x="67" y="764"/>
                  </a:cubicBezTo>
                  <a:cubicBezTo>
                    <a:pt x="67" y="765"/>
                    <a:pt x="66" y="766"/>
                    <a:pt x="66" y="768"/>
                  </a:cubicBezTo>
                  <a:cubicBezTo>
                    <a:pt x="65" y="773"/>
                    <a:pt x="69" y="778"/>
                    <a:pt x="71" y="781"/>
                  </a:cubicBezTo>
                  <a:cubicBezTo>
                    <a:pt x="72" y="782"/>
                    <a:pt x="72" y="782"/>
                    <a:pt x="72" y="782"/>
                  </a:cubicBezTo>
                  <a:cubicBezTo>
                    <a:pt x="72" y="782"/>
                    <a:pt x="72" y="782"/>
                    <a:pt x="72" y="782"/>
                  </a:cubicBezTo>
                  <a:cubicBezTo>
                    <a:pt x="73" y="783"/>
                    <a:pt x="73" y="783"/>
                    <a:pt x="73" y="783"/>
                  </a:cubicBezTo>
                  <a:cubicBezTo>
                    <a:pt x="77" y="790"/>
                    <a:pt x="97" y="817"/>
                    <a:pt x="103" y="824"/>
                  </a:cubicBezTo>
                  <a:cubicBezTo>
                    <a:pt x="106" y="828"/>
                    <a:pt x="108" y="832"/>
                    <a:pt x="110" y="836"/>
                  </a:cubicBezTo>
                  <a:cubicBezTo>
                    <a:pt x="112" y="840"/>
                    <a:pt x="113" y="844"/>
                    <a:pt x="113" y="849"/>
                  </a:cubicBezTo>
                  <a:cubicBezTo>
                    <a:pt x="114" y="849"/>
                    <a:pt x="115" y="849"/>
                    <a:pt x="117" y="850"/>
                  </a:cubicBezTo>
                  <a:cubicBezTo>
                    <a:pt x="120" y="851"/>
                    <a:pt x="124" y="852"/>
                    <a:pt x="130" y="848"/>
                  </a:cubicBezTo>
                  <a:cubicBezTo>
                    <a:pt x="135" y="845"/>
                    <a:pt x="140" y="842"/>
                    <a:pt x="144" y="841"/>
                  </a:cubicBezTo>
                  <a:cubicBezTo>
                    <a:pt x="149" y="839"/>
                    <a:pt x="154" y="839"/>
                    <a:pt x="161" y="839"/>
                  </a:cubicBezTo>
                  <a:cubicBezTo>
                    <a:pt x="164" y="839"/>
                    <a:pt x="167" y="839"/>
                    <a:pt x="170" y="839"/>
                  </a:cubicBezTo>
                  <a:cubicBezTo>
                    <a:pt x="176" y="840"/>
                    <a:pt x="181" y="840"/>
                    <a:pt x="185" y="836"/>
                  </a:cubicBezTo>
                  <a:cubicBezTo>
                    <a:pt x="187" y="833"/>
                    <a:pt x="187" y="831"/>
                    <a:pt x="187" y="829"/>
                  </a:cubicBezTo>
                  <a:cubicBezTo>
                    <a:pt x="188" y="823"/>
                    <a:pt x="189" y="818"/>
                    <a:pt x="198" y="812"/>
                  </a:cubicBezTo>
                  <a:cubicBezTo>
                    <a:pt x="212" y="804"/>
                    <a:pt x="223" y="803"/>
                    <a:pt x="233" y="802"/>
                  </a:cubicBezTo>
                  <a:cubicBezTo>
                    <a:pt x="237" y="802"/>
                    <a:pt x="237" y="802"/>
                    <a:pt x="237" y="802"/>
                  </a:cubicBezTo>
                  <a:cubicBezTo>
                    <a:pt x="249" y="801"/>
                    <a:pt x="252" y="809"/>
                    <a:pt x="254" y="817"/>
                  </a:cubicBezTo>
                  <a:cubicBezTo>
                    <a:pt x="254" y="817"/>
                    <a:pt x="254" y="817"/>
                    <a:pt x="254" y="817"/>
                  </a:cubicBezTo>
                  <a:cubicBezTo>
                    <a:pt x="255" y="818"/>
                    <a:pt x="255" y="819"/>
                    <a:pt x="255" y="820"/>
                  </a:cubicBezTo>
                  <a:cubicBezTo>
                    <a:pt x="256" y="821"/>
                    <a:pt x="256" y="822"/>
                    <a:pt x="257" y="822"/>
                  </a:cubicBezTo>
                  <a:cubicBezTo>
                    <a:pt x="259" y="823"/>
                    <a:pt x="262" y="825"/>
                    <a:pt x="267" y="835"/>
                  </a:cubicBezTo>
                  <a:cubicBezTo>
                    <a:pt x="270" y="843"/>
                    <a:pt x="271" y="848"/>
                    <a:pt x="271" y="851"/>
                  </a:cubicBezTo>
                  <a:cubicBezTo>
                    <a:pt x="272" y="853"/>
                    <a:pt x="272" y="855"/>
                    <a:pt x="274" y="856"/>
                  </a:cubicBezTo>
                  <a:cubicBezTo>
                    <a:pt x="275" y="856"/>
                    <a:pt x="275" y="856"/>
                    <a:pt x="275" y="856"/>
                  </a:cubicBezTo>
                  <a:cubicBezTo>
                    <a:pt x="275" y="856"/>
                    <a:pt x="275" y="856"/>
                    <a:pt x="275" y="856"/>
                  </a:cubicBezTo>
                  <a:cubicBezTo>
                    <a:pt x="281" y="859"/>
                    <a:pt x="288" y="862"/>
                    <a:pt x="298" y="859"/>
                  </a:cubicBezTo>
                  <a:cubicBezTo>
                    <a:pt x="298" y="859"/>
                    <a:pt x="298" y="859"/>
                    <a:pt x="298" y="859"/>
                  </a:cubicBezTo>
                  <a:cubicBezTo>
                    <a:pt x="301" y="858"/>
                    <a:pt x="301" y="858"/>
                    <a:pt x="301" y="858"/>
                  </a:cubicBezTo>
                  <a:cubicBezTo>
                    <a:pt x="313" y="855"/>
                    <a:pt x="325" y="851"/>
                    <a:pt x="335" y="850"/>
                  </a:cubicBezTo>
                  <a:cubicBezTo>
                    <a:pt x="340" y="849"/>
                    <a:pt x="348" y="849"/>
                    <a:pt x="356" y="849"/>
                  </a:cubicBezTo>
                  <a:cubicBezTo>
                    <a:pt x="364" y="849"/>
                    <a:pt x="373" y="851"/>
                    <a:pt x="376" y="856"/>
                  </a:cubicBezTo>
                  <a:cubicBezTo>
                    <a:pt x="378" y="858"/>
                    <a:pt x="379" y="859"/>
                    <a:pt x="381" y="861"/>
                  </a:cubicBezTo>
                  <a:cubicBezTo>
                    <a:pt x="383" y="864"/>
                    <a:pt x="385" y="867"/>
                    <a:pt x="390" y="868"/>
                  </a:cubicBezTo>
                  <a:cubicBezTo>
                    <a:pt x="393" y="868"/>
                    <a:pt x="393" y="868"/>
                    <a:pt x="393" y="868"/>
                  </a:cubicBezTo>
                  <a:cubicBezTo>
                    <a:pt x="400" y="870"/>
                    <a:pt x="406" y="872"/>
                    <a:pt x="414" y="868"/>
                  </a:cubicBezTo>
                  <a:cubicBezTo>
                    <a:pt x="417" y="866"/>
                    <a:pt x="420" y="863"/>
                    <a:pt x="422" y="859"/>
                  </a:cubicBezTo>
                  <a:cubicBezTo>
                    <a:pt x="426" y="853"/>
                    <a:pt x="429" y="848"/>
                    <a:pt x="436" y="846"/>
                  </a:cubicBezTo>
                  <a:cubicBezTo>
                    <a:pt x="442" y="845"/>
                    <a:pt x="446" y="845"/>
                    <a:pt x="450" y="846"/>
                  </a:cubicBezTo>
                  <a:cubicBezTo>
                    <a:pt x="454" y="846"/>
                    <a:pt x="457" y="847"/>
                    <a:pt x="461" y="844"/>
                  </a:cubicBezTo>
                  <a:cubicBezTo>
                    <a:pt x="464" y="842"/>
                    <a:pt x="464" y="841"/>
                    <a:pt x="464" y="839"/>
                  </a:cubicBezTo>
                  <a:cubicBezTo>
                    <a:pt x="465" y="835"/>
                    <a:pt x="466" y="830"/>
                    <a:pt x="475" y="826"/>
                  </a:cubicBezTo>
                  <a:cubicBezTo>
                    <a:pt x="479" y="824"/>
                    <a:pt x="481" y="822"/>
                    <a:pt x="483" y="820"/>
                  </a:cubicBezTo>
                  <a:cubicBezTo>
                    <a:pt x="488" y="816"/>
                    <a:pt x="491" y="815"/>
                    <a:pt x="502" y="816"/>
                  </a:cubicBezTo>
                  <a:cubicBezTo>
                    <a:pt x="510" y="817"/>
                    <a:pt x="518" y="823"/>
                    <a:pt x="525" y="830"/>
                  </a:cubicBezTo>
                  <a:cubicBezTo>
                    <a:pt x="531" y="835"/>
                    <a:pt x="538" y="840"/>
                    <a:pt x="544" y="842"/>
                  </a:cubicBezTo>
                  <a:cubicBezTo>
                    <a:pt x="551" y="844"/>
                    <a:pt x="557" y="846"/>
                    <a:pt x="562" y="846"/>
                  </a:cubicBezTo>
                  <a:cubicBezTo>
                    <a:pt x="567" y="847"/>
                    <a:pt x="571" y="846"/>
                    <a:pt x="574" y="843"/>
                  </a:cubicBezTo>
                  <a:cubicBezTo>
                    <a:pt x="578" y="839"/>
                    <a:pt x="586" y="831"/>
                    <a:pt x="594" y="823"/>
                  </a:cubicBezTo>
                  <a:cubicBezTo>
                    <a:pt x="602" y="815"/>
                    <a:pt x="609" y="808"/>
                    <a:pt x="612" y="804"/>
                  </a:cubicBezTo>
                  <a:cubicBezTo>
                    <a:pt x="615" y="801"/>
                    <a:pt x="617" y="799"/>
                    <a:pt x="619" y="796"/>
                  </a:cubicBezTo>
                  <a:cubicBezTo>
                    <a:pt x="624" y="790"/>
                    <a:pt x="630" y="783"/>
                    <a:pt x="637" y="776"/>
                  </a:cubicBezTo>
                  <a:cubicBezTo>
                    <a:pt x="638" y="774"/>
                    <a:pt x="640" y="772"/>
                    <a:pt x="641" y="771"/>
                  </a:cubicBezTo>
                  <a:cubicBezTo>
                    <a:pt x="646" y="765"/>
                    <a:pt x="647" y="765"/>
                    <a:pt x="646" y="759"/>
                  </a:cubicBezTo>
                  <a:cubicBezTo>
                    <a:pt x="644" y="752"/>
                    <a:pt x="644" y="745"/>
                    <a:pt x="644" y="739"/>
                  </a:cubicBezTo>
                  <a:cubicBezTo>
                    <a:pt x="644" y="738"/>
                    <a:pt x="644" y="736"/>
                    <a:pt x="644" y="735"/>
                  </a:cubicBezTo>
                  <a:cubicBezTo>
                    <a:pt x="644" y="733"/>
                    <a:pt x="643" y="732"/>
                    <a:pt x="642" y="730"/>
                  </a:cubicBezTo>
                  <a:cubicBezTo>
                    <a:pt x="640" y="727"/>
                    <a:pt x="638" y="724"/>
                    <a:pt x="638" y="720"/>
                  </a:cubicBezTo>
                  <a:cubicBezTo>
                    <a:pt x="638" y="715"/>
                    <a:pt x="639" y="712"/>
                    <a:pt x="643" y="710"/>
                  </a:cubicBezTo>
                  <a:cubicBezTo>
                    <a:pt x="646" y="709"/>
                    <a:pt x="650" y="708"/>
                    <a:pt x="655" y="708"/>
                  </a:cubicBezTo>
                  <a:cubicBezTo>
                    <a:pt x="660" y="708"/>
                    <a:pt x="663" y="707"/>
                    <a:pt x="665" y="706"/>
                  </a:cubicBezTo>
                  <a:cubicBezTo>
                    <a:pt x="667" y="706"/>
                    <a:pt x="668" y="705"/>
                    <a:pt x="668" y="704"/>
                  </a:cubicBezTo>
                  <a:cubicBezTo>
                    <a:pt x="669" y="704"/>
                    <a:pt x="669" y="702"/>
                    <a:pt x="669" y="701"/>
                  </a:cubicBezTo>
                  <a:cubicBezTo>
                    <a:pt x="669" y="697"/>
                    <a:pt x="669" y="694"/>
                    <a:pt x="671" y="691"/>
                  </a:cubicBezTo>
                  <a:cubicBezTo>
                    <a:pt x="672" y="691"/>
                    <a:pt x="672" y="691"/>
                    <a:pt x="672" y="691"/>
                  </a:cubicBezTo>
                  <a:cubicBezTo>
                    <a:pt x="672" y="691"/>
                    <a:pt x="672" y="691"/>
                    <a:pt x="672" y="691"/>
                  </a:cubicBezTo>
                  <a:cubicBezTo>
                    <a:pt x="672" y="690"/>
                    <a:pt x="672" y="690"/>
                    <a:pt x="672" y="690"/>
                  </a:cubicBezTo>
                  <a:cubicBezTo>
                    <a:pt x="674" y="688"/>
                    <a:pt x="681" y="686"/>
                    <a:pt x="687" y="686"/>
                  </a:cubicBezTo>
                  <a:cubicBezTo>
                    <a:pt x="694" y="686"/>
                    <a:pt x="701" y="688"/>
                    <a:pt x="704" y="691"/>
                  </a:cubicBezTo>
                  <a:cubicBezTo>
                    <a:pt x="704" y="691"/>
                    <a:pt x="704" y="691"/>
                    <a:pt x="704" y="691"/>
                  </a:cubicBezTo>
                  <a:cubicBezTo>
                    <a:pt x="705" y="691"/>
                    <a:pt x="705" y="691"/>
                    <a:pt x="705" y="691"/>
                  </a:cubicBezTo>
                  <a:cubicBezTo>
                    <a:pt x="710" y="697"/>
                    <a:pt x="707" y="704"/>
                    <a:pt x="704" y="711"/>
                  </a:cubicBezTo>
                  <a:cubicBezTo>
                    <a:pt x="702" y="715"/>
                    <a:pt x="700" y="718"/>
                    <a:pt x="700" y="721"/>
                  </a:cubicBezTo>
                  <a:cubicBezTo>
                    <a:pt x="698" y="726"/>
                    <a:pt x="698" y="731"/>
                    <a:pt x="698" y="735"/>
                  </a:cubicBezTo>
                  <a:cubicBezTo>
                    <a:pt x="699" y="740"/>
                    <a:pt x="700" y="744"/>
                    <a:pt x="701" y="750"/>
                  </a:cubicBezTo>
                  <a:cubicBezTo>
                    <a:pt x="701" y="753"/>
                    <a:pt x="702" y="757"/>
                    <a:pt x="703" y="761"/>
                  </a:cubicBezTo>
                  <a:cubicBezTo>
                    <a:pt x="704" y="769"/>
                    <a:pt x="705" y="776"/>
                    <a:pt x="707" y="779"/>
                  </a:cubicBezTo>
                  <a:cubicBezTo>
                    <a:pt x="709" y="784"/>
                    <a:pt x="709" y="784"/>
                    <a:pt x="714" y="788"/>
                  </a:cubicBezTo>
                  <a:cubicBezTo>
                    <a:pt x="715" y="788"/>
                    <a:pt x="716" y="789"/>
                    <a:pt x="718" y="790"/>
                  </a:cubicBezTo>
                  <a:cubicBezTo>
                    <a:pt x="720" y="792"/>
                    <a:pt x="724" y="794"/>
                    <a:pt x="727" y="796"/>
                  </a:cubicBezTo>
                  <a:cubicBezTo>
                    <a:pt x="734" y="801"/>
                    <a:pt x="741" y="806"/>
                    <a:pt x="744" y="811"/>
                  </a:cubicBezTo>
                  <a:cubicBezTo>
                    <a:pt x="746" y="815"/>
                    <a:pt x="748" y="819"/>
                    <a:pt x="748" y="824"/>
                  </a:cubicBezTo>
                  <a:cubicBezTo>
                    <a:pt x="749" y="829"/>
                    <a:pt x="750" y="836"/>
                    <a:pt x="749" y="841"/>
                  </a:cubicBezTo>
                  <a:cubicBezTo>
                    <a:pt x="749" y="845"/>
                    <a:pt x="750" y="848"/>
                    <a:pt x="751" y="850"/>
                  </a:cubicBezTo>
                  <a:cubicBezTo>
                    <a:pt x="751" y="851"/>
                    <a:pt x="751" y="851"/>
                    <a:pt x="752" y="851"/>
                  </a:cubicBezTo>
                  <a:cubicBezTo>
                    <a:pt x="753" y="849"/>
                    <a:pt x="754" y="847"/>
                    <a:pt x="755" y="844"/>
                  </a:cubicBezTo>
                  <a:cubicBezTo>
                    <a:pt x="756" y="842"/>
                    <a:pt x="757" y="840"/>
                    <a:pt x="758" y="838"/>
                  </a:cubicBezTo>
                  <a:cubicBezTo>
                    <a:pt x="760" y="834"/>
                    <a:pt x="761" y="831"/>
                    <a:pt x="761" y="828"/>
                  </a:cubicBezTo>
                  <a:cubicBezTo>
                    <a:pt x="762" y="824"/>
                    <a:pt x="762" y="820"/>
                    <a:pt x="762" y="814"/>
                  </a:cubicBezTo>
                  <a:cubicBezTo>
                    <a:pt x="761" y="800"/>
                    <a:pt x="764" y="795"/>
                    <a:pt x="768" y="789"/>
                  </a:cubicBezTo>
                  <a:cubicBezTo>
                    <a:pt x="769" y="788"/>
                    <a:pt x="769" y="788"/>
                    <a:pt x="769" y="788"/>
                  </a:cubicBezTo>
                  <a:cubicBezTo>
                    <a:pt x="771" y="784"/>
                    <a:pt x="775" y="782"/>
                    <a:pt x="779" y="781"/>
                  </a:cubicBezTo>
                  <a:cubicBezTo>
                    <a:pt x="784" y="780"/>
                    <a:pt x="789" y="780"/>
                    <a:pt x="793" y="782"/>
                  </a:cubicBezTo>
                  <a:cubicBezTo>
                    <a:pt x="796" y="782"/>
                    <a:pt x="798" y="782"/>
                    <a:pt x="801" y="782"/>
                  </a:cubicBezTo>
                  <a:cubicBezTo>
                    <a:pt x="803" y="781"/>
                    <a:pt x="804" y="780"/>
                    <a:pt x="806" y="778"/>
                  </a:cubicBezTo>
                  <a:cubicBezTo>
                    <a:pt x="808" y="775"/>
                    <a:pt x="808" y="769"/>
                    <a:pt x="809" y="760"/>
                  </a:cubicBezTo>
                  <a:cubicBezTo>
                    <a:pt x="809" y="756"/>
                    <a:pt x="809" y="750"/>
                    <a:pt x="810" y="744"/>
                  </a:cubicBezTo>
                  <a:cubicBezTo>
                    <a:pt x="811" y="728"/>
                    <a:pt x="813" y="725"/>
                    <a:pt x="816" y="720"/>
                  </a:cubicBezTo>
                  <a:cubicBezTo>
                    <a:pt x="817" y="718"/>
                    <a:pt x="818" y="717"/>
                    <a:pt x="819" y="714"/>
                  </a:cubicBezTo>
                  <a:cubicBezTo>
                    <a:pt x="821" y="710"/>
                    <a:pt x="824" y="706"/>
                    <a:pt x="827" y="703"/>
                  </a:cubicBezTo>
                  <a:cubicBezTo>
                    <a:pt x="830" y="699"/>
                    <a:pt x="833" y="695"/>
                    <a:pt x="835" y="690"/>
                  </a:cubicBezTo>
                  <a:cubicBezTo>
                    <a:pt x="837" y="684"/>
                    <a:pt x="839" y="679"/>
                    <a:pt x="841" y="674"/>
                  </a:cubicBezTo>
                  <a:cubicBezTo>
                    <a:pt x="844" y="670"/>
                    <a:pt x="847" y="666"/>
                    <a:pt x="851" y="664"/>
                  </a:cubicBezTo>
                  <a:cubicBezTo>
                    <a:pt x="853" y="663"/>
                    <a:pt x="857" y="663"/>
                    <a:pt x="861" y="663"/>
                  </a:cubicBezTo>
                  <a:cubicBezTo>
                    <a:pt x="868" y="662"/>
                    <a:pt x="876" y="661"/>
                    <a:pt x="878" y="657"/>
                  </a:cubicBezTo>
                  <a:cubicBezTo>
                    <a:pt x="880" y="652"/>
                    <a:pt x="885" y="635"/>
                    <a:pt x="890" y="618"/>
                  </a:cubicBezTo>
                  <a:cubicBezTo>
                    <a:pt x="896" y="599"/>
                    <a:pt x="901" y="580"/>
                    <a:pt x="902" y="575"/>
                  </a:cubicBezTo>
                  <a:cubicBezTo>
                    <a:pt x="904" y="565"/>
                    <a:pt x="902" y="558"/>
                    <a:pt x="899" y="541"/>
                  </a:cubicBezTo>
                  <a:cubicBezTo>
                    <a:pt x="899" y="538"/>
                    <a:pt x="899" y="538"/>
                    <a:pt x="899" y="538"/>
                  </a:cubicBezTo>
                  <a:cubicBezTo>
                    <a:pt x="896" y="522"/>
                    <a:pt x="898" y="516"/>
                    <a:pt x="900" y="508"/>
                  </a:cubicBezTo>
                  <a:cubicBezTo>
                    <a:pt x="901" y="506"/>
                    <a:pt x="901" y="503"/>
                    <a:pt x="902" y="500"/>
                  </a:cubicBezTo>
                  <a:cubicBezTo>
                    <a:pt x="903" y="493"/>
                    <a:pt x="906" y="484"/>
                    <a:pt x="909" y="475"/>
                  </a:cubicBezTo>
                  <a:cubicBezTo>
                    <a:pt x="912" y="466"/>
                    <a:pt x="915" y="456"/>
                    <a:pt x="918" y="449"/>
                  </a:cubicBezTo>
                  <a:cubicBezTo>
                    <a:pt x="921" y="442"/>
                    <a:pt x="922" y="437"/>
                    <a:pt x="923" y="433"/>
                  </a:cubicBezTo>
                  <a:cubicBezTo>
                    <a:pt x="924" y="429"/>
                    <a:pt x="924" y="425"/>
                    <a:pt x="924" y="418"/>
                  </a:cubicBezTo>
                  <a:cubicBezTo>
                    <a:pt x="923" y="411"/>
                    <a:pt x="924" y="405"/>
                    <a:pt x="926" y="400"/>
                  </a:cubicBezTo>
                  <a:cubicBezTo>
                    <a:pt x="928" y="394"/>
                    <a:pt x="930" y="389"/>
                    <a:pt x="934" y="387"/>
                  </a:cubicBezTo>
                  <a:cubicBezTo>
                    <a:pt x="938" y="383"/>
                    <a:pt x="943" y="384"/>
                    <a:pt x="949" y="384"/>
                  </a:cubicBezTo>
                  <a:cubicBezTo>
                    <a:pt x="954" y="384"/>
                    <a:pt x="959" y="385"/>
                    <a:pt x="963" y="383"/>
                  </a:cubicBezTo>
                  <a:cubicBezTo>
                    <a:pt x="966" y="381"/>
                    <a:pt x="969" y="377"/>
                    <a:pt x="973" y="374"/>
                  </a:cubicBezTo>
                  <a:cubicBezTo>
                    <a:pt x="979" y="368"/>
                    <a:pt x="984" y="362"/>
                    <a:pt x="986" y="359"/>
                  </a:cubicBezTo>
                  <a:cubicBezTo>
                    <a:pt x="989" y="356"/>
                    <a:pt x="996" y="354"/>
                    <a:pt x="1002" y="352"/>
                  </a:cubicBezTo>
                  <a:cubicBezTo>
                    <a:pt x="1007" y="351"/>
                    <a:pt x="1011" y="350"/>
                    <a:pt x="1013" y="348"/>
                  </a:cubicBezTo>
                  <a:cubicBezTo>
                    <a:pt x="1015" y="346"/>
                    <a:pt x="1019" y="340"/>
                    <a:pt x="1023" y="333"/>
                  </a:cubicBezTo>
                  <a:cubicBezTo>
                    <a:pt x="1025" y="331"/>
                    <a:pt x="1026" y="328"/>
                    <a:pt x="1028" y="326"/>
                  </a:cubicBezTo>
                  <a:cubicBezTo>
                    <a:pt x="1023" y="320"/>
                    <a:pt x="1021" y="318"/>
                    <a:pt x="1014" y="313"/>
                  </a:cubicBezTo>
                  <a:cubicBezTo>
                    <a:pt x="1007" y="307"/>
                    <a:pt x="972" y="284"/>
                    <a:pt x="966" y="276"/>
                  </a:cubicBezTo>
                  <a:cubicBezTo>
                    <a:pt x="961" y="268"/>
                    <a:pt x="959" y="266"/>
                    <a:pt x="956" y="252"/>
                  </a:cubicBezTo>
                  <a:cubicBezTo>
                    <a:pt x="954" y="237"/>
                    <a:pt x="954" y="241"/>
                    <a:pt x="952" y="227"/>
                  </a:cubicBezTo>
                  <a:cubicBezTo>
                    <a:pt x="950" y="213"/>
                    <a:pt x="949" y="208"/>
                    <a:pt x="950" y="196"/>
                  </a:cubicBezTo>
                  <a:cubicBezTo>
                    <a:pt x="951" y="184"/>
                    <a:pt x="948" y="167"/>
                    <a:pt x="946" y="158"/>
                  </a:cubicBezTo>
                  <a:cubicBezTo>
                    <a:pt x="944" y="149"/>
                    <a:pt x="943" y="139"/>
                    <a:pt x="944" y="136"/>
                  </a:cubicBezTo>
                  <a:cubicBezTo>
                    <a:pt x="944" y="133"/>
                    <a:pt x="944" y="130"/>
                    <a:pt x="947" y="130"/>
                  </a:cubicBezTo>
                  <a:cubicBezTo>
                    <a:pt x="950" y="130"/>
                    <a:pt x="953" y="131"/>
                    <a:pt x="953" y="129"/>
                  </a:cubicBezTo>
                  <a:cubicBezTo>
                    <a:pt x="954" y="127"/>
                    <a:pt x="952" y="124"/>
                    <a:pt x="947" y="119"/>
                  </a:cubicBezTo>
                  <a:cubicBezTo>
                    <a:pt x="943" y="114"/>
                    <a:pt x="937" y="114"/>
                    <a:pt x="934" y="107"/>
                  </a:cubicBezTo>
                  <a:cubicBezTo>
                    <a:pt x="932" y="101"/>
                    <a:pt x="930" y="100"/>
                    <a:pt x="929" y="91"/>
                  </a:cubicBezTo>
                  <a:cubicBezTo>
                    <a:pt x="929" y="82"/>
                    <a:pt x="931" y="77"/>
                    <a:pt x="928" y="7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6" name="Freeform 441"/>
            <p:cNvSpPr>
              <a:spLocks/>
            </p:cNvSpPr>
            <p:nvPr/>
          </p:nvSpPr>
          <p:spPr bwMode="auto">
            <a:xfrm>
              <a:off x="4573303" y="3963088"/>
              <a:ext cx="4762" cy="4763"/>
            </a:xfrm>
            <a:custGeom>
              <a:avLst/>
              <a:gdLst>
                <a:gd name="T0" fmla="*/ 5 w 15"/>
                <a:gd name="T1" fmla="*/ 10 h 18"/>
                <a:gd name="T2" fmla="*/ 8 w 15"/>
                <a:gd name="T3" fmla="*/ 15 h 18"/>
                <a:gd name="T4" fmla="*/ 12 w 15"/>
                <a:gd name="T5" fmla="*/ 5 h 18"/>
                <a:gd name="T6" fmla="*/ 1 w 15"/>
                <a:gd name="T7" fmla="*/ 4 h 18"/>
                <a:gd name="T8" fmla="*/ 5 w 15"/>
                <a:gd name="T9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5" y="10"/>
                  </a:moveTo>
                  <a:cubicBezTo>
                    <a:pt x="6" y="14"/>
                    <a:pt x="6" y="18"/>
                    <a:pt x="8" y="15"/>
                  </a:cubicBezTo>
                  <a:cubicBezTo>
                    <a:pt x="11" y="12"/>
                    <a:pt x="15" y="8"/>
                    <a:pt x="12" y="5"/>
                  </a:cubicBezTo>
                  <a:cubicBezTo>
                    <a:pt x="10" y="3"/>
                    <a:pt x="2" y="0"/>
                    <a:pt x="1" y="4"/>
                  </a:cubicBezTo>
                  <a:cubicBezTo>
                    <a:pt x="0" y="7"/>
                    <a:pt x="4" y="7"/>
                    <a:pt x="5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7" name="Freeform 443"/>
            <p:cNvSpPr>
              <a:spLocks/>
            </p:cNvSpPr>
            <p:nvPr/>
          </p:nvSpPr>
          <p:spPr bwMode="auto">
            <a:xfrm>
              <a:off x="4542347" y="3838072"/>
              <a:ext cx="5953" cy="3572"/>
            </a:xfrm>
            <a:custGeom>
              <a:avLst/>
              <a:gdLst>
                <a:gd name="T0" fmla="*/ 17 w 20"/>
                <a:gd name="T1" fmla="*/ 12 h 13"/>
                <a:gd name="T2" fmla="*/ 17 w 20"/>
                <a:gd name="T3" fmla="*/ 4 h 13"/>
                <a:gd name="T4" fmla="*/ 8 w 20"/>
                <a:gd name="T5" fmla="*/ 1 h 13"/>
                <a:gd name="T6" fmla="*/ 0 w 20"/>
                <a:gd name="T7" fmla="*/ 6 h 13"/>
                <a:gd name="T8" fmla="*/ 6 w 20"/>
                <a:gd name="T9" fmla="*/ 10 h 13"/>
                <a:gd name="T10" fmla="*/ 17 w 20"/>
                <a:gd name="T11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3">
                  <a:moveTo>
                    <a:pt x="17" y="12"/>
                  </a:moveTo>
                  <a:cubicBezTo>
                    <a:pt x="20" y="10"/>
                    <a:pt x="18" y="7"/>
                    <a:pt x="17" y="4"/>
                  </a:cubicBezTo>
                  <a:cubicBezTo>
                    <a:pt x="16" y="0"/>
                    <a:pt x="14" y="0"/>
                    <a:pt x="8" y="1"/>
                  </a:cubicBezTo>
                  <a:cubicBezTo>
                    <a:pt x="2" y="3"/>
                    <a:pt x="0" y="3"/>
                    <a:pt x="0" y="6"/>
                  </a:cubicBezTo>
                  <a:cubicBezTo>
                    <a:pt x="0" y="8"/>
                    <a:pt x="1" y="10"/>
                    <a:pt x="6" y="10"/>
                  </a:cubicBezTo>
                  <a:cubicBezTo>
                    <a:pt x="11" y="10"/>
                    <a:pt x="14" y="13"/>
                    <a:pt x="17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8" name="Freeform 444"/>
            <p:cNvSpPr>
              <a:spLocks/>
            </p:cNvSpPr>
            <p:nvPr/>
          </p:nvSpPr>
          <p:spPr bwMode="auto">
            <a:xfrm>
              <a:off x="4616166" y="3978566"/>
              <a:ext cx="5953" cy="7144"/>
            </a:xfrm>
            <a:custGeom>
              <a:avLst/>
              <a:gdLst>
                <a:gd name="T0" fmla="*/ 11 w 21"/>
                <a:gd name="T1" fmla="*/ 25 h 26"/>
                <a:gd name="T2" fmla="*/ 20 w 21"/>
                <a:gd name="T3" fmla="*/ 19 h 26"/>
                <a:gd name="T4" fmla="*/ 2 w 21"/>
                <a:gd name="T5" fmla="*/ 7 h 26"/>
                <a:gd name="T6" fmla="*/ 7 w 21"/>
                <a:gd name="T7" fmla="*/ 16 h 26"/>
                <a:gd name="T8" fmla="*/ 11 w 21"/>
                <a:gd name="T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6">
                  <a:moveTo>
                    <a:pt x="11" y="25"/>
                  </a:moveTo>
                  <a:cubicBezTo>
                    <a:pt x="17" y="26"/>
                    <a:pt x="21" y="25"/>
                    <a:pt x="20" y="19"/>
                  </a:cubicBezTo>
                  <a:cubicBezTo>
                    <a:pt x="19" y="14"/>
                    <a:pt x="8" y="0"/>
                    <a:pt x="2" y="7"/>
                  </a:cubicBezTo>
                  <a:cubicBezTo>
                    <a:pt x="0" y="10"/>
                    <a:pt x="3" y="11"/>
                    <a:pt x="7" y="16"/>
                  </a:cubicBezTo>
                  <a:cubicBezTo>
                    <a:pt x="10" y="20"/>
                    <a:pt x="5" y="23"/>
                    <a:pt x="11" y="2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9" name="Freeform 446"/>
            <p:cNvSpPr>
              <a:spLocks/>
            </p:cNvSpPr>
            <p:nvPr/>
          </p:nvSpPr>
          <p:spPr bwMode="auto">
            <a:xfrm>
              <a:off x="4723322" y="3932132"/>
              <a:ext cx="8334" cy="7144"/>
            </a:xfrm>
            <a:custGeom>
              <a:avLst/>
              <a:gdLst>
                <a:gd name="T0" fmla="*/ 25 w 26"/>
                <a:gd name="T1" fmla="*/ 19 h 22"/>
                <a:gd name="T2" fmla="*/ 19 w 26"/>
                <a:gd name="T3" fmla="*/ 9 h 22"/>
                <a:gd name="T4" fmla="*/ 9 w 26"/>
                <a:gd name="T5" fmla="*/ 4 h 22"/>
                <a:gd name="T6" fmla="*/ 0 w 26"/>
                <a:gd name="T7" fmla="*/ 12 h 22"/>
                <a:gd name="T8" fmla="*/ 5 w 26"/>
                <a:gd name="T9" fmla="*/ 18 h 22"/>
                <a:gd name="T10" fmla="*/ 19 w 26"/>
                <a:gd name="T11" fmla="*/ 20 h 22"/>
                <a:gd name="T12" fmla="*/ 25 w 26"/>
                <a:gd name="T1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2">
                  <a:moveTo>
                    <a:pt x="25" y="19"/>
                  </a:moveTo>
                  <a:cubicBezTo>
                    <a:pt x="23" y="15"/>
                    <a:pt x="20" y="17"/>
                    <a:pt x="19" y="9"/>
                  </a:cubicBezTo>
                  <a:cubicBezTo>
                    <a:pt x="19" y="1"/>
                    <a:pt x="13" y="0"/>
                    <a:pt x="9" y="4"/>
                  </a:cubicBezTo>
                  <a:cubicBezTo>
                    <a:pt x="5" y="9"/>
                    <a:pt x="0" y="7"/>
                    <a:pt x="0" y="12"/>
                  </a:cubicBezTo>
                  <a:cubicBezTo>
                    <a:pt x="0" y="16"/>
                    <a:pt x="0" y="18"/>
                    <a:pt x="5" y="18"/>
                  </a:cubicBezTo>
                  <a:cubicBezTo>
                    <a:pt x="10" y="18"/>
                    <a:pt x="17" y="19"/>
                    <a:pt x="19" y="20"/>
                  </a:cubicBezTo>
                  <a:cubicBezTo>
                    <a:pt x="22" y="21"/>
                    <a:pt x="26" y="22"/>
                    <a:pt x="25" y="1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0" name="Freeform 448"/>
            <p:cNvSpPr>
              <a:spLocks/>
            </p:cNvSpPr>
            <p:nvPr/>
          </p:nvSpPr>
          <p:spPr bwMode="auto">
            <a:xfrm>
              <a:off x="4793569" y="3951182"/>
              <a:ext cx="3572" cy="4763"/>
            </a:xfrm>
            <a:custGeom>
              <a:avLst/>
              <a:gdLst>
                <a:gd name="T0" fmla="*/ 4 w 15"/>
                <a:gd name="T1" fmla="*/ 15 h 16"/>
                <a:gd name="T2" fmla="*/ 14 w 15"/>
                <a:gd name="T3" fmla="*/ 8 h 16"/>
                <a:gd name="T4" fmla="*/ 11 w 15"/>
                <a:gd name="T5" fmla="*/ 2 h 16"/>
                <a:gd name="T6" fmla="*/ 4 w 15"/>
                <a:gd name="T7" fmla="*/ 9 h 16"/>
                <a:gd name="T8" fmla="*/ 4 w 15"/>
                <a:gd name="T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4" y="15"/>
                  </a:moveTo>
                  <a:cubicBezTo>
                    <a:pt x="8" y="15"/>
                    <a:pt x="14" y="11"/>
                    <a:pt x="14" y="8"/>
                  </a:cubicBezTo>
                  <a:cubicBezTo>
                    <a:pt x="15" y="4"/>
                    <a:pt x="15" y="0"/>
                    <a:pt x="11" y="2"/>
                  </a:cubicBezTo>
                  <a:cubicBezTo>
                    <a:pt x="9" y="6"/>
                    <a:pt x="6" y="5"/>
                    <a:pt x="4" y="9"/>
                  </a:cubicBezTo>
                  <a:cubicBezTo>
                    <a:pt x="1" y="14"/>
                    <a:pt x="0" y="16"/>
                    <a:pt x="4" y="1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1" name="Freeform 449"/>
            <p:cNvSpPr>
              <a:spLocks/>
            </p:cNvSpPr>
            <p:nvPr/>
          </p:nvSpPr>
          <p:spPr bwMode="auto">
            <a:xfrm>
              <a:off x="4792378" y="3964278"/>
              <a:ext cx="5953" cy="4763"/>
            </a:xfrm>
            <a:custGeom>
              <a:avLst/>
              <a:gdLst>
                <a:gd name="T0" fmla="*/ 6 w 18"/>
                <a:gd name="T1" fmla="*/ 15 h 15"/>
                <a:gd name="T2" fmla="*/ 14 w 18"/>
                <a:gd name="T3" fmla="*/ 12 h 15"/>
                <a:gd name="T4" fmla="*/ 18 w 18"/>
                <a:gd name="T5" fmla="*/ 6 h 15"/>
                <a:gd name="T6" fmla="*/ 4 w 18"/>
                <a:gd name="T7" fmla="*/ 9 h 15"/>
                <a:gd name="T8" fmla="*/ 6 w 18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6" y="15"/>
                  </a:moveTo>
                  <a:cubicBezTo>
                    <a:pt x="9" y="14"/>
                    <a:pt x="10" y="14"/>
                    <a:pt x="14" y="12"/>
                  </a:cubicBezTo>
                  <a:cubicBezTo>
                    <a:pt x="18" y="10"/>
                    <a:pt x="18" y="11"/>
                    <a:pt x="18" y="6"/>
                  </a:cubicBezTo>
                  <a:cubicBezTo>
                    <a:pt x="16" y="0"/>
                    <a:pt x="9" y="6"/>
                    <a:pt x="4" y="9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2" name="Freeform 451"/>
            <p:cNvSpPr>
              <a:spLocks/>
            </p:cNvSpPr>
            <p:nvPr/>
          </p:nvSpPr>
          <p:spPr bwMode="auto">
            <a:xfrm>
              <a:off x="4794759" y="3935703"/>
              <a:ext cx="4762" cy="5953"/>
            </a:xfrm>
            <a:custGeom>
              <a:avLst/>
              <a:gdLst>
                <a:gd name="T0" fmla="*/ 5 w 17"/>
                <a:gd name="T1" fmla="*/ 1 h 19"/>
                <a:gd name="T2" fmla="*/ 1 w 17"/>
                <a:gd name="T3" fmla="*/ 7 h 19"/>
                <a:gd name="T4" fmla="*/ 7 w 17"/>
                <a:gd name="T5" fmla="*/ 14 h 19"/>
                <a:gd name="T6" fmla="*/ 13 w 17"/>
                <a:gd name="T7" fmla="*/ 14 h 19"/>
                <a:gd name="T8" fmla="*/ 16 w 17"/>
                <a:gd name="T9" fmla="*/ 5 h 19"/>
                <a:gd name="T10" fmla="*/ 5 w 17"/>
                <a:gd name="T11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9">
                  <a:moveTo>
                    <a:pt x="5" y="1"/>
                  </a:moveTo>
                  <a:cubicBezTo>
                    <a:pt x="1" y="2"/>
                    <a:pt x="0" y="3"/>
                    <a:pt x="1" y="7"/>
                  </a:cubicBezTo>
                  <a:cubicBezTo>
                    <a:pt x="2" y="11"/>
                    <a:pt x="4" y="10"/>
                    <a:pt x="7" y="14"/>
                  </a:cubicBezTo>
                  <a:cubicBezTo>
                    <a:pt x="9" y="18"/>
                    <a:pt x="10" y="19"/>
                    <a:pt x="13" y="14"/>
                  </a:cubicBezTo>
                  <a:cubicBezTo>
                    <a:pt x="15" y="9"/>
                    <a:pt x="17" y="8"/>
                    <a:pt x="16" y="5"/>
                  </a:cubicBezTo>
                  <a:cubicBezTo>
                    <a:pt x="15" y="3"/>
                    <a:pt x="10" y="0"/>
                    <a:pt x="5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3" name="Freeform 452"/>
            <p:cNvSpPr>
              <a:spLocks/>
            </p:cNvSpPr>
            <p:nvPr/>
          </p:nvSpPr>
          <p:spPr bwMode="auto">
            <a:xfrm>
              <a:off x="4729275" y="3940466"/>
              <a:ext cx="4762" cy="8334"/>
            </a:xfrm>
            <a:custGeom>
              <a:avLst/>
              <a:gdLst>
                <a:gd name="T0" fmla="*/ 8 w 17"/>
                <a:gd name="T1" fmla="*/ 30 h 31"/>
                <a:gd name="T2" fmla="*/ 14 w 17"/>
                <a:gd name="T3" fmla="*/ 24 h 31"/>
                <a:gd name="T4" fmla="*/ 14 w 17"/>
                <a:gd name="T5" fmla="*/ 16 h 31"/>
                <a:gd name="T6" fmla="*/ 0 w 17"/>
                <a:gd name="T7" fmla="*/ 7 h 31"/>
                <a:gd name="T8" fmla="*/ 4 w 17"/>
                <a:gd name="T9" fmla="*/ 16 h 31"/>
                <a:gd name="T10" fmla="*/ 8 w 17"/>
                <a:gd name="T11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31">
                  <a:moveTo>
                    <a:pt x="8" y="30"/>
                  </a:moveTo>
                  <a:cubicBezTo>
                    <a:pt x="14" y="29"/>
                    <a:pt x="12" y="27"/>
                    <a:pt x="14" y="24"/>
                  </a:cubicBezTo>
                  <a:cubicBezTo>
                    <a:pt x="17" y="21"/>
                    <a:pt x="17" y="18"/>
                    <a:pt x="14" y="16"/>
                  </a:cubicBezTo>
                  <a:cubicBezTo>
                    <a:pt x="11" y="13"/>
                    <a:pt x="0" y="0"/>
                    <a:pt x="0" y="7"/>
                  </a:cubicBezTo>
                  <a:cubicBezTo>
                    <a:pt x="0" y="11"/>
                    <a:pt x="1" y="11"/>
                    <a:pt x="4" y="16"/>
                  </a:cubicBezTo>
                  <a:cubicBezTo>
                    <a:pt x="8" y="21"/>
                    <a:pt x="3" y="31"/>
                    <a:pt x="8" y="3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4" name="Freeform 454"/>
            <p:cNvSpPr>
              <a:spLocks/>
            </p:cNvSpPr>
            <p:nvPr/>
          </p:nvSpPr>
          <p:spPr bwMode="auto">
            <a:xfrm>
              <a:off x="4705463" y="3845216"/>
              <a:ext cx="28575" cy="59531"/>
            </a:xfrm>
            <a:custGeom>
              <a:avLst/>
              <a:gdLst>
                <a:gd name="T0" fmla="*/ 6 w 99"/>
                <a:gd name="T1" fmla="*/ 164 h 208"/>
                <a:gd name="T2" fmla="*/ 24 w 99"/>
                <a:gd name="T3" fmla="*/ 173 h 208"/>
                <a:gd name="T4" fmla="*/ 33 w 99"/>
                <a:gd name="T5" fmla="*/ 181 h 208"/>
                <a:gd name="T6" fmla="*/ 37 w 99"/>
                <a:gd name="T7" fmla="*/ 195 h 208"/>
                <a:gd name="T8" fmla="*/ 42 w 99"/>
                <a:gd name="T9" fmla="*/ 208 h 208"/>
                <a:gd name="T10" fmla="*/ 53 w 99"/>
                <a:gd name="T11" fmla="*/ 203 h 208"/>
                <a:gd name="T12" fmla="*/ 56 w 99"/>
                <a:gd name="T13" fmla="*/ 200 h 208"/>
                <a:gd name="T14" fmla="*/ 56 w 99"/>
                <a:gd name="T15" fmla="*/ 197 h 208"/>
                <a:gd name="T16" fmla="*/ 56 w 99"/>
                <a:gd name="T17" fmla="*/ 188 h 208"/>
                <a:gd name="T18" fmla="*/ 61 w 99"/>
                <a:gd name="T19" fmla="*/ 179 h 208"/>
                <a:gd name="T20" fmla="*/ 69 w 99"/>
                <a:gd name="T21" fmla="*/ 177 h 208"/>
                <a:gd name="T22" fmla="*/ 77 w 99"/>
                <a:gd name="T23" fmla="*/ 174 h 208"/>
                <a:gd name="T24" fmla="*/ 80 w 99"/>
                <a:gd name="T25" fmla="*/ 163 h 208"/>
                <a:gd name="T26" fmla="*/ 89 w 99"/>
                <a:gd name="T27" fmla="*/ 151 h 208"/>
                <a:gd name="T28" fmla="*/ 89 w 99"/>
                <a:gd name="T29" fmla="*/ 151 h 208"/>
                <a:gd name="T30" fmla="*/ 90 w 99"/>
                <a:gd name="T31" fmla="*/ 150 h 208"/>
                <a:gd name="T32" fmla="*/ 99 w 99"/>
                <a:gd name="T33" fmla="*/ 140 h 208"/>
                <a:gd name="T34" fmla="*/ 99 w 99"/>
                <a:gd name="T35" fmla="*/ 135 h 208"/>
                <a:gd name="T36" fmla="*/ 99 w 99"/>
                <a:gd name="T37" fmla="*/ 127 h 208"/>
                <a:gd name="T38" fmla="*/ 97 w 99"/>
                <a:gd name="T39" fmla="*/ 125 h 208"/>
                <a:gd name="T40" fmla="*/ 82 w 99"/>
                <a:gd name="T41" fmla="*/ 111 h 208"/>
                <a:gd name="T42" fmla="*/ 76 w 99"/>
                <a:gd name="T43" fmla="*/ 94 h 208"/>
                <a:gd name="T44" fmla="*/ 74 w 99"/>
                <a:gd name="T45" fmla="*/ 75 h 208"/>
                <a:gd name="T46" fmla="*/ 75 w 99"/>
                <a:gd name="T47" fmla="*/ 63 h 208"/>
                <a:gd name="T48" fmla="*/ 75 w 99"/>
                <a:gd name="T49" fmla="*/ 47 h 208"/>
                <a:gd name="T50" fmla="*/ 73 w 99"/>
                <a:gd name="T51" fmla="*/ 33 h 208"/>
                <a:gd name="T52" fmla="*/ 69 w 99"/>
                <a:gd name="T53" fmla="*/ 23 h 208"/>
                <a:gd name="T54" fmla="*/ 59 w 99"/>
                <a:gd name="T55" fmla="*/ 15 h 208"/>
                <a:gd name="T56" fmla="*/ 47 w 99"/>
                <a:gd name="T57" fmla="*/ 5 h 208"/>
                <a:gd name="T58" fmla="*/ 38 w 99"/>
                <a:gd name="T59" fmla="*/ 7 h 208"/>
                <a:gd name="T60" fmla="*/ 31 w 99"/>
                <a:gd name="T61" fmla="*/ 3 h 208"/>
                <a:gd name="T62" fmla="*/ 25 w 99"/>
                <a:gd name="T63" fmla="*/ 1 h 208"/>
                <a:gd name="T64" fmla="*/ 20 w 99"/>
                <a:gd name="T65" fmla="*/ 3 h 208"/>
                <a:gd name="T66" fmla="*/ 13 w 99"/>
                <a:gd name="T67" fmla="*/ 9 h 208"/>
                <a:gd name="T68" fmla="*/ 8 w 99"/>
                <a:gd name="T69" fmla="*/ 15 h 208"/>
                <a:gd name="T70" fmla="*/ 8 w 99"/>
                <a:gd name="T71" fmla="*/ 26 h 208"/>
                <a:gd name="T72" fmla="*/ 3 w 99"/>
                <a:gd name="T73" fmla="*/ 44 h 208"/>
                <a:gd name="T74" fmla="*/ 3 w 99"/>
                <a:gd name="T75" fmla="*/ 44 h 208"/>
                <a:gd name="T76" fmla="*/ 13 w 99"/>
                <a:gd name="T77" fmla="*/ 59 h 208"/>
                <a:gd name="T78" fmla="*/ 9 w 99"/>
                <a:gd name="T79" fmla="*/ 72 h 208"/>
                <a:gd name="T80" fmla="*/ 5 w 99"/>
                <a:gd name="T81" fmla="*/ 83 h 208"/>
                <a:gd name="T82" fmla="*/ 9 w 99"/>
                <a:gd name="T83" fmla="*/ 94 h 208"/>
                <a:gd name="T84" fmla="*/ 9 w 99"/>
                <a:gd name="T85" fmla="*/ 106 h 208"/>
                <a:gd name="T86" fmla="*/ 7 w 99"/>
                <a:gd name="T87" fmla="*/ 119 h 208"/>
                <a:gd name="T88" fmla="*/ 2 w 99"/>
                <a:gd name="T89" fmla="*/ 129 h 208"/>
                <a:gd name="T90" fmla="*/ 3 w 99"/>
                <a:gd name="T91" fmla="*/ 145 h 208"/>
                <a:gd name="T92" fmla="*/ 3 w 99"/>
                <a:gd name="T93" fmla="*/ 154 h 208"/>
                <a:gd name="T94" fmla="*/ 6 w 99"/>
                <a:gd name="T95" fmla="*/ 164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9" h="208">
                  <a:moveTo>
                    <a:pt x="6" y="164"/>
                  </a:moveTo>
                  <a:cubicBezTo>
                    <a:pt x="11" y="167"/>
                    <a:pt x="20" y="172"/>
                    <a:pt x="24" y="173"/>
                  </a:cubicBezTo>
                  <a:cubicBezTo>
                    <a:pt x="28" y="175"/>
                    <a:pt x="31" y="176"/>
                    <a:pt x="33" y="181"/>
                  </a:cubicBezTo>
                  <a:cubicBezTo>
                    <a:pt x="36" y="186"/>
                    <a:pt x="37" y="189"/>
                    <a:pt x="37" y="195"/>
                  </a:cubicBezTo>
                  <a:cubicBezTo>
                    <a:pt x="37" y="200"/>
                    <a:pt x="39" y="204"/>
                    <a:pt x="42" y="208"/>
                  </a:cubicBezTo>
                  <a:cubicBezTo>
                    <a:pt x="46" y="206"/>
                    <a:pt x="51" y="204"/>
                    <a:pt x="53" y="203"/>
                  </a:cubicBezTo>
                  <a:cubicBezTo>
                    <a:pt x="55" y="202"/>
                    <a:pt x="56" y="201"/>
                    <a:pt x="56" y="200"/>
                  </a:cubicBezTo>
                  <a:cubicBezTo>
                    <a:pt x="56" y="199"/>
                    <a:pt x="57" y="198"/>
                    <a:pt x="56" y="197"/>
                  </a:cubicBezTo>
                  <a:cubicBezTo>
                    <a:pt x="56" y="194"/>
                    <a:pt x="56" y="191"/>
                    <a:pt x="56" y="188"/>
                  </a:cubicBezTo>
                  <a:cubicBezTo>
                    <a:pt x="56" y="184"/>
                    <a:pt x="58" y="181"/>
                    <a:pt x="61" y="179"/>
                  </a:cubicBezTo>
                  <a:cubicBezTo>
                    <a:pt x="63" y="178"/>
                    <a:pt x="66" y="177"/>
                    <a:pt x="69" y="177"/>
                  </a:cubicBezTo>
                  <a:cubicBezTo>
                    <a:pt x="73" y="176"/>
                    <a:pt x="77" y="175"/>
                    <a:pt x="77" y="174"/>
                  </a:cubicBezTo>
                  <a:cubicBezTo>
                    <a:pt x="78" y="171"/>
                    <a:pt x="78" y="167"/>
                    <a:pt x="80" y="163"/>
                  </a:cubicBezTo>
                  <a:cubicBezTo>
                    <a:pt x="82" y="159"/>
                    <a:pt x="84" y="155"/>
                    <a:pt x="89" y="151"/>
                  </a:cubicBezTo>
                  <a:cubicBezTo>
                    <a:pt x="89" y="151"/>
                    <a:pt x="89" y="151"/>
                    <a:pt x="89" y="151"/>
                  </a:cubicBezTo>
                  <a:cubicBezTo>
                    <a:pt x="90" y="150"/>
                    <a:pt x="90" y="150"/>
                    <a:pt x="90" y="150"/>
                  </a:cubicBezTo>
                  <a:cubicBezTo>
                    <a:pt x="96" y="146"/>
                    <a:pt x="99" y="144"/>
                    <a:pt x="99" y="140"/>
                  </a:cubicBezTo>
                  <a:cubicBezTo>
                    <a:pt x="99" y="139"/>
                    <a:pt x="99" y="137"/>
                    <a:pt x="99" y="135"/>
                  </a:cubicBezTo>
                  <a:cubicBezTo>
                    <a:pt x="99" y="132"/>
                    <a:pt x="99" y="129"/>
                    <a:pt x="99" y="127"/>
                  </a:cubicBezTo>
                  <a:cubicBezTo>
                    <a:pt x="98" y="126"/>
                    <a:pt x="98" y="126"/>
                    <a:pt x="97" y="125"/>
                  </a:cubicBezTo>
                  <a:cubicBezTo>
                    <a:pt x="91" y="121"/>
                    <a:pt x="85" y="117"/>
                    <a:pt x="82" y="111"/>
                  </a:cubicBezTo>
                  <a:cubicBezTo>
                    <a:pt x="80" y="107"/>
                    <a:pt x="78" y="101"/>
                    <a:pt x="76" y="94"/>
                  </a:cubicBezTo>
                  <a:cubicBezTo>
                    <a:pt x="75" y="88"/>
                    <a:pt x="74" y="82"/>
                    <a:pt x="74" y="75"/>
                  </a:cubicBezTo>
                  <a:cubicBezTo>
                    <a:pt x="74" y="70"/>
                    <a:pt x="75" y="66"/>
                    <a:pt x="75" y="63"/>
                  </a:cubicBezTo>
                  <a:cubicBezTo>
                    <a:pt x="75" y="58"/>
                    <a:pt x="75" y="54"/>
                    <a:pt x="75" y="47"/>
                  </a:cubicBezTo>
                  <a:cubicBezTo>
                    <a:pt x="75" y="41"/>
                    <a:pt x="74" y="36"/>
                    <a:pt x="73" y="33"/>
                  </a:cubicBezTo>
                  <a:cubicBezTo>
                    <a:pt x="72" y="30"/>
                    <a:pt x="71" y="27"/>
                    <a:pt x="69" y="23"/>
                  </a:cubicBezTo>
                  <a:cubicBezTo>
                    <a:pt x="67" y="21"/>
                    <a:pt x="63" y="18"/>
                    <a:pt x="59" y="15"/>
                  </a:cubicBezTo>
                  <a:cubicBezTo>
                    <a:pt x="54" y="12"/>
                    <a:pt x="50" y="9"/>
                    <a:pt x="47" y="5"/>
                  </a:cubicBezTo>
                  <a:cubicBezTo>
                    <a:pt x="44" y="6"/>
                    <a:pt x="41" y="7"/>
                    <a:pt x="38" y="7"/>
                  </a:cubicBezTo>
                  <a:cubicBezTo>
                    <a:pt x="34" y="6"/>
                    <a:pt x="33" y="5"/>
                    <a:pt x="31" y="3"/>
                  </a:cubicBezTo>
                  <a:cubicBezTo>
                    <a:pt x="30" y="2"/>
                    <a:pt x="28" y="1"/>
                    <a:pt x="25" y="1"/>
                  </a:cubicBezTo>
                  <a:cubicBezTo>
                    <a:pt x="22" y="0"/>
                    <a:pt x="21" y="1"/>
                    <a:pt x="20" y="3"/>
                  </a:cubicBezTo>
                  <a:cubicBezTo>
                    <a:pt x="18" y="5"/>
                    <a:pt x="16" y="7"/>
                    <a:pt x="13" y="9"/>
                  </a:cubicBezTo>
                  <a:cubicBezTo>
                    <a:pt x="11" y="11"/>
                    <a:pt x="9" y="13"/>
                    <a:pt x="8" y="15"/>
                  </a:cubicBezTo>
                  <a:cubicBezTo>
                    <a:pt x="8" y="18"/>
                    <a:pt x="8" y="21"/>
                    <a:pt x="8" y="26"/>
                  </a:cubicBezTo>
                  <a:cubicBezTo>
                    <a:pt x="8" y="32"/>
                    <a:pt x="5" y="39"/>
                    <a:pt x="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7" y="48"/>
                    <a:pt x="13" y="54"/>
                    <a:pt x="13" y="59"/>
                  </a:cubicBezTo>
                  <a:cubicBezTo>
                    <a:pt x="14" y="64"/>
                    <a:pt x="12" y="69"/>
                    <a:pt x="9" y="72"/>
                  </a:cubicBezTo>
                  <a:cubicBezTo>
                    <a:pt x="6" y="75"/>
                    <a:pt x="3" y="78"/>
                    <a:pt x="5" y="83"/>
                  </a:cubicBezTo>
                  <a:cubicBezTo>
                    <a:pt x="6" y="87"/>
                    <a:pt x="9" y="88"/>
                    <a:pt x="9" y="94"/>
                  </a:cubicBezTo>
                  <a:cubicBezTo>
                    <a:pt x="8" y="99"/>
                    <a:pt x="12" y="102"/>
                    <a:pt x="9" y="106"/>
                  </a:cubicBezTo>
                  <a:cubicBezTo>
                    <a:pt x="6" y="110"/>
                    <a:pt x="8" y="116"/>
                    <a:pt x="7" y="119"/>
                  </a:cubicBezTo>
                  <a:cubicBezTo>
                    <a:pt x="6" y="123"/>
                    <a:pt x="4" y="122"/>
                    <a:pt x="2" y="129"/>
                  </a:cubicBezTo>
                  <a:cubicBezTo>
                    <a:pt x="0" y="135"/>
                    <a:pt x="2" y="142"/>
                    <a:pt x="3" y="145"/>
                  </a:cubicBezTo>
                  <a:cubicBezTo>
                    <a:pt x="4" y="147"/>
                    <a:pt x="3" y="154"/>
                    <a:pt x="3" y="154"/>
                  </a:cubicBezTo>
                  <a:cubicBezTo>
                    <a:pt x="3" y="154"/>
                    <a:pt x="0" y="161"/>
                    <a:pt x="6" y="16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5" name="Freeform 456"/>
            <p:cNvSpPr>
              <a:spLocks/>
            </p:cNvSpPr>
            <p:nvPr/>
          </p:nvSpPr>
          <p:spPr bwMode="auto">
            <a:xfrm>
              <a:off x="4767375" y="3973803"/>
              <a:ext cx="4762" cy="5953"/>
            </a:xfrm>
            <a:custGeom>
              <a:avLst/>
              <a:gdLst>
                <a:gd name="T0" fmla="*/ 4 w 14"/>
                <a:gd name="T1" fmla="*/ 2 h 22"/>
                <a:gd name="T2" fmla="*/ 2 w 14"/>
                <a:gd name="T3" fmla="*/ 9 h 22"/>
                <a:gd name="T4" fmla="*/ 8 w 14"/>
                <a:gd name="T5" fmla="*/ 18 h 22"/>
                <a:gd name="T6" fmla="*/ 14 w 14"/>
                <a:gd name="T7" fmla="*/ 19 h 22"/>
                <a:gd name="T8" fmla="*/ 11 w 14"/>
                <a:gd name="T9" fmla="*/ 10 h 22"/>
                <a:gd name="T10" fmla="*/ 4 w 14"/>
                <a:gd name="T11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2">
                  <a:moveTo>
                    <a:pt x="4" y="2"/>
                  </a:moveTo>
                  <a:cubicBezTo>
                    <a:pt x="2" y="5"/>
                    <a:pt x="0" y="5"/>
                    <a:pt x="2" y="9"/>
                  </a:cubicBezTo>
                  <a:cubicBezTo>
                    <a:pt x="4" y="14"/>
                    <a:pt x="5" y="17"/>
                    <a:pt x="8" y="18"/>
                  </a:cubicBezTo>
                  <a:cubicBezTo>
                    <a:pt x="11" y="20"/>
                    <a:pt x="14" y="22"/>
                    <a:pt x="14" y="19"/>
                  </a:cubicBezTo>
                  <a:cubicBezTo>
                    <a:pt x="14" y="16"/>
                    <a:pt x="11" y="14"/>
                    <a:pt x="11" y="10"/>
                  </a:cubicBezTo>
                  <a:cubicBezTo>
                    <a:pt x="11" y="6"/>
                    <a:pt x="6" y="0"/>
                    <a:pt x="4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6" name="Freeform 457"/>
            <p:cNvSpPr>
              <a:spLocks/>
            </p:cNvSpPr>
            <p:nvPr/>
          </p:nvSpPr>
          <p:spPr bwMode="auto">
            <a:xfrm>
              <a:off x="4797141" y="3919035"/>
              <a:ext cx="4762" cy="5953"/>
            </a:xfrm>
            <a:custGeom>
              <a:avLst/>
              <a:gdLst>
                <a:gd name="T0" fmla="*/ 1 w 17"/>
                <a:gd name="T1" fmla="*/ 6 h 23"/>
                <a:gd name="T2" fmla="*/ 6 w 17"/>
                <a:gd name="T3" fmla="*/ 13 h 23"/>
                <a:gd name="T4" fmla="*/ 8 w 17"/>
                <a:gd name="T5" fmla="*/ 22 h 23"/>
                <a:gd name="T6" fmla="*/ 14 w 17"/>
                <a:gd name="T7" fmla="*/ 18 h 23"/>
                <a:gd name="T8" fmla="*/ 10 w 17"/>
                <a:gd name="T9" fmla="*/ 8 h 23"/>
                <a:gd name="T10" fmla="*/ 1 w 17"/>
                <a:gd name="T11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23">
                  <a:moveTo>
                    <a:pt x="1" y="6"/>
                  </a:moveTo>
                  <a:cubicBezTo>
                    <a:pt x="0" y="10"/>
                    <a:pt x="5" y="7"/>
                    <a:pt x="6" y="13"/>
                  </a:cubicBezTo>
                  <a:cubicBezTo>
                    <a:pt x="7" y="19"/>
                    <a:pt x="3" y="23"/>
                    <a:pt x="8" y="22"/>
                  </a:cubicBezTo>
                  <a:cubicBezTo>
                    <a:pt x="14" y="22"/>
                    <a:pt x="17" y="22"/>
                    <a:pt x="14" y="18"/>
                  </a:cubicBezTo>
                  <a:cubicBezTo>
                    <a:pt x="12" y="14"/>
                    <a:pt x="13" y="11"/>
                    <a:pt x="10" y="8"/>
                  </a:cubicBezTo>
                  <a:cubicBezTo>
                    <a:pt x="7" y="5"/>
                    <a:pt x="2" y="0"/>
                    <a:pt x="1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7" name="Freeform 458"/>
            <p:cNvSpPr>
              <a:spLocks/>
            </p:cNvSpPr>
            <p:nvPr/>
          </p:nvSpPr>
          <p:spPr bwMode="auto">
            <a:xfrm>
              <a:off x="4806666" y="3897603"/>
              <a:ext cx="8334" cy="5953"/>
            </a:xfrm>
            <a:custGeom>
              <a:avLst/>
              <a:gdLst>
                <a:gd name="T0" fmla="*/ 21 w 29"/>
                <a:gd name="T1" fmla="*/ 7 h 21"/>
                <a:gd name="T2" fmla="*/ 12 w 29"/>
                <a:gd name="T3" fmla="*/ 6 h 21"/>
                <a:gd name="T4" fmla="*/ 1 w 29"/>
                <a:gd name="T5" fmla="*/ 10 h 21"/>
                <a:gd name="T6" fmla="*/ 7 w 29"/>
                <a:gd name="T7" fmla="*/ 13 h 21"/>
                <a:gd name="T8" fmla="*/ 15 w 29"/>
                <a:gd name="T9" fmla="*/ 15 h 21"/>
                <a:gd name="T10" fmla="*/ 21 w 29"/>
                <a:gd name="T11" fmla="*/ 19 h 21"/>
                <a:gd name="T12" fmla="*/ 26 w 29"/>
                <a:gd name="T13" fmla="*/ 13 h 21"/>
                <a:gd name="T14" fmla="*/ 27 w 29"/>
                <a:gd name="T15" fmla="*/ 4 h 21"/>
                <a:gd name="T16" fmla="*/ 21 w 29"/>
                <a:gd name="T17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21">
                  <a:moveTo>
                    <a:pt x="21" y="7"/>
                  </a:moveTo>
                  <a:cubicBezTo>
                    <a:pt x="18" y="9"/>
                    <a:pt x="15" y="8"/>
                    <a:pt x="12" y="6"/>
                  </a:cubicBezTo>
                  <a:cubicBezTo>
                    <a:pt x="9" y="0"/>
                    <a:pt x="3" y="6"/>
                    <a:pt x="1" y="10"/>
                  </a:cubicBezTo>
                  <a:cubicBezTo>
                    <a:pt x="0" y="14"/>
                    <a:pt x="3" y="14"/>
                    <a:pt x="7" y="13"/>
                  </a:cubicBezTo>
                  <a:cubicBezTo>
                    <a:pt x="10" y="12"/>
                    <a:pt x="13" y="13"/>
                    <a:pt x="15" y="15"/>
                  </a:cubicBezTo>
                  <a:cubicBezTo>
                    <a:pt x="16" y="17"/>
                    <a:pt x="20" y="21"/>
                    <a:pt x="21" y="19"/>
                  </a:cubicBezTo>
                  <a:cubicBezTo>
                    <a:pt x="23" y="17"/>
                    <a:pt x="23" y="15"/>
                    <a:pt x="26" y="13"/>
                  </a:cubicBezTo>
                  <a:cubicBezTo>
                    <a:pt x="29" y="11"/>
                    <a:pt x="28" y="6"/>
                    <a:pt x="27" y="4"/>
                  </a:cubicBezTo>
                  <a:cubicBezTo>
                    <a:pt x="26" y="1"/>
                    <a:pt x="24" y="5"/>
                    <a:pt x="21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8" name="Freeform 459"/>
            <p:cNvSpPr>
              <a:spLocks/>
            </p:cNvSpPr>
            <p:nvPr/>
          </p:nvSpPr>
          <p:spPr bwMode="auto">
            <a:xfrm>
              <a:off x="4800713" y="3939275"/>
              <a:ext cx="9525" cy="10716"/>
            </a:xfrm>
            <a:custGeom>
              <a:avLst/>
              <a:gdLst>
                <a:gd name="T0" fmla="*/ 20 w 34"/>
                <a:gd name="T1" fmla="*/ 12 h 38"/>
                <a:gd name="T2" fmla="*/ 4 w 34"/>
                <a:gd name="T3" fmla="*/ 5 h 38"/>
                <a:gd name="T4" fmla="*/ 6 w 34"/>
                <a:gd name="T5" fmla="*/ 14 h 38"/>
                <a:gd name="T6" fmla="*/ 16 w 34"/>
                <a:gd name="T7" fmla="*/ 22 h 38"/>
                <a:gd name="T8" fmla="*/ 26 w 34"/>
                <a:gd name="T9" fmla="*/ 33 h 38"/>
                <a:gd name="T10" fmla="*/ 32 w 34"/>
                <a:gd name="T11" fmla="*/ 33 h 38"/>
                <a:gd name="T12" fmla="*/ 28 w 34"/>
                <a:gd name="T13" fmla="*/ 26 h 38"/>
                <a:gd name="T14" fmla="*/ 20 w 34"/>
                <a:gd name="T15" fmla="*/ 20 h 38"/>
                <a:gd name="T16" fmla="*/ 20 w 34"/>
                <a:gd name="T17" fmla="*/ 1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38">
                  <a:moveTo>
                    <a:pt x="20" y="12"/>
                  </a:moveTo>
                  <a:cubicBezTo>
                    <a:pt x="17" y="9"/>
                    <a:pt x="6" y="0"/>
                    <a:pt x="4" y="5"/>
                  </a:cubicBezTo>
                  <a:cubicBezTo>
                    <a:pt x="3" y="10"/>
                    <a:pt x="0" y="9"/>
                    <a:pt x="6" y="14"/>
                  </a:cubicBezTo>
                  <a:cubicBezTo>
                    <a:pt x="12" y="18"/>
                    <a:pt x="13" y="17"/>
                    <a:pt x="16" y="22"/>
                  </a:cubicBezTo>
                  <a:cubicBezTo>
                    <a:pt x="19" y="26"/>
                    <a:pt x="23" y="32"/>
                    <a:pt x="26" y="33"/>
                  </a:cubicBezTo>
                  <a:cubicBezTo>
                    <a:pt x="30" y="35"/>
                    <a:pt x="30" y="38"/>
                    <a:pt x="32" y="33"/>
                  </a:cubicBezTo>
                  <a:cubicBezTo>
                    <a:pt x="33" y="29"/>
                    <a:pt x="34" y="28"/>
                    <a:pt x="28" y="26"/>
                  </a:cubicBezTo>
                  <a:cubicBezTo>
                    <a:pt x="23" y="24"/>
                    <a:pt x="21" y="24"/>
                    <a:pt x="20" y="20"/>
                  </a:cubicBezTo>
                  <a:cubicBezTo>
                    <a:pt x="20" y="16"/>
                    <a:pt x="22" y="16"/>
                    <a:pt x="20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9" name="Freeform 460"/>
            <p:cNvSpPr>
              <a:spLocks/>
            </p:cNvSpPr>
            <p:nvPr/>
          </p:nvSpPr>
          <p:spPr bwMode="auto">
            <a:xfrm>
              <a:off x="4812619" y="3970232"/>
              <a:ext cx="2381" cy="5953"/>
            </a:xfrm>
            <a:custGeom>
              <a:avLst/>
              <a:gdLst>
                <a:gd name="T0" fmla="*/ 6 w 8"/>
                <a:gd name="T1" fmla="*/ 17 h 19"/>
                <a:gd name="T2" fmla="*/ 6 w 8"/>
                <a:gd name="T3" fmla="*/ 7 h 19"/>
                <a:gd name="T4" fmla="*/ 1 w 8"/>
                <a:gd name="T5" fmla="*/ 5 h 19"/>
                <a:gd name="T6" fmla="*/ 3 w 8"/>
                <a:gd name="T7" fmla="*/ 11 h 19"/>
                <a:gd name="T8" fmla="*/ 6 w 8"/>
                <a:gd name="T9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9">
                  <a:moveTo>
                    <a:pt x="6" y="17"/>
                  </a:moveTo>
                  <a:cubicBezTo>
                    <a:pt x="8" y="16"/>
                    <a:pt x="6" y="11"/>
                    <a:pt x="6" y="7"/>
                  </a:cubicBezTo>
                  <a:cubicBezTo>
                    <a:pt x="7" y="2"/>
                    <a:pt x="0" y="0"/>
                    <a:pt x="1" y="5"/>
                  </a:cubicBezTo>
                  <a:cubicBezTo>
                    <a:pt x="0" y="7"/>
                    <a:pt x="3" y="6"/>
                    <a:pt x="3" y="11"/>
                  </a:cubicBezTo>
                  <a:cubicBezTo>
                    <a:pt x="3" y="15"/>
                    <a:pt x="4" y="19"/>
                    <a:pt x="6" y="1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0" name="Freeform 461"/>
            <p:cNvSpPr>
              <a:spLocks/>
            </p:cNvSpPr>
            <p:nvPr/>
          </p:nvSpPr>
          <p:spPr bwMode="auto">
            <a:xfrm>
              <a:off x="4797141" y="3883316"/>
              <a:ext cx="5953" cy="4763"/>
            </a:xfrm>
            <a:custGeom>
              <a:avLst/>
              <a:gdLst>
                <a:gd name="T0" fmla="*/ 5 w 18"/>
                <a:gd name="T1" fmla="*/ 2 h 20"/>
                <a:gd name="T2" fmla="*/ 3 w 18"/>
                <a:gd name="T3" fmla="*/ 10 h 20"/>
                <a:gd name="T4" fmla="*/ 11 w 18"/>
                <a:gd name="T5" fmla="*/ 14 h 20"/>
                <a:gd name="T6" fmla="*/ 17 w 18"/>
                <a:gd name="T7" fmla="*/ 6 h 20"/>
                <a:gd name="T8" fmla="*/ 5 w 1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0">
                  <a:moveTo>
                    <a:pt x="5" y="2"/>
                  </a:moveTo>
                  <a:cubicBezTo>
                    <a:pt x="2" y="4"/>
                    <a:pt x="0" y="5"/>
                    <a:pt x="3" y="10"/>
                  </a:cubicBezTo>
                  <a:cubicBezTo>
                    <a:pt x="7" y="14"/>
                    <a:pt x="7" y="20"/>
                    <a:pt x="11" y="14"/>
                  </a:cubicBezTo>
                  <a:cubicBezTo>
                    <a:pt x="15" y="8"/>
                    <a:pt x="18" y="8"/>
                    <a:pt x="17" y="6"/>
                  </a:cubicBezTo>
                  <a:cubicBezTo>
                    <a:pt x="16" y="3"/>
                    <a:pt x="10" y="0"/>
                    <a:pt x="5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1" name="Freeform 462"/>
            <p:cNvSpPr>
              <a:spLocks/>
            </p:cNvSpPr>
            <p:nvPr/>
          </p:nvSpPr>
          <p:spPr bwMode="auto">
            <a:xfrm>
              <a:off x="4772138" y="3919035"/>
              <a:ext cx="21431" cy="15478"/>
            </a:xfrm>
            <a:custGeom>
              <a:avLst/>
              <a:gdLst>
                <a:gd name="T0" fmla="*/ 21 w 76"/>
                <a:gd name="T1" fmla="*/ 4 h 53"/>
                <a:gd name="T2" fmla="*/ 9 w 76"/>
                <a:gd name="T3" fmla="*/ 1 h 53"/>
                <a:gd name="T4" fmla="*/ 4 w 76"/>
                <a:gd name="T5" fmla="*/ 7 h 53"/>
                <a:gd name="T6" fmla="*/ 13 w 76"/>
                <a:gd name="T7" fmla="*/ 15 h 53"/>
                <a:gd name="T8" fmla="*/ 22 w 76"/>
                <a:gd name="T9" fmla="*/ 26 h 53"/>
                <a:gd name="T10" fmla="*/ 29 w 76"/>
                <a:gd name="T11" fmla="*/ 35 h 53"/>
                <a:gd name="T12" fmla="*/ 36 w 76"/>
                <a:gd name="T13" fmla="*/ 42 h 53"/>
                <a:gd name="T14" fmla="*/ 46 w 76"/>
                <a:gd name="T15" fmla="*/ 43 h 53"/>
                <a:gd name="T16" fmla="*/ 61 w 76"/>
                <a:gd name="T17" fmla="*/ 44 h 53"/>
                <a:gd name="T18" fmla="*/ 70 w 76"/>
                <a:gd name="T19" fmla="*/ 53 h 53"/>
                <a:gd name="T20" fmla="*/ 72 w 76"/>
                <a:gd name="T21" fmla="*/ 45 h 53"/>
                <a:gd name="T22" fmla="*/ 66 w 76"/>
                <a:gd name="T23" fmla="*/ 35 h 53"/>
                <a:gd name="T24" fmla="*/ 62 w 76"/>
                <a:gd name="T25" fmla="*/ 24 h 53"/>
                <a:gd name="T26" fmla="*/ 48 w 76"/>
                <a:gd name="T27" fmla="*/ 24 h 53"/>
                <a:gd name="T28" fmla="*/ 32 w 76"/>
                <a:gd name="T29" fmla="*/ 13 h 53"/>
                <a:gd name="T30" fmla="*/ 21 w 76"/>
                <a:gd name="T31" fmla="*/ 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6" h="53">
                  <a:moveTo>
                    <a:pt x="21" y="4"/>
                  </a:moveTo>
                  <a:cubicBezTo>
                    <a:pt x="19" y="1"/>
                    <a:pt x="14" y="0"/>
                    <a:pt x="9" y="1"/>
                  </a:cubicBezTo>
                  <a:cubicBezTo>
                    <a:pt x="5" y="3"/>
                    <a:pt x="0" y="3"/>
                    <a:pt x="4" y="7"/>
                  </a:cubicBezTo>
                  <a:cubicBezTo>
                    <a:pt x="7" y="12"/>
                    <a:pt x="9" y="10"/>
                    <a:pt x="13" y="15"/>
                  </a:cubicBezTo>
                  <a:cubicBezTo>
                    <a:pt x="17" y="19"/>
                    <a:pt x="20" y="21"/>
                    <a:pt x="22" y="26"/>
                  </a:cubicBezTo>
                  <a:cubicBezTo>
                    <a:pt x="24" y="32"/>
                    <a:pt x="23" y="30"/>
                    <a:pt x="29" y="35"/>
                  </a:cubicBezTo>
                  <a:cubicBezTo>
                    <a:pt x="34" y="39"/>
                    <a:pt x="31" y="40"/>
                    <a:pt x="36" y="42"/>
                  </a:cubicBezTo>
                  <a:cubicBezTo>
                    <a:pt x="41" y="43"/>
                    <a:pt x="38" y="44"/>
                    <a:pt x="46" y="43"/>
                  </a:cubicBezTo>
                  <a:cubicBezTo>
                    <a:pt x="53" y="42"/>
                    <a:pt x="56" y="39"/>
                    <a:pt x="61" y="44"/>
                  </a:cubicBezTo>
                  <a:cubicBezTo>
                    <a:pt x="65" y="48"/>
                    <a:pt x="67" y="53"/>
                    <a:pt x="70" y="53"/>
                  </a:cubicBezTo>
                  <a:cubicBezTo>
                    <a:pt x="73" y="52"/>
                    <a:pt x="76" y="51"/>
                    <a:pt x="72" y="45"/>
                  </a:cubicBezTo>
                  <a:cubicBezTo>
                    <a:pt x="68" y="40"/>
                    <a:pt x="66" y="40"/>
                    <a:pt x="66" y="35"/>
                  </a:cubicBezTo>
                  <a:cubicBezTo>
                    <a:pt x="66" y="30"/>
                    <a:pt x="68" y="24"/>
                    <a:pt x="62" y="24"/>
                  </a:cubicBezTo>
                  <a:cubicBezTo>
                    <a:pt x="56" y="24"/>
                    <a:pt x="55" y="29"/>
                    <a:pt x="48" y="24"/>
                  </a:cubicBezTo>
                  <a:cubicBezTo>
                    <a:pt x="40" y="19"/>
                    <a:pt x="38" y="17"/>
                    <a:pt x="32" y="13"/>
                  </a:cubicBezTo>
                  <a:cubicBezTo>
                    <a:pt x="26" y="8"/>
                    <a:pt x="23" y="8"/>
                    <a:pt x="21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2" name="Freeform 463"/>
            <p:cNvSpPr>
              <a:spLocks/>
            </p:cNvSpPr>
            <p:nvPr/>
          </p:nvSpPr>
          <p:spPr bwMode="auto">
            <a:xfrm>
              <a:off x="4813809" y="3957135"/>
              <a:ext cx="3572" cy="5953"/>
            </a:xfrm>
            <a:custGeom>
              <a:avLst/>
              <a:gdLst>
                <a:gd name="T0" fmla="*/ 9 w 12"/>
                <a:gd name="T1" fmla="*/ 5 h 21"/>
                <a:gd name="T2" fmla="*/ 1 w 12"/>
                <a:gd name="T3" fmla="*/ 6 h 21"/>
                <a:gd name="T4" fmla="*/ 0 w 12"/>
                <a:gd name="T5" fmla="*/ 16 h 21"/>
                <a:gd name="T6" fmla="*/ 9 w 12"/>
                <a:gd name="T7" fmla="*/ 16 h 21"/>
                <a:gd name="T8" fmla="*/ 9 w 12"/>
                <a:gd name="T9" fmla="*/ 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1">
                  <a:moveTo>
                    <a:pt x="9" y="5"/>
                  </a:moveTo>
                  <a:cubicBezTo>
                    <a:pt x="8" y="0"/>
                    <a:pt x="0" y="3"/>
                    <a:pt x="1" y="6"/>
                  </a:cubicBezTo>
                  <a:cubicBezTo>
                    <a:pt x="2" y="10"/>
                    <a:pt x="0" y="11"/>
                    <a:pt x="0" y="16"/>
                  </a:cubicBezTo>
                  <a:cubicBezTo>
                    <a:pt x="0" y="21"/>
                    <a:pt x="5" y="16"/>
                    <a:pt x="9" y="16"/>
                  </a:cubicBezTo>
                  <a:cubicBezTo>
                    <a:pt x="12" y="15"/>
                    <a:pt x="10" y="11"/>
                    <a:pt x="9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3" name="Freeform 464"/>
            <p:cNvSpPr>
              <a:spLocks/>
            </p:cNvSpPr>
            <p:nvPr/>
          </p:nvSpPr>
          <p:spPr bwMode="auto">
            <a:xfrm>
              <a:off x="4781663" y="3913082"/>
              <a:ext cx="2381" cy="5953"/>
            </a:xfrm>
            <a:custGeom>
              <a:avLst/>
              <a:gdLst>
                <a:gd name="T0" fmla="*/ 3 w 9"/>
                <a:gd name="T1" fmla="*/ 14 h 20"/>
                <a:gd name="T2" fmla="*/ 8 w 9"/>
                <a:gd name="T3" fmla="*/ 17 h 20"/>
                <a:gd name="T4" fmla="*/ 9 w 9"/>
                <a:gd name="T5" fmla="*/ 10 h 20"/>
                <a:gd name="T6" fmla="*/ 0 w 9"/>
                <a:gd name="T7" fmla="*/ 7 h 20"/>
                <a:gd name="T8" fmla="*/ 3 w 9"/>
                <a:gd name="T9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0">
                  <a:moveTo>
                    <a:pt x="3" y="14"/>
                  </a:moveTo>
                  <a:cubicBezTo>
                    <a:pt x="4" y="17"/>
                    <a:pt x="7" y="20"/>
                    <a:pt x="8" y="17"/>
                  </a:cubicBezTo>
                  <a:cubicBezTo>
                    <a:pt x="9" y="14"/>
                    <a:pt x="9" y="15"/>
                    <a:pt x="9" y="10"/>
                  </a:cubicBezTo>
                  <a:cubicBezTo>
                    <a:pt x="8" y="4"/>
                    <a:pt x="1" y="0"/>
                    <a:pt x="0" y="7"/>
                  </a:cubicBezTo>
                  <a:cubicBezTo>
                    <a:pt x="0" y="11"/>
                    <a:pt x="2" y="10"/>
                    <a:pt x="3" y="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4" name="Freeform 465"/>
            <p:cNvSpPr>
              <a:spLocks/>
            </p:cNvSpPr>
            <p:nvPr/>
          </p:nvSpPr>
          <p:spPr bwMode="auto">
            <a:xfrm>
              <a:off x="4811428" y="3963088"/>
              <a:ext cx="2381" cy="5953"/>
            </a:xfrm>
            <a:custGeom>
              <a:avLst/>
              <a:gdLst>
                <a:gd name="T0" fmla="*/ 9 w 9"/>
                <a:gd name="T1" fmla="*/ 17 h 19"/>
                <a:gd name="T2" fmla="*/ 8 w 9"/>
                <a:gd name="T3" fmla="*/ 11 h 19"/>
                <a:gd name="T4" fmla="*/ 1 w 9"/>
                <a:gd name="T5" fmla="*/ 7 h 19"/>
                <a:gd name="T6" fmla="*/ 5 w 9"/>
                <a:gd name="T7" fmla="*/ 15 h 19"/>
                <a:gd name="T8" fmla="*/ 9 w 9"/>
                <a:gd name="T9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9">
                  <a:moveTo>
                    <a:pt x="9" y="17"/>
                  </a:moveTo>
                  <a:cubicBezTo>
                    <a:pt x="9" y="15"/>
                    <a:pt x="9" y="15"/>
                    <a:pt x="8" y="11"/>
                  </a:cubicBezTo>
                  <a:cubicBezTo>
                    <a:pt x="6" y="6"/>
                    <a:pt x="1" y="0"/>
                    <a:pt x="1" y="7"/>
                  </a:cubicBezTo>
                  <a:cubicBezTo>
                    <a:pt x="0" y="10"/>
                    <a:pt x="3" y="12"/>
                    <a:pt x="5" y="15"/>
                  </a:cubicBezTo>
                  <a:cubicBezTo>
                    <a:pt x="6" y="18"/>
                    <a:pt x="9" y="19"/>
                    <a:pt x="9" y="1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5" name="Freeform 466"/>
            <p:cNvSpPr>
              <a:spLocks/>
            </p:cNvSpPr>
            <p:nvPr/>
          </p:nvSpPr>
          <p:spPr bwMode="auto">
            <a:xfrm>
              <a:off x="4801903" y="3949991"/>
              <a:ext cx="3572" cy="4763"/>
            </a:xfrm>
            <a:custGeom>
              <a:avLst/>
              <a:gdLst>
                <a:gd name="T0" fmla="*/ 5 w 11"/>
                <a:gd name="T1" fmla="*/ 5 h 17"/>
                <a:gd name="T2" fmla="*/ 1 w 11"/>
                <a:gd name="T3" fmla="*/ 14 h 17"/>
                <a:gd name="T4" fmla="*/ 6 w 11"/>
                <a:gd name="T5" fmla="*/ 14 h 17"/>
                <a:gd name="T6" fmla="*/ 10 w 11"/>
                <a:gd name="T7" fmla="*/ 7 h 17"/>
                <a:gd name="T8" fmla="*/ 5 w 11"/>
                <a:gd name="T9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7">
                  <a:moveTo>
                    <a:pt x="5" y="5"/>
                  </a:moveTo>
                  <a:cubicBezTo>
                    <a:pt x="3" y="10"/>
                    <a:pt x="0" y="11"/>
                    <a:pt x="1" y="14"/>
                  </a:cubicBezTo>
                  <a:cubicBezTo>
                    <a:pt x="2" y="17"/>
                    <a:pt x="1" y="16"/>
                    <a:pt x="6" y="14"/>
                  </a:cubicBezTo>
                  <a:cubicBezTo>
                    <a:pt x="11" y="12"/>
                    <a:pt x="10" y="9"/>
                    <a:pt x="10" y="7"/>
                  </a:cubicBezTo>
                  <a:cubicBezTo>
                    <a:pt x="10" y="5"/>
                    <a:pt x="5" y="0"/>
                    <a:pt x="5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6" name="Freeform 467"/>
            <p:cNvSpPr>
              <a:spLocks/>
            </p:cNvSpPr>
            <p:nvPr/>
          </p:nvSpPr>
          <p:spPr bwMode="auto">
            <a:xfrm>
              <a:off x="4799522" y="3959516"/>
              <a:ext cx="2381" cy="4763"/>
            </a:xfrm>
            <a:custGeom>
              <a:avLst/>
              <a:gdLst>
                <a:gd name="T0" fmla="*/ 1 w 8"/>
                <a:gd name="T1" fmla="*/ 2 h 17"/>
                <a:gd name="T2" fmla="*/ 2 w 8"/>
                <a:gd name="T3" fmla="*/ 9 h 17"/>
                <a:gd name="T4" fmla="*/ 7 w 8"/>
                <a:gd name="T5" fmla="*/ 15 h 17"/>
                <a:gd name="T6" fmla="*/ 7 w 8"/>
                <a:gd name="T7" fmla="*/ 7 h 17"/>
                <a:gd name="T8" fmla="*/ 1 w 8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7">
                  <a:moveTo>
                    <a:pt x="1" y="2"/>
                  </a:moveTo>
                  <a:cubicBezTo>
                    <a:pt x="0" y="5"/>
                    <a:pt x="0" y="5"/>
                    <a:pt x="2" y="9"/>
                  </a:cubicBezTo>
                  <a:cubicBezTo>
                    <a:pt x="4" y="14"/>
                    <a:pt x="6" y="17"/>
                    <a:pt x="7" y="15"/>
                  </a:cubicBezTo>
                  <a:cubicBezTo>
                    <a:pt x="8" y="12"/>
                    <a:pt x="8" y="11"/>
                    <a:pt x="7" y="7"/>
                  </a:cubicBezTo>
                  <a:cubicBezTo>
                    <a:pt x="5" y="3"/>
                    <a:pt x="3" y="0"/>
                    <a:pt x="1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7" name="Freeform 468"/>
            <p:cNvSpPr>
              <a:spLocks/>
            </p:cNvSpPr>
            <p:nvPr/>
          </p:nvSpPr>
          <p:spPr bwMode="auto">
            <a:xfrm>
              <a:off x="4813809" y="3885697"/>
              <a:ext cx="5953" cy="4763"/>
            </a:xfrm>
            <a:custGeom>
              <a:avLst/>
              <a:gdLst>
                <a:gd name="T0" fmla="*/ 3 w 21"/>
                <a:gd name="T1" fmla="*/ 5 h 14"/>
                <a:gd name="T2" fmla="*/ 5 w 21"/>
                <a:gd name="T3" fmla="*/ 11 h 14"/>
                <a:gd name="T4" fmla="*/ 16 w 21"/>
                <a:gd name="T5" fmla="*/ 14 h 14"/>
                <a:gd name="T6" fmla="*/ 3 w 21"/>
                <a:gd name="T7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4">
                  <a:moveTo>
                    <a:pt x="3" y="5"/>
                  </a:moveTo>
                  <a:cubicBezTo>
                    <a:pt x="1" y="7"/>
                    <a:pt x="0" y="10"/>
                    <a:pt x="5" y="11"/>
                  </a:cubicBezTo>
                  <a:cubicBezTo>
                    <a:pt x="10" y="12"/>
                    <a:pt x="10" y="14"/>
                    <a:pt x="16" y="14"/>
                  </a:cubicBezTo>
                  <a:cubicBezTo>
                    <a:pt x="21" y="14"/>
                    <a:pt x="10" y="0"/>
                    <a:pt x="3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8" name="Freeform 470"/>
            <p:cNvSpPr>
              <a:spLocks/>
            </p:cNvSpPr>
            <p:nvPr/>
          </p:nvSpPr>
          <p:spPr bwMode="auto">
            <a:xfrm>
              <a:off x="4806666" y="3957135"/>
              <a:ext cx="2381" cy="4763"/>
            </a:xfrm>
            <a:custGeom>
              <a:avLst/>
              <a:gdLst>
                <a:gd name="T0" fmla="*/ 2 w 9"/>
                <a:gd name="T1" fmla="*/ 8 h 16"/>
                <a:gd name="T2" fmla="*/ 3 w 9"/>
                <a:gd name="T3" fmla="*/ 14 h 16"/>
                <a:gd name="T4" fmla="*/ 8 w 9"/>
                <a:gd name="T5" fmla="*/ 13 h 16"/>
                <a:gd name="T6" fmla="*/ 2 w 9"/>
                <a:gd name="T7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8"/>
                  </a:moveTo>
                  <a:cubicBezTo>
                    <a:pt x="0" y="10"/>
                    <a:pt x="0" y="13"/>
                    <a:pt x="3" y="14"/>
                  </a:cubicBezTo>
                  <a:cubicBezTo>
                    <a:pt x="5" y="16"/>
                    <a:pt x="8" y="16"/>
                    <a:pt x="8" y="13"/>
                  </a:cubicBezTo>
                  <a:cubicBezTo>
                    <a:pt x="9" y="11"/>
                    <a:pt x="7" y="0"/>
                    <a:pt x="2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9" name="Freeform 473"/>
            <p:cNvSpPr>
              <a:spLocks/>
            </p:cNvSpPr>
            <p:nvPr/>
          </p:nvSpPr>
          <p:spPr bwMode="auto">
            <a:xfrm>
              <a:off x="5147184" y="4863200"/>
              <a:ext cx="4762" cy="7144"/>
            </a:xfrm>
            <a:custGeom>
              <a:avLst/>
              <a:gdLst>
                <a:gd name="T0" fmla="*/ 15 w 19"/>
                <a:gd name="T1" fmla="*/ 22 h 24"/>
                <a:gd name="T2" fmla="*/ 8 w 19"/>
                <a:gd name="T3" fmla="*/ 5 h 24"/>
                <a:gd name="T4" fmla="*/ 4 w 19"/>
                <a:gd name="T5" fmla="*/ 14 h 24"/>
                <a:gd name="T6" fmla="*/ 15 w 19"/>
                <a:gd name="T7" fmla="*/ 2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4">
                  <a:moveTo>
                    <a:pt x="15" y="22"/>
                  </a:moveTo>
                  <a:cubicBezTo>
                    <a:pt x="19" y="24"/>
                    <a:pt x="18" y="0"/>
                    <a:pt x="8" y="5"/>
                  </a:cubicBezTo>
                  <a:cubicBezTo>
                    <a:pt x="1" y="9"/>
                    <a:pt x="0" y="13"/>
                    <a:pt x="4" y="14"/>
                  </a:cubicBezTo>
                  <a:cubicBezTo>
                    <a:pt x="9" y="16"/>
                    <a:pt x="10" y="21"/>
                    <a:pt x="15" y="2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0" name="Freeform 474"/>
            <p:cNvSpPr>
              <a:spLocks/>
            </p:cNvSpPr>
            <p:nvPr/>
          </p:nvSpPr>
          <p:spPr bwMode="auto">
            <a:xfrm>
              <a:off x="4844766" y="5170382"/>
              <a:ext cx="38100" cy="39291"/>
            </a:xfrm>
            <a:custGeom>
              <a:avLst/>
              <a:gdLst>
                <a:gd name="T0" fmla="*/ 114 w 134"/>
                <a:gd name="T1" fmla="*/ 25 h 136"/>
                <a:gd name="T2" fmla="*/ 102 w 134"/>
                <a:gd name="T3" fmla="*/ 12 h 136"/>
                <a:gd name="T4" fmla="*/ 77 w 134"/>
                <a:gd name="T5" fmla="*/ 6 h 136"/>
                <a:gd name="T6" fmla="*/ 74 w 134"/>
                <a:gd name="T7" fmla="*/ 8 h 136"/>
                <a:gd name="T8" fmla="*/ 57 w 134"/>
                <a:gd name="T9" fmla="*/ 16 h 136"/>
                <a:gd name="T10" fmla="*/ 43 w 134"/>
                <a:gd name="T11" fmla="*/ 23 h 136"/>
                <a:gd name="T12" fmla="*/ 22 w 134"/>
                <a:gd name="T13" fmla="*/ 52 h 136"/>
                <a:gd name="T14" fmla="*/ 12 w 134"/>
                <a:gd name="T15" fmla="*/ 66 h 136"/>
                <a:gd name="T16" fmla="*/ 9 w 134"/>
                <a:gd name="T17" fmla="*/ 69 h 136"/>
                <a:gd name="T18" fmla="*/ 2 w 134"/>
                <a:gd name="T19" fmla="*/ 84 h 136"/>
                <a:gd name="T20" fmla="*/ 12 w 134"/>
                <a:gd name="T21" fmla="*/ 105 h 136"/>
                <a:gd name="T22" fmla="*/ 27 w 134"/>
                <a:gd name="T23" fmla="*/ 121 h 136"/>
                <a:gd name="T24" fmla="*/ 47 w 134"/>
                <a:gd name="T25" fmla="*/ 132 h 136"/>
                <a:gd name="T26" fmla="*/ 55 w 134"/>
                <a:gd name="T27" fmla="*/ 136 h 136"/>
                <a:gd name="T28" fmla="*/ 58 w 134"/>
                <a:gd name="T29" fmla="*/ 131 h 136"/>
                <a:gd name="T30" fmla="*/ 76 w 134"/>
                <a:gd name="T31" fmla="*/ 104 h 136"/>
                <a:gd name="T32" fmla="*/ 106 w 134"/>
                <a:gd name="T33" fmla="*/ 95 h 136"/>
                <a:gd name="T34" fmla="*/ 115 w 134"/>
                <a:gd name="T35" fmla="*/ 94 h 136"/>
                <a:gd name="T36" fmla="*/ 120 w 134"/>
                <a:gd name="T37" fmla="*/ 78 h 136"/>
                <a:gd name="T38" fmla="*/ 120 w 134"/>
                <a:gd name="T39" fmla="*/ 77 h 136"/>
                <a:gd name="T40" fmla="*/ 128 w 134"/>
                <a:gd name="T41" fmla="*/ 59 h 136"/>
                <a:gd name="T42" fmla="*/ 133 w 134"/>
                <a:gd name="T43" fmla="*/ 47 h 136"/>
                <a:gd name="T44" fmla="*/ 114 w 134"/>
                <a:gd name="T45" fmla="*/ 25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4" h="136">
                  <a:moveTo>
                    <a:pt x="114" y="25"/>
                  </a:moveTo>
                  <a:cubicBezTo>
                    <a:pt x="110" y="21"/>
                    <a:pt x="106" y="16"/>
                    <a:pt x="102" y="12"/>
                  </a:cubicBezTo>
                  <a:cubicBezTo>
                    <a:pt x="91" y="0"/>
                    <a:pt x="87" y="2"/>
                    <a:pt x="77" y="6"/>
                  </a:cubicBezTo>
                  <a:cubicBezTo>
                    <a:pt x="77" y="6"/>
                    <a:pt x="76" y="7"/>
                    <a:pt x="74" y="8"/>
                  </a:cubicBezTo>
                  <a:cubicBezTo>
                    <a:pt x="67" y="10"/>
                    <a:pt x="62" y="14"/>
                    <a:pt x="57" y="16"/>
                  </a:cubicBezTo>
                  <a:cubicBezTo>
                    <a:pt x="52" y="19"/>
                    <a:pt x="48" y="22"/>
                    <a:pt x="43" y="23"/>
                  </a:cubicBezTo>
                  <a:cubicBezTo>
                    <a:pt x="34" y="31"/>
                    <a:pt x="27" y="43"/>
                    <a:pt x="22" y="52"/>
                  </a:cubicBezTo>
                  <a:cubicBezTo>
                    <a:pt x="18" y="58"/>
                    <a:pt x="15" y="64"/>
                    <a:pt x="12" y="66"/>
                  </a:cubicBezTo>
                  <a:cubicBezTo>
                    <a:pt x="11" y="67"/>
                    <a:pt x="10" y="68"/>
                    <a:pt x="9" y="69"/>
                  </a:cubicBezTo>
                  <a:cubicBezTo>
                    <a:pt x="4" y="73"/>
                    <a:pt x="0" y="76"/>
                    <a:pt x="2" y="84"/>
                  </a:cubicBezTo>
                  <a:cubicBezTo>
                    <a:pt x="3" y="90"/>
                    <a:pt x="7" y="97"/>
                    <a:pt x="12" y="105"/>
                  </a:cubicBezTo>
                  <a:cubicBezTo>
                    <a:pt x="16" y="111"/>
                    <a:pt x="21" y="117"/>
                    <a:pt x="27" y="121"/>
                  </a:cubicBezTo>
                  <a:cubicBezTo>
                    <a:pt x="33" y="126"/>
                    <a:pt x="41" y="130"/>
                    <a:pt x="47" y="132"/>
                  </a:cubicBezTo>
                  <a:cubicBezTo>
                    <a:pt x="52" y="135"/>
                    <a:pt x="55" y="136"/>
                    <a:pt x="55" y="136"/>
                  </a:cubicBezTo>
                  <a:cubicBezTo>
                    <a:pt x="55" y="136"/>
                    <a:pt x="56" y="134"/>
                    <a:pt x="58" y="131"/>
                  </a:cubicBezTo>
                  <a:cubicBezTo>
                    <a:pt x="61" y="124"/>
                    <a:pt x="67" y="112"/>
                    <a:pt x="76" y="104"/>
                  </a:cubicBezTo>
                  <a:cubicBezTo>
                    <a:pt x="85" y="97"/>
                    <a:pt x="97" y="96"/>
                    <a:pt x="106" y="95"/>
                  </a:cubicBezTo>
                  <a:cubicBezTo>
                    <a:pt x="110" y="95"/>
                    <a:pt x="113" y="95"/>
                    <a:pt x="115" y="94"/>
                  </a:cubicBezTo>
                  <a:cubicBezTo>
                    <a:pt x="119" y="93"/>
                    <a:pt x="119" y="89"/>
                    <a:pt x="120" y="78"/>
                  </a:cubicBezTo>
                  <a:cubicBezTo>
                    <a:pt x="120" y="77"/>
                    <a:pt x="120" y="77"/>
                    <a:pt x="120" y="77"/>
                  </a:cubicBezTo>
                  <a:cubicBezTo>
                    <a:pt x="120" y="70"/>
                    <a:pt x="124" y="64"/>
                    <a:pt x="128" y="59"/>
                  </a:cubicBezTo>
                  <a:cubicBezTo>
                    <a:pt x="131" y="55"/>
                    <a:pt x="134" y="51"/>
                    <a:pt x="133" y="47"/>
                  </a:cubicBezTo>
                  <a:cubicBezTo>
                    <a:pt x="130" y="41"/>
                    <a:pt x="123" y="34"/>
                    <a:pt x="114" y="2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1" name="Freeform 475"/>
            <p:cNvSpPr>
              <a:spLocks/>
            </p:cNvSpPr>
            <p:nvPr/>
          </p:nvSpPr>
          <p:spPr bwMode="auto">
            <a:xfrm>
              <a:off x="5026931" y="5545428"/>
              <a:ext cx="8334" cy="5953"/>
            </a:xfrm>
            <a:custGeom>
              <a:avLst/>
              <a:gdLst>
                <a:gd name="T0" fmla="*/ 29 w 32"/>
                <a:gd name="T1" fmla="*/ 7 h 19"/>
                <a:gd name="T2" fmla="*/ 17 w 32"/>
                <a:gd name="T3" fmla="*/ 0 h 19"/>
                <a:gd name="T4" fmla="*/ 3 w 32"/>
                <a:gd name="T5" fmla="*/ 11 h 19"/>
                <a:gd name="T6" fmla="*/ 11 w 32"/>
                <a:gd name="T7" fmla="*/ 18 h 19"/>
                <a:gd name="T8" fmla="*/ 28 w 32"/>
                <a:gd name="T9" fmla="*/ 14 h 19"/>
                <a:gd name="T10" fmla="*/ 29 w 32"/>
                <a:gd name="T11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19">
                  <a:moveTo>
                    <a:pt x="29" y="7"/>
                  </a:moveTo>
                  <a:cubicBezTo>
                    <a:pt x="27" y="5"/>
                    <a:pt x="26" y="2"/>
                    <a:pt x="17" y="0"/>
                  </a:cubicBezTo>
                  <a:cubicBezTo>
                    <a:pt x="9" y="1"/>
                    <a:pt x="6" y="7"/>
                    <a:pt x="3" y="11"/>
                  </a:cubicBezTo>
                  <a:cubicBezTo>
                    <a:pt x="0" y="15"/>
                    <a:pt x="7" y="17"/>
                    <a:pt x="11" y="18"/>
                  </a:cubicBezTo>
                  <a:cubicBezTo>
                    <a:pt x="15" y="19"/>
                    <a:pt x="25" y="18"/>
                    <a:pt x="28" y="14"/>
                  </a:cubicBezTo>
                  <a:cubicBezTo>
                    <a:pt x="31" y="11"/>
                    <a:pt x="32" y="9"/>
                    <a:pt x="29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2" name="Freeform 476"/>
            <p:cNvSpPr>
              <a:spLocks/>
            </p:cNvSpPr>
            <p:nvPr/>
          </p:nvSpPr>
          <p:spPr bwMode="auto">
            <a:xfrm>
              <a:off x="4570922" y="4953688"/>
              <a:ext cx="238125" cy="221456"/>
            </a:xfrm>
            <a:custGeom>
              <a:avLst/>
              <a:gdLst>
                <a:gd name="T0" fmla="*/ 334 w 829"/>
                <a:gd name="T1" fmla="*/ 717 h 771"/>
                <a:gd name="T2" fmla="*/ 349 w 829"/>
                <a:gd name="T3" fmla="*/ 729 h 771"/>
                <a:gd name="T4" fmla="*/ 350 w 829"/>
                <a:gd name="T5" fmla="*/ 731 h 771"/>
                <a:gd name="T6" fmla="*/ 350 w 829"/>
                <a:gd name="T7" fmla="*/ 753 h 771"/>
                <a:gd name="T8" fmla="*/ 362 w 829"/>
                <a:gd name="T9" fmla="*/ 760 h 771"/>
                <a:gd name="T10" fmla="*/ 416 w 829"/>
                <a:gd name="T11" fmla="*/ 771 h 771"/>
                <a:gd name="T12" fmla="*/ 463 w 829"/>
                <a:gd name="T13" fmla="*/ 760 h 771"/>
                <a:gd name="T14" fmla="*/ 475 w 829"/>
                <a:gd name="T15" fmla="*/ 748 h 771"/>
                <a:gd name="T16" fmla="*/ 502 w 829"/>
                <a:gd name="T17" fmla="*/ 740 h 771"/>
                <a:gd name="T18" fmla="*/ 505 w 829"/>
                <a:gd name="T19" fmla="*/ 609 h 771"/>
                <a:gd name="T20" fmla="*/ 505 w 829"/>
                <a:gd name="T21" fmla="*/ 389 h 771"/>
                <a:gd name="T22" fmla="*/ 509 w 829"/>
                <a:gd name="T23" fmla="*/ 318 h 771"/>
                <a:gd name="T24" fmla="*/ 541 w 829"/>
                <a:gd name="T25" fmla="*/ 313 h 771"/>
                <a:gd name="T26" fmla="*/ 559 w 829"/>
                <a:gd name="T27" fmla="*/ 313 h 771"/>
                <a:gd name="T28" fmla="*/ 564 w 829"/>
                <a:gd name="T29" fmla="*/ 311 h 771"/>
                <a:gd name="T30" fmla="*/ 566 w 829"/>
                <a:gd name="T31" fmla="*/ 306 h 771"/>
                <a:gd name="T32" fmla="*/ 566 w 829"/>
                <a:gd name="T33" fmla="*/ 179 h 771"/>
                <a:gd name="T34" fmla="*/ 567 w 829"/>
                <a:gd name="T35" fmla="*/ 92 h 771"/>
                <a:gd name="T36" fmla="*/ 585 w 829"/>
                <a:gd name="T37" fmla="*/ 77 h 771"/>
                <a:gd name="T38" fmla="*/ 657 w 829"/>
                <a:gd name="T39" fmla="*/ 67 h 771"/>
                <a:gd name="T40" fmla="*/ 704 w 829"/>
                <a:gd name="T41" fmla="*/ 62 h 771"/>
                <a:gd name="T42" fmla="*/ 718 w 829"/>
                <a:gd name="T43" fmla="*/ 70 h 771"/>
                <a:gd name="T44" fmla="*/ 722 w 829"/>
                <a:gd name="T45" fmla="*/ 77 h 771"/>
                <a:gd name="T46" fmla="*/ 746 w 829"/>
                <a:gd name="T47" fmla="*/ 75 h 771"/>
                <a:gd name="T48" fmla="*/ 769 w 829"/>
                <a:gd name="T49" fmla="*/ 59 h 771"/>
                <a:gd name="T50" fmla="*/ 788 w 829"/>
                <a:gd name="T51" fmla="*/ 52 h 771"/>
                <a:gd name="T52" fmla="*/ 822 w 829"/>
                <a:gd name="T53" fmla="*/ 49 h 771"/>
                <a:gd name="T54" fmla="*/ 827 w 829"/>
                <a:gd name="T55" fmla="*/ 45 h 771"/>
                <a:gd name="T56" fmla="*/ 798 w 829"/>
                <a:gd name="T57" fmla="*/ 34 h 771"/>
                <a:gd name="T58" fmla="*/ 767 w 829"/>
                <a:gd name="T59" fmla="*/ 34 h 771"/>
                <a:gd name="T60" fmla="*/ 734 w 829"/>
                <a:gd name="T61" fmla="*/ 39 h 771"/>
                <a:gd name="T62" fmla="*/ 723 w 829"/>
                <a:gd name="T63" fmla="*/ 38 h 771"/>
                <a:gd name="T64" fmla="*/ 635 w 829"/>
                <a:gd name="T65" fmla="*/ 57 h 771"/>
                <a:gd name="T66" fmla="*/ 562 w 829"/>
                <a:gd name="T67" fmla="*/ 58 h 771"/>
                <a:gd name="T68" fmla="*/ 440 w 829"/>
                <a:gd name="T69" fmla="*/ 51 h 771"/>
                <a:gd name="T70" fmla="*/ 405 w 829"/>
                <a:gd name="T71" fmla="*/ 27 h 771"/>
                <a:gd name="T72" fmla="*/ 139 w 829"/>
                <a:gd name="T73" fmla="*/ 30 h 771"/>
                <a:gd name="T74" fmla="*/ 110 w 829"/>
                <a:gd name="T75" fmla="*/ 10 h 771"/>
                <a:gd name="T76" fmla="*/ 82 w 829"/>
                <a:gd name="T77" fmla="*/ 3 h 771"/>
                <a:gd name="T78" fmla="*/ 47 w 829"/>
                <a:gd name="T79" fmla="*/ 21 h 771"/>
                <a:gd name="T80" fmla="*/ 1 w 829"/>
                <a:gd name="T81" fmla="*/ 40 h 771"/>
                <a:gd name="T82" fmla="*/ 11 w 829"/>
                <a:gd name="T83" fmla="*/ 82 h 771"/>
                <a:gd name="T84" fmla="*/ 42 w 829"/>
                <a:gd name="T85" fmla="*/ 127 h 771"/>
                <a:gd name="T86" fmla="*/ 80 w 829"/>
                <a:gd name="T87" fmla="*/ 195 h 771"/>
                <a:gd name="T88" fmla="*/ 114 w 829"/>
                <a:gd name="T89" fmla="*/ 267 h 771"/>
                <a:gd name="T90" fmla="*/ 155 w 829"/>
                <a:gd name="T91" fmla="*/ 337 h 771"/>
                <a:gd name="T92" fmla="*/ 170 w 829"/>
                <a:gd name="T93" fmla="*/ 393 h 771"/>
                <a:gd name="T94" fmla="*/ 166 w 829"/>
                <a:gd name="T95" fmla="*/ 452 h 771"/>
                <a:gd name="T96" fmla="*/ 183 w 829"/>
                <a:gd name="T97" fmla="*/ 498 h 771"/>
                <a:gd name="T98" fmla="*/ 189 w 829"/>
                <a:gd name="T99" fmla="*/ 550 h 771"/>
                <a:gd name="T100" fmla="*/ 199 w 829"/>
                <a:gd name="T101" fmla="*/ 600 h 771"/>
                <a:gd name="T102" fmla="*/ 217 w 829"/>
                <a:gd name="T103" fmla="*/ 660 h 771"/>
                <a:gd name="T104" fmla="*/ 245 w 829"/>
                <a:gd name="T105" fmla="*/ 714 h 771"/>
                <a:gd name="T106" fmla="*/ 286 w 829"/>
                <a:gd name="T107" fmla="*/ 750 h 771"/>
                <a:gd name="T108" fmla="*/ 320 w 829"/>
                <a:gd name="T109" fmla="*/ 717 h 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29" h="771">
                  <a:moveTo>
                    <a:pt x="320" y="717"/>
                  </a:moveTo>
                  <a:cubicBezTo>
                    <a:pt x="325" y="716"/>
                    <a:pt x="331" y="716"/>
                    <a:pt x="334" y="717"/>
                  </a:cubicBezTo>
                  <a:cubicBezTo>
                    <a:pt x="339" y="719"/>
                    <a:pt x="345" y="725"/>
                    <a:pt x="349" y="730"/>
                  </a:cubicBezTo>
                  <a:cubicBezTo>
                    <a:pt x="349" y="729"/>
                    <a:pt x="349" y="729"/>
                    <a:pt x="349" y="729"/>
                  </a:cubicBezTo>
                  <a:cubicBezTo>
                    <a:pt x="350" y="731"/>
                    <a:pt x="350" y="731"/>
                    <a:pt x="350" y="731"/>
                  </a:cubicBezTo>
                  <a:cubicBezTo>
                    <a:pt x="350" y="731"/>
                    <a:pt x="350" y="731"/>
                    <a:pt x="350" y="731"/>
                  </a:cubicBezTo>
                  <a:cubicBezTo>
                    <a:pt x="353" y="734"/>
                    <a:pt x="352" y="738"/>
                    <a:pt x="351" y="743"/>
                  </a:cubicBezTo>
                  <a:cubicBezTo>
                    <a:pt x="350" y="746"/>
                    <a:pt x="349" y="750"/>
                    <a:pt x="350" y="753"/>
                  </a:cubicBezTo>
                  <a:cubicBezTo>
                    <a:pt x="351" y="754"/>
                    <a:pt x="356" y="757"/>
                    <a:pt x="362" y="760"/>
                  </a:cubicBezTo>
                  <a:cubicBezTo>
                    <a:pt x="362" y="760"/>
                    <a:pt x="362" y="760"/>
                    <a:pt x="362" y="760"/>
                  </a:cubicBezTo>
                  <a:cubicBezTo>
                    <a:pt x="372" y="764"/>
                    <a:pt x="384" y="768"/>
                    <a:pt x="390" y="769"/>
                  </a:cubicBezTo>
                  <a:cubicBezTo>
                    <a:pt x="395" y="770"/>
                    <a:pt x="405" y="770"/>
                    <a:pt x="416" y="771"/>
                  </a:cubicBezTo>
                  <a:cubicBezTo>
                    <a:pt x="430" y="771"/>
                    <a:pt x="444" y="771"/>
                    <a:pt x="450" y="770"/>
                  </a:cubicBezTo>
                  <a:cubicBezTo>
                    <a:pt x="458" y="769"/>
                    <a:pt x="460" y="765"/>
                    <a:pt x="463" y="760"/>
                  </a:cubicBezTo>
                  <a:cubicBezTo>
                    <a:pt x="463" y="759"/>
                    <a:pt x="464" y="758"/>
                    <a:pt x="464" y="757"/>
                  </a:cubicBezTo>
                  <a:cubicBezTo>
                    <a:pt x="467" y="753"/>
                    <a:pt x="471" y="750"/>
                    <a:pt x="475" y="748"/>
                  </a:cubicBezTo>
                  <a:cubicBezTo>
                    <a:pt x="481" y="746"/>
                    <a:pt x="488" y="744"/>
                    <a:pt x="493" y="743"/>
                  </a:cubicBezTo>
                  <a:cubicBezTo>
                    <a:pt x="497" y="742"/>
                    <a:pt x="500" y="741"/>
                    <a:pt x="502" y="740"/>
                  </a:cubicBezTo>
                  <a:cubicBezTo>
                    <a:pt x="504" y="739"/>
                    <a:pt x="504" y="737"/>
                    <a:pt x="504" y="736"/>
                  </a:cubicBezTo>
                  <a:cubicBezTo>
                    <a:pt x="504" y="731"/>
                    <a:pt x="504" y="659"/>
                    <a:pt x="505" y="609"/>
                  </a:cubicBezTo>
                  <a:cubicBezTo>
                    <a:pt x="505" y="589"/>
                    <a:pt x="505" y="574"/>
                    <a:pt x="505" y="561"/>
                  </a:cubicBezTo>
                  <a:cubicBezTo>
                    <a:pt x="505" y="551"/>
                    <a:pt x="505" y="455"/>
                    <a:pt x="505" y="389"/>
                  </a:cubicBezTo>
                  <a:cubicBezTo>
                    <a:pt x="505" y="357"/>
                    <a:pt x="506" y="333"/>
                    <a:pt x="506" y="328"/>
                  </a:cubicBezTo>
                  <a:cubicBezTo>
                    <a:pt x="506" y="324"/>
                    <a:pt x="507" y="320"/>
                    <a:pt x="509" y="318"/>
                  </a:cubicBezTo>
                  <a:cubicBezTo>
                    <a:pt x="512" y="315"/>
                    <a:pt x="515" y="314"/>
                    <a:pt x="520" y="314"/>
                  </a:cubicBezTo>
                  <a:cubicBezTo>
                    <a:pt x="524" y="314"/>
                    <a:pt x="533" y="314"/>
                    <a:pt x="541" y="313"/>
                  </a:cubicBezTo>
                  <a:cubicBezTo>
                    <a:pt x="549" y="313"/>
                    <a:pt x="556" y="313"/>
                    <a:pt x="559" y="313"/>
                  </a:cubicBezTo>
                  <a:cubicBezTo>
                    <a:pt x="559" y="313"/>
                    <a:pt x="559" y="313"/>
                    <a:pt x="559" y="313"/>
                  </a:cubicBezTo>
                  <a:cubicBezTo>
                    <a:pt x="559" y="313"/>
                    <a:pt x="559" y="313"/>
                    <a:pt x="559" y="313"/>
                  </a:cubicBezTo>
                  <a:cubicBezTo>
                    <a:pt x="561" y="313"/>
                    <a:pt x="563" y="312"/>
                    <a:pt x="564" y="311"/>
                  </a:cubicBezTo>
                  <a:cubicBezTo>
                    <a:pt x="565" y="310"/>
                    <a:pt x="566" y="309"/>
                    <a:pt x="566" y="306"/>
                  </a:cubicBezTo>
                  <a:cubicBezTo>
                    <a:pt x="566" y="306"/>
                    <a:pt x="566" y="306"/>
                    <a:pt x="566" y="306"/>
                  </a:cubicBezTo>
                  <a:cubicBezTo>
                    <a:pt x="566" y="306"/>
                    <a:pt x="566" y="306"/>
                    <a:pt x="566" y="306"/>
                  </a:cubicBezTo>
                  <a:cubicBezTo>
                    <a:pt x="566" y="302"/>
                    <a:pt x="566" y="236"/>
                    <a:pt x="566" y="179"/>
                  </a:cubicBezTo>
                  <a:cubicBezTo>
                    <a:pt x="566" y="134"/>
                    <a:pt x="567" y="94"/>
                    <a:pt x="567" y="92"/>
                  </a:cubicBezTo>
                  <a:cubicBezTo>
                    <a:pt x="567" y="92"/>
                    <a:pt x="567" y="92"/>
                    <a:pt x="567" y="92"/>
                  </a:cubicBezTo>
                  <a:cubicBezTo>
                    <a:pt x="567" y="89"/>
                    <a:pt x="568" y="86"/>
                    <a:pt x="571" y="83"/>
                  </a:cubicBezTo>
                  <a:cubicBezTo>
                    <a:pt x="573" y="80"/>
                    <a:pt x="578" y="78"/>
                    <a:pt x="585" y="77"/>
                  </a:cubicBezTo>
                  <a:cubicBezTo>
                    <a:pt x="591" y="76"/>
                    <a:pt x="602" y="75"/>
                    <a:pt x="615" y="73"/>
                  </a:cubicBezTo>
                  <a:cubicBezTo>
                    <a:pt x="631" y="71"/>
                    <a:pt x="648" y="68"/>
                    <a:pt x="657" y="67"/>
                  </a:cubicBezTo>
                  <a:cubicBezTo>
                    <a:pt x="663" y="67"/>
                    <a:pt x="670" y="66"/>
                    <a:pt x="678" y="65"/>
                  </a:cubicBezTo>
                  <a:cubicBezTo>
                    <a:pt x="689" y="63"/>
                    <a:pt x="699" y="62"/>
                    <a:pt x="704" y="62"/>
                  </a:cubicBezTo>
                  <a:cubicBezTo>
                    <a:pt x="713" y="62"/>
                    <a:pt x="714" y="63"/>
                    <a:pt x="718" y="70"/>
                  </a:cubicBezTo>
                  <a:cubicBezTo>
                    <a:pt x="718" y="70"/>
                    <a:pt x="718" y="70"/>
                    <a:pt x="718" y="70"/>
                  </a:cubicBezTo>
                  <a:cubicBezTo>
                    <a:pt x="718" y="70"/>
                    <a:pt x="718" y="70"/>
                    <a:pt x="718" y="70"/>
                  </a:cubicBezTo>
                  <a:cubicBezTo>
                    <a:pt x="720" y="72"/>
                    <a:pt x="721" y="75"/>
                    <a:pt x="722" y="77"/>
                  </a:cubicBezTo>
                  <a:cubicBezTo>
                    <a:pt x="723" y="80"/>
                    <a:pt x="724" y="84"/>
                    <a:pt x="728" y="85"/>
                  </a:cubicBezTo>
                  <a:cubicBezTo>
                    <a:pt x="733" y="86"/>
                    <a:pt x="740" y="81"/>
                    <a:pt x="746" y="75"/>
                  </a:cubicBezTo>
                  <a:cubicBezTo>
                    <a:pt x="747" y="75"/>
                    <a:pt x="748" y="74"/>
                    <a:pt x="749" y="73"/>
                  </a:cubicBezTo>
                  <a:cubicBezTo>
                    <a:pt x="755" y="68"/>
                    <a:pt x="763" y="63"/>
                    <a:pt x="769" y="59"/>
                  </a:cubicBezTo>
                  <a:cubicBezTo>
                    <a:pt x="771" y="57"/>
                    <a:pt x="773" y="56"/>
                    <a:pt x="774" y="56"/>
                  </a:cubicBezTo>
                  <a:cubicBezTo>
                    <a:pt x="775" y="54"/>
                    <a:pt x="781" y="53"/>
                    <a:pt x="788" y="52"/>
                  </a:cubicBezTo>
                  <a:cubicBezTo>
                    <a:pt x="795" y="51"/>
                    <a:pt x="803" y="50"/>
                    <a:pt x="807" y="50"/>
                  </a:cubicBezTo>
                  <a:cubicBezTo>
                    <a:pt x="810" y="50"/>
                    <a:pt x="816" y="49"/>
                    <a:pt x="822" y="49"/>
                  </a:cubicBezTo>
                  <a:cubicBezTo>
                    <a:pt x="825" y="48"/>
                    <a:pt x="827" y="48"/>
                    <a:pt x="829" y="48"/>
                  </a:cubicBezTo>
                  <a:cubicBezTo>
                    <a:pt x="828" y="47"/>
                    <a:pt x="828" y="46"/>
                    <a:pt x="827" y="45"/>
                  </a:cubicBezTo>
                  <a:cubicBezTo>
                    <a:pt x="826" y="43"/>
                    <a:pt x="822" y="41"/>
                    <a:pt x="818" y="39"/>
                  </a:cubicBezTo>
                  <a:cubicBezTo>
                    <a:pt x="811" y="37"/>
                    <a:pt x="803" y="35"/>
                    <a:pt x="798" y="34"/>
                  </a:cubicBezTo>
                  <a:cubicBezTo>
                    <a:pt x="794" y="33"/>
                    <a:pt x="789" y="33"/>
                    <a:pt x="783" y="33"/>
                  </a:cubicBezTo>
                  <a:cubicBezTo>
                    <a:pt x="778" y="33"/>
                    <a:pt x="772" y="34"/>
                    <a:pt x="767" y="34"/>
                  </a:cubicBezTo>
                  <a:cubicBezTo>
                    <a:pt x="761" y="35"/>
                    <a:pt x="753" y="36"/>
                    <a:pt x="746" y="37"/>
                  </a:cubicBezTo>
                  <a:cubicBezTo>
                    <a:pt x="741" y="38"/>
                    <a:pt x="737" y="39"/>
                    <a:pt x="734" y="39"/>
                  </a:cubicBezTo>
                  <a:cubicBezTo>
                    <a:pt x="730" y="39"/>
                    <a:pt x="727" y="39"/>
                    <a:pt x="723" y="38"/>
                  </a:cubicBezTo>
                  <a:cubicBezTo>
                    <a:pt x="723" y="38"/>
                    <a:pt x="723" y="38"/>
                    <a:pt x="723" y="38"/>
                  </a:cubicBezTo>
                  <a:cubicBezTo>
                    <a:pt x="721" y="37"/>
                    <a:pt x="719" y="37"/>
                    <a:pt x="717" y="36"/>
                  </a:cubicBezTo>
                  <a:cubicBezTo>
                    <a:pt x="707" y="39"/>
                    <a:pt x="646" y="55"/>
                    <a:pt x="635" y="57"/>
                  </a:cubicBezTo>
                  <a:cubicBezTo>
                    <a:pt x="626" y="58"/>
                    <a:pt x="598" y="58"/>
                    <a:pt x="577" y="58"/>
                  </a:cubicBezTo>
                  <a:cubicBezTo>
                    <a:pt x="572" y="58"/>
                    <a:pt x="568" y="58"/>
                    <a:pt x="562" y="58"/>
                  </a:cubicBezTo>
                  <a:cubicBezTo>
                    <a:pt x="550" y="58"/>
                    <a:pt x="512" y="58"/>
                    <a:pt x="481" y="56"/>
                  </a:cubicBezTo>
                  <a:cubicBezTo>
                    <a:pt x="463" y="55"/>
                    <a:pt x="447" y="54"/>
                    <a:pt x="440" y="51"/>
                  </a:cubicBezTo>
                  <a:cubicBezTo>
                    <a:pt x="430" y="48"/>
                    <a:pt x="424" y="42"/>
                    <a:pt x="418" y="36"/>
                  </a:cubicBezTo>
                  <a:cubicBezTo>
                    <a:pt x="413" y="31"/>
                    <a:pt x="409" y="27"/>
                    <a:pt x="405" y="27"/>
                  </a:cubicBezTo>
                  <a:cubicBezTo>
                    <a:pt x="400" y="26"/>
                    <a:pt x="351" y="27"/>
                    <a:pt x="297" y="28"/>
                  </a:cubicBezTo>
                  <a:cubicBezTo>
                    <a:pt x="226" y="29"/>
                    <a:pt x="145" y="31"/>
                    <a:pt x="139" y="30"/>
                  </a:cubicBezTo>
                  <a:cubicBezTo>
                    <a:pt x="133" y="30"/>
                    <a:pt x="128" y="27"/>
                    <a:pt x="124" y="24"/>
                  </a:cubicBezTo>
                  <a:cubicBezTo>
                    <a:pt x="120" y="20"/>
                    <a:pt x="115" y="16"/>
                    <a:pt x="110" y="10"/>
                  </a:cubicBezTo>
                  <a:cubicBezTo>
                    <a:pt x="106" y="5"/>
                    <a:pt x="102" y="2"/>
                    <a:pt x="98" y="1"/>
                  </a:cubicBezTo>
                  <a:cubicBezTo>
                    <a:pt x="94" y="0"/>
                    <a:pt x="89" y="1"/>
                    <a:pt x="82" y="3"/>
                  </a:cubicBezTo>
                  <a:cubicBezTo>
                    <a:pt x="74" y="5"/>
                    <a:pt x="68" y="9"/>
                    <a:pt x="62" y="13"/>
                  </a:cubicBezTo>
                  <a:cubicBezTo>
                    <a:pt x="57" y="17"/>
                    <a:pt x="52" y="20"/>
                    <a:pt x="47" y="21"/>
                  </a:cubicBezTo>
                  <a:cubicBezTo>
                    <a:pt x="38" y="24"/>
                    <a:pt x="17" y="23"/>
                    <a:pt x="0" y="21"/>
                  </a:cubicBezTo>
                  <a:cubicBezTo>
                    <a:pt x="1" y="29"/>
                    <a:pt x="1" y="37"/>
                    <a:pt x="1" y="40"/>
                  </a:cubicBezTo>
                  <a:cubicBezTo>
                    <a:pt x="2" y="45"/>
                    <a:pt x="0" y="47"/>
                    <a:pt x="2" y="58"/>
                  </a:cubicBezTo>
                  <a:cubicBezTo>
                    <a:pt x="3" y="69"/>
                    <a:pt x="6" y="73"/>
                    <a:pt x="11" y="82"/>
                  </a:cubicBezTo>
                  <a:cubicBezTo>
                    <a:pt x="16" y="91"/>
                    <a:pt x="23" y="94"/>
                    <a:pt x="29" y="104"/>
                  </a:cubicBezTo>
                  <a:cubicBezTo>
                    <a:pt x="35" y="113"/>
                    <a:pt x="35" y="117"/>
                    <a:pt x="42" y="127"/>
                  </a:cubicBezTo>
                  <a:cubicBezTo>
                    <a:pt x="49" y="136"/>
                    <a:pt x="55" y="151"/>
                    <a:pt x="62" y="162"/>
                  </a:cubicBezTo>
                  <a:cubicBezTo>
                    <a:pt x="69" y="173"/>
                    <a:pt x="74" y="180"/>
                    <a:pt x="80" y="195"/>
                  </a:cubicBezTo>
                  <a:cubicBezTo>
                    <a:pt x="87" y="209"/>
                    <a:pt x="92" y="223"/>
                    <a:pt x="96" y="230"/>
                  </a:cubicBezTo>
                  <a:cubicBezTo>
                    <a:pt x="100" y="237"/>
                    <a:pt x="103" y="249"/>
                    <a:pt x="114" y="267"/>
                  </a:cubicBezTo>
                  <a:cubicBezTo>
                    <a:pt x="126" y="285"/>
                    <a:pt x="128" y="294"/>
                    <a:pt x="137" y="306"/>
                  </a:cubicBezTo>
                  <a:cubicBezTo>
                    <a:pt x="145" y="318"/>
                    <a:pt x="152" y="332"/>
                    <a:pt x="155" y="337"/>
                  </a:cubicBezTo>
                  <a:cubicBezTo>
                    <a:pt x="159" y="342"/>
                    <a:pt x="166" y="354"/>
                    <a:pt x="168" y="361"/>
                  </a:cubicBezTo>
                  <a:cubicBezTo>
                    <a:pt x="170" y="367"/>
                    <a:pt x="170" y="384"/>
                    <a:pt x="170" y="393"/>
                  </a:cubicBezTo>
                  <a:cubicBezTo>
                    <a:pt x="169" y="402"/>
                    <a:pt x="169" y="405"/>
                    <a:pt x="166" y="414"/>
                  </a:cubicBezTo>
                  <a:cubicBezTo>
                    <a:pt x="164" y="424"/>
                    <a:pt x="165" y="446"/>
                    <a:pt x="166" y="452"/>
                  </a:cubicBezTo>
                  <a:cubicBezTo>
                    <a:pt x="167" y="458"/>
                    <a:pt x="165" y="461"/>
                    <a:pt x="171" y="474"/>
                  </a:cubicBezTo>
                  <a:cubicBezTo>
                    <a:pt x="177" y="487"/>
                    <a:pt x="179" y="490"/>
                    <a:pt x="183" y="498"/>
                  </a:cubicBezTo>
                  <a:cubicBezTo>
                    <a:pt x="186" y="506"/>
                    <a:pt x="189" y="507"/>
                    <a:pt x="190" y="516"/>
                  </a:cubicBezTo>
                  <a:cubicBezTo>
                    <a:pt x="190" y="525"/>
                    <a:pt x="189" y="540"/>
                    <a:pt x="189" y="550"/>
                  </a:cubicBezTo>
                  <a:cubicBezTo>
                    <a:pt x="189" y="561"/>
                    <a:pt x="187" y="556"/>
                    <a:pt x="190" y="570"/>
                  </a:cubicBezTo>
                  <a:cubicBezTo>
                    <a:pt x="194" y="585"/>
                    <a:pt x="196" y="593"/>
                    <a:pt x="199" y="600"/>
                  </a:cubicBezTo>
                  <a:cubicBezTo>
                    <a:pt x="202" y="607"/>
                    <a:pt x="202" y="616"/>
                    <a:pt x="205" y="624"/>
                  </a:cubicBezTo>
                  <a:cubicBezTo>
                    <a:pt x="208" y="632"/>
                    <a:pt x="212" y="646"/>
                    <a:pt x="217" y="660"/>
                  </a:cubicBezTo>
                  <a:cubicBezTo>
                    <a:pt x="221" y="674"/>
                    <a:pt x="222" y="679"/>
                    <a:pt x="228" y="690"/>
                  </a:cubicBezTo>
                  <a:cubicBezTo>
                    <a:pt x="234" y="701"/>
                    <a:pt x="239" y="707"/>
                    <a:pt x="245" y="714"/>
                  </a:cubicBezTo>
                  <a:cubicBezTo>
                    <a:pt x="251" y="721"/>
                    <a:pt x="259" y="728"/>
                    <a:pt x="264" y="734"/>
                  </a:cubicBezTo>
                  <a:cubicBezTo>
                    <a:pt x="269" y="739"/>
                    <a:pt x="281" y="742"/>
                    <a:pt x="286" y="750"/>
                  </a:cubicBezTo>
                  <a:cubicBezTo>
                    <a:pt x="294" y="741"/>
                    <a:pt x="305" y="728"/>
                    <a:pt x="309" y="724"/>
                  </a:cubicBezTo>
                  <a:cubicBezTo>
                    <a:pt x="311" y="720"/>
                    <a:pt x="316" y="718"/>
                    <a:pt x="320" y="71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3" name="Freeform 478"/>
            <p:cNvSpPr>
              <a:spLocks/>
            </p:cNvSpPr>
            <p:nvPr/>
          </p:nvSpPr>
          <p:spPr bwMode="auto">
            <a:xfrm>
              <a:off x="5251959" y="5526378"/>
              <a:ext cx="4762" cy="5953"/>
            </a:xfrm>
            <a:custGeom>
              <a:avLst/>
              <a:gdLst>
                <a:gd name="T0" fmla="*/ 1 w 17"/>
                <a:gd name="T1" fmla="*/ 10 h 24"/>
                <a:gd name="T2" fmla="*/ 9 w 17"/>
                <a:gd name="T3" fmla="*/ 19 h 24"/>
                <a:gd name="T4" fmla="*/ 16 w 17"/>
                <a:gd name="T5" fmla="*/ 18 h 24"/>
                <a:gd name="T6" fmla="*/ 1 w 17"/>
                <a:gd name="T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4">
                  <a:moveTo>
                    <a:pt x="1" y="10"/>
                  </a:moveTo>
                  <a:cubicBezTo>
                    <a:pt x="0" y="17"/>
                    <a:pt x="3" y="16"/>
                    <a:pt x="9" y="19"/>
                  </a:cubicBezTo>
                  <a:cubicBezTo>
                    <a:pt x="14" y="22"/>
                    <a:pt x="17" y="24"/>
                    <a:pt x="16" y="18"/>
                  </a:cubicBezTo>
                  <a:cubicBezTo>
                    <a:pt x="15" y="12"/>
                    <a:pt x="2" y="0"/>
                    <a:pt x="1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4" name="Freeform 479"/>
            <p:cNvSpPr>
              <a:spLocks noEditPoints="1"/>
            </p:cNvSpPr>
            <p:nvPr/>
          </p:nvSpPr>
          <p:spPr bwMode="auto">
            <a:xfrm>
              <a:off x="5129325" y="4863200"/>
              <a:ext cx="128587" cy="250031"/>
            </a:xfrm>
            <a:custGeom>
              <a:avLst/>
              <a:gdLst>
                <a:gd name="T0" fmla="*/ 425 w 452"/>
                <a:gd name="T1" fmla="*/ 93 h 872"/>
                <a:gd name="T2" fmla="*/ 397 w 452"/>
                <a:gd name="T3" fmla="*/ 41 h 872"/>
                <a:gd name="T4" fmla="*/ 377 w 452"/>
                <a:gd name="T5" fmla="*/ 16 h 872"/>
                <a:gd name="T6" fmla="*/ 371 w 452"/>
                <a:gd name="T7" fmla="*/ 2 h 872"/>
                <a:gd name="T8" fmla="*/ 350 w 452"/>
                <a:gd name="T9" fmla="*/ 23 h 872"/>
                <a:gd name="T10" fmla="*/ 362 w 452"/>
                <a:gd name="T11" fmla="*/ 51 h 872"/>
                <a:gd name="T12" fmla="*/ 351 w 452"/>
                <a:gd name="T13" fmla="*/ 82 h 872"/>
                <a:gd name="T14" fmla="*/ 333 w 452"/>
                <a:gd name="T15" fmla="*/ 93 h 872"/>
                <a:gd name="T16" fmla="*/ 318 w 452"/>
                <a:gd name="T17" fmla="*/ 111 h 872"/>
                <a:gd name="T18" fmla="*/ 299 w 452"/>
                <a:gd name="T19" fmla="*/ 101 h 872"/>
                <a:gd name="T20" fmla="*/ 304 w 452"/>
                <a:gd name="T21" fmla="*/ 129 h 872"/>
                <a:gd name="T22" fmla="*/ 288 w 452"/>
                <a:gd name="T23" fmla="*/ 143 h 872"/>
                <a:gd name="T24" fmla="*/ 293 w 452"/>
                <a:gd name="T25" fmla="*/ 159 h 872"/>
                <a:gd name="T26" fmla="*/ 298 w 452"/>
                <a:gd name="T27" fmla="*/ 174 h 872"/>
                <a:gd name="T28" fmla="*/ 279 w 452"/>
                <a:gd name="T29" fmla="*/ 172 h 872"/>
                <a:gd name="T30" fmla="*/ 255 w 452"/>
                <a:gd name="T31" fmla="*/ 192 h 872"/>
                <a:gd name="T32" fmla="*/ 253 w 452"/>
                <a:gd name="T33" fmla="*/ 217 h 872"/>
                <a:gd name="T34" fmla="*/ 236 w 452"/>
                <a:gd name="T35" fmla="*/ 213 h 872"/>
                <a:gd name="T36" fmla="*/ 218 w 452"/>
                <a:gd name="T37" fmla="*/ 217 h 872"/>
                <a:gd name="T38" fmla="*/ 199 w 452"/>
                <a:gd name="T39" fmla="*/ 234 h 872"/>
                <a:gd name="T40" fmla="*/ 199 w 452"/>
                <a:gd name="T41" fmla="*/ 249 h 872"/>
                <a:gd name="T42" fmla="*/ 174 w 452"/>
                <a:gd name="T43" fmla="*/ 244 h 872"/>
                <a:gd name="T44" fmla="*/ 147 w 452"/>
                <a:gd name="T45" fmla="*/ 247 h 872"/>
                <a:gd name="T46" fmla="*/ 120 w 452"/>
                <a:gd name="T47" fmla="*/ 258 h 872"/>
                <a:gd name="T48" fmla="*/ 84 w 452"/>
                <a:gd name="T49" fmla="*/ 269 h 872"/>
                <a:gd name="T50" fmla="*/ 70 w 452"/>
                <a:gd name="T51" fmla="*/ 308 h 872"/>
                <a:gd name="T52" fmla="*/ 49 w 452"/>
                <a:gd name="T53" fmla="*/ 352 h 872"/>
                <a:gd name="T54" fmla="*/ 65 w 452"/>
                <a:gd name="T55" fmla="*/ 425 h 872"/>
                <a:gd name="T56" fmla="*/ 79 w 452"/>
                <a:gd name="T57" fmla="*/ 470 h 872"/>
                <a:gd name="T58" fmla="*/ 65 w 452"/>
                <a:gd name="T59" fmla="*/ 534 h 872"/>
                <a:gd name="T60" fmla="*/ 37 w 452"/>
                <a:gd name="T61" fmla="*/ 586 h 872"/>
                <a:gd name="T62" fmla="*/ 15 w 452"/>
                <a:gd name="T63" fmla="*/ 618 h 872"/>
                <a:gd name="T64" fmla="*/ 2 w 452"/>
                <a:gd name="T65" fmla="*/ 648 h 872"/>
                <a:gd name="T66" fmla="*/ 23 w 452"/>
                <a:gd name="T67" fmla="*/ 717 h 872"/>
                <a:gd name="T68" fmla="*/ 27 w 452"/>
                <a:gd name="T69" fmla="*/ 755 h 872"/>
                <a:gd name="T70" fmla="*/ 37 w 452"/>
                <a:gd name="T71" fmla="*/ 804 h 872"/>
                <a:gd name="T72" fmla="*/ 86 w 452"/>
                <a:gd name="T73" fmla="*/ 852 h 872"/>
                <a:gd name="T74" fmla="*/ 149 w 452"/>
                <a:gd name="T75" fmla="*/ 865 h 872"/>
                <a:gd name="T76" fmla="*/ 221 w 452"/>
                <a:gd name="T77" fmla="*/ 837 h 872"/>
                <a:gd name="T78" fmla="*/ 261 w 452"/>
                <a:gd name="T79" fmla="*/ 780 h 872"/>
                <a:gd name="T80" fmla="*/ 292 w 452"/>
                <a:gd name="T81" fmla="*/ 672 h 872"/>
                <a:gd name="T82" fmla="*/ 351 w 452"/>
                <a:gd name="T83" fmla="*/ 481 h 872"/>
                <a:gd name="T84" fmla="*/ 380 w 452"/>
                <a:gd name="T85" fmla="*/ 379 h 872"/>
                <a:gd name="T86" fmla="*/ 387 w 452"/>
                <a:gd name="T87" fmla="*/ 327 h 872"/>
                <a:gd name="T88" fmla="*/ 405 w 452"/>
                <a:gd name="T89" fmla="*/ 287 h 872"/>
                <a:gd name="T90" fmla="*/ 403 w 452"/>
                <a:gd name="T91" fmla="*/ 234 h 872"/>
                <a:gd name="T92" fmla="*/ 421 w 452"/>
                <a:gd name="T93" fmla="*/ 228 h 872"/>
                <a:gd name="T94" fmla="*/ 447 w 452"/>
                <a:gd name="T95" fmla="*/ 233 h 872"/>
                <a:gd name="T96" fmla="*/ 449 w 452"/>
                <a:gd name="T97" fmla="*/ 176 h 872"/>
                <a:gd name="T98" fmla="*/ 260 w 452"/>
                <a:gd name="T99" fmla="*/ 165 h 872"/>
                <a:gd name="T100" fmla="*/ 265 w 452"/>
                <a:gd name="T101" fmla="*/ 169 h 872"/>
                <a:gd name="T102" fmla="*/ 319 w 452"/>
                <a:gd name="T103" fmla="*/ 86 h 872"/>
                <a:gd name="T104" fmla="*/ 310 w 452"/>
                <a:gd name="T105" fmla="*/ 84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52" h="872">
                  <a:moveTo>
                    <a:pt x="432" y="128"/>
                  </a:moveTo>
                  <a:cubicBezTo>
                    <a:pt x="421" y="106"/>
                    <a:pt x="427" y="109"/>
                    <a:pt x="425" y="93"/>
                  </a:cubicBezTo>
                  <a:cubicBezTo>
                    <a:pt x="422" y="78"/>
                    <a:pt x="425" y="75"/>
                    <a:pt x="418" y="64"/>
                  </a:cubicBezTo>
                  <a:cubicBezTo>
                    <a:pt x="410" y="53"/>
                    <a:pt x="409" y="51"/>
                    <a:pt x="397" y="41"/>
                  </a:cubicBezTo>
                  <a:cubicBezTo>
                    <a:pt x="394" y="34"/>
                    <a:pt x="382" y="30"/>
                    <a:pt x="377" y="23"/>
                  </a:cubicBezTo>
                  <a:cubicBezTo>
                    <a:pt x="373" y="17"/>
                    <a:pt x="375" y="19"/>
                    <a:pt x="377" y="16"/>
                  </a:cubicBezTo>
                  <a:cubicBezTo>
                    <a:pt x="379" y="14"/>
                    <a:pt x="380" y="11"/>
                    <a:pt x="378" y="6"/>
                  </a:cubicBezTo>
                  <a:cubicBezTo>
                    <a:pt x="376" y="1"/>
                    <a:pt x="375" y="0"/>
                    <a:pt x="371" y="2"/>
                  </a:cubicBezTo>
                  <a:cubicBezTo>
                    <a:pt x="367" y="5"/>
                    <a:pt x="366" y="9"/>
                    <a:pt x="361" y="12"/>
                  </a:cubicBezTo>
                  <a:cubicBezTo>
                    <a:pt x="355" y="15"/>
                    <a:pt x="354" y="18"/>
                    <a:pt x="350" y="23"/>
                  </a:cubicBezTo>
                  <a:cubicBezTo>
                    <a:pt x="346" y="29"/>
                    <a:pt x="348" y="31"/>
                    <a:pt x="353" y="35"/>
                  </a:cubicBezTo>
                  <a:cubicBezTo>
                    <a:pt x="358" y="40"/>
                    <a:pt x="361" y="47"/>
                    <a:pt x="362" y="51"/>
                  </a:cubicBezTo>
                  <a:cubicBezTo>
                    <a:pt x="362" y="56"/>
                    <a:pt x="360" y="57"/>
                    <a:pt x="357" y="65"/>
                  </a:cubicBezTo>
                  <a:cubicBezTo>
                    <a:pt x="354" y="72"/>
                    <a:pt x="357" y="74"/>
                    <a:pt x="351" y="82"/>
                  </a:cubicBezTo>
                  <a:cubicBezTo>
                    <a:pt x="345" y="90"/>
                    <a:pt x="344" y="84"/>
                    <a:pt x="339" y="85"/>
                  </a:cubicBezTo>
                  <a:cubicBezTo>
                    <a:pt x="334" y="86"/>
                    <a:pt x="334" y="89"/>
                    <a:pt x="333" y="93"/>
                  </a:cubicBezTo>
                  <a:cubicBezTo>
                    <a:pt x="332" y="97"/>
                    <a:pt x="328" y="96"/>
                    <a:pt x="325" y="99"/>
                  </a:cubicBezTo>
                  <a:cubicBezTo>
                    <a:pt x="322" y="103"/>
                    <a:pt x="322" y="110"/>
                    <a:pt x="318" y="111"/>
                  </a:cubicBezTo>
                  <a:cubicBezTo>
                    <a:pt x="314" y="112"/>
                    <a:pt x="312" y="110"/>
                    <a:pt x="310" y="106"/>
                  </a:cubicBezTo>
                  <a:cubicBezTo>
                    <a:pt x="307" y="102"/>
                    <a:pt x="301" y="98"/>
                    <a:pt x="299" y="101"/>
                  </a:cubicBezTo>
                  <a:cubicBezTo>
                    <a:pt x="297" y="104"/>
                    <a:pt x="297" y="108"/>
                    <a:pt x="300" y="114"/>
                  </a:cubicBezTo>
                  <a:cubicBezTo>
                    <a:pt x="303" y="120"/>
                    <a:pt x="303" y="122"/>
                    <a:pt x="304" y="129"/>
                  </a:cubicBezTo>
                  <a:cubicBezTo>
                    <a:pt x="304" y="135"/>
                    <a:pt x="304" y="143"/>
                    <a:pt x="300" y="144"/>
                  </a:cubicBezTo>
                  <a:cubicBezTo>
                    <a:pt x="296" y="144"/>
                    <a:pt x="293" y="142"/>
                    <a:pt x="288" y="143"/>
                  </a:cubicBezTo>
                  <a:cubicBezTo>
                    <a:pt x="284" y="144"/>
                    <a:pt x="286" y="147"/>
                    <a:pt x="286" y="151"/>
                  </a:cubicBezTo>
                  <a:cubicBezTo>
                    <a:pt x="286" y="155"/>
                    <a:pt x="288" y="157"/>
                    <a:pt x="293" y="159"/>
                  </a:cubicBezTo>
                  <a:cubicBezTo>
                    <a:pt x="297" y="160"/>
                    <a:pt x="299" y="163"/>
                    <a:pt x="302" y="167"/>
                  </a:cubicBezTo>
                  <a:cubicBezTo>
                    <a:pt x="304" y="172"/>
                    <a:pt x="302" y="172"/>
                    <a:pt x="298" y="174"/>
                  </a:cubicBezTo>
                  <a:cubicBezTo>
                    <a:pt x="294" y="176"/>
                    <a:pt x="294" y="171"/>
                    <a:pt x="291" y="168"/>
                  </a:cubicBezTo>
                  <a:cubicBezTo>
                    <a:pt x="288" y="165"/>
                    <a:pt x="284" y="168"/>
                    <a:pt x="279" y="172"/>
                  </a:cubicBezTo>
                  <a:cubicBezTo>
                    <a:pt x="274" y="175"/>
                    <a:pt x="272" y="177"/>
                    <a:pt x="267" y="182"/>
                  </a:cubicBezTo>
                  <a:cubicBezTo>
                    <a:pt x="262" y="188"/>
                    <a:pt x="260" y="191"/>
                    <a:pt x="255" y="192"/>
                  </a:cubicBezTo>
                  <a:cubicBezTo>
                    <a:pt x="249" y="193"/>
                    <a:pt x="247" y="201"/>
                    <a:pt x="248" y="205"/>
                  </a:cubicBezTo>
                  <a:cubicBezTo>
                    <a:pt x="250" y="209"/>
                    <a:pt x="254" y="211"/>
                    <a:pt x="253" y="217"/>
                  </a:cubicBezTo>
                  <a:cubicBezTo>
                    <a:pt x="252" y="222"/>
                    <a:pt x="242" y="224"/>
                    <a:pt x="236" y="223"/>
                  </a:cubicBezTo>
                  <a:cubicBezTo>
                    <a:pt x="231" y="222"/>
                    <a:pt x="234" y="218"/>
                    <a:pt x="236" y="213"/>
                  </a:cubicBezTo>
                  <a:cubicBezTo>
                    <a:pt x="238" y="208"/>
                    <a:pt x="232" y="207"/>
                    <a:pt x="229" y="208"/>
                  </a:cubicBezTo>
                  <a:cubicBezTo>
                    <a:pt x="226" y="208"/>
                    <a:pt x="223" y="212"/>
                    <a:pt x="218" y="217"/>
                  </a:cubicBezTo>
                  <a:cubicBezTo>
                    <a:pt x="213" y="223"/>
                    <a:pt x="211" y="222"/>
                    <a:pt x="204" y="224"/>
                  </a:cubicBezTo>
                  <a:cubicBezTo>
                    <a:pt x="197" y="227"/>
                    <a:pt x="199" y="229"/>
                    <a:pt x="199" y="234"/>
                  </a:cubicBezTo>
                  <a:cubicBezTo>
                    <a:pt x="199" y="240"/>
                    <a:pt x="204" y="240"/>
                    <a:pt x="205" y="245"/>
                  </a:cubicBezTo>
                  <a:cubicBezTo>
                    <a:pt x="205" y="250"/>
                    <a:pt x="204" y="248"/>
                    <a:pt x="199" y="249"/>
                  </a:cubicBezTo>
                  <a:cubicBezTo>
                    <a:pt x="194" y="250"/>
                    <a:pt x="190" y="247"/>
                    <a:pt x="187" y="243"/>
                  </a:cubicBezTo>
                  <a:cubicBezTo>
                    <a:pt x="184" y="239"/>
                    <a:pt x="179" y="239"/>
                    <a:pt x="174" y="244"/>
                  </a:cubicBezTo>
                  <a:cubicBezTo>
                    <a:pt x="169" y="248"/>
                    <a:pt x="169" y="245"/>
                    <a:pt x="163" y="242"/>
                  </a:cubicBezTo>
                  <a:cubicBezTo>
                    <a:pt x="158" y="240"/>
                    <a:pt x="153" y="242"/>
                    <a:pt x="147" y="247"/>
                  </a:cubicBezTo>
                  <a:cubicBezTo>
                    <a:pt x="141" y="252"/>
                    <a:pt x="138" y="255"/>
                    <a:pt x="132" y="256"/>
                  </a:cubicBezTo>
                  <a:cubicBezTo>
                    <a:pt x="125" y="256"/>
                    <a:pt x="125" y="252"/>
                    <a:pt x="120" y="258"/>
                  </a:cubicBezTo>
                  <a:cubicBezTo>
                    <a:pt x="114" y="263"/>
                    <a:pt x="108" y="267"/>
                    <a:pt x="100" y="267"/>
                  </a:cubicBezTo>
                  <a:cubicBezTo>
                    <a:pt x="91" y="267"/>
                    <a:pt x="88" y="267"/>
                    <a:pt x="84" y="269"/>
                  </a:cubicBezTo>
                  <a:cubicBezTo>
                    <a:pt x="80" y="271"/>
                    <a:pt x="79" y="272"/>
                    <a:pt x="77" y="280"/>
                  </a:cubicBezTo>
                  <a:cubicBezTo>
                    <a:pt x="75" y="287"/>
                    <a:pt x="76" y="292"/>
                    <a:pt x="70" y="308"/>
                  </a:cubicBezTo>
                  <a:cubicBezTo>
                    <a:pt x="64" y="323"/>
                    <a:pt x="63" y="330"/>
                    <a:pt x="57" y="338"/>
                  </a:cubicBezTo>
                  <a:cubicBezTo>
                    <a:pt x="50" y="347"/>
                    <a:pt x="49" y="348"/>
                    <a:pt x="49" y="352"/>
                  </a:cubicBezTo>
                  <a:cubicBezTo>
                    <a:pt x="49" y="356"/>
                    <a:pt x="51" y="375"/>
                    <a:pt x="56" y="386"/>
                  </a:cubicBezTo>
                  <a:cubicBezTo>
                    <a:pt x="60" y="396"/>
                    <a:pt x="63" y="412"/>
                    <a:pt x="65" y="425"/>
                  </a:cubicBezTo>
                  <a:cubicBezTo>
                    <a:pt x="68" y="438"/>
                    <a:pt x="68" y="444"/>
                    <a:pt x="69" y="453"/>
                  </a:cubicBezTo>
                  <a:cubicBezTo>
                    <a:pt x="70" y="461"/>
                    <a:pt x="77" y="464"/>
                    <a:pt x="79" y="470"/>
                  </a:cubicBezTo>
                  <a:cubicBezTo>
                    <a:pt x="82" y="477"/>
                    <a:pt x="79" y="482"/>
                    <a:pt x="77" y="493"/>
                  </a:cubicBezTo>
                  <a:cubicBezTo>
                    <a:pt x="76" y="504"/>
                    <a:pt x="77" y="520"/>
                    <a:pt x="65" y="534"/>
                  </a:cubicBezTo>
                  <a:cubicBezTo>
                    <a:pt x="53" y="548"/>
                    <a:pt x="56" y="547"/>
                    <a:pt x="48" y="559"/>
                  </a:cubicBezTo>
                  <a:cubicBezTo>
                    <a:pt x="41" y="571"/>
                    <a:pt x="41" y="584"/>
                    <a:pt x="37" y="586"/>
                  </a:cubicBezTo>
                  <a:cubicBezTo>
                    <a:pt x="34" y="588"/>
                    <a:pt x="24" y="589"/>
                    <a:pt x="20" y="594"/>
                  </a:cubicBezTo>
                  <a:cubicBezTo>
                    <a:pt x="17" y="598"/>
                    <a:pt x="19" y="605"/>
                    <a:pt x="15" y="618"/>
                  </a:cubicBezTo>
                  <a:cubicBezTo>
                    <a:pt x="12" y="630"/>
                    <a:pt x="11" y="622"/>
                    <a:pt x="6" y="630"/>
                  </a:cubicBezTo>
                  <a:cubicBezTo>
                    <a:pt x="0" y="638"/>
                    <a:pt x="2" y="639"/>
                    <a:pt x="2" y="648"/>
                  </a:cubicBezTo>
                  <a:cubicBezTo>
                    <a:pt x="2" y="656"/>
                    <a:pt x="7" y="671"/>
                    <a:pt x="8" y="687"/>
                  </a:cubicBezTo>
                  <a:cubicBezTo>
                    <a:pt x="10" y="703"/>
                    <a:pt x="18" y="707"/>
                    <a:pt x="23" y="717"/>
                  </a:cubicBezTo>
                  <a:cubicBezTo>
                    <a:pt x="27" y="726"/>
                    <a:pt x="32" y="731"/>
                    <a:pt x="32" y="736"/>
                  </a:cubicBezTo>
                  <a:cubicBezTo>
                    <a:pt x="32" y="741"/>
                    <a:pt x="25" y="744"/>
                    <a:pt x="27" y="755"/>
                  </a:cubicBezTo>
                  <a:cubicBezTo>
                    <a:pt x="29" y="765"/>
                    <a:pt x="27" y="776"/>
                    <a:pt x="28" y="785"/>
                  </a:cubicBezTo>
                  <a:cubicBezTo>
                    <a:pt x="29" y="794"/>
                    <a:pt x="31" y="793"/>
                    <a:pt x="37" y="804"/>
                  </a:cubicBezTo>
                  <a:cubicBezTo>
                    <a:pt x="42" y="816"/>
                    <a:pt x="45" y="824"/>
                    <a:pt x="57" y="835"/>
                  </a:cubicBezTo>
                  <a:cubicBezTo>
                    <a:pt x="70" y="846"/>
                    <a:pt x="74" y="847"/>
                    <a:pt x="86" y="852"/>
                  </a:cubicBezTo>
                  <a:cubicBezTo>
                    <a:pt x="98" y="856"/>
                    <a:pt x="98" y="860"/>
                    <a:pt x="114" y="866"/>
                  </a:cubicBezTo>
                  <a:cubicBezTo>
                    <a:pt x="131" y="872"/>
                    <a:pt x="140" y="871"/>
                    <a:pt x="149" y="865"/>
                  </a:cubicBezTo>
                  <a:cubicBezTo>
                    <a:pt x="158" y="858"/>
                    <a:pt x="170" y="852"/>
                    <a:pt x="183" y="844"/>
                  </a:cubicBezTo>
                  <a:cubicBezTo>
                    <a:pt x="197" y="836"/>
                    <a:pt x="207" y="839"/>
                    <a:pt x="221" y="837"/>
                  </a:cubicBezTo>
                  <a:cubicBezTo>
                    <a:pt x="236" y="835"/>
                    <a:pt x="234" y="833"/>
                    <a:pt x="239" y="825"/>
                  </a:cubicBezTo>
                  <a:cubicBezTo>
                    <a:pt x="243" y="816"/>
                    <a:pt x="252" y="798"/>
                    <a:pt x="261" y="780"/>
                  </a:cubicBezTo>
                  <a:cubicBezTo>
                    <a:pt x="270" y="762"/>
                    <a:pt x="269" y="753"/>
                    <a:pt x="275" y="734"/>
                  </a:cubicBezTo>
                  <a:cubicBezTo>
                    <a:pt x="281" y="716"/>
                    <a:pt x="289" y="685"/>
                    <a:pt x="292" y="672"/>
                  </a:cubicBezTo>
                  <a:cubicBezTo>
                    <a:pt x="294" y="659"/>
                    <a:pt x="304" y="609"/>
                    <a:pt x="323" y="574"/>
                  </a:cubicBezTo>
                  <a:cubicBezTo>
                    <a:pt x="343" y="539"/>
                    <a:pt x="346" y="508"/>
                    <a:pt x="351" y="481"/>
                  </a:cubicBezTo>
                  <a:cubicBezTo>
                    <a:pt x="356" y="454"/>
                    <a:pt x="361" y="451"/>
                    <a:pt x="365" y="429"/>
                  </a:cubicBezTo>
                  <a:cubicBezTo>
                    <a:pt x="368" y="406"/>
                    <a:pt x="378" y="389"/>
                    <a:pt x="380" y="379"/>
                  </a:cubicBezTo>
                  <a:cubicBezTo>
                    <a:pt x="381" y="369"/>
                    <a:pt x="390" y="362"/>
                    <a:pt x="388" y="351"/>
                  </a:cubicBezTo>
                  <a:cubicBezTo>
                    <a:pt x="386" y="340"/>
                    <a:pt x="384" y="333"/>
                    <a:pt x="387" y="327"/>
                  </a:cubicBezTo>
                  <a:cubicBezTo>
                    <a:pt x="390" y="321"/>
                    <a:pt x="408" y="309"/>
                    <a:pt x="405" y="301"/>
                  </a:cubicBezTo>
                  <a:cubicBezTo>
                    <a:pt x="403" y="294"/>
                    <a:pt x="402" y="295"/>
                    <a:pt x="405" y="287"/>
                  </a:cubicBezTo>
                  <a:cubicBezTo>
                    <a:pt x="407" y="279"/>
                    <a:pt x="413" y="266"/>
                    <a:pt x="406" y="257"/>
                  </a:cubicBezTo>
                  <a:cubicBezTo>
                    <a:pt x="399" y="247"/>
                    <a:pt x="401" y="245"/>
                    <a:pt x="403" y="234"/>
                  </a:cubicBezTo>
                  <a:cubicBezTo>
                    <a:pt x="404" y="223"/>
                    <a:pt x="404" y="218"/>
                    <a:pt x="407" y="216"/>
                  </a:cubicBezTo>
                  <a:cubicBezTo>
                    <a:pt x="411" y="214"/>
                    <a:pt x="417" y="219"/>
                    <a:pt x="421" y="228"/>
                  </a:cubicBezTo>
                  <a:cubicBezTo>
                    <a:pt x="426" y="236"/>
                    <a:pt x="430" y="243"/>
                    <a:pt x="435" y="242"/>
                  </a:cubicBezTo>
                  <a:cubicBezTo>
                    <a:pt x="439" y="242"/>
                    <a:pt x="443" y="237"/>
                    <a:pt x="447" y="233"/>
                  </a:cubicBezTo>
                  <a:cubicBezTo>
                    <a:pt x="450" y="228"/>
                    <a:pt x="452" y="215"/>
                    <a:pt x="452" y="206"/>
                  </a:cubicBezTo>
                  <a:cubicBezTo>
                    <a:pt x="452" y="197"/>
                    <a:pt x="450" y="186"/>
                    <a:pt x="449" y="176"/>
                  </a:cubicBezTo>
                  <a:cubicBezTo>
                    <a:pt x="447" y="166"/>
                    <a:pt x="443" y="149"/>
                    <a:pt x="432" y="128"/>
                  </a:cubicBezTo>
                  <a:close/>
                  <a:moveTo>
                    <a:pt x="260" y="165"/>
                  </a:moveTo>
                  <a:cubicBezTo>
                    <a:pt x="258" y="168"/>
                    <a:pt x="256" y="172"/>
                    <a:pt x="257" y="173"/>
                  </a:cubicBezTo>
                  <a:cubicBezTo>
                    <a:pt x="258" y="175"/>
                    <a:pt x="264" y="172"/>
                    <a:pt x="265" y="169"/>
                  </a:cubicBezTo>
                  <a:cubicBezTo>
                    <a:pt x="266" y="165"/>
                    <a:pt x="264" y="159"/>
                    <a:pt x="260" y="165"/>
                  </a:cubicBezTo>
                  <a:close/>
                  <a:moveTo>
                    <a:pt x="319" y="86"/>
                  </a:moveTo>
                  <a:cubicBezTo>
                    <a:pt x="321" y="84"/>
                    <a:pt x="322" y="69"/>
                    <a:pt x="313" y="77"/>
                  </a:cubicBezTo>
                  <a:cubicBezTo>
                    <a:pt x="311" y="78"/>
                    <a:pt x="308" y="82"/>
                    <a:pt x="310" y="84"/>
                  </a:cubicBezTo>
                  <a:cubicBezTo>
                    <a:pt x="312" y="86"/>
                    <a:pt x="316" y="88"/>
                    <a:pt x="319" y="8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5" name="Freeform 480"/>
            <p:cNvSpPr>
              <a:spLocks/>
            </p:cNvSpPr>
            <p:nvPr/>
          </p:nvSpPr>
          <p:spPr bwMode="auto">
            <a:xfrm>
              <a:off x="5135278" y="4864391"/>
              <a:ext cx="5953" cy="5953"/>
            </a:xfrm>
            <a:custGeom>
              <a:avLst/>
              <a:gdLst>
                <a:gd name="T0" fmla="*/ 15 w 20"/>
                <a:gd name="T1" fmla="*/ 20 h 22"/>
                <a:gd name="T2" fmla="*/ 15 w 20"/>
                <a:gd name="T3" fmla="*/ 10 h 22"/>
                <a:gd name="T4" fmla="*/ 1 w 20"/>
                <a:gd name="T5" fmla="*/ 7 h 22"/>
                <a:gd name="T6" fmla="*/ 6 w 20"/>
                <a:gd name="T7" fmla="*/ 13 h 22"/>
                <a:gd name="T8" fmla="*/ 15 w 20"/>
                <a:gd name="T9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2">
                  <a:moveTo>
                    <a:pt x="15" y="20"/>
                  </a:moveTo>
                  <a:cubicBezTo>
                    <a:pt x="20" y="18"/>
                    <a:pt x="17" y="16"/>
                    <a:pt x="15" y="10"/>
                  </a:cubicBezTo>
                  <a:cubicBezTo>
                    <a:pt x="13" y="5"/>
                    <a:pt x="3" y="0"/>
                    <a:pt x="1" y="7"/>
                  </a:cubicBezTo>
                  <a:cubicBezTo>
                    <a:pt x="0" y="11"/>
                    <a:pt x="1" y="12"/>
                    <a:pt x="6" y="13"/>
                  </a:cubicBezTo>
                  <a:cubicBezTo>
                    <a:pt x="10" y="15"/>
                    <a:pt x="9" y="22"/>
                    <a:pt x="15" y="2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6" name="Freeform 481"/>
            <p:cNvSpPr>
              <a:spLocks/>
            </p:cNvSpPr>
            <p:nvPr/>
          </p:nvSpPr>
          <p:spPr bwMode="auto">
            <a:xfrm>
              <a:off x="4561397" y="4584594"/>
              <a:ext cx="129778" cy="151209"/>
            </a:xfrm>
            <a:custGeom>
              <a:avLst/>
              <a:gdLst>
                <a:gd name="T0" fmla="*/ 94 w 454"/>
                <a:gd name="T1" fmla="*/ 493 h 524"/>
                <a:gd name="T2" fmla="*/ 131 w 454"/>
                <a:gd name="T3" fmla="*/ 515 h 524"/>
                <a:gd name="T4" fmla="*/ 145 w 454"/>
                <a:gd name="T5" fmla="*/ 511 h 524"/>
                <a:gd name="T6" fmla="*/ 157 w 454"/>
                <a:gd name="T7" fmla="*/ 496 h 524"/>
                <a:gd name="T8" fmla="*/ 172 w 454"/>
                <a:gd name="T9" fmla="*/ 495 h 524"/>
                <a:gd name="T10" fmla="*/ 194 w 454"/>
                <a:gd name="T11" fmla="*/ 487 h 524"/>
                <a:gd name="T12" fmla="*/ 204 w 454"/>
                <a:gd name="T13" fmla="*/ 514 h 524"/>
                <a:gd name="T14" fmla="*/ 209 w 454"/>
                <a:gd name="T15" fmla="*/ 522 h 524"/>
                <a:gd name="T16" fmla="*/ 237 w 454"/>
                <a:gd name="T17" fmla="*/ 497 h 524"/>
                <a:gd name="T18" fmla="*/ 263 w 454"/>
                <a:gd name="T19" fmla="*/ 477 h 524"/>
                <a:gd name="T20" fmla="*/ 291 w 454"/>
                <a:gd name="T21" fmla="*/ 455 h 524"/>
                <a:gd name="T22" fmla="*/ 301 w 454"/>
                <a:gd name="T23" fmla="*/ 441 h 524"/>
                <a:gd name="T24" fmla="*/ 303 w 454"/>
                <a:gd name="T25" fmla="*/ 400 h 524"/>
                <a:gd name="T26" fmla="*/ 303 w 454"/>
                <a:gd name="T27" fmla="*/ 362 h 524"/>
                <a:gd name="T28" fmla="*/ 340 w 454"/>
                <a:gd name="T29" fmla="*/ 249 h 524"/>
                <a:gd name="T30" fmla="*/ 398 w 454"/>
                <a:gd name="T31" fmla="*/ 173 h 524"/>
                <a:gd name="T32" fmla="*/ 416 w 454"/>
                <a:gd name="T33" fmla="*/ 114 h 524"/>
                <a:gd name="T34" fmla="*/ 437 w 454"/>
                <a:gd name="T35" fmla="*/ 60 h 524"/>
                <a:gd name="T36" fmla="*/ 454 w 454"/>
                <a:gd name="T37" fmla="*/ 2 h 524"/>
                <a:gd name="T38" fmla="*/ 392 w 454"/>
                <a:gd name="T39" fmla="*/ 0 h 524"/>
                <a:gd name="T40" fmla="*/ 349 w 454"/>
                <a:gd name="T41" fmla="*/ 7 h 524"/>
                <a:gd name="T42" fmla="*/ 331 w 454"/>
                <a:gd name="T43" fmla="*/ 32 h 524"/>
                <a:gd name="T44" fmla="*/ 326 w 454"/>
                <a:gd name="T45" fmla="*/ 63 h 524"/>
                <a:gd name="T46" fmla="*/ 306 w 454"/>
                <a:gd name="T47" fmla="*/ 94 h 524"/>
                <a:gd name="T48" fmla="*/ 303 w 454"/>
                <a:gd name="T49" fmla="*/ 115 h 524"/>
                <a:gd name="T50" fmla="*/ 278 w 454"/>
                <a:gd name="T51" fmla="*/ 111 h 524"/>
                <a:gd name="T52" fmla="*/ 239 w 454"/>
                <a:gd name="T53" fmla="*/ 103 h 524"/>
                <a:gd name="T54" fmla="*/ 213 w 454"/>
                <a:gd name="T55" fmla="*/ 97 h 524"/>
                <a:gd name="T56" fmla="*/ 186 w 454"/>
                <a:gd name="T57" fmla="*/ 94 h 524"/>
                <a:gd name="T58" fmla="*/ 140 w 454"/>
                <a:gd name="T59" fmla="*/ 93 h 524"/>
                <a:gd name="T60" fmla="*/ 127 w 454"/>
                <a:gd name="T61" fmla="*/ 133 h 524"/>
                <a:gd name="T62" fmla="*/ 145 w 454"/>
                <a:gd name="T63" fmla="*/ 138 h 524"/>
                <a:gd name="T64" fmla="*/ 180 w 454"/>
                <a:gd name="T65" fmla="*/ 135 h 524"/>
                <a:gd name="T66" fmla="*/ 200 w 454"/>
                <a:gd name="T67" fmla="*/ 169 h 524"/>
                <a:gd name="T68" fmla="*/ 182 w 454"/>
                <a:gd name="T69" fmla="*/ 201 h 524"/>
                <a:gd name="T70" fmla="*/ 173 w 454"/>
                <a:gd name="T71" fmla="*/ 232 h 524"/>
                <a:gd name="T72" fmla="*/ 197 w 454"/>
                <a:gd name="T73" fmla="*/ 254 h 524"/>
                <a:gd name="T74" fmla="*/ 203 w 454"/>
                <a:gd name="T75" fmla="*/ 264 h 524"/>
                <a:gd name="T76" fmla="*/ 204 w 454"/>
                <a:gd name="T77" fmla="*/ 295 h 524"/>
                <a:gd name="T78" fmla="*/ 197 w 454"/>
                <a:gd name="T79" fmla="*/ 343 h 524"/>
                <a:gd name="T80" fmla="*/ 181 w 454"/>
                <a:gd name="T81" fmla="*/ 373 h 524"/>
                <a:gd name="T82" fmla="*/ 162 w 454"/>
                <a:gd name="T83" fmla="*/ 374 h 524"/>
                <a:gd name="T84" fmla="*/ 154 w 454"/>
                <a:gd name="T85" fmla="*/ 367 h 524"/>
                <a:gd name="T86" fmla="*/ 150 w 454"/>
                <a:gd name="T87" fmla="*/ 367 h 524"/>
                <a:gd name="T88" fmla="*/ 150 w 454"/>
                <a:gd name="T89" fmla="*/ 367 h 524"/>
                <a:gd name="T90" fmla="*/ 122 w 454"/>
                <a:gd name="T91" fmla="*/ 372 h 524"/>
                <a:gd name="T92" fmla="*/ 98 w 454"/>
                <a:gd name="T93" fmla="*/ 359 h 524"/>
                <a:gd name="T94" fmla="*/ 85 w 454"/>
                <a:gd name="T95" fmla="*/ 345 h 524"/>
                <a:gd name="T96" fmla="*/ 77 w 454"/>
                <a:gd name="T97" fmla="*/ 360 h 524"/>
                <a:gd name="T98" fmla="*/ 49 w 454"/>
                <a:gd name="T99" fmla="*/ 373 h 524"/>
                <a:gd name="T100" fmla="*/ 33 w 454"/>
                <a:gd name="T101" fmla="*/ 379 h 524"/>
                <a:gd name="T102" fmla="*/ 31 w 454"/>
                <a:gd name="T103" fmla="*/ 398 h 524"/>
                <a:gd name="T104" fmla="*/ 41 w 454"/>
                <a:gd name="T105" fmla="*/ 420 h 524"/>
                <a:gd name="T106" fmla="*/ 49 w 454"/>
                <a:gd name="T107" fmla="*/ 436 h 524"/>
                <a:gd name="T108" fmla="*/ 42 w 454"/>
                <a:gd name="T109" fmla="*/ 448 h 524"/>
                <a:gd name="T110" fmla="*/ 29 w 454"/>
                <a:gd name="T111" fmla="*/ 451 h 524"/>
                <a:gd name="T112" fmla="*/ 13 w 454"/>
                <a:gd name="T113" fmla="*/ 447 h 524"/>
                <a:gd name="T114" fmla="*/ 0 w 454"/>
                <a:gd name="T115" fmla="*/ 466 h 524"/>
                <a:gd name="T116" fmla="*/ 24 w 454"/>
                <a:gd name="T117" fmla="*/ 492 h 524"/>
                <a:gd name="T118" fmla="*/ 52 w 454"/>
                <a:gd name="T119" fmla="*/ 52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4" h="524">
                  <a:moveTo>
                    <a:pt x="52" y="524"/>
                  </a:moveTo>
                  <a:cubicBezTo>
                    <a:pt x="68" y="511"/>
                    <a:pt x="90" y="495"/>
                    <a:pt x="94" y="493"/>
                  </a:cubicBezTo>
                  <a:cubicBezTo>
                    <a:pt x="100" y="490"/>
                    <a:pt x="110" y="498"/>
                    <a:pt x="119" y="506"/>
                  </a:cubicBezTo>
                  <a:cubicBezTo>
                    <a:pt x="123" y="509"/>
                    <a:pt x="127" y="512"/>
                    <a:pt x="131" y="515"/>
                  </a:cubicBezTo>
                  <a:cubicBezTo>
                    <a:pt x="135" y="517"/>
                    <a:pt x="138" y="518"/>
                    <a:pt x="140" y="517"/>
                  </a:cubicBezTo>
                  <a:cubicBezTo>
                    <a:pt x="141" y="517"/>
                    <a:pt x="143" y="514"/>
                    <a:pt x="145" y="511"/>
                  </a:cubicBezTo>
                  <a:cubicBezTo>
                    <a:pt x="146" y="509"/>
                    <a:pt x="146" y="507"/>
                    <a:pt x="147" y="505"/>
                  </a:cubicBezTo>
                  <a:cubicBezTo>
                    <a:pt x="148" y="500"/>
                    <a:pt x="149" y="497"/>
                    <a:pt x="157" y="496"/>
                  </a:cubicBezTo>
                  <a:cubicBezTo>
                    <a:pt x="161" y="495"/>
                    <a:pt x="163" y="496"/>
                    <a:pt x="165" y="496"/>
                  </a:cubicBezTo>
                  <a:cubicBezTo>
                    <a:pt x="166" y="496"/>
                    <a:pt x="167" y="497"/>
                    <a:pt x="172" y="495"/>
                  </a:cubicBezTo>
                  <a:cubicBezTo>
                    <a:pt x="176" y="494"/>
                    <a:pt x="179" y="492"/>
                    <a:pt x="181" y="491"/>
                  </a:cubicBezTo>
                  <a:cubicBezTo>
                    <a:pt x="185" y="489"/>
                    <a:pt x="189" y="487"/>
                    <a:pt x="194" y="487"/>
                  </a:cubicBezTo>
                  <a:cubicBezTo>
                    <a:pt x="203" y="487"/>
                    <a:pt x="204" y="499"/>
                    <a:pt x="204" y="509"/>
                  </a:cubicBezTo>
                  <a:cubicBezTo>
                    <a:pt x="204" y="511"/>
                    <a:pt x="204" y="513"/>
                    <a:pt x="204" y="514"/>
                  </a:cubicBezTo>
                  <a:cubicBezTo>
                    <a:pt x="204" y="515"/>
                    <a:pt x="204" y="515"/>
                    <a:pt x="204" y="515"/>
                  </a:cubicBezTo>
                  <a:cubicBezTo>
                    <a:pt x="205" y="520"/>
                    <a:pt x="205" y="522"/>
                    <a:pt x="209" y="522"/>
                  </a:cubicBezTo>
                  <a:cubicBezTo>
                    <a:pt x="212" y="522"/>
                    <a:pt x="218" y="515"/>
                    <a:pt x="225" y="508"/>
                  </a:cubicBezTo>
                  <a:cubicBezTo>
                    <a:pt x="229" y="504"/>
                    <a:pt x="233" y="500"/>
                    <a:pt x="237" y="497"/>
                  </a:cubicBezTo>
                  <a:cubicBezTo>
                    <a:pt x="239" y="495"/>
                    <a:pt x="240" y="494"/>
                    <a:pt x="241" y="493"/>
                  </a:cubicBezTo>
                  <a:cubicBezTo>
                    <a:pt x="248" y="488"/>
                    <a:pt x="250" y="486"/>
                    <a:pt x="263" y="477"/>
                  </a:cubicBezTo>
                  <a:cubicBezTo>
                    <a:pt x="267" y="474"/>
                    <a:pt x="271" y="472"/>
                    <a:pt x="274" y="470"/>
                  </a:cubicBezTo>
                  <a:cubicBezTo>
                    <a:pt x="280" y="466"/>
                    <a:pt x="284" y="463"/>
                    <a:pt x="291" y="455"/>
                  </a:cubicBezTo>
                  <a:cubicBezTo>
                    <a:pt x="296" y="450"/>
                    <a:pt x="299" y="445"/>
                    <a:pt x="301" y="441"/>
                  </a:cubicBezTo>
                  <a:cubicBezTo>
                    <a:pt x="301" y="441"/>
                    <a:pt x="301" y="441"/>
                    <a:pt x="301" y="441"/>
                  </a:cubicBezTo>
                  <a:cubicBezTo>
                    <a:pt x="303" y="436"/>
                    <a:pt x="304" y="432"/>
                    <a:pt x="304" y="426"/>
                  </a:cubicBezTo>
                  <a:cubicBezTo>
                    <a:pt x="304" y="420"/>
                    <a:pt x="303" y="410"/>
                    <a:pt x="303" y="400"/>
                  </a:cubicBezTo>
                  <a:cubicBezTo>
                    <a:pt x="303" y="388"/>
                    <a:pt x="303" y="374"/>
                    <a:pt x="303" y="366"/>
                  </a:cubicBezTo>
                  <a:cubicBezTo>
                    <a:pt x="303" y="362"/>
                    <a:pt x="303" y="362"/>
                    <a:pt x="303" y="362"/>
                  </a:cubicBezTo>
                  <a:cubicBezTo>
                    <a:pt x="303" y="346"/>
                    <a:pt x="303" y="321"/>
                    <a:pt x="312" y="298"/>
                  </a:cubicBezTo>
                  <a:cubicBezTo>
                    <a:pt x="317" y="286"/>
                    <a:pt x="327" y="267"/>
                    <a:pt x="340" y="249"/>
                  </a:cubicBezTo>
                  <a:cubicBezTo>
                    <a:pt x="352" y="232"/>
                    <a:pt x="365" y="214"/>
                    <a:pt x="375" y="204"/>
                  </a:cubicBezTo>
                  <a:cubicBezTo>
                    <a:pt x="385" y="194"/>
                    <a:pt x="392" y="184"/>
                    <a:pt x="398" y="173"/>
                  </a:cubicBezTo>
                  <a:cubicBezTo>
                    <a:pt x="403" y="163"/>
                    <a:pt x="407" y="152"/>
                    <a:pt x="411" y="141"/>
                  </a:cubicBezTo>
                  <a:cubicBezTo>
                    <a:pt x="414" y="131"/>
                    <a:pt x="415" y="122"/>
                    <a:pt x="416" y="114"/>
                  </a:cubicBezTo>
                  <a:cubicBezTo>
                    <a:pt x="417" y="105"/>
                    <a:pt x="418" y="97"/>
                    <a:pt x="421" y="89"/>
                  </a:cubicBezTo>
                  <a:cubicBezTo>
                    <a:pt x="425" y="80"/>
                    <a:pt x="431" y="70"/>
                    <a:pt x="437" y="60"/>
                  </a:cubicBezTo>
                  <a:cubicBezTo>
                    <a:pt x="442" y="51"/>
                    <a:pt x="447" y="42"/>
                    <a:pt x="450" y="37"/>
                  </a:cubicBezTo>
                  <a:cubicBezTo>
                    <a:pt x="454" y="27"/>
                    <a:pt x="454" y="11"/>
                    <a:pt x="454" y="2"/>
                  </a:cubicBezTo>
                  <a:cubicBezTo>
                    <a:pt x="446" y="2"/>
                    <a:pt x="428" y="1"/>
                    <a:pt x="413" y="0"/>
                  </a:cubicBezTo>
                  <a:cubicBezTo>
                    <a:pt x="404" y="0"/>
                    <a:pt x="398" y="0"/>
                    <a:pt x="392" y="0"/>
                  </a:cubicBezTo>
                  <a:cubicBezTo>
                    <a:pt x="387" y="0"/>
                    <a:pt x="382" y="0"/>
                    <a:pt x="375" y="0"/>
                  </a:cubicBezTo>
                  <a:cubicBezTo>
                    <a:pt x="368" y="1"/>
                    <a:pt x="358" y="3"/>
                    <a:pt x="349" y="7"/>
                  </a:cubicBezTo>
                  <a:cubicBezTo>
                    <a:pt x="342" y="10"/>
                    <a:pt x="336" y="13"/>
                    <a:pt x="334" y="16"/>
                  </a:cubicBezTo>
                  <a:cubicBezTo>
                    <a:pt x="331" y="21"/>
                    <a:pt x="331" y="26"/>
                    <a:pt x="331" y="32"/>
                  </a:cubicBezTo>
                  <a:cubicBezTo>
                    <a:pt x="331" y="36"/>
                    <a:pt x="331" y="40"/>
                    <a:pt x="331" y="45"/>
                  </a:cubicBezTo>
                  <a:cubicBezTo>
                    <a:pt x="330" y="53"/>
                    <a:pt x="329" y="58"/>
                    <a:pt x="326" y="63"/>
                  </a:cubicBezTo>
                  <a:cubicBezTo>
                    <a:pt x="324" y="69"/>
                    <a:pt x="320" y="74"/>
                    <a:pt x="313" y="81"/>
                  </a:cubicBezTo>
                  <a:cubicBezTo>
                    <a:pt x="305" y="90"/>
                    <a:pt x="305" y="91"/>
                    <a:pt x="306" y="94"/>
                  </a:cubicBezTo>
                  <a:cubicBezTo>
                    <a:pt x="306" y="96"/>
                    <a:pt x="307" y="98"/>
                    <a:pt x="307" y="101"/>
                  </a:cubicBezTo>
                  <a:cubicBezTo>
                    <a:pt x="307" y="107"/>
                    <a:pt x="306" y="112"/>
                    <a:pt x="303" y="115"/>
                  </a:cubicBezTo>
                  <a:cubicBezTo>
                    <a:pt x="300" y="118"/>
                    <a:pt x="295" y="119"/>
                    <a:pt x="288" y="116"/>
                  </a:cubicBezTo>
                  <a:cubicBezTo>
                    <a:pt x="284" y="114"/>
                    <a:pt x="281" y="113"/>
                    <a:pt x="278" y="111"/>
                  </a:cubicBezTo>
                  <a:cubicBezTo>
                    <a:pt x="273" y="108"/>
                    <a:pt x="268" y="105"/>
                    <a:pt x="256" y="104"/>
                  </a:cubicBezTo>
                  <a:cubicBezTo>
                    <a:pt x="248" y="103"/>
                    <a:pt x="243" y="103"/>
                    <a:pt x="239" y="103"/>
                  </a:cubicBezTo>
                  <a:cubicBezTo>
                    <a:pt x="234" y="103"/>
                    <a:pt x="231" y="103"/>
                    <a:pt x="225" y="102"/>
                  </a:cubicBezTo>
                  <a:cubicBezTo>
                    <a:pt x="220" y="101"/>
                    <a:pt x="216" y="99"/>
                    <a:pt x="213" y="97"/>
                  </a:cubicBezTo>
                  <a:cubicBezTo>
                    <a:pt x="211" y="95"/>
                    <a:pt x="210" y="94"/>
                    <a:pt x="207" y="94"/>
                  </a:cubicBezTo>
                  <a:cubicBezTo>
                    <a:pt x="204" y="94"/>
                    <a:pt x="195" y="94"/>
                    <a:pt x="186" y="94"/>
                  </a:cubicBezTo>
                  <a:cubicBezTo>
                    <a:pt x="178" y="94"/>
                    <a:pt x="169" y="94"/>
                    <a:pt x="167" y="94"/>
                  </a:cubicBezTo>
                  <a:cubicBezTo>
                    <a:pt x="164" y="94"/>
                    <a:pt x="151" y="95"/>
                    <a:pt x="140" y="93"/>
                  </a:cubicBezTo>
                  <a:cubicBezTo>
                    <a:pt x="137" y="93"/>
                    <a:pt x="134" y="93"/>
                    <a:pt x="131" y="92"/>
                  </a:cubicBezTo>
                  <a:cubicBezTo>
                    <a:pt x="130" y="102"/>
                    <a:pt x="126" y="125"/>
                    <a:pt x="127" y="133"/>
                  </a:cubicBezTo>
                  <a:cubicBezTo>
                    <a:pt x="127" y="136"/>
                    <a:pt x="129" y="138"/>
                    <a:pt x="131" y="139"/>
                  </a:cubicBezTo>
                  <a:cubicBezTo>
                    <a:pt x="134" y="140"/>
                    <a:pt x="139" y="139"/>
                    <a:pt x="145" y="138"/>
                  </a:cubicBezTo>
                  <a:cubicBezTo>
                    <a:pt x="149" y="137"/>
                    <a:pt x="153" y="136"/>
                    <a:pt x="156" y="135"/>
                  </a:cubicBezTo>
                  <a:cubicBezTo>
                    <a:pt x="165" y="132"/>
                    <a:pt x="173" y="130"/>
                    <a:pt x="180" y="135"/>
                  </a:cubicBezTo>
                  <a:cubicBezTo>
                    <a:pt x="184" y="138"/>
                    <a:pt x="189" y="145"/>
                    <a:pt x="193" y="151"/>
                  </a:cubicBezTo>
                  <a:cubicBezTo>
                    <a:pt x="197" y="158"/>
                    <a:pt x="200" y="165"/>
                    <a:pt x="200" y="169"/>
                  </a:cubicBezTo>
                  <a:cubicBezTo>
                    <a:pt x="200" y="176"/>
                    <a:pt x="196" y="181"/>
                    <a:pt x="191" y="189"/>
                  </a:cubicBezTo>
                  <a:cubicBezTo>
                    <a:pt x="188" y="192"/>
                    <a:pt x="185" y="196"/>
                    <a:pt x="182" y="201"/>
                  </a:cubicBezTo>
                  <a:cubicBezTo>
                    <a:pt x="178" y="208"/>
                    <a:pt x="175" y="214"/>
                    <a:pt x="173" y="219"/>
                  </a:cubicBezTo>
                  <a:cubicBezTo>
                    <a:pt x="171" y="223"/>
                    <a:pt x="171" y="228"/>
                    <a:pt x="173" y="232"/>
                  </a:cubicBezTo>
                  <a:cubicBezTo>
                    <a:pt x="176" y="238"/>
                    <a:pt x="184" y="244"/>
                    <a:pt x="190" y="248"/>
                  </a:cubicBezTo>
                  <a:cubicBezTo>
                    <a:pt x="193" y="251"/>
                    <a:pt x="195" y="252"/>
                    <a:pt x="197" y="254"/>
                  </a:cubicBezTo>
                  <a:cubicBezTo>
                    <a:pt x="199" y="256"/>
                    <a:pt x="201" y="260"/>
                    <a:pt x="203" y="264"/>
                  </a:cubicBezTo>
                  <a:cubicBezTo>
                    <a:pt x="203" y="264"/>
                    <a:pt x="203" y="264"/>
                    <a:pt x="203" y="264"/>
                  </a:cubicBezTo>
                  <a:cubicBezTo>
                    <a:pt x="204" y="268"/>
                    <a:pt x="205" y="274"/>
                    <a:pt x="204" y="281"/>
                  </a:cubicBezTo>
                  <a:cubicBezTo>
                    <a:pt x="203" y="287"/>
                    <a:pt x="204" y="291"/>
                    <a:pt x="204" y="295"/>
                  </a:cubicBezTo>
                  <a:cubicBezTo>
                    <a:pt x="204" y="299"/>
                    <a:pt x="205" y="304"/>
                    <a:pt x="204" y="311"/>
                  </a:cubicBezTo>
                  <a:cubicBezTo>
                    <a:pt x="203" y="319"/>
                    <a:pt x="200" y="331"/>
                    <a:pt x="197" y="343"/>
                  </a:cubicBezTo>
                  <a:cubicBezTo>
                    <a:pt x="194" y="353"/>
                    <a:pt x="190" y="363"/>
                    <a:pt x="187" y="367"/>
                  </a:cubicBezTo>
                  <a:cubicBezTo>
                    <a:pt x="185" y="369"/>
                    <a:pt x="183" y="371"/>
                    <a:pt x="181" y="373"/>
                  </a:cubicBezTo>
                  <a:cubicBezTo>
                    <a:pt x="179" y="375"/>
                    <a:pt x="176" y="377"/>
                    <a:pt x="172" y="377"/>
                  </a:cubicBezTo>
                  <a:cubicBezTo>
                    <a:pt x="169" y="378"/>
                    <a:pt x="165" y="377"/>
                    <a:pt x="162" y="374"/>
                  </a:cubicBezTo>
                  <a:cubicBezTo>
                    <a:pt x="161" y="374"/>
                    <a:pt x="160" y="373"/>
                    <a:pt x="160" y="372"/>
                  </a:cubicBezTo>
                  <a:cubicBezTo>
                    <a:pt x="158" y="369"/>
                    <a:pt x="156" y="368"/>
                    <a:pt x="154" y="367"/>
                  </a:cubicBezTo>
                  <a:cubicBezTo>
                    <a:pt x="153" y="367"/>
                    <a:pt x="152" y="366"/>
                    <a:pt x="151" y="366"/>
                  </a:cubicBezTo>
                  <a:cubicBezTo>
                    <a:pt x="151" y="366"/>
                    <a:pt x="150" y="366"/>
                    <a:pt x="150" y="367"/>
                  </a:cubicBezTo>
                  <a:cubicBezTo>
                    <a:pt x="150" y="367"/>
                    <a:pt x="150" y="367"/>
                    <a:pt x="150" y="367"/>
                  </a:cubicBezTo>
                  <a:cubicBezTo>
                    <a:pt x="150" y="367"/>
                    <a:pt x="150" y="367"/>
                    <a:pt x="150" y="367"/>
                  </a:cubicBezTo>
                  <a:cubicBezTo>
                    <a:pt x="147" y="372"/>
                    <a:pt x="136" y="372"/>
                    <a:pt x="127" y="372"/>
                  </a:cubicBezTo>
                  <a:cubicBezTo>
                    <a:pt x="125" y="372"/>
                    <a:pt x="124" y="372"/>
                    <a:pt x="122" y="372"/>
                  </a:cubicBezTo>
                  <a:cubicBezTo>
                    <a:pt x="117" y="372"/>
                    <a:pt x="112" y="371"/>
                    <a:pt x="109" y="370"/>
                  </a:cubicBezTo>
                  <a:cubicBezTo>
                    <a:pt x="105" y="368"/>
                    <a:pt x="101" y="365"/>
                    <a:pt x="98" y="359"/>
                  </a:cubicBezTo>
                  <a:cubicBezTo>
                    <a:pt x="96" y="355"/>
                    <a:pt x="94" y="351"/>
                    <a:pt x="91" y="348"/>
                  </a:cubicBezTo>
                  <a:cubicBezTo>
                    <a:pt x="89" y="346"/>
                    <a:pt x="87" y="345"/>
                    <a:pt x="85" y="345"/>
                  </a:cubicBezTo>
                  <a:cubicBezTo>
                    <a:pt x="83" y="345"/>
                    <a:pt x="82" y="345"/>
                    <a:pt x="82" y="346"/>
                  </a:cubicBezTo>
                  <a:cubicBezTo>
                    <a:pt x="80" y="348"/>
                    <a:pt x="79" y="353"/>
                    <a:pt x="77" y="360"/>
                  </a:cubicBezTo>
                  <a:cubicBezTo>
                    <a:pt x="73" y="375"/>
                    <a:pt x="68" y="375"/>
                    <a:pt x="58" y="374"/>
                  </a:cubicBezTo>
                  <a:cubicBezTo>
                    <a:pt x="56" y="373"/>
                    <a:pt x="53" y="373"/>
                    <a:pt x="49" y="373"/>
                  </a:cubicBezTo>
                  <a:cubicBezTo>
                    <a:pt x="42" y="373"/>
                    <a:pt x="38" y="374"/>
                    <a:pt x="36" y="375"/>
                  </a:cubicBezTo>
                  <a:cubicBezTo>
                    <a:pt x="35" y="375"/>
                    <a:pt x="34" y="376"/>
                    <a:pt x="33" y="379"/>
                  </a:cubicBezTo>
                  <a:cubicBezTo>
                    <a:pt x="32" y="382"/>
                    <a:pt x="30" y="387"/>
                    <a:pt x="30" y="391"/>
                  </a:cubicBezTo>
                  <a:cubicBezTo>
                    <a:pt x="30" y="394"/>
                    <a:pt x="30" y="396"/>
                    <a:pt x="31" y="398"/>
                  </a:cubicBezTo>
                  <a:cubicBezTo>
                    <a:pt x="32" y="399"/>
                    <a:pt x="33" y="401"/>
                    <a:pt x="34" y="402"/>
                  </a:cubicBezTo>
                  <a:cubicBezTo>
                    <a:pt x="38" y="407"/>
                    <a:pt x="42" y="412"/>
                    <a:pt x="41" y="420"/>
                  </a:cubicBezTo>
                  <a:cubicBezTo>
                    <a:pt x="41" y="423"/>
                    <a:pt x="42" y="425"/>
                    <a:pt x="44" y="426"/>
                  </a:cubicBezTo>
                  <a:cubicBezTo>
                    <a:pt x="46" y="429"/>
                    <a:pt x="49" y="431"/>
                    <a:pt x="49" y="436"/>
                  </a:cubicBezTo>
                  <a:cubicBezTo>
                    <a:pt x="49" y="437"/>
                    <a:pt x="49" y="438"/>
                    <a:pt x="49" y="438"/>
                  </a:cubicBezTo>
                  <a:cubicBezTo>
                    <a:pt x="48" y="442"/>
                    <a:pt x="45" y="446"/>
                    <a:pt x="42" y="448"/>
                  </a:cubicBezTo>
                  <a:cubicBezTo>
                    <a:pt x="39" y="450"/>
                    <a:pt x="35" y="451"/>
                    <a:pt x="31" y="451"/>
                  </a:cubicBezTo>
                  <a:cubicBezTo>
                    <a:pt x="30" y="451"/>
                    <a:pt x="30" y="451"/>
                    <a:pt x="29" y="451"/>
                  </a:cubicBezTo>
                  <a:cubicBezTo>
                    <a:pt x="26" y="451"/>
                    <a:pt x="24" y="450"/>
                    <a:pt x="21" y="449"/>
                  </a:cubicBezTo>
                  <a:cubicBezTo>
                    <a:pt x="18" y="447"/>
                    <a:pt x="15" y="446"/>
                    <a:pt x="13" y="447"/>
                  </a:cubicBezTo>
                  <a:cubicBezTo>
                    <a:pt x="11" y="448"/>
                    <a:pt x="8" y="451"/>
                    <a:pt x="6" y="455"/>
                  </a:cubicBezTo>
                  <a:cubicBezTo>
                    <a:pt x="4" y="458"/>
                    <a:pt x="2" y="462"/>
                    <a:pt x="0" y="466"/>
                  </a:cubicBezTo>
                  <a:cubicBezTo>
                    <a:pt x="1" y="467"/>
                    <a:pt x="1" y="467"/>
                    <a:pt x="1" y="467"/>
                  </a:cubicBezTo>
                  <a:cubicBezTo>
                    <a:pt x="12" y="480"/>
                    <a:pt x="15" y="480"/>
                    <a:pt x="24" y="492"/>
                  </a:cubicBezTo>
                  <a:cubicBezTo>
                    <a:pt x="33" y="503"/>
                    <a:pt x="39" y="507"/>
                    <a:pt x="43" y="513"/>
                  </a:cubicBezTo>
                  <a:cubicBezTo>
                    <a:pt x="46" y="518"/>
                    <a:pt x="50" y="520"/>
                    <a:pt x="52" y="52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7" name="Freeform 483"/>
            <p:cNvSpPr>
              <a:spLocks/>
            </p:cNvSpPr>
            <p:nvPr/>
          </p:nvSpPr>
          <p:spPr bwMode="auto">
            <a:xfrm>
              <a:off x="5128134" y="4848913"/>
              <a:ext cx="7144" cy="13097"/>
            </a:xfrm>
            <a:custGeom>
              <a:avLst/>
              <a:gdLst>
                <a:gd name="T0" fmla="*/ 13 w 25"/>
                <a:gd name="T1" fmla="*/ 37 h 44"/>
                <a:gd name="T2" fmla="*/ 23 w 25"/>
                <a:gd name="T3" fmla="*/ 41 h 44"/>
                <a:gd name="T4" fmla="*/ 18 w 25"/>
                <a:gd name="T5" fmla="*/ 23 h 44"/>
                <a:gd name="T6" fmla="*/ 15 w 25"/>
                <a:gd name="T7" fmla="*/ 11 h 44"/>
                <a:gd name="T8" fmla="*/ 5 w 25"/>
                <a:gd name="T9" fmla="*/ 16 h 44"/>
                <a:gd name="T10" fmla="*/ 2 w 25"/>
                <a:gd name="T11" fmla="*/ 27 h 44"/>
                <a:gd name="T12" fmla="*/ 13 w 25"/>
                <a:gd name="T13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44">
                  <a:moveTo>
                    <a:pt x="13" y="37"/>
                  </a:moveTo>
                  <a:cubicBezTo>
                    <a:pt x="17" y="43"/>
                    <a:pt x="20" y="44"/>
                    <a:pt x="23" y="41"/>
                  </a:cubicBezTo>
                  <a:cubicBezTo>
                    <a:pt x="25" y="37"/>
                    <a:pt x="20" y="28"/>
                    <a:pt x="18" y="23"/>
                  </a:cubicBezTo>
                  <a:cubicBezTo>
                    <a:pt x="15" y="18"/>
                    <a:pt x="15" y="17"/>
                    <a:pt x="15" y="11"/>
                  </a:cubicBezTo>
                  <a:cubicBezTo>
                    <a:pt x="13" y="0"/>
                    <a:pt x="5" y="11"/>
                    <a:pt x="5" y="16"/>
                  </a:cubicBezTo>
                  <a:cubicBezTo>
                    <a:pt x="5" y="20"/>
                    <a:pt x="0" y="22"/>
                    <a:pt x="2" y="27"/>
                  </a:cubicBezTo>
                  <a:cubicBezTo>
                    <a:pt x="4" y="32"/>
                    <a:pt x="8" y="31"/>
                    <a:pt x="13" y="3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8" name="Freeform 485"/>
            <p:cNvSpPr>
              <a:spLocks/>
            </p:cNvSpPr>
            <p:nvPr/>
          </p:nvSpPr>
          <p:spPr bwMode="auto">
            <a:xfrm>
              <a:off x="4910250" y="5117994"/>
              <a:ext cx="21431" cy="25003"/>
            </a:xfrm>
            <a:custGeom>
              <a:avLst/>
              <a:gdLst>
                <a:gd name="T0" fmla="*/ 49 w 75"/>
                <a:gd name="T1" fmla="*/ 7 h 89"/>
                <a:gd name="T2" fmla="*/ 46 w 75"/>
                <a:gd name="T3" fmla="*/ 4 h 89"/>
                <a:gd name="T4" fmla="*/ 39 w 75"/>
                <a:gd name="T5" fmla="*/ 1 h 89"/>
                <a:gd name="T6" fmla="*/ 21 w 75"/>
                <a:gd name="T7" fmla="*/ 12 h 89"/>
                <a:gd name="T8" fmla="*/ 8 w 75"/>
                <a:gd name="T9" fmla="*/ 27 h 89"/>
                <a:gd name="T10" fmla="*/ 6 w 75"/>
                <a:gd name="T11" fmla="*/ 31 h 89"/>
                <a:gd name="T12" fmla="*/ 2 w 75"/>
                <a:gd name="T13" fmla="*/ 53 h 89"/>
                <a:gd name="T14" fmla="*/ 8 w 75"/>
                <a:gd name="T15" fmla="*/ 64 h 89"/>
                <a:gd name="T16" fmla="*/ 16 w 75"/>
                <a:gd name="T17" fmla="*/ 76 h 89"/>
                <a:gd name="T18" fmla="*/ 24 w 75"/>
                <a:gd name="T19" fmla="*/ 87 h 89"/>
                <a:gd name="T20" fmla="*/ 24 w 75"/>
                <a:gd name="T21" fmla="*/ 87 h 89"/>
                <a:gd name="T22" fmla="*/ 32 w 75"/>
                <a:gd name="T23" fmla="*/ 89 h 89"/>
                <a:gd name="T24" fmla="*/ 41 w 75"/>
                <a:gd name="T25" fmla="*/ 89 h 89"/>
                <a:gd name="T26" fmla="*/ 58 w 75"/>
                <a:gd name="T27" fmla="*/ 89 h 89"/>
                <a:gd name="T28" fmla="*/ 64 w 75"/>
                <a:gd name="T29" fmla="*/ 80 h 89"/>
                <a:gd name="T30" fmla="*/ 67 w 75"/>
                <a:gd name="T31" fmla="*/ 73 h 89"/>
                <a:gd name="T32" fmla="*/ 75 w 75"/>
                <a:gd name="T33" fmla="*/ 65 h 89"/>
                <a:gd name="T34" fmla="*/ 73 w 75"/>
                <a:gd name="T35" fmla="*/ 42 h 89"/>
                <a:gd name="T36" fmla="*/ 72 w 75"/>
                <a:gd name="T37" fmla="*/ 22 h 89"/>
                <a:gd name="T38" fmla="*/ 70 w 75"/>
                <a:gd name="T39" fmla="*/ 12 h 89"/>
                <a:gd name="T40" fmla="*/ 59 w 75"/>
                <a:gd name="T41" fmla="*/ 11 h 89"/>
                <a:gd name="T42" fmla="*/ 49 w 75"/>
                <a:gd name="T43" fmla="*/ 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9">
                  <a:moveTo>
                    <a:pt x="49" y="7"/>
                  </a:moveTo>
                  <a:cubicBezTo>
                    <a:pt x="48" y="6"/>
                    <a:pt x="47" y="5"/>
                    <a:pt x="46" y="4"/>
                  </a:cubicBezTo>
                  <a:cubicBezTo>
                    <a:pt x="44" y="2"/>
                    <a:pt x="43" y="0"/>
                    <a:pt x="39" y="1"/>
                  </a:cubicBezTo>
                  <a:cubicBezTo>
                    <a:pt x="35" y="2"/>
                    <a:pt x="28" y="7"/>
                    <a:pt x="21" y="12"/>
                  </a:cubicBezTo>
                  <a:cubicBezTo>
                    <a:pt x="16" y="17"/>
                    <a:pt x="10" y="23"/>
                    <a:pt x="8" y="27"/>
                  </a:cubicBezTo>
                  <a:cubicBezTo>
                    <a:pt x="7" y="29"/>
                    <a:pt x="7" y="30"/>
                    <a:pt x="6" y="31"/>
                  </a:cubicBezTo>
                  <a:cubicBezTo>
                    <a:pt x="2" y="38"/>
                    <a:pt x="0" y="43"/>
                    <a:pt x="2" y="53"/>
                  </a:cubicBezTo>
                  <a:cubicBezTo>
                    <a:pt x="4" y="59"/>
                    <a:pt x="5" y="61"/>
                    <a:pt x="8" y="64"/>
                  </a:cubicBezTo>
                  <a:cubicBezTo>
                    <a:pt x="10" y="66"/>
                    <a:pt x="12" y="69"/>
                    <a:pt x="16" y="76"/>
                  </a:cubicBezTo>
                  <a:cubicBezTo>
                    <a:pt x="19" y="83"/>
                    <a:pt x="22" y="86"/>
                    <a:pt x="24" y="87"/>
                  </a:cubicBezTo>
                  <a:cubicBezTo>
                    <a:pt x="24" y="87"/>
                    <a:pt x="24" y="87"/>
                    <a:pt x="24" y="87"/>
                  </a:cubicBezTo>
                  <a:cubicBezTo>
                    <a:pt x="26" y="88"/>
                    <a:pt x="28" y="89"/>
                    <a:pt x="32" y="89"/>
                  </a:cubicBezTo>
                  <a:cubicBezTo>
                    <a:pt x="34" y="89"/>
                    <a:pt x="38" y="89"/>
                    <a:pt x="41" y="89"/>
                  </a:cubicBezTo>
                  <a:cubicBezTo>
                    <a:pt x="48" y="89"/>
                    <a:pt x="54" y="89"/>
                    <a:pt x="58" y="89"/>
                  </a:cubicBezTo>
                  <a:cubicBezTo>
                    <a:pt x="61" y="88"/>
                    <a:pt x="62" y="84"/>
                    <a:pt x="64" y="80"/>
                  </a:cubicBezTo>
                  <a:cubicBezTo>
                    <a:pt x="65" y="78"/>
                    <a:pt x="66" y="75"/>
                    <a:pt x="67" y="73"/>
                  </a:cubicBezTo>
                  <a:cubicBezTo>
                    <a:pt x="70" y="69"/>
                    <a:pt x="73" y="66"/>
                    <a:pt x="75" y="65"/>
                  </a:cubicBezTo>
                  <a:cubicBezTo>
                    <a:pt x="73" y="59"/>
                    <a:pt x="73" y="51"/>
                    <a:pt x="73" y="42"/>
                  </a:cubicBezTo>
                  <a:cubicBezTo>
                    <a:pt x="73" y="36"/>
                    <a:pt x="73" y="29"/>
                    <a:pt x="72" y="22"/>
                  </a:cubicBezTo>
                  <a:cubicBezTo>
                    <a:pt x="72" y="19"/>
                    <a:pt x="71" y="15"/>
                    <a:pt x="70" y="12"/>
                  </a:cubicBezTo>
                  <a:cubicBezTo>
                    <a:pt x="67" y="12"/>
                    <a:pt x="63" y="12"/>
                    <a:pt x="59" y="11"/>
                  </a:cubicBezTo>
                  <a:cubicBezTo>
                    <a:pt x="55" y="10"/>
                    <a:pt x="52" y="9"/>
                    <a:pt x="49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9" name="Freeform 486"/>
            <p:cNvSpPr>
              <a:spLocks/>
            </p:cNvSpPr>
            <p:nvPr/>
          </p:nvSpPr>
          <p:spPr bwMode="auto">
            <a:xfrm>
              <a:off x="4361372" y="4452435"/>
              <a:ext cx="32147" cy="88106"/>
            </a:xfrm>
            <a:custGeom>
              <a:avLst/>
              <a:gdLst>
                <a:gd name="T0" fmla="*/ 107 w 109"/>
                <a:gd name="T1" fmla="*/ 290 h 308"/>
                <a:gd name="T2" fmla="*/ 103 w 109"/>
                <a:gd name="T3" fmla="*/ 285 h 308"/>
                <a:gd name="T4" fmla="*/ 96 w 109"/>
                <a:gd name="T5" fmla="*/ 269 h 308"/>
                <a:gd name="T6" fmla="*/ 97 w 109"/>
                <a:gd name="T7" fmla="*/ 250 h 308"/>
                <a:gd name="T8" fmla="*/ 100 w 109"/>
                <a:gd name="T9" fmla="*/ 230 h 308"/>
                <a:gd name="T10" fmla="*/ 101 w 109"/>
                <a:gd name="T11" fmla="*/ 185 h 308"/>
                <a:gd name="T12" fmla="*/ 100 w 109"/>
                <a:gd name="T13" fmla="*/ 170 h 308"/>
                <a:gd name="T14" fmla="*/ 98 w 109"/>
                <a:gd name="T15" fmla="*/ 142 h 308"/>
                <a:gd name="T16" fmla="*/ 94 w 109"/>
                <a:gd name="T17" fmla="*/ 123 h 308"/>
                <a:gd name="T18" fmla="*/ 94 w 109"/>
                <a:gd name="T19" fmla="*/ 123 h 308"/>
                <a:gd name="T20" fmla="*/ 91 w 109"/>
                <a:gd name="T21" fmla="*/ 117 h 308"/>
                <a:gd name="T22" fmla="*/ 84 w 109"/>
                <a:gd name="T23" fmla="*/ 100 h 308"/>
                <a:gd name="T24" fmla="*/ 82 w 109"/>
                <a:gd name="T25" fmla="*/ 77 h 308"/>
                <a:gd name="T26" fmla="*/ 81 w 109"/>
                <a:gd name="T27" fmla="*/ 68 h 308"/>
                <a:gd name="T28" fmla="*/ 70 w 109"/>
                <a:gd name="T29" fmla="*/ 59 h 308"/>
                <a:gd name="T30" fmla="*/ 54 w 109"/>
                <a:gd name="T31" fmla="*/ 44 h 308"/>
                <a:gd name="T32" fmla="*/ 48 w 109"/>
                <a:gd name="T33" fmla="*/ 31 h 308"/>
                <a:gd name="T34" fmla="*/ 49 w 109"/>
                <a:gd name="T35" fmla="*/ 16 h 308"/>
                <a:gd name="T36" fmla="*/ 53 w 109"/>
                <a:gd name="T37" fmla="*/ 10 h 308"/>
                <a:gd name="T38" fmla="*/ 25 w 109"/>
                <a:gd name="T39" fmla="*/ 3 h 308"/>
                <a:gd name="T40" fmla="*/ 2 w 109"/>
                <a:gd name="T41" fmla="*/ 1 h 308"/>
                <a:gd name="T42" fmla="*/ 0 w 109"/>
                <a:gd name="T43" fmla="*/ 1 h 308"/>
                <a:gd name="T44" fmla="*/ 0 w 109"/>
                <a:gd name="T45" fmla="*/ 13 h 308"/>
                <a:gd name="T46" fmla="*/ 3 w 109"/>
                <a:gd name="T47" fmla="*/ 23 h 308"/>
                <a:gd name="T48" fmla="*/ 10 w 109"/>
                <a:gd name="T49" fmla="*/ 32 h 308"/>
                <a:gd name="T50" fmla="*/ 28 w 109"/>
                <a:gd name="T51" fmla="*/ 58 h 308"/>
                <a:gd name="T52" fmla="*/ 27 w 109"/>
                <a:gd name="T53" fmla="*/ 76 h 308"/>
                <a:gd name="T54" fmla="*/ 23 w 109"/>
                <a:gd name="T55" fmla="*/ 85 h 308"/>
                <a:gd name="T56" fmla="*/ 26 w 109"/>
                <a:gd name="T57" fmla="*/ 104 h 308"/>
                <a:gd name="T58" fmla="*/ 28 w 109"/>
                <a:gd name="T59" fmla="*/ 109 h 308"/>
                <a:gd name="T60" fmla="*/ 30 w 109"/>
                <a:gd name="T61" fmla="*/ 126 h 308"/>
                <a:gd name="T62" fmla="*/ 28 w 109"/>
                <a:gd name="T63" fmla="*/ 137 h 308"/>
                <a:gd name="T64" fmla="*/ 36 w 109"/>
                <a:gd name="T65" fmla="*/ 159 h 308"/>
                <a:gd name="T66" fmla="*/ 44 w 109"/>
                <a:gd name="T67" fmla="*/ 178 h 308"/>
                <a:gd name="T68" fmla="*/ 43 w 109"/>
                <a:gd name="T69" fmla="*/ 200 h 308"/>
                <a:gd name="T70" fmla="*/ 40 w 109"/>
                <a:gd name="T71" fmla="*/ 209 h 308"/>
                <a:gd name="T72" fmla="*/ 40 w 109"/>
                <a:gd name="T73" fmla="*/ 222 h 308"/>
                <a:gd name="T74" fmla="*/ 42 w 109"/>
                <a:gd name="T75" fmla="*/ 228 h 308"/>
                <a:gd name="T76" fmla="*/ 42 w 109"/>
                <a:gd name="T77" fmla="*/ 240 h 308"/>
                <a:gd name="T78" fmla="*/ 40 w 109"/>
                <a:gd name="T79" fmla="*/ 257 h 308"/>
                <a:gd name="T80" fmla="*/ 53 w 109"/>
                <a:gd name="T81" fmla="*/ 282 h 308"/>
                <a:gd name="T82" fmla="*/ 57 w 109"/>
                <a:gd name="T83" fmla="*/ 287 h 308"/>
                <a:gd name="T84" fmla="*/ 78 w 109"/>
                <a:gd name="T85" fmla="*/ 308 h 308"/>
                <a:gd name="T86" fmla="*/ 93 w 109"/>
                <a:gd name="T87" fmla="*/ 301 h 308"/>
                <a:gd name="T88" fmla="*/ 107 w 109"/>
                <a:gd name="T89" fmla="*/ 299 h 308"/>
                <a:gd name="T90" fmla="*/ 107 w 109"/>
                <a:gd name="T91" fmla="*/ 298 h 308"/>
                <a:gd name="T92" fmla="*/ 107 w 109"/>
                <a:gd name="T93" fmla="*/ 290 h 308"/>
                <a:gd name="T94" fmla="*/ 107 w 109"/>
                <a:gd name="T95" fmla="*/ 29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9" h="308">
                  <a:moveTo>
                    <a:pt x="107" y="290"/>
                  </a:moveTo>
                  <a:cubicBezTo>
                    <a:pt x="106" y="288"/>
                    <a:pt x="105" y="286"/>
                    <a:pt x="103" y="285"/>
                  </a:cubicBezTo>
                  <a:cubicBezTo>
                    <a:pt x="100" y="281"/>
                    <a:pt x="97" y="278"/>
                    <a:pt x="96" y="269"/>
                  </a:cubicBezTo>
                  <a:cubicBezTo>
                    <a:pt x="96" y="263"/>
                    <a:pt x="96" y="257"/>
                    <a:pt x="97" y="250"/>
                  </a:cubicBezTo>
                  <a:cubicBezTo>
                    <a:pt x="97" y="244"/>
                    <a:pt x="98" y="237"/>
                    <a:pt x="100" y="230"/>
                  </a:cubicBezTo>
                  <a:cubicBezTo>
                    <a:pt x="102" y="219"/>
                    <a:pt x="101" y="202"/>
                    <a:pt x="101" y="185"/>
                  </a:cubicBezTo>
                  <a:cubicBezTo>
                    <a:pt x="100" y="180"/>
                    <a:pt x="100" y="175"/>
                    <a:pt x="100" y="170"/>
                  </a:cubicBezTo>
                  <a:cubicBezTo>
                    <a:pt x="100" y="160"/>
                    <a:pt x="99" y="151"/>
                    <a:pt x="98" y="142"/>
                  </a:cubicBezTo>
                  <a:cubicBezTo>
                    <a:pt x="97" y="134"/>
                    <a:pt x="96" y="127"/>
                    <a:pt x="94" y="123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93" y="120"/>
                    <a:pt x="92" y="118"/>
                    <a:pt x="91" y="117"/>
                  </a:cubicBezTo>
                  <a:cubicBezTo>
                    <a:pt x="88" y="114"/>
                    <a:pt x="86" y="111"/>
                    <a:pt x="84" y="100"/>
                  </a:cubicBezTo>
                  <a:cubicBezTo>
                    <a:pt x="83" y="91"/>
                    <a:pt x="82" y="83"/>
                    <a:pt x="82" y="77"/>
                  </a:cubicBezTo>
                  <a:cubicBezTo>
                    <a:pt x="82" y="73"/>
                    <a:pt x="82" y="69"/>
                    <a:pt x="81" y="68"/>
                  </a:cubicBezTo>
                  <a:cubicBezTo>
                    <a:pt x="81" y="67"/>
                    <a:pt x="76" y="63"/>
                    <a:pt x="70" y="59"/>
                  </a:cubicBezTo>
                  <a:cubicBezTo>
                    <a:pt x="64" y="53"/>
                    <a:pt x="56" y="48"/>
                    <a:pt x="54" y="44"/>
                  </a:cubicBezTo>
                  <a:cubicBezTo>
                    <a:pt x="51" y="40"/>
                    <a:pt x="49" y="35"/>
                    <a:pt x="48" y="31"/>
                  </a:cubicBezTo>
                  <a:cubicBezTo>
                    <a:pt x="47" y="26"/>
                    <a:pt x="48" y="21"/>
                    <a:pt x="49" y="16"/>
                  </a:cubicBezTo>
                  <a:cubicBezTo>
                    <a:pt x="50" y="15"/>
                    <a:pt x="51" y="12"/>
                    <a:pt x="53" y="10"/>
                  </a:cubicBezTo>
                  <a:cubicBezTo>
                    <a:pt x="45" y="9"/>
                    <a:pt x="34" y="7"/>
                    <a:pt x="25" y="3"/>
                  </a:cubicBezTo>
                  <a:cubicBezTo>
                    <a:pt x="16" y="0"/>
                    <a:pt x="11" y="1"/>
                    <a:pt x="2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0" y="8"/>
                    <a:pt x="0" y="13"/>
                  </a:cubicBezTo>
                  <a:cubicBezTo>
                    <a:pt x="1" y="17"/>
                    <a:pt x="2" y="21"/>
                    <a:pt x="3" y="23"/>
                  </a:cubicBezTo>
                  <a:cubicBezTo>
                    <a:pt x="5" y="26"/>
                    <a:pt x="7" y="29"/>
                    <a:pt x="10" y="32"/>
                  </a:cubicBezTo>
                  <a:cubicBezTo>
                    <a:pt x="17" y="40"/>
                    <a:pt x="24" y="49"/>
                    <a:pt x="28" y="58"/>
                  </a:cubicBezTo>
                  <a:cubicBezTo>
                    <a:pt x="31" y="69"/>
                    <a:pt x="29" y="71"/>
                    <a:pt x="27" y="76"/>
                  </a:cubicBezTo>
                  <a:cubicBezTo>
                    <a:pt x="26" y="78"/>
                    <a:pt x="24" y="81"/>
                    <a:pt x="23" y="85"/>
                  </a:cubicBezTo>
                  <a:cubicBezTo>
                    <a:pt x="20" y="94"/>
                    <a:pt x="22" y="97"/>
                    <a:pt x="26" y="104"/>
                  </a:cubicBezTo>
                  <a:cubicBezTo>
                    <a:pt x="26" y="105"/>
                    <a:pt x="27" y="106"/>
                    <a:pt x="28" y="109"/>
                  </a:cubicBezTo>
                  <a:cubicBezTo>
                    <a:pt x="32" y="117"/>
                    <a:pt x="31" y="121"/>
                    <a:pt x="30" y="126"/>
                  </a:cubicBezTo>
                  <a:cubicBezTo>
                    <a:pt x="29" y="129"/>
                    <a:pt x="28" y="132"/>
                    <a:pt x="28" y="137"/>
                  </a:cubicBezTo>
                  <a:cubicBezTo>
                    <a:pt x="29" y="145"/>
                    <a:pt x="32" y="151"/>
                    <a:pt x="36" y="159"/>
                  </a:cubicBezTo>
                  <a:cubicBezTo>
                    <a:pt x="39" y="165"/>
                    <a:pt x="42" y="171"/>
                    <a:pt x="44" y="178"/>
                  </a:cubicBezTo>
                  <a:cubicBezTo>
                    <a:pt x="47" y="190"/>
                    <a:pt x="46" y="193"/>
                    <a:pt x="43" y="200"/>
                  </a:cubicBezTo>
                  <a:cubicBezTo>
                    <a:pt x="42" y="202"/>
                    <a:pt x="41" y="205"/>
                    <a:pt x="40" y="209"/>
                  </a:cubicBezTo>
                  <a:cubicBezTo>
                    <a:pt x="37" y="217"/>
                    <a:pt x="38" y="219"/>
                    <a:pt x="40" y="222"/>
                  </a:cubicBezTo>
                  <a:cubicBezTo>
                    <a:pt x="40" y="224"/>
                    <a:pt x="41" y="226"/>
                    <a:pt x="42" y="228"/>
                  </a:cubicBezTo>
                  <a:cubicBezTo>
                    <a:pt x="44" y="233"/>
                    <a:pt x="43" y="236"/>
                    <a:pt x="42" y="240"/>
                  </a:cubicBezTo>
                  <a:cubicBezTo>
                    <a:pt x="41" y="244"/>
                    <a:pt x="40" y="248"/>
                    <a:pt x="40" y="257"/>
                  </a:cubicBezTo>
                  <a:cubicBezTo>
                    <a:pt x="41" y="270"/>
                    <a:pt x="47" y="276"/>
                    <a:pt x="53" y="282"/>
                  </a:cubicBezTo>
                  <a:cubicBezTo>
                    <a:pt x="54" y="284"/>
                    <a:pt x="56" y="285"/>
                    <a:pt x="57" y="287"/>
                  </a:cubicBezTo>
                  <a:cubicBezTo>
                    <a:pt x="62" y="292"/>
                    <a:pt x="71" y="301"/>
                    <a:pt x="78" y="308"/>
                  </a:cubicBezTo>
                  <a:cubicBezTo>
                    <a:pt x="84" y="304"/>
                    <a:pt x="89" y="302"/>
                    <a:pt x="93" y="301"/>
                  </a:cubicBezTo>
                  <a:cubicBezTo>
                    <a:pt x="97" y="301"/>
                    <a:pt x="98" y="300"/>
                    <a:pt x="107" y="299"/>
                  </a:cubicBezTo>
                  <a:cubicBezTo>
                    <a:pt x="107" y="299"/>
                    <a:pt x="107" y="299"/>
                    <a:pt x="107" y="298"/>
                  </a:cubicBezTo>
                  <a:cubicBezTo>
                    <a:pt x="108" y="296"/>
                    <a:pt x="109" y="294"/>
                    <a:pt x="107" y="290"/>
                  </a:cubicBezTo>
                  <a:cubicBezTo>
                    <a:pt x="107" y="290"/>
                    <a:pt x="107" y="290"/>
                    <a:pt x="107" y="29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0" name="Freeform 487"/>
            <p:cNvSpPr>
              <a:spLocks/>
            </p:cNvSpPr>
            <p:nvPr/>
          </p:nvSpPr>
          <p:spPr bwMode="auto">
            <a:xfrm>
              <a:off x="4305413" y="4452435"/>
              <a:ext cx="77391" cy="111919"/>
            </a:xfrm>
            <a:custGeom>
              <a:avLst/>
              <a:gdLst>
                <a:gd name="T0" fmla="*/ 242 w 266"/>
                <a:gd name="T1" fmla="*/ 287 h 390"/>
                <a:gd name="T2" fmla="*/ 229 w 266"/>
                <a:gd name="T3" fmla="*/ 237 h 390"/>
                <a:gd name="T4" fmla="*/ 227 w 266"/>
                <a:gd name="T5" fmla="*/ 225 h 390"/>
                <a:gd name="T6" fmla="*/ 231 w 266"/>
                <a:gd name="T7" fmla="*/ 196 h 390"/>
                <a:gd name="T8" fmla="*/ 224 w 266"/>
                <a:gd name="T9" fmla="*/ 161 h 390"/>
                <a:gd name="T10" fmla="*/ 217 w 266"/>
                <a:gd name="T11" fmla="*/ 123 h 390"/>
                <a:gd name="T12" fmla="*/ 214 w 266"/>
                <a:gd name="T13" fmla="*/ 107 h 390"/>
                <a:gd name="T14" fmla="*/ 215 w 266"/>
                <a:gd name="T15" fmla="*/ 71 h 390"/>
                <a:gd name="T16" fmla="*/ 199 w 266"/>
                <a:gd name="T17" fmla="*/ 37 h 390"/>
                <a:gd name="T18" fmla="*/ 187 w 266"/>
                <a:gd name="T19" fmla="*/ 13 h 390"/>
                <a:gd name="T20" fmla="*/ 184 w 266"/>
                <a:gd name="T21" fmla="*/ 0 h 390"/>
                <a:gd name="T22" fmla="*/ 165 w 266"/>
                <a:gd name="T23" fmla="*/ 6 h 390"/>
                <a:gd name="T24" fmla="*/ 120 w 266"/>
                <a:gd name="T25" fmla="*/ 9 h 390"/>
                <a:gd name="T26" fmla="*/ 60 w 266"/>
                <a:gd name="T27" fmla="*/ 9 h 390"/>
                <a:gd name="T28" fmla="*/ 29 w 266"/>
                <a:gd name="T29" fmla="*/ 9 h 390"/>
                <a:gd name="T30" fmla="*/ 22 w 266"/>
                <a:gd name="T31" fmla="*/ 27 h 390"/>
                <a:gd name="T32" fmla="*/ 28 w 266"/>
                <a:gd name="T33" fmla="*/ 61 h 390"/>
                <a:gd name="T34" fmla="*/ 26 w 266"/>
                <a:gd name="T35" fmla="*/ 94 h 390"/>
                <a:gd name="T36" fmla="*/ 30 w 266"/>
                <a:gd name="T37" fmla="*/ 130 h 390"/>
                <a:gd name="T38" fmla="*/ 41 w 266"/>
                <a:gd name="T39" fmla="*/ 158 h 390"/>
                <a:gd name="T40" fmla="*/ 41 w 266"/>
                <a:gd name="T41" fmla="*/ 172 h 390"/>
                <a:gd name="T42" fmla="*/ 26 w 266"/>
                <a:gd name="T43" fmla="*/ 205 h 390"/>
                <a:gd name="T44" fmla="*/ 0 w 266"/>
                <a:gd name="T45" fmla="*/ 269 h 390"/>
                <a:gd name="T46" fmla="*/ 6 w 266"/>
                <a:gd name="T47" fmla="*/ 310 h 390"/>
                <a:gd name="T48" fmla="*/ 18 w 266"/>
                <a:gd name="T49" fmla="*/ 334 h 390"/>
                <a:gd name="T50" fmla="*/ 27 w 266"/>
                <a:gd name="T51" fmla="*/ 372 h 390"/>
                <a:gd name="T52" fmla="*/ 50 w 266"/>
                <a:gd name="T53" fmla="*/ 384 h 390"/>
                <a:gd name="T54" fmla="*/ 91 w 266"/>
                <a:gd name="T55" fmla="*/ 379 h 390"/>
                <a:gd name="T56" fmla="*/ 137 w 266"/>
                <a:gd name="T57" fmla="*/ 364 h 390"/>
                <a:gd name="T58" fmla="*/ 183 w 266"/>
                <a:gd name="T59" fmla="*/ 338 h 390"/>
                <a:gd name="T60" fmla="*/ 219 w 266"/>
                <a:gd name="T61" fmla="*/ 326 h 390"/>
                <a:gd name="T62" fmla="*/ 216 w 266"/>
                <a:gd name="T63" fmla="*/ 312 h 390"/>
                <a:gd name="T64" fmla="*/ 229 w 266"/>
                <a:gd name="T65" fmla="*/ 307 h 390"/>
                <a:gd name="T66" fmla="*/ 242 w 266"/>
                <a:gd name="T67" fmla="*/ 325 h 390"/>
                <a:gd name="T68" fmla="*/ 262 w 266"/>
                <a:gd name="T69" fmla="*/ 317 h 390"/>
                <a:gd name="T70" fmla="*/ 246 w 266"/>
                <a:gd name="T71" fmla="*/ 291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66" h="390">
                  <a:moveTo>
                    <a:pt x="246" y="291"/>
                  </a:moveTo>
                  <a:cubicBezTo>
                    <a:pt x="245" y="290"/>
                    <a:pt x="244" y="288"/>
                    <a:pt x="242" y="287"/>
                  </a:cubicBezTo>
                  <a:cubicBezTo>
                    <a:pt x="235" y="279"/>
                    <a:pt x="228" y="272"/>
                    <a:pt x="227" y="256"/>
                  </a:cubicBezTo>
                  <a:cubicBezTo>
                    <a:pt x="227" y="246"/>
                    <a:pt x="228" y="241"/>
                    <a:pt x="229" y="237"/>
                  </a:cubicBezTo>
                  <a:cubicBezTo>
                    <a:pt x="230" y="234"/>
                    <a:pt x="230" y="232"/>
                    <a:pt x="229" y="230"/>
                  </a:cubicBezTo>
                  <a:cubicBezTo>
                    <a:pt x="229" y="228"/>
                    <a:pt x="228" y="226"/>
                    <a:pt x="227" y="225"/>
                  </a:cubicBezTo>
                  <a:cubicBezTo>
                    <a:pt x="225" y="220"/>
                    <a:pt x="223" y="217"/>
                    <a:pt x="227" y="205"/>
                  </a:cubicBezTo>
                  <a:cubicBezTo>
                    <a:pt x="228" y="201"/>
                    <a:pt x="230" y="198"/>
                    <a:pt x="231" y="196"/>
                  </a:cubicBezTo>
                  <a:cubicBezTo>
                    <a:pt x="233" y="191"/>
                    <a:pt x="234" y="189"/>
                    <a:pt x="231" y="179"/>
                  </a:cubicBezTo>
                  <a:cubicBezTo>
                    <a:pt x="230" y="173"/>
                    <a:pt x="227" y="167"/>
                    <a:pt x="224" y="161"/>
                  </a:cubicBezTo>
                  <a:cubicBezTo>
                    <a:pt x="220" y="153"/>
                    <a:pt x="216" y="146"/>
                    <a:pt x="215" y="137"/>
                  </a:cubicBezTo>
                  <a:cubicBezTo>
                    <a:pt x="215" y="130"/>
                    <a:pt x="216" y="126"/>
                    <a:pt x="217" y="123"/>
                  </a:cubicBezTo>
                  <a:cubicBezTo>
                    <a:pt x="218" y="119"/>
                    <a:pt x="218" y="117"/>
                    <a:pt x="216" y="111"/>
                  </a:cubicBezTo>
                  <a:cubicBezTo>
                    <a:pt x="215" y="110"/>
                    <a:pt x="214" y="109"/>
                    <a:pt x="214" y="107"/>
                  </a:cubicBezTo>
                  <a:cubicBezTo>
                    <a:pt x="209" y="98"/>
                    <a:pt x="207" y="94"/>
                    <a:pt x="210" y="81"/>
                  </a:cubicBezTo>
                  <a:cubicBezTo>
                    <a:pt x="212" y="77"/>
                    <a:pt x="213" y="74"/>
                    <a:pt x="215" y="71"/>
                  </a:cubicBezTo>
                  <a:cubicBezTo>
                    <a:pt x="216" y="68"/>
                    <a:pt x="217" y="67"/>
                    <a:pt x="215" y="60"/>
                  </a:cubicBezTo>
                  <a:cubicBezTo>
                    <a:pt x="212" y="52"/>
                    <a:pt x="205" y="43"/>
                    <a:pt x="199" y="37"/>
                  </a:cubicBezTo>
                  <a:cubicBezTo>
                    <a:pt x="196" y="33"/>
                    <a:pt x="193" y="29"/>
                    <a:pt x="191" y="27"/>
                  </a:cubicBezTo>
                  <a:cubicBezTo>
                    <a:pt x="189" y="23"/>
                    <a:pt x="188" y="18"/>
                    <a:pt x="187" y="13"/>
                  </a:cubicBezTo>
                  <a:cubicBezTo>
                    <a:pt x="187" y="8"/>
                    <a:pt x="187" y="4"/>
                    <a:pt x="187" y="0"/>
                  </a:cubicBezTo>
                  <a:cubicBezTo>
                    <a:pt x="186" y="0"/>
                    <a:pt x="185" y="0"/>
                    <a:pt x="184" y="0"/>
                  </a:cubicBezTo>
                  <a:cubicBezTo>
                    <a:pt x="174" y="0"/>
                    <a:pt x="173" y="1"/>
                    <a:pt x="172" y="2"/>
                  </a:cubicBezTo>
                  <a:cubicBezTo>
                    <a:pt x="171" y="3"/>
                    <a:pt x="169" y="4"/>
                    <a:pt x="165" y="6"/>
                  </a:cubicBezTo>
                  <a:cubicBezTo>
                    <a:pt x="157" y="10"/>
                    <a:pt x="151" y="10"/>
                    <a:pt x="139" y="10"/>
                  </a:cubicBezTo>
                  <a:cubicBezTo>
                    <a:pt x="134" y="9"/>
                    <a:pt x="128" y="9"/>
                    <a:pt x="120" y="9"/>
                  </a:cubicBezTo>
                  <a:cubicBezTo>
                    <a:pt x="103" y="10"/>
                    <a:pt x="91" y="10"/>
                    <a:pt x="79" y="10"/>
                  </a:cubicBezTo>
                  <a:cubicBezTo>
                    <a:pt x="74" y="10"/>
                    <a:pt x="68" y="9"/>
                    <a:pt x="60" y="9"/>
                  </a:cubicBezTo>
                  <a:cubicBezTo>
                    <a:pt x="51" y="9"/>
                    <a:pt x="45" y="9"/>
                    <a:pt x="41" y="9"/>
                  </a:cubicBezTo>
                  <a:cubicBezTo>
                    <a:pt x="35" y="8"/>
                    <a:pt x="32" y="8"/>
                    <a:pt x="29" y="9"/>
                  </a:cubicBezTo>
                  <a:cubicBezTo>
                    <a:pt x="26" y="10"/>
                    <a:pt x="24" y="12"/>
                    <a:pt x="23" y="15"/>
                  </a:cubicBezTo>
                  <a:cubicBezTo>
                    <a:pt x="22" y="18"/>
                    <a:pt x="21" y="22"/>
                    <a:pt x="22" y="27"/>
                  </a:cubicBezTo>
                  <a:cubicBezTo>
                    <a:pt x="22" y="33"/>
                    <a:pt x="24" y="39"/>
                    <a:pt x="25" y="45"/>
                  </a:cubicBezTo>
                  <a:cubicBezTo>
                    <a:pt x="27" y="50"/>
                    <a:pt x="28" y="55"/>
                    <a:pt x="28" y="61"/>
                  </a:cubicBezTo>
                  <a:cubicBezTo>
                    <a:pt x="29" y="66"/>
                    <a:pt x="29" y="73"/>
                    <a:pt x="28" y="80"/>
                  </a:cubicBezTo>
                  <a:cubicBezTo>
                    <a:pt x="28" y="85"/>
                    <a:pt x="27" y="91"/>
                    <a:pt x="26" y="94"/>
                  </a:cubicBezTo>
                  <a:cubicBezTo>
                    <a:pt x="30" y="100"/>
                    <a:pt x="32" y="105"/>
                    <a:pt x="30" y="116"/>
                  </a:cubicBezTo>
                  <a:cubicBezTo>
                    <a:pt x="29" y="122"/>
                    <a:pt x="29" y="126"/>
                    <a:pt x="30" y="130"/>
                  </a:cubicBezTo>
                  <a:cubicBezTo>
                    <a:pt x="31" y="134"/>
                    <a:pt x="33" y="137"/>
                    <a:pt x="36" y="143"/>
                  </a:cubicBezTo>
                  <a:cubicBezTo>
                    <a:pt x="38" y="148"/>
                    <a:pt x="40" y="153"/>
                    <a:pt x="41" y="158"/>
                  </a:cubicBezTo>
                  <a:cubicBezTo>
                    <a:pt x="41" y="158"/>
                    <a:pt x="41" y="158"/>
                    <a:pt x="41" y="158"/>
                  </a:cubicBezTo>
                  <a:cubicBezTo>
                    <a:pt x="42" y="162"/>
                    <a:pt x="42" y="167"/>
                    <a:pt x="41" y="172"/>
                  </a:cubicBezTo>
                  <a:cubicBezTo>
                    <a:pt x="41" y="178"/>
                    <a:pt x="39" y="184"/>
                    <a:pt x="36" y="189"/>
                  </a:cubicBezTo>
                  <a:cubicBezTo>
                    <a:pt x="33" y="195"/>
                    <a:pt x="29" y="200"/>
                    <a:pt x="26" y="205"/>
                  </a:cubicBezTo>
                  <a:cubicBezTo>
                    <a:pt x="23" y="210"/>
                    <a:pt x="14" y="227"/>
                    <a:pt x="8" y="243"/>
                  </a:cubicBezTo>
                  <a:cubicBezTo>
                    <a:pt x="3" y="253"/>
                    <a:pt x="0" y="263"/>
                    <a:pt x="0" y="269"/>
                  </a:cubicBezTo>
                  <a:cubicBezTo>
                    <a:pt x="0" y="276"/>
                    <a:pt x="0" y="284"/>
                    <a:pt x="1" y="291"/>
                  </a:cubicBezTo>
                  <a:cubicBezTo>
                    <a:pt x="2" y="297"/>
                    <a:pt x="3" y="304"/>
                    <a:pt x="6" y="310"/>
                  </a:cubicBezTo>
                  <a:cubicBezTo>
                    <a:pt x="7" y="313"/>
                    <a:pt x="8" y="316"/>
                    <a:pt x="9" y="318"/>
                  </a:cubicBezTo>
                  <a:cubicBezTo>
                    <a:pt x="11" y="323"/>
                    <a:pt x="12" y="325"/>
                    <a:pt x="18" y="334"/>
                  </a:cubicBezTo>
                  <a:cubicBezTo>
                    <a:pt x="23" y="340"/>
                    <a:pt x="26" y="350"/>
                    <a:pt x="27" y="359"/>
                  </a:cubicBezTo>
                  <a:cubicBezTo>
                    <a:pt x="27" y="363"/>
                    <a:pt x="27" y="368"/>
                    <a:pt x="27" y="372"/>
                  </a:cubicBezTo>
                  <a:cubicBezTo>
                    <a:pt x="29" y="373"/>
                    <a:pt x="32" y="374"/>
                    <a:pt x="35" y="375"/>
                  </a:cubicBezTo>
                  <a:cubicBezTo>
                    <a:pt x="46" y="380"/>
                    <a:pt x="50" y="384"/>
                    <a:pt x="50" y="384"/>
                  </a:cubicBezTo>
                  <a:cubicBezTo>
                    <a:pt x="50" y="384"/>
                    <a:pt x="56" y="390"/>
                    <a:pt x="65" y="389"/>
                  </a:cubicBezTo>
                  <a:cubicBezTo>
                    <a:pt x="74" y="388"/>
                    <a:pt x="80" y="385"/>
                    <a:pt x="91" y="379"/>
                  </a:cubicBezTo>
                  <a:cubicBezTo>
                    <a:pt x="101" y="373"/>
                    <a:pt x="102" y="368"/>
                    <a:pt x="115" y="367"/>
                  </a:cubicBezTo>
                  <a:cubicBezTo>
                    <a:pt x="128" y="365"/>
                    <a:pt x="130" y="366"/>
                    <a:pt x="137" y="364"/>
                  </a:cubicBezTo>
                  <a:cubicBezTo>
                    <a:pt x="144" y="363"/>
                    <a:pt x="158" y="350"/>
                    <a:pt x="166" y="346"/>
                  </a:cubicBezTo>
                  <a:cubicBezTo>
                    <a:pt x="174" y="343"/>
                    <a:pt x="173" y="341"/>
                    <a:pt x="183" y="338"/>
                  </a:cubicBezTo>
                  <a:cubicBezTo>
                    <a:pt x="193" y="335"/>
                    <a:pt x="197" y="332"/>
                    <a:pt x="204" y="331"/>
                  </a:cubicBezTo>
                  <a:cubicBezTo>
                    <a:pt x="211" y="330"/>
                    <a:pt x="215" y="329"/>
                    <a:pt x="219" y="326"/>
                  </a:cubicBezTo>
                  <a:cubicBezTo>
                    <a:pt x="222" y="323"/>
                    <a:pt x="225" y="323"/>
                    <a:pt x="224" y="320"/>
                  </a:cubicBezTo>
                  <a:cubicBezTo>
                    <a:pt x="222" y="316"/>
                    <a:pt x="218" y="315"/>
                    <a:pt x="216" y="312"/>
                  </a:cubicBezTo>
                  <a:cubicBezTo>
                    <a:pt x="214" y="309"/>
                    <a:pt x="212" y="306"/>
                    <a:pt x="217" y="306"/>
                  </a:cubicBezTo>
                  <a:cubicBezTo>
                    <a:pt x="222" y="306"/>
                    <a:pt x="226" y="304"/>
                    <a:pt x="229" y="307"/>
                  </a:cubicBezTo>
                  <a:cubicBezTo>
                    <a:pt x="232" y="311"/>
                    <a:pt x="231" y="311"/>
                    <a:pt x="232" y="316"/>
                  </a:cubicBezTo>
                  <a:cubicBezTo>
                    <a:pt x="233" y="321"/>
                    <a:pt x="237" y="324"/>
                    <a:pt x="242" y="325"/>
                  </a:cubicBezTo>
                  <a:cubicBezTo>
                    <a:pt x="247" y="326"/>
                    <a:pt x="245" y="328"/>
                    <a:pt x="251" y="325"/>
                  </a:cubicBezTo>
                  <a:cubicBezTo>
                    <a:pt x="257" y="322"/>
                    <a:pt x="258" y="320"/>
                    <a:pt x="262" y="317"/>
                  </a:cubicBezTo>
                  <a:cubicBezTo>
                    <a:pt x="264" y="315"/>
                    <a:pt x="264" y="314"/>
                    <a:pt x="266" y="312"/>
                  </a:cubicBezTo>
                  <a:cubicBezTo>
                    <a:pt x="259" y="305"/>
                    <a:pt x="251" y="296"/>
                    <a:pt x="246" y="29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1" name="Freeform 488"/>
            <p:cNvSpPr>
              <a:spLocks/>
            </p:cNvSpPr>
            <p:nvPr/>
          </p:nvSpPr>
          <p:spPr bwMode="auto">
            <a:xfrm>
              <a:off x="4260169" y="4932257"/>
              <a:ext cx="3572" cy="4763"/>
            </a:xfrm>
            <a:custGeom>
              <a:avLst/>
              <a:gdLst>
                <a:gd name="T0" fmla="*/ 4 w 13"/>
                <a:gd name="T1" fmla="*/ 7 h 18"/>
                <a:gd name="T2" fmla="*/ 0 w 13"/>
                <a:gd name="T3" fmla="*/ 11 h 18"/>
                <a:gd name="T4" fmla="*/ 3 w 13"/>
                <a:gd name="T5" fmla="*/ 17 h 18"/>
                <a:gd name="T6" fmla="*/ 8 w 13"/>
                <a:gd name="T7" fmla="*/ 11 h 18"/>
                <a:gd name="T8" fmla="*/ 13 w 13"/>
                <a:gd name="T9" fmla="*/ 5 h 18"/>
                <a:gd name="T10" fmla="*/ 4 w 13"/>
                <a:gd name="T11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8">
                  <a:moveTo>
                    <a:pt x="4" y="7"/>
                  </a:moveTo>
                  <a:cubicBezTo>
                    <a:pt x="1" y="10"/>
                    <a:pt x="0" y="6"/>
                    <a:pt x="0" y="11"/>
                  </a:cubicBezTo>
                  <a:cubicBezTo>
                    <a:pt x="0" y="16"/>
                    <a:pt x="0" y="18"/>
                    <a:pt x="3" y="17"/>
                  </a:cubicBezTo>
                  <a:cubicBezTo>
                    <a:pt x="7" y="15"/>
                    <a:pt x="5" y="12"/>
                    <a:pt x="8" y="11"/>
                  </a:cubicBezTo>
                  <a:cubicBezTo>
                    <a:pt x="12" y="9"/>
                    <a:pt x="13" y="8"/>
                    <a:pt x="13" y="5"/>
                  </a:cubicBezTo>
                  <a:cubicBezTo>
                    <a:pt x="12" y="2"/>
                    <a:pt x="8" y="0"/>
                    <a:pt x="4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2" name="Freeform 489"/>
            <p:cNvSpPr>
              <a:spLocks/>
            </p:cNvSpPr>
            <p:nvPr/>
          </p:nvSpPr>
          <p:spPr bwMode="auto">
            <a:xfrm>
              <a:off x="4519725" y="4608407"/>
              <a:ext cx="97631" cy="108347"/>
            </a:xfrm>
            <a:custGeom>
              <a:avLst/>
              <a:gdLst>
                <a:gd name="T0" fmla="*/ 168 w 341"/>
                <a:gd name="T1" fmla="*/ 357 h 376"/>
                <a:gd name="T2" fmla="*/ 175 w 341"/>
                <a:gd name="T3" fmla="*/ 359 h 376"/>
                <a:gd name="T4" fmla="*/ 185 w 341"/>
                <a:gd name="T5" fmla="*/ 353 h 376"/>
                <a:gd name="T6" fmla="*/ 182 w 341"/>
                <a:gd name="T7" fmla="*/ 348 h 376"/>
                <a:gd name="T8" fmla="*/ 172 w 341"/>
                <a:gd name="T9" fmla="*/ 323 h 376"/>
                <a:gd name="T10" fmla="*/ 166 w 341"/>
                <a:gd name="T11" fmla="*/ 306 h 376"/>
                <a:gd name="T12" fmla="*/ 177 w 341"/>
                <a:gd name="T13" fmla="*/ 283 h 376"/>
                <a:gd name="T14" fmla="*/ 203 w 341"/>
                <a:gd name="T15" fmla="*/ 282 h 376"/>
                <a:gd name="T16" fmla="*/ 219 w 341"/>
                <a:gd name="T17" fmla="*/ 258 h 376"/>
                <a:gd name="T18" fmla="*/ 241 w 341"/>
                <a:gd name="T19" fmla="*/ 259 h 376"/>
                <a:gd name="T20" fmla="*/ 256 w 341"/>
                <a:gd name="T21" fmla="*/ 278 h 376"/>
                <a:gd name="T22" fmla="*/ 271 w 341"/>
                <a:gd name="T23" fmla="*/ 280 h 376"/>
                <a:gd name="T24" fmla="*/ 287 w 341"/>
                <a:gd name="T25" fmla="*/ 279 h 376"/>
                <a:gd name="T26" fmla="*/ 295 w 341"/>
                <a:gd name="T27" fmla="*/ 274 h 376"/>
                <a:gd name="T28" fmla="*/ 310 w 341"/>
                <a:gd name="T29" fmla="*/ 283 h 376"/>
                <a:gd name="T30" fmla="*/ 315 w 341"/>
                <a:gd name="T31" fmla="*/ 285 h 376"/>
                <a:gd name="T32" fmla="*/ 325 w 341"/>
                <a:gd name="T33" fmla="*/ 278 h 376"/>
                <a:gd name="T34" fmla="*/ 340 w 341"/>
                <a:gd name="T35" fmla="*/ 226 h 376"/>
                <a:gd name="T36" fmla="*/ 340 w 341"/>
                <a:gd name="T37" fmla="*/ 196 h 376"/>
                <a:gd name="T38" fmla="*/ 339 w 341"/>
                <a:gd name="T39" fmla="*/ 183 h 376"/>
                <a:gd name="T40" fmla="*/ 329 w 341"/>
                <a:gd name="T41" fmla="*/ 171 h 376"/>
                <a:gd name="T42" fmla="*/ 309 w 341"/>
                <a:gd name="T43" fmla="*/ 132 h 376"/>
                <a:gd name="T44" fmla="*/ 328 w 341"/>
                <a:gd name="T45" fmla="*/ 100 h 376"/>
                <a:gd name="T46" fmla="*/ 331 w 341"/>
                <a:gd name="T47" fmla="*/ 71 h 376"/>
                <a:gd name="T48" fmla="*/ 303 w 341"/>
                <a:gd name="T49" fmla="*/ 59 h 376"/>
                <a:gd name="T50" fmla="*/ 273 w 341"/>
                <a:gd name="T51" fmla="*/ 62 h 376"/>
                <a:gd name="T52" fmla="*/ 268 w 341"/>
                <a:gd name="T53" fmla="*/ 6 h 376"/>
                <a:gd name="T54" fmla="*/ 244 w 341"/>
                <a:gd name="T55" fmla="*/ 1 h 376"/>
                <a:gd name="T56" fmla="*/ 239 w 341"/>
                <a:gd name="T57" fmla="*/ 1 h 376"/>
                <a:gd name="T58" fmla="*/ 182 w 341"/>
                <a:gd name="T59" fmla="*/ 1 h 376"/>
                <a:gd name="T60" fmla="*/ 156 w 341"/>
                <a:gd name="T61" fmla="*/ 5 h 376"/>
                <a:gd name="T62" fmla="*/ 156 w 341"/>
                <a:gd name="T63" fmla="*/ 47 h 376"/>
                <a:gd name="T64" fmla="*/ 148 w 341"/>
                <a:gd name="T65" fmla="*/ 78 h 376"/>
                <a:gd name="T66" fmla="*/ 47 w 341"/>
                <a:gd name="T67" fmla="*/ 81 h 376"/>
                <a:gd name="T68" fmla="*/ 48 w 341"/>
                <a:gd name="T69" fmla="*/ 104 h 376"/>
                <a:gd name="T70" fmla="*/ 38 w 341"/>
                <a:gd name="T71" fmla="*/ 108 h 376"/>
                <a:gd name="T72" fmla="*/ 40 w 341"/>
                <a:gd name="T73" fmla="*/ 119 h 376"/>
                <a:gd name="T74" fmla="*/ 66 w 341"/>
                <a:gd name="T75" fmla="*/ 125 h 376"/>
                <a:gd name="T76" fmla="*/ 55 w 341"/>
                <a:gd name="T77" fmla="*/ 134 h 376"/>
                <a:gd name="T78" fmla="*/ 36 w 341"/>
                <a:gd name="T79" fmla="*/ 130 h 376"/>
                <a:gd name="T80" fmla="*/ 29 w 341"/>
                <a:gd name="T81" fmla="*/ 143 h 376"/>
                <a:gd name="T82" fmla="*/ 16 w 341"/>
                <a:gd name="T83" fmla="*/ 180 h 376"/>
                <a:gd name="T84" fmla="*/ 2 w 341"/>
                <a:gd name="T85" fmla="*/ 187 h 376"/>
                <a:gd name="T86" fmla="*/ 12 w 341"/>
                <a:gd name="T87" fmla="*/ 219 h 376"/>
                <a:gd name="T88" fmla="*/ 33 w 341"/>
                <a:gd name="T89" fmla="*/ 223 h 376"/>
                <a:gd name="T90" fmla="*/ 35 w 341"/>
                <a:gd name="T91" fmla="*/ 235 h 376"/>
                <a:gd name="T92" fmla="*/ 38 w 341"/>
                <a:gd name="T93" fmla="*/ 244 h 376"/>
                <a:gd name="T94" fmla="*/ 29 w 341"/>
                <a:gd name="T95" fmla="*/ 253 h 376"/>
                <a:gd name="T96" fmla="*/ 46 w 341"/>
                <a:gd name="T97" fmla="*/ 271 h 376"/>
                <a:gd name="T98" fmla="*/ 61 w 341"/>
                <a:gd name="T99" fmla="*/ 290 h 376"/>
                <a:gd name="T100" fmla="*/ 77 w 341"/>
                <a:gd name="T101" fmla="*/ 297 h 376"/>
                <a:gd name="T102" fmla="*/ 71 w 341"/>
                <a:gd name="T103" fmla="*/ 308 h 376"/>
                <a:gd name="T104" fmla="*/ 88 w 341"/>
                <a:gd name="T105" fmla="*/ 322 h 376"/>
                <a:gd name="T106" fmla="*/ 129 w 341"/>
                <a:gd name="T107" fmla="*/ 364 h 376"/>
                <a:gd name="T108" fmla="*/ 143 w 341"/>
                <a:gd name="T109" fmla="*/ 367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41" h="376">
                  <a:moveTo>
                    <a:pt x="153" y="356"/>
                  </a:moveTo>
                  <a:cubicBezTo>
                    <a:pt x="159" y="353"/>
                    <a:pt x="163" y="355"/>
                    <a:pt x="168" y="357"/>
                  </a:cubicBezTo>
                  <a:cubicBezTo>
                    <a:pt x="170" y="358"/>
                    <a:pt x="172" y="359"/>
                    <a:pt x="174" y="359"/>
                  </a:cubicBezTo>
                  <a:cubicBezTo>
                    <a:pt x="174" y="359"/>
                    <a:pt x="175" y="359"/>
                    <a:pt x="175" y="359"/>
                  </a:cubicBezTo>
                  <a:cubicBezTo>
                    <a:pt x="177" y="359"/>
                    <a:pt x="180" y="359"/>
                    <a:pt x="182" y="357"/>
                  </a:cubicBezTo>
                  <a:cubicBezTo>
                    <a:pt x="183" y="356"/>
                    <a:pt x="185" y="355"/>
                    <a:pt x="185" y="353"/>
                  </a:cubicBezTo>
                  <a:cubicBezTo>
                    <a:pt x="185" y="353"/>
                    <a:pt x="185" y="353"/>
                    <a:pt x="185" y="352"/>
                  </a:cubicBezTo>
                  <a:cubicBezTo>
                    <a:pt x="185" y="350"/>
                    <a:pt x="184" y="349"/>
                    <a:pt x="182" y="348"/>
                  </a:cubicBezTo>
                  <a:cubicBezTo>
                    <a:pt x="179" y="345"/>
                    <a:pt x="176" y="342"/>
                    <a:pt x="177" y="335"/>
                  </a:cubicBezTo>
                  <a:cubicBezTo>
                    <a:pt x="177" y="331"/>
                    <a:pt x="174" y="327"/>
                    <a:pt x="172" y="323"/>
                  </a:cubicBezTo>
                  <a:cubicBezTo>
                    <a:pt x="170" y="321"/>
                    <a:pt x="169" y="320"/>
                    <a:pt x="168" y="318"/>
                  </a:cubicBezTo>
                  <a:cubicBezTo>
                    <a:pt x="166" y="315"/>
                    <a:pt x="166" y="311"/>
                    <a:pt x="166" y="306"/>
                  </a:cubicBezTo>
                  <a:cubicBezTo>
                    <a:pt x="167" y="301"/>
                    <a:pt x="168" y="296"/>
                    <a:pt x="170" y="292"/>
                  </a:cubicBezTo>
                  <a:cubicBezTo>
                    <a:pt x="171" y="287"/>
                    <a:pt x="173" y="285"/>
                    <a:pt x="177" y="283"/>
                  </a:cubicBezTo>
                  <a:cubicBezTo>
                    <a:pt x="180" y="282"/>
                    <a:pt x="185" y="282"/>
                    <a:pt x="193" y="281"/>
                  </a:cubicBezTo>
                  <a:cubicBezTo>
                    <a:pt x="197" y="281"/>
                    <a:pt x="200" y="281"/>
                    <a:pt x="203" y="282"/>
                  </a:cubicBezTo>
                  <a:cubicBezTo>
                    <a:pt x="209" y="282"/>
                    <a:pt x="211" y="283"/>
                    <a:pt x="213" y="274"/>
                  </a:cubicBezTo>
                  <a:cubicBezTo>
                    <a:pt x="216" y="266"/>
                    <a:pt x="217" y="261"/>
                    <a:pt x="219" y="258"/>
                  </a:cubicBezTo>
                  <a:cubicBezTo>
                    <a:pt x="221" y="254"/>
                    <a:pt x="224" y="252"/>
                    <a:pt x="230" y="253"/>
                  </a:cubicBezTo>
                  <a:cubicBezTo>
                    <a:pt x="234" y="253"/>
                    <a:pt x="238" y="255"/>
                    <a:pt x="241" y="259"/>
                  </a:cubicBezTo>
                  <a:cubicBezTo>
                    <a:pt x="244" y="262"/>
                    <a:pt x="247" y="266"/>
                    <a:pt x="249" y="271"/>
                  </a:cubicBezTo>
                  <a:cubicBezTo>
                    <a:pt x="251" y="275"/>
                    <a:pt x="253" y="277"/>
                    <a:pt x="256" y="278"/>
                  </a:cubicBezTo>
                  <a:cubicBezTo>
                    <a:pt x="258" y="280"/>
                    <a:pt x="262" y="280"/>
                    <a:pt x="266" y="280"/>
                  </a:cubicBezTo>
                  <a:cubicBezTo>
                    <a:pt x="266" y="280"/>
                    <a:pt x="269" y="280"/>
                    <a:pt x="271" y="280"/>
                  </a:cubicBezTo>
                  <a:cubicBezTo>
                    <a:pt x="278" y="280"/>
                    <a:pt x="286" y="280"/>
                    <a:pt x="287" y="279"/>
                  </a:cubicBezTo>
                  <a:cubicBezTo>
                    <a:pt x="287" y="279"/>
                    <a:pt x="287" y="279"/>
                    <a:pt x="287" y="279"/>
                  </a:cubicBezTo>
                  <a:cubicBezTo>
                    <a:pt x="287" y="278"/>
                    <a:pt x="288" y="277"/>
                    <a:pt x="289" y="276"/>
                  </a:cubicBezTo>
                  <a:cubicBezTo>
                    <a:pt x="291" y="275"/>
                    <a:pt x="293" y="274"/>
                    <a:pt x="295" y="274"/>
                  </a:cubicBezTo>
                  <a:cubicBezTo>
                    <a:pt x="297" y="274"/>
                    <a:pt x="300" y="275"/>
                    <a:pt x="302" y="276"/>
                  </a:cubicBezTo>
                  <a:cubicBezTo>
                    <a:pt x="305" y="277"/>
                    <a:pt x="307" y="280"/>
                    <a:pt x="310" y="283"/>
                  </a:cubicBezTo>
                  <a:cubicBezTo>
                    <a:pt x="310" y="283"/>
                    <a:pt x="311" y="284"/>
                    <a:pt x="311" y="284"/>
                  </a:cubicBezTo>
                  <a:cubicBezTo>
                    <a:pt x="312" y="285"/>
                    <a:pt x="314" y="285"/>
                    <a:pt x="315" y="285"/>
                  </a:cubicBezTo>
                  <a:cubicBezTo>
                    <a:pt x="317" y="285"/>
                    <a:pt x="319" y="284"/>
                    <a:pt x="320" y="282"/>
                  </a:cubicBezTo>
                  <a:cubicBezTo>
                    <a:pt x="322" y="281"/>
                    <a:pt x="323" y="280"/>
                    <a:pt x="325" y="278"/>
                  </a:cubicBezTo>
                  <a:cubicBezTo>
                    <a:pt x="327" y="275"/>
                    <a:pt x="330" y="266"/>
                    <a:pt x="333" y="256"/>
                  </a:cubicBezTo>
                  <a:cubicBezTo>
                    <a:pt x="337" y="246"/>
                    <a:pt x="339" y="234"/>
                    <a:pt x="340" y="226"/>
                  </a:cubicBezTo>
                  <a:cubicBezTo>
                    <a:pt x="341" y="220"/>
                    <a:pt x="340" y="215"/>
                    <a:pt x="340" y="212"/>
                  </a:cubicBezTo>
                  <a:cubicBezTo>
                    <a:pt x="340" y="207"/>
                    <a:pt x="339" y="203"/>
                    <a:pt x="340" y="196"/>
                  </a:cubicBezTo>
                  <a:cubicBezTo>
                    <a:pt x="341" y="190"/>
                    <a:pt x="341" y="186"/>
                    <a:pt x="339" y="183"/>
                  </a:cubicBezTo>
                  <a:cubicBezTo>
                    <a:pt x="339" y="183"/>
                    <a:pt x="339" y="183"/>
                    <a:pt x="339" y="183"/>
                  </a:cubicBezTo>
                  <a:cubicBezTo>
                    <a:pt x="338" y="180"/>
                    <a:pt x="336" y="177"/>
                    <a:pt x="335" y="175"/>
                  </a:cubicBezTo>
                  <a:cubicBezTo>
                    <a:pt x="334" y="174"/>
                    <a:pt x="332" y="173"/>
                    <a:pt x="329" y="171"/>
                  </a:cubicBezTo>
                  <a:cubicBezTo>
                    <a:pt x="323" y="166"/>
                    <a:pt x="314" y="159"/>
                    <a:pt x="310" y="151"/>
                  </a:cubicBezTo>
                  <a:cubicBezTo>
                    <a:pt x="307" y="145"/>
                    <a:pt x="307" y="139"/>
                    <a:pt x="309" y="132"/>
                  </a:cubicBezTo>
                  <a:cubicBezTo>
                    <a:pt x="311" y="126"/>
                    <a:pt x="315" y="120"/>
                    <a:pt x="320" y="113"/>
                  </a:cubicBezTo>
                  <a:cubicBezTo>
                    <a:pt x="323" y="108"/>
                    <a:pt x="326" y="104"/>
                    <a:pt x="328" y="100"/>
                  </a:cubicBezTo>
                  <a:cubicBezTo>
                    <a:pt x="333" y="94"/>
                    <a:pt x="336" y="89"/>
                    <a:pt x="336" y="85"/>
                  </a:cubicBezTo>
                  <a:cubicBezTo>
                    <a:pt x="336" y="82"/>
                    <a:pt x="334" y="77"/>
                    <a:pt x="331" y="71"/>
                  </a:cubicBezTo>
                  <a:cubicBezTo>
                    <a:pt x="327" y="66"/>
                    <a:pt x="323" y="60"/>
                    <a:pt x="319" y="58"/>
                  </a:cubicBezTo>
                  <a:cubicBezTo>
                    <a:pt x="315" y="55"/>
                    <a:pt x="309" y="57"/>
                    <a:pt x="303" y="59"/>
                  </a:cubicBezTo>
                  <a:cubicBezTo>
                    <a:pt x="299" y="60"/>
                    <a:pt x="295" y="61"/>
                    <a:pt x="291" y="62"/>
                  </a:cubicBezTo>
                  <a:cubicBezTo>
                    <a:pt x="284" y="63"/>
                    <a:pt x="278" y="64"/>
                    <a:pt x="273" y="62"/>
                  </a:cubicBezTo>
                  <a:cubicBezTo>
                    <a:pt x="267" y="61"/>
                    <a:pt x="264" y="57"/>
                    <a:pt x="263" y="50"/>
                  </a:cubicBezTo>
                  <a:cubicBezTo>
                    <a:pt x="262" y="41"/>
                    <a:pt x="266" y="16"/>
                    <a:pt x="268" y="6"/>
                  </a:cubicBezTo>
                  <a:cubicBezTo>
                    <a:pt x="267" y="6"/>
                    <a:pt x="266" y="5"/>
                    <a:pt x="266" y="5"/>
                  </a:cubicBezTo>
                  <a:cubicBezTo>
                    <a:pt x="257" y="1"/>
                    <a:pt x="256" y="1"/>
                    <a:pt x="244" y="1"/>
                  </a:cubicBezTo>
                  <a:cubicBezTo>
                    <a:pt x="239" y="1"/>
                    <a:pt x="239" y="1"/>
                    <a:pt x="239" y="1"/>
                  </a:cubicBezTo>
                  <a:cubicBezTo>
                    <a:pt x="239" y="1"/>
                    <a:pt x="239" y="1"/>
                    <a:pt x="239" y="1"/>
                  </a:cubicBezTo>
                  <a:cubicBezTo>
                    <a:pt x="234" y="1"/>
                    <a:pt x="226" y="1"/>
                    <a:pt x="218" y="1"/>
                  </a:cubicBezTo>
                  <a:cubicBezTo>
                    <a:pt x="205" y="0"/>
                    <a:pt x="191" y="0"/>
                    <a:pt x="182" y="1"/>
                  </a:cubicBezTo>
                  <a:cubicBezTo>
                    <a:pt x="174" y="1"/>
                    <a:pt x="169" y="1"/>
                    <a:pt x="166" y="2"/>
                  </a:cubicBezTo>
                  <a:cubicBezTo>
                    <a:pt x="162" y="2"/>
                    <a:pt x="160" y="3"/>
                    <a:pt x="156" y="5"/>
                  </a:cubicBezTo>
                  <a:cubicBezTo>
                    <a:pt x="156" y="5"/>
                    <a:pt x="155" y="5"/>
                    <a:pt x="155" y="5"/>
                  </a:cubicBezTo>
                  <a:cubicBezTo>
                    <a:pt x="155" y="14"/>
                    <a:pt x="156" y="41"/>
                    <a:pt x="156" y="47"/>
                  </a:cubicBezTo>
                  <a:cubicBezTo>
                    <a:pt x="156" y="49"/>
                    <a:pt x="157" y="50"/>
                    <a:pt x="157" y="51"/>
                  </a:cubicBezTo>
                  <a:cubicBezTo>
                    <a:pt x="157" y="60"/>
                    <a:pt x="157" y="73"/>
                    <a:pt x="148" y="78"/>
                  </a:cubicBezTo>
                  <a:cubicBezTo>
                    <a:pt x="142" y="81"/>
                    <a:pt x="95" y="81"/>
                    <a:pt x="65" y="81"/>
                  </a:cubicBezTo>
                  <a:cubicBezTo>
                    <a:pt x="58" y="81"/>
                    <a:pt x="52" y="81"/>
                    <a:pt x="47" y="81"/>
                  </a:cubicBezTo>
                  <a:cubicBezTo>
                    <a:pt x="46" y="85"/>
                    <a:pt x="46" y="95"/>
                    <a:pt x="47" y="96"/>
                  </a:cubicBezTo>
                  <a:cubicBezTo>
                    <a:pt x="47" y="98"/>
                    <a:pt x="48" y="101"/>
                    <a:pt x="48" y="104"/>
                  </a:cubicBezTo>
                  <a:cubicBezTo>
                    <a:pt x="47" y="107"/>
                    <a:pt x="44" y="110"/>
                    <a:pt x="44" y="110"/>
                  </a:cubicBezTo>
                  <a:cubicBezTo>
                    <a:pt x="44" y="110"/>
                    <a:pt x="39" y="107"/>
                    <a:pt x="38" y="108"/>
                  </a:cubicBezTo>
                  <a:cubicBezTo>
                    <a:pt x="37" y="108"/>
                    <a:pt x="34" y="109"/>
                    <a:pt x="34" y="111"/>
                  </a:cubicBezTo>
                  <a:cubicBezTo>
                    <a:pt x="34" y="114"/>
                    <a:pt x="37" y="119"/>
                    <a:pt x="40" y="119"/>
                  </a:cubicBezTo>
                  <a:cubicBezTo>
                    <a:pt x="43" y="120"/>
                    <a:pt x="48" y="122"/>
                    <a:pt x="53" y="123"/>
                  </a:cubicBezTo>
                  <a:cubicBezTo>
                    <a:pt x="57" y="124"/>
                    <a:pt x="64" y="124"/>
                    <a:pt x="66" y="125"/>
                  </a:cubicBezTo>
                  <a:cubicBezTo>
                    <a:pt x="68" y="125"/>
                    <a:pt x="65" y="129"/>
                    <a:pt x="64" y="130"/>
                  </a:cubicBezTo>
                  <a:cubicBezTo>
                    <a:pt x="62" y="131"/>
                    <a:pt x="58" y="136"/>
                    <a:pt x="55" y="134"/>
                  </a:cubicBezTo>
                  <a:cubicBezTo>
                    <a:pt x="51" y="133"/>
                    <a:pt x="51" y="129"/>
                    <a:pt x="46" y="130"/>
                  </a:cubicBezTo>
                  <a:cubicBezTo>
                    <a:pt x="40" y="130"/>
                    <a:pt x="39" y="133"/>
                    <a:pt x="36" y="130"/>
                  </a:cubicBezTo>
                  <a:cubicBezTo>
                    <a:pt x="33" y="127"/>
                    <a:pt x="33" y="124"/>
                    <a:pt x="32" y="127"/>
                  </a:cubicBezTo>
                  <a:cubicBezTo>
                    <a:pt x="30" y="129"/>
                    <a:pt x="28" y="136"/>
                    <a:pt x="29" y="143"/>
                  </a:cubicBezTo>
                  <a:cubicBezTo>
                    <a:pt x="30" y="150"/>
                    <a:pt x="29" y="157"/>
                    <a:pt x="26" y="162"/>
                  </a:cubicBezTo>
                  <a:cubicBezTo>
                    <a:pt x="23" y="168"/>
                    <a:pt x="16" y="172"/>
                    <a:pt x="16" y="180"/>
                  </a:cubicBezTo>
                  <a:cubicBezTo>
                    <a:pt x="15" y="188"/>
                    <a:pt x="12" y="195"/>
                    <a:pt x="10" y="195"/>
                  </a:cubicBezTo>
                  <a:cubicBezTo>
                    <a:pt x="8" y="196"/>
                    <a:pt x="3" y="183"/>
                    <a:pt x="2" y="187"/>
                  </a:cubicBezTo>
                  <a:cubicBezTo>
                    <a:pt x="0" y="190"/>
                    <a:pt x="1" y="194"/>
                    <a:pt x="3" y="199"/>
                  </a:cubicBezTo>
                  <a:cubicBezTo>
                    <a:pt x="6" y="204"/>
                    <a:pt x="8" y="215"/>
                    <a:pt x="12" y="219"/>
                  </a:cubicBezTo>
                  <a:cubicBezTo>
                    <a:pt x="15" y="222"/>
                    <a:pt x="20" y="226"/>
                    <a:pt x="23" y="225"/>
                  </a:cubicBezTo>
                  <a:cubicBezTo>
                    <a:pt x="27" y="224"/>
                    <a:pt x="31" y="220"/>
                    <a:pt x="33" y="223"/>
                  </a:cubicBezTo>
                  <a:cubicBezTo>
                    <a:pt x="34" y="227"/>
                    <a:pt x="32" y="228"/>
                    <a:pt x="32" y="231"/>
                  </a:cubicBezTo>
                  <a:cubicBezTo>
                    <a:pt x="31" y="233"/>
                    <a:pt x="33" y="234"/>
                    <a:pt x="35" y="235"/>
                  </a:cubicBezTo>
                  <a:cubicBezTo>
                    <a:pt x="38" y="237"/>
                    <a:pt x="42" y="238"/>
                    <a:pt x="42" y="240"/>
                  </a:cubicBezTo>
                  <a:cubicBezTo>
                    <a:pt x="41" y="242"/>
                    <a:pt x="41" y="245"/>
                    <a:pt x="38" y="244"/>
                  </a:cubicBezTo>
                  <a:cubicBezTo>
                    <a:pt x="36" y="244"/>
                    <a:pt x="30" y="243"/>
                    <a:pt x="28" y="244"/>
                  </a:cubicBezTo>
                  <a:cubicBezTo>
                    <a:pt x="27" y="246"/>
                    <a:pt x="27" y="251"/>
                    <a:pt x="29" y="253"/>
                  </a:cubicBezTo>
                  <a:cubicBezTo>
                    <a:pt x="32" y="255"/>
                    <a:pt x="37" y="256"/>
                    <a:pt x="41" y="260"/>
                  </a:cubicBezTo>
                  <a:cubicBezTo>
                    <a:pt x="44" y="264"/>
                    <a:pt x="45" y="266"/>
                    <a:pt x="46" y="271"/>
                  </a:cubicBezTo>
                  <a:cubicBezTo>
                    <a:pt x="47" y="276"/>
                    <a:pt x="47" y="281"/>
                    <a:pt x="50" y="284"/>
                  </a:cubicBezTo>
                  <a:cubicBezTo>
                    <a:pt x="53" y="287"/>
                    <a:pt x="57" y="290"/>
                    <a:pt x="61" y="290"/>
                  </a:cubicBezTo>
                  <a:cubicBezTo>
                    <a:pt x="65" y="290"/>
                    <a:pt x="71" y="292"/>
                    <a:pt x="73" y="293"/>
                  </a:cubicBezTo>
                  <a:cubicBezTo>
                    <a:pt x="76" y="294"/>
                    <a:pt x="76" y="295"/>
                    <a:pt x="77" y="297"/>
                  </a:cubicBezTo>
                  <a:cubicBezTo>
                    <a:pt x="77" y="299"/>
                    <a:pt x="75" y="300"/>
                    <a:pt x="73" y="302"/>
                  </a:cubicBezTo>
                  <a:cubicBezTo>
                    <a:pt x="71" y="304"/>
                    <a:pt x="69" y="305"/>
                    <a:pt x="71" y="308"/>
                  </a:cubicBezTo>
                  <a:cubicBezTo>
                    <a:pt x="73" y="310"/>
                    <a:pt x="77" y="312"/>
                    <a:pt x="81" y="315"/>
                  </a:cubicBezTo>
                  <a:cubicBezTo>
                    <a:pt x="84" y="318"/>
                    <a:pt x="87" y="322"/>
                    <a:pt x="88" y="322"/>
                  </a:cubicBezTo>
                  <a:cubicBezTo>
                    <a:pt x="89" y="323"/>
                    <a:pt x="100" y="337"/>
                    <a:pt x="106" y="344"/>
                  </a:cubicBezTo>
                  <a:cubicBezTo>
                    <a:pt x="113" y="352"/>
                    <a:pt x="125" y="361"/>
                    <a:pt x="129" y="364"/>
                  </a:cubicBezTo>
                  <a:cubicBezTo>
                    <a:pt x="132" y="367"/>
                    <a:pt x="133" y="369"/>
                    <a:pt x="138" y="376"/>
                  </a:cubicBezTo>
                  <a:cubicBezTo>
                    <a:pt x="140" y="372"/>
                    <a:pt x="142" y="369"/>
                    <a:pt x="143" y="367"/>
                  </a:cubicBezTo>
                  <a:cubicBezTo>
                    <a:pt x="146" y="362"/>
                    <a:pt x="150" y="358"/>
                    <a:pt x="153" y="35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3" name="Freeform 490"/>
            <p:cNvSpPr>
              <a:spLocks/>
            </p:cNvSpPr>
            <p:nvPr/>
          </p:nvSpPr>
          <p:spPr bwMode="auto">
            <a:xfrm>
              <a:off x="4157775" y="4497678"/>
              <a:ext cx="72628" cy="72628"/>
            </a:xfrm>
            <a:custGeom>
              <a:avLst/>
              <a:gdLst>
                <a:gd name="T0" fmla="*/ 247 w 250"/>
                <a:gd name="T1" fmla="*/ 204 h 252"/>
                <a:gd name="T2" fmla="*/ 250 w 250"/>
                <a:gd name="T3" fmla="*/ 184 h 252"/>
                <a:gd name="T4" fmla="*/ 244 w 250"/>
                <a:gd name="T5" fmla="*/ 169 h 252"/>
                <a:gd name="T6" fmla="*/ 239 w 250"/>
                <a:gd name="T7" fmla="*/ 159 h 252"/>
                <a:gd name="T8" fmla="*/ 226 w 250"/>
                <a:gd name="T9" fmla="*/ 148 h 252"/>
                <a:gd name="T10" fmla="*/ 206 w 250"/>
                <a:gd name="T11" fmla="*/ 143 h 252"/>
                <a:gd name="T12" fmla="*/ 191 w 250"/>
                <a:gd name="T13" fmla="*/ 137 h 252"/>
                <a:gd name="T14" fmla="*/ 187 w 250"/>
                <a:gd name="T15" fmla="*/ 134 h 252"/>
                <a:gd name="T16" fmla="*/ 187 w 250"/>
                <a:gd name="T17" fmla="*/ 134 h 252"/>
                <a:gd name="T18" fmla="*/ 183 w 250"/>
                <a:gd name="T19" fmla="*/ 132 h 252"/>
                <a:gd name="T20" fmla="*/ 183 w 250"/>
                <a:gd name="T21" fmla="*/ 132 h 252"/>
                <a:gd name="T22" fmla="*/ 184 w 250"/>
                <a:gd name="T23" fmla="*/ 113 h 252"/>
                <a:gd name="T24" fmla="*/ 188 w 250"/>
                <a:gd name="T25" fmla="*/ 108 h 252"/>
                <a:gd name="T26" fmla="*/ 188 w 250"/>
                <a:gd name="T27" fmla="*/ 108 h 252"/>
                <a:gd name="T28" fmla="*/ 194 w 250"/>
                <a:gd name="T29" fmla="*/ 94 h 252"/>
                <a:gd name="T30" fmla="*/ 190 w 250"/>
                <a:gd name="T31" fmla="*/ 74 h 252"/>
                <a:gd name="T32" fmla="*/ 185 w 250"/>
                <a:gd name="T33" fmla="*/ 60 h 252"/>
                <a:gd name="T34" fmla="*/ 182 w 250"/>
                <a:gd name="T35" fmla="*/ 60 h 252"/>
                <a:gd name="T36" fmla="*/ 171 w 250"/>
                <a:gd name="T37" fmla="*/ 73 h 252"/>
                <a:gd name="T38" fmla="*/ 163 w 250"/>
                <a:gd name="T39" fmla="*/ 81 h 252"/>
                <a:gd name="T40" fmla="*/ 153 w 250"/>
                <a:gd name="T41" fmla="*/ 85 h 252"/>
                <a:gd name="T42" fmla="*/ 144 w 250"/>
                <a:gd name="T43" fmla="*/ 83 h 252"/>
                <a:gd name="T44" fmla="*/ 142 w 250"/>
                <a:gd name="T45" fmla="*/ 81 h 252"/>
                <a:gd name="T46" fmla="*/ 142 w 250"/>
                <a:gd name="T47" fmla="*/ 81 h 252"/>
                <a:gd name="T48" fmla="*/ 136 w 250"/>
                <a:gd name="T49" fmla="*/ 77 h 252"/>
                <a:gd name="T50" fmla="*/ 130 w 250"/>
                <a:gd name="T51" fmla="*/ 75 h 252"/>
                <a:gd name="T52" fmla="*/ 122 w 250"/>
                <a:gd name="T53" fmla="*/ 50 h 252"/>
                <a:gd name="T54" fmla="*/ 123 w 250"/>
                <a:gd name="T55" fmla="*/ 40 h 252"/>
                <a:gd name="T56" fmla="*/ 121 w 250"/>
                <a:gd name="T57" fmla="*/ 25 h 252"/>
                <a:gd name="T58" fmla="*/ 114 w 250"/>
                <a:gd name="T59" fmla="*/ 9 h 252"/>
                <a:gd name="T60" fmla="*/ 111 w 250"/>
                <a:gd name="T61" fmla="*/ 4 h 252"/>
                <a:gd name="T62" fmla="*/ 111 w 250"/>
                <a:gd name="T63" fmla="*/ 4 h 252"/>
                <a:gd name="T64" fmla="*/ 105 w 250"/>
                <a:gd name="T65" fmla="*/ 3 h 252"/>
                <a:gd name="T66" fmla="*/ 98 w 250"/>
                <a:gd name="T67" fmla="*/ 6 h 252"/>
                <a:gd name="T68" fmla="*/ 81 w 250"/>
                <a:gd name="T69" fmla="*/ 10 h 252"/>
                <a:gd name="T70" fmla="*/ 61 w 250"/>
                <a:gd name="T71" fmla="*/ 10 h 252"/>
                <a:gd name="T72" fmla="*/ 60 w 250"/>
                <a:gd name="T73" fmla="*/ 19 h 252"/>
                <a:gd name="T74" fmla="*/ 58 w 250"/>
                <a:gd name="T75" fmla="*/ 33 h 252"/>
                <a:gd name="T76" fmla="*/ 35 w 250"/>
                <a:gd name="T77" fmla="*/ 66 h 252"/>
                <a:gd name="T78" fmla="*/ 34 w 250"/>
                <a:gd name="T79" fmla="*/ 67 h 252"/>
                <a:gd name="T80" fmla="*/ 34 w 250"/>
                <a:gd name="T81" fmla="*/ 67 h 252"/>
                <a:gd name="T82" fmla="*/ 0 w 250"/>
                <a:gd name="T83" fmla="*/ 103 h 252"/>
                <a:gd name="T84" fmla="*/ 6 w 250"/>
                <a:gd name="T85" fmla="*/ 107 h 252"/>
                <a:gd name="T86" fmla="*/ 34 w 250"/>
                <a:gd name="T87" fmla="*/ 120 h 252"/>
                <a:gd name="T88" fmla="*/ 56 w 250"/>
                <a:gd name="T89" fmla="*/ 136 h 252"/>
                <a:gd name="T90" fmla="*/ 75 w 250"/>
                <a:gd name="T91" fmla="*/ 147 h 252"/>
                <a:gd name="T92" fmla="*/ 98 w 250"/>
                <a:gd name="T93" fmla="*/ 171 h 252"/>
                <a:gd name="T94" fmla="*/ 121 w 250"/>
                <a:gd name="T95" fmla="*/ 195 h 252"/>
                <a:gd name="T96" fmla="*/ 155 w 250"/>
                <a:gd name="T97" fmla="*/ 216 h 252"/>
                <a:gd name="T98" fmla="*/ 200 w 250"/>
                <a:gd name="T99" fmla="*/ 238 h 252"/>
                <a:gd name="T100" fmla="*/ 226 w 250"/>
                <a:gd name="T101" fmla="*/ 250 h 252"/>
                <a:gd name="T102" fmla="*/ 240 w 250"/>
                <a:gd name="T103" fmla="*/ 252 h 252"/>
                <a:gd name="T104" fmla="*/ 238 w 250"/>
                <a:gd name="T105" fmla="*/ 230 h 252"/>
                <a:gd name="T106" fmla="*/ 242 w 250"/>
                <a:gd name="T107" fmla="*/ 218 h 252"/>
                <a:gd name="T108" fmla="*/ 247 w 250"/>
                <a:gd name="T109" fmla="*/ 204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0" h="252">
                  <a:moveTo>
                    <a:pt x="247" y="204"/>
                  </a:moveTo>
                  <a:cubicBezTo>
                    <a:pt x="249" y="195"/>
                    <a:pt x="250" y="189"/>
                    <a:pt x="250" y="184"/>
                  </a:cubicBezTo>
                  <a:cubicBezTo>
                    <a:pt x="250" y="179"/>
                    <a:pt x="248" y="174"/>
                    <a:pt x="244" y="169"/>
                  </a:cubicBezTo>
                  <a:cubicBezTo>
                    <a:pt x="241" y="164"/>
                    <a:pt x="240" y="161"/>
                    <a:pt x="239" y="159"/>
                  </a:cubicBezTo>
                  <a:cubicBezTo>
                    <a:pt x="238" y="155"/>
                    <a:pt x="237" y="153"/>
                    <a:pt x="226" y="148"/>
                  </a:cubicBezTo>
                  <a:cubicBezTo>
                    <a:pt x="217" y="144"/>
                    <a:pt x="211" y="143"/>
                    <a:pt x="206" y="143"/>
                  </a:cubicBezTo>
                  <a:cubicBezTo>
                    <a:pt x="201" y="142"/>
                    <a:pt x="197" y="141"/>
                    <a:pt x="191" y="137"/>
                  </a:cubicBezTo>
                  <a:cubicBezTo>
                    <a:pt x="190" y="136"/>
                    <a:pt x="188" y="135"/>
                    <a:pt x="187" y="134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6" y="134"/>
                    <a:pt x="184" y="133"/>
                    <a:pt x="183" y="132"/>
                  </a:cubicBezTo>
                  <a:cubicBezTo>
                    <a:pt x="183" y="132"/>
                    <a:pt x="183" y="132"/>
                    <a:pt x="183" y="132"/>
                  </a:cubicBezTo>
                  <a:cubicBezTo>
                    <a:pt x="177" y="128"/>
                    <a:pt x="176" y="124"/>
                    <a:pt x="184" y="113"/>
                  </a:cubicBezTo>
                  <a:cubicBezTo>
                    <a:pt x="186" y="111"/>
                    <a:pt x="187" y="109"/>
                    <a:pt x="188" y="108"/>
                  </a:cubicBezTo>
                  <a:cubicBezTo>
                    <a:pt x="188" y="108"/>
                    <a:pt x="188" y="108"/>
                    <a:pt x="188" y="108"/>
                  </a:cubicBezTo>
                  <a:cubicBezTo>
                    <a:pt x="193" y="101"/>
                    <a:pt x="194" y="100"/>
                    <a:pt x="194" y="94"/>
                  </a:cubicBezTo>
                  <a:cubicBezTo>
                    <a:pt x="194" y="89"/>
                    <a:pt x="192" y="81"/>
                    <a:pt x="190" y="74"/>
                  </a:cubicBezTo>
                  <a:cubicBezTo>
                    <a:pt x="189" y="68"/>
                    <a:pt x="187" y="62"/>
                    <a:pt x="185" y="60"/>
                  </a:cubicBezTo>
                  <a:cubicBezTo>
                    <a:pt x="184" y="59"/>
                    <a:pt x="183" y="59"/>
                    <a:pt x="182" y="60"/>
                  </a:cubicBezTo>
                  <a:cubicBezTo>
                    <a:pt x="179" y="62"/>
                    <a:pt x="176" y="66"/>
                    <a:pt x="171" y="73"/>
                  </a:cubicBezTo>
                  <a:cubicBezTo>
                    <a:pt x="168" y="76"/>
                    <a:pt x="166" y="79"/>
                    <a:pt x="163" y="81"/>
                  </a:cubicBezTo>
                  <a:cubicBezTo>
                    <a:pt x="159" y="83"/>
                    <a:pt x="156" y="85"/>
                    <a:pt x="153" y="85"/>
                  </a:cubicBezTo>
                  <a:cubicBezTo>
                    <a:pt x="150" y="86"/>
                    <a:pt x="147" y="85"/>
                    <a:pt x="144" y="83"/>
                  </a:cubicBezTo>
                  <a:cubicBezTo>
                    <a:pt x="143" y="83"/>
                    <a:pt x="143" y="82"/>
                    <a:pt x="142" y="81"/>
                  </a:cubicBezTo>
                  <a:cubicBezTo>
                    <a:pt x="142" y="81"/>
                    <a:pt x="142" y="81"/>
                    <a:pt x="142" y="81"/>
                  </a:cubicBezTo>
                  <a:cubicBezTo>
                    <a:pt x="140" y="78"/>
                    <a:pt x="140" y="78"/>
                    <a:pt x="136" y="77"/>
                  </a:cubicBezTo>
                  <a:cubicBezTo>
                    <a:pt x="135" y="76"/>
                    <a:pt x="132" y="76"/>
                    <a:pt x="130" y="75"/>
                  </a:cubicBezTo>
                  <a:cubicBezTo>
                    <a:pt x="120" y="71"/>
                    <a:pt x="121" y="61"/>
                    <a:pt x="122" y="50"/>
                  </a:cubicBezTo>
                  <a:cubicBezTo>
                    <a:pt x="123" y="47"/>
                    <a:pt x="123" y="43"/>
                    <a:pt x="123" y="40"/>
                  </a:cubicBezTo>
                  <a:cubicBezTo>
                    <a:pt x="123" y="35"/>
                    <a:pt x="122" y="29"/>
                    <a:pt x="121" y="25"/>
                  </a:cubicBezTo>
                  <a:cubicBezTo>
                    <a:pt x="119" y="19"/>
                    <a:pt x="117" y="13"/>
                    <a:pt x="114" y="9"/>
                  </a:cubicBezTo>
                  <a:cubicBezTo>
                    <a:pt x="113" y="7"/>
                    <a:pt x="112" y="5"/>
                    <a:pt x="111" y="4"/>
                  </a:cubicBezTo>
                  <a:cubicBezTo>
                    <a:pt x="111" y="4"/>
                    <a:pt x="111" y="4"/>
                    <a:pt x="111" y="4"/>
                  </a:cubicBezTo>
                  <a:cubicBezTo>
                    <a:pt x="110" y="1"/>
                    <a:pt x="110" y="0"/>
                    <a:pt x="105" y="3"/>
                  </a:cubicBezTo>
                  <a:cubicBezTo>
                    <a:pt x="102" y="4"/>
                    <a:pt x="100" y="5"/>
                    <a:pt x="98" y="6"/>
                  </a:cubicBezTo>
                  <a:cubicBezTo>
                    <a:pt x="92" y="9"/>
                    <a:pt x="89" y="10"/>
                    <a:pt x="81" y="10"/>
                  </a:cubicBezTo>
                  <a:cubicBezTo>
                    <a:pt x="74" y="10"/>
                    <a:pt x="66" y="10"/>
                    <a:pt x="61" y="10"/>
                  </a:cubicBezTo>
                  <a:cubicBezTo>
                    <a:pt x="61" y="13"/>
                    <a:pt x="60" y="16"/>
                    <a:pt x="60" y="19"/>
                  </a:cubicBezTo>
                  <a:cubicBezTo>
                    <a:pt x="59" y="25"/>
                    <a:pt x="58" y="30"/>
                    <a:pt x="58" y="33"/>
                  </a:cubicBezTo>
                  <a:cubicBezTo>
                    <a:pt x="58" y="44"/>
                    <a:pt x="47" y="54"/>
                    <a:pt x="35" y="66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26" y="74"/>
                    <a:pt x="10" y="92"/>
                    <a:pt x="0" y="103"/>
                  </a:cubicBezTo>
                  <a:cubicBezTo>
                    <a:pt x="1" y="104"/>
                    <a:pt x="3" y="105"/>
                    <a:pt x="6" y="107"/>
                  </a:cubicBezTo>
                  <a:cubicBezTo>
                    <a:pt x="16" y="113"/>
                    <a:pt x="23" y="110"/>
                    <a:pt x="34" y="120"/>
                  </a:cubicBezTo>
                  <a:cubicBezTo>
                    <a:pt x="44" y="129"/>
                    <a:pt x="49" y="131"/>
                    <a:pt x="56" y="136"/>
                  </a:cubicBezTo>
                  <a:cubicBezTo>
                    <a:pt x="62" y="142"/>
                    <a:pt x="69" y="140"/>
                    <a:pt x="75" y="147"/>
                  </a:cubicBezTo>
                  <a:cubicBezTo>
                    <a:pt x="82" y="153"/>
                    <a:pt x="95" y="165"/>
                    <a:pt x="98" y="171"/>
                  </a:cubicBezTo>
                  <a:cubicBezTo>
                    <a:pt x="100" y="177"/>
                    <a:pt x="113" y="187"/>
                    <a:pt x="121" y="195"/>
                  </a:cubicBezTo>
                  <a:cubicBezTo>
                    <a:pt x="130" y="202"/>
                    <a:pt x="133" y="202"/>
                    <a:pt x="155" y="216"/>
                  </a:cubicBezTo>
                  <a:cubicBezTo>
                    <a:pt x="178" y="229"/>
                    <a:pt x="190" y="235"/>
                    <a:pt x="200" y="238"/>
                  </a:cubicBezTo>
                  <a:cubicBezTo>
                    <a:pt x="210" y="241"/>
                    <a:pt x="216" y="247"/>
                    <a:pt x="226" y="250"/>
                  </a:cubicBezTo>
                  <a:cubicBezTo>
                    <a:pt x="232" y="251"/>
                    <a:pt x="236" y="252"/>
                    <a:pt x="240" y="252"/>
                  </a:cubicBezTo>
                  <a:cubicBezTo>
                    <a:pt x="239" y="245"/>
                    <a:pt x="238" y="237"/>
                    <a:pt x="238" y="230"/>
                  </a:cubicBezTo>
                  <a:cubicBezTo>
                    <a:pt x="238" y="223"/>
                    <a:pt x="240" y="221"/>
                    <a:pt x="242" y="218"/>
                  </a:cubicBezTo>
                  <a:cubicBezTo>
                    <a:pt x="243" y="216"/>
                    <a:pt x="245" y="213"/>
                    <a:pt x="247" y="20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4" name="Freeform 491"/>
            <p:cNvSpPr>
              <a:spLocks/>
            </p:cNvSpPr>
            <p:nvPr/>
          </p:nvSpPr>
          <p:spPr bwMode="auto">
            <a:xfrm>
              <a:off x="4129200" y="4472675"/>
              <a:ext cx="45244" cy="52388"/>
            </a:xfrm>
            <a:custGeom>
              <a:avLst/>
              <a:gdLst>
                <a:gd name="T0" fmla="*/ 131 w 158"/>
                <a:gd name="T1" fmla="*/ 150 h 186"/>
                <a:gd name="T2" fmla="*/ 131 w 158"/>
                <a:gd name="T3" fmla="*/ 150 h 186"/>
                <a:gd name="T4" fmla="*/ 132 w 158"/>
                <a:gd name="T5" fmla="*/ 149 h 186"/>
                <a:gd name="T6" fmla="*/ 152 w 158"/>
                <a:gd name="T7" fmla="*/ 122 h 186"/>
                <a:gd name="T8" fmla="*/ 154 w 158"/>
                <a:gd name="T9" fmla="*/ 107 h 186"/>
                <a:gd name="T10" fmla="*/ 157 w 158"/>
                <a:gd name="T11" fmla="*/ 79 h 186"/>
                <a:gd name="T12" fmla="*/ 151 w 158"/>
                <a:gd name="T13" fmla="*/ 57 h 186"/>
                <a:gd name="T14" fmla="*/ 147 w 158"/>
                <a:gd name="T15" fmla="*/ 52 h 186"/>
                <a:gd name="T16" fmla="*/ 141 w 158"/>
                <a:gd name="T17" fmla="*/ 45 h 186"/>
                <a:gd name="T18" fmla="*/ 128 w 158"/>
                <a:gd name="T19" fmla="*/ 23 h 186"/>
                <a:gd name="T20" fmla="*/ 123 w 158"/>
                <a:gd name="T21" fmla="*/ 12 h 186"/>
                <a:gd name="T22" fmla="*/ 121 w 158"/>
                <a:gd name="T23" fmla="*/ 7 h 186"/>
                <a:gd name="T24" fmla="*/ 116 w 158"/>
                <a:gd name="T25" fmla="*/ 4 h 186"/>
                <a:gd name="T26" fmla="*/ 116 w 158"/>
                <a:gd name="T27" fmla="*/ 4 h 186"/>
                <a:gd name="T28" fmla="*/ 114 w 158"/>
                <a:gd name="T29" fmla="*/ 3 h 186"/>
                <a:gd name="T30" fmla="*/ 114 w 158"/>
                <a:gd name="T31" fmla="*/ 3 h 186"/>
                <a:gd name="T32" fmla="*/ 103 w 158"/>
                <a:gd name="T33" fmla="*/ 2 h 186"/>
                <a:gd name="T34" fmla="*/ 87 w 158"/>
                <a:gd name="T35" fmla="*/ 6 h 186"/>
                <a:gd name="T36" fmla="*/ 60 w 158"/>
                <a:gd name="T37" fmla="*/ 9 h 186"/>
                <a:gd name="T38" fmla="*/ 52 w 158"/>
                <a:gd name="T39" fmla="*/ 8 h 186"/>
                <a:gd name="T40" fmla="*/ 40 w 158"/>
                <a:gd name="T41" fmla="*/ 15 h 186"/>
                <a:gd name="T42" fmla="*/ 36 w 158"/>
                <a:gd name="T43" fmla="*/ 20 h 186"/>
                <a:gd name="T44" fmla="*/ 27 w 158"/>
                <a:gd name="T45" fmla="*/ 30 h 186"/>
                <a:gd name="T46" fmla="*/ 20 w 158"/>
                <a:gd name="T47" fmla="*/ 45 h 186"/>
                <a:gd name="T48" fmla="*/ 6 w 158"/>
                <a:gd name="T49" fmla="*/ 59 h 186"/>
                <a:gd name="T50" fmla="*/ 6 w 158"/>
                <a:gd name="T51" fmla="*/ 60 h 186"/>
                <a:gd name="T52" fmla="*/ 2 w 158"/>
                <a:gd name="T53" fmla="*/ 72 h 186"/>
                <a:gd name="T54" fmla="*/ 7 w 158"/>
                <a:gd name="T55" fmla="*/ 78 h 186"/>
                <a:gd name="T56" fmla="*/ 17 w 158"/>
                <a:gd name="T57" fmla="*/ 79 h 186"/>
                <a:gd name="T58" fmla="*/ 11 w 158"/>
                <a:gd name="T59" fmla="*/ 90 h 186"/>
                <a:gd name="T60" fmla="*/ 5 w 158"/>
                <a:gd name="T61" fmla="*/ 98 h 186"/>
                <a:gd name="T62" fmla="*/ 14 w 158"/>
                <a:gd name="T63" fmla="*/ 110 h 186"/>
                <a:gd name="T64" fmla="*/ 17 w 158"/>
                <a:gd name="T65" fmla="*/ 124 h 186"/>
                <a:gd name="T66" fmla="*/ 19 w 158"/>
                <a:gd name="T67" fmla="*/ 131 h 186"/>
                <a:gd name="T68" fmla="*/ 29 w 158"/>
                <a:gd name="T69" fmla="*/ 132 h 186"/>
                <a:gd name="T70" fmla="*/ 37 w 158"/>
                <a:gd name="T71" fmla="*/ 135 h 186"/>
                <a:gd name="T72" fmla="*/ 43 w 158"/>
                <a:gd name="T73" fmla="*/ 142 h 186"/>
                <a:gd name="T74" fmla="*/ 50 w 158"/>
                <a:gd name="T75" fmla="*/ 143 h 186"/>
                <a:gd name="T76" fmla="*/ 47 w 158"/>
                <a:gd name="T77" fmla="*/ 152 h 186"/>
                <a:gd name="T78" fmla="*/ 39 w 158"/>
                <a:gd name="T79" fmla="*/ 150 h 186"/>
                <a:gd name="T80" fmla="*/ 22 w 158"/>
                <a:gd name="T81" fmla="*/ 144 h 186"/>
                <a:gd name="T82" fmla="*/ 34 w 158"/>
                <a:gd name="T83" fmla="*/ 154 h 186"/>
                <a:gd name="T84" fmla="*/ 53 w 158"/>
                <a:gd name="T85" fmla="*/ 163 h 186"/>
                <a:gd name="T86" fmla="*/ 76 w 158"/>
                <a:gd name="T87" fmla="*/ 172 h 186"/>
                <a:gd name="T88" fmla="*/ 96 w 158"/>
                <a:gd name="T89" fmla="*/ 186 h 186"/>
                <a:gd name="T90" fmla="*/ 131 w 158"/>
                <a:gd name="T91" fmla="*/ 15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58" h="186">
                  <a:moveTo>
                    <a:pt x="131" y="150"/>
                  </a:moveTo>
                  <a:cubicBezTo>
                    <a:pt x="131" y="150"/>
                    <a:pt x="131" y="150"/>
                    <a:pt x="131" y="150"/>
                  </a:cubicBezTo>
                  <a:cubicBezTo>
                    <a:pt x="132" y="149"/>
                    <a:pt x="132" y="149"/>
                    <a:pt x="132" y="149"/>
                  </a:cubicBezTo>
                  <a:cubicBezTo>
                    <a:pt x="142" y="139"/>
                    <a:pt x="152" y="129"/>
                    <a:pt x="152" y="122"/>
                  </a:cubicBezTo>
                  <a:cubicBezTo>
                    <a:pt x="152" y="118"/>
                    <a:pt x="153" y="113"/>
                    <a:pt x="154" y="107"/>
                  </a:cubicBezTo>
                  <a:cubicBezTo>
                    <a:pt x="155" y="99"/>
                    <a:pt x="157" y="89"/>
                    <a:pt x="157" y="79"/>
                  </a:cubicBezTo>
                  <a:cubicBezTo>
                    <a:pt x="158" y="65"/>
                    <a:pt x="156" y="63"/>
                    <a:pt x="151" y="57"/>
                  </a:cubicBezTo>
                  <a:cubicBezTo>
                    <a:pt x="150" y="56"/>
                    <a:pt x="148" y="54"/>
                    <a:pt x="147" y="52"/>
                  </a:cubicBezTo>
                  <a:cubicBezTo>
                    <a:pt x="144" y="49"/>
                    <a:pt x="143" y="46"/>
                    <a:pt x="141" y="45"/>
                  </a:cubicBezTo>
                  <a:cubicBezTo>
                    <a:pt x="137" y="40"/>
                    <a:pt x="135" y="38"/>
                    <a:pt x="128" y="23"/>
                  </a:cubicBezTo>
                  <a:cubicBezTo>
                    <a:pt x="126" y="18"/>
                    <a:pt x="124" y="15"/>
                    <a:pt x="123" y="12"/>
                  </a:cubicBezTo>
                  <a:cubicBezTo>
                    <a:pt x="122" y="10"/>
                    <a:pt x="122" y="8"/>
                    <a:pt x="121" y="7"/>
                  </a:cubicBezTo>
                  <a:cubicBezTo>
                    <a:pt x="120" y="7"/>
                    <a:pt x="119" y="6"/>
                    <a:pt x="116" y="4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08" y="0"/>
                    <a:pt x="107" y="0"/>
                    <a:pt x="103" y="2"/>
                  </a:cubicBezTo>
                  <a:cubicBezTo>
                    <a:pt x="99" y="3"/>
                    <a:pt x="95" y="5"/>
                    <a:pt x="87" y="6"/>
                  </a:cubicBezTo>
                  <a:cubicBezTo>
                    <a:pt x="73" y="10"/>
                    <a:pt x="67" y="9"/>
                    <a:pt x="60" y="9"/>
                  </a:cubicBezTo>
                  <a:cubicBezTo>
                    <a:pt x="58" y="9"/>
                    <a:pt x="55" y="8"/>
                    <a:pt x="52" y="8"/>
                  </a:cubicBezTo>
                  <a:cubicBezTo>
                    <a:pt x="45" y="8"/>
                    <a:pt x="42" y="11"/>
                    <a:pt x="40" y="15"/>
                  </a:cubicBezTo>
                  <a:cubicBezTo>
                    <a:pt x="38" y="16"/>
                    <a:pt x="37" y="18"/>
                    <a:pt x="36" y="20"/>
                  </a:cubicBezTo>
                  <a:cubicBezTo>
                    <a:pt x="33" y="23"/>
                    <a:pt x="30" y="26"/>
                    <a:pt x="27" y="30"/>
                  </a:cubicBezTo>
                  <a:cubicBezTo>
                    <a:pt x="24" y="34"/>
                    <a:pt x="22" y="39"/>
                    <a:pt x="20" y="45"/>
                  </a:cubicBezTo>
                  <a:cubicBezTo>
                    <a:pt x="17" y="53"/>
                    <a:pt x="12" y="57"/>
                    <a:pt x="6" y="59"/>
                  </a:cubicBezTo>
                  <a:cubicBezTo>
                    <a:pt x="6" y="59"/>
                    <a:pt x="6" y="60"/>
                    <a:pt x="6" y="60"/>
                  </a:cubicBezTo>
                  <a:cubicBezTo>
                    <a:pt x="4" y="63"/>
                    <a:pt x="0" y="68"/>
                    <a:pt x="2" y="72"/>
                  </a:cubicBezTo>
                  <a:cubicBezTo>
                    <a:pt x="3" y="76"/>
                    <a:pt x="1" y="77"/>
                    <a:pt x="7" y="78"/>
                  </a:cubicBezTo>
                  <a:cubicBezTo>
                    <a:pt x="12" y="80"/>
                    <a:pt x="17" y="76"/>
                    <a:pt x="17" y="79"/>
                  </a:cubicBezTo>
                  <a:cubicBezTo>
                    <a:pt x="18" y="82"/>
                    <a:pt x="14" y="87"/>
                    <a:pt x="11" y="90"/>
                  </a:cubicBezTo>
                  <a:cubicBezTo>
                    <a:pt x="8" y="92"/>
                    <a:pt x="3" y="93"/>
                    <a:pt x="5" y="98"/>
                  </a:cubicBezTo>
                  <a:cubicBezTo>
                    <a:pt x="7" y="103"/>
                    <a:pt x="11" y="108"/>
                    <a:pt x="14" y="110"/>
                  </a:cubicBezTo>
                  <a:cubicBezTo>
                    <a:pt x="16" y="113"/>
                    <a:pt x="17" y="120"/>
                    <a:pt x="17" y="124"/>
                  </a:cubicBezTo>
                  <a:cubicBezTo>
                    <a:pt x="17" y="128"/>
                    <a:pt x="15" y="129"/>
                    <a:pt x="19" y="131"/>
                  </a:cubicBezTo>
                  <a:cubicBezTo>
                    <a:pt x="23" y="132"/>
                    <a:pt x="27" y="132"/>
                    <a:pt x="29" y="132"/>
                  </a:cubicBezTo>
                  <a:cubicBezTo>
                    <a:pt x="32" y="132"/>
                    <a:pt x="35" y="132"/>
                    <a:pt x="37" y="135"/>
                  </a:cubicBezTo>
                  <a:cubicBezTo>
                    <a:pt x="39" y="138"/>
                    <a:pt x="39" y="142"/>
                    <a:pt x="43" y="142"/>
                  </a:cubicBezTo>
                  <a:cubicBezTo>
                    <a:pt x="46" y="142"/>
                    <a:pt x="49" y="139"/>
                    <a:pt x="50" y="143"/>
                  </a:cubicBezTo>
                  <a:cubicBezTo>
                    <a:pt x="50" y="147"/>
                    <a:pt x="49" y="151"/>
                    <a:pt x="47" y="152"/>
                  </a:cubicBezTo>
                  <a:cubicBezTo>
                    <a:pt x="45" y="153"/>
                    <a:pt x="41" y="151"/>
                    <a:pt x="39" y="150"/>
                  </a:cubicBezTo>
                  <a:cubicBezTo>
                    <a:pt x="36" y="148"/>
                    <a:pt x="21" y="140"/>
                    <a:pt x="22" y="144"/>
                  </a:cubicBezTo>
                  <a:cubicBezTo>
                    <a:pt x="23" y="148"/>
                    <a:pt x="28" y="150"/>
                    <a:pt x="34" y="154"/>
                  </a:cubicBezTo>
                  <a:cubicBezTo>
                    <a:pt x="39" y="159"/>
                    <a:pt x="49" y="161"/>
                    <a:pt x="53" y="163"/>
                  </a:cubicBezTo>
                  <a:cubicBezTo>
                    <a:pt x="57" y="165"/>
                    <a:pt x="53" y="156"/>
                    <a:pt x="76" y="172"/>
                  </a:cubicBezTo>
                  <a:cubicBezTo>
                    <a:pt x="86" y="179"/>
                    <a:pt x="92" y="183"/>
                    <a:pt x="96" y="186"/>
                  </a:cubicBezTo>
                  <a:cubicBezTo>
                    <a:pt x="105" y="176"/>
                    <a:pt x="123" y="158"/>
                    <a:pt x="131" y="15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5" name="Freeform 492"/>
            <p:cNvSpPr>
              <a:spLocks/>
            </p:cNvSpPr>
            <p:nvPr/>
          </p:nvSpPr>
          <p:spPr bwMode="auto">
            <a:xfrm>
              <a:off x="4211353" y="4459578"/>
              <a:ext cx="104775" cy="110728"/>
            </a:xfrm>
            <a:custGeom>
              <a:avLst/>
              <a:gdLst>
                <a:gd name="T0" fmla="*/ 329 w 362"/>
                <a:gd name="T1" fmla="*/ 294 h 385"/>
                <a:gd name="T2" fmla="*/ 321 w 362"/>
                <a:gd name="T3" fmla="*/ 265 h 385"/>
                <a:gd name="T4" fmla="*/ 328 w 362"/>
                <a:gd name="T5" fmla="*/ 213 h 385"/>
                <a:gd name="T6" fmla="*/ 356 w 362"/>
                <a:gd name="T7" fmla="*/ 159 h 385"/>
                <a:gd name="T8" fmla="*/ 361 w 362"/>
                <a:gd name="T9" fmla="*/ 132 h 385"/>
                <a:gd name="T10" fmla="*/ 356 w 362"/>
                <a:gd name="T11" fmla="*/ 119 h 385"/>
                <a:gd name="T12" fmla="*/ 350 w 362"/>
                <a:gd name="T13" fmla="*/ 87 h 385"/>
                <a:gd name="T14" fmla="*/ 342 w 362"/>
                <a:gd name="T15" fmla="*/ 66 h 385"/>
                <a:gd name="T16" fmla="*/ 310 w 362"/>
                <a:gd name="T17" fmla="*/ 46 h 385"/>
                <a:gd name="T18" fmla="*/ 280 w 362"/>
                <a:gd name="T19" fmla="*/ 48 h 385"/>
                <a:gd name="T20" fmla="*/ 253 w 362"/>
                <a:gd name="T21" fmla="*/ 63 h 385"/>
                <a:gd name="T22" fmla="*/ 229 w 362"/>
                <a:gd name="T23" fmla="*/ 54 h 385"/>
                <a:gd name="T24" fmla="*/ 209 w 362"/>
                <a:gd name="T25" fmla="*/ 31 h 385"/>
                <a:gd name="T26" fmla="*/ 194 w 362"/>
                <a:gd name="T27" fmla="*/ 17 h 385"/>
                <a:gd name="T28" fmla="*/ 168 w 362"/>
                <a:gd name="T29" fmla="*/ 19 h 385"/>
                <a:gd name="T30" fmla="*/ 142 w 362"/>
                <a:gd name="T31" fmla="*/ 26 h 385"/>
                <a:gd name="T32" fmla="*/ 136 w 362"/>
                <a:gd name="T33" fmla="*/ 2 h 385"/>
                <a:gd name="T34" fmla="*/ 127 w 362"/>
                <a:gd name="T35" fmla="*/ 0 h 385"/>
                <a:gd name="T36" fmla="*/ 118 w 362"/>
                <a:gd name="T37" fmla="*/ 7 h 385"/>
                <a:gd name="T38" fmla="*/ 99 w 362"/>
                <a:gd name="T39" fmla="*/ 23 h 385"/>
                <a:gd name="T40" fmla="*/ 89 w 362"/>
                <a:gd name="T41" fmla="*/ 29 h 385"/>
                <a:gd name="T42" fmla="*/ 62 w 362"/>
                <a:gd name="T43" fmla="*/ 20 h 385"/>
                <a:gd name="T44" fmla="*/ 46 w 362"/>
                <a:gd name="T45" fmla="*/ 19 h 385"/>
                <a:gd name="T46" fmla="*/ 26 w 362"/>
                <a:gd name="T47" fmla="*/ 36 h 385"/>
                <a:gd name="T48" fmla="*/ 28 w 362"/>
                <a:gd name="T49" fmla="*/ 58 h 385"/>
                <a:gd name="T50" fmla="*/ 36 w 362"/>
                <a:gd name="T51" fmla="*/ 71 h 385"/>
                <a:gd name="T52" fmla="*/ 45 w 362"/>
                <a:gd name="T53" fmla="*/ 96 h 385"/>
                <a:gd name="T54" fmla="*/ 43 w 362"/>
                <a:gd name="T55" fmla="*/ 109 h 385"/>
                <a:gd name="T56" fmla="*/ 49 w 362"/>
                <a:gd name="T57" fmla="*/ 121 h 385"/>
                <a:gd name="T58" fmla="*/ 53 w 362"/>
                <a:gd name="T59" fmla="*/ 131 h 385"/>
                <a:gd name="T60" fmla="*/ 34 w 362"/>
                <a:gd name="T61" fmla="*/ 139 h 385"/>
                <a:gd name="T62" fmla="*/ 23 w 362"/>
                <a:gd name="T63" fmla="*/ 137 h 385"/>
                <a:gd name="T64" fmla="*/ 21 w 362"/>
                <a:gd name="T65" fmla="*/ 137 h 385"/>
                <a:gd name="T66" fmla="*/ 20 w 362"/>
                <a:gd name="T67" fmla="*/ 143 h 385"/>
                <a:gd name="T68" fmla="*/ 32 w 362"/>
                <a:gd name="T69" fmla="*/ 163 h 385"/>
                <a:gd name="T70" fmla="*/ 22 w 362"/>
                <a:gd name="T71" fmla="*/ 188 h 385"/>
                <a:gd name="T72" fmla="*/ 21 w 362"/>
                <a:gd name="T73" fmla="*/ 189 h 385"/>
                <a:gd name="T74" fmla="*/ 11 w 362"/>
                <a:gd name="T75" fmla="*/ 203 h 385"/>
                <a:gd name="T76" fmla="*/ 8 w 362"/>
                <a:gd name="T77" fmla="*/ 244 h 385"/>
                <a:gd name="T78" fmla="*/ 4 w 362"/>
                <a:gd name="T79" fmla="*/ 248 h 385"/>
                <a:gd name="T80" fmla="*/ 1 w 362"/>
                <a:gd name="T81" fmla="*/ 257 h 385"/>
                <a:gd name="T82" fmla="*/ 4 w 362"/>
                <a:gd name="T83" fmla="*/ 259 h 385"/>
                <a:gd name="T84" fmla="*/ 21 w 362"/>
                <a:gd name="T85" fmla="*/ 266 h 385"/>
                <a:gd name="T86" fmla="*/ 60 w 362"/>
                <a:gd name="T87" fmla="*/ 287 h 385"/>
                <a:gd name="T88" fmla="*/ 71 w 362"/>
                <a:gd name="T89" fmla="*/ 314 h 385"/>
                <a:gd name="T90" fmla="*/ 61 w 362"/>
                <a:gd name="T91" fmla="*/ 354 h 385"/>
                <a:gd name="T92" fmla="*/ 61 w 362"/>
                <a:gd name="T93" fmla="*/ 384 h 385"/>
                <a:gd name="T94" fmla="*/ 95 w 362"/>
                <a:gd name="T95" fmla="*/ 371 h 385"/>
                <a:gd name="T96" fmla="*/ 185 w 362"/>
                <a:gd name="T97" fmla="*/ 342 h 385"/>
                <a:gd name="T98" fmla="*/ 219 w 362"/>
                <a:gd name="T99" fmla="*/ 335 h 385"/>
                <a:gd name="T100" fmla="*/ 265 w 362"/>
                <a:gd name="T101" fmla="*/ 326 h 385"/>
                <a:gd name="T102" fmla="*/ 290 w 362"/>
                <a:gd name="T103" fmla="*/ 322 h 385"/>
                <a:gd name="T104" fmla="*/ 314 w 362"/>
                <a:gd name="T105" fmla="*/ 333 h 385"/>
                <a:gd name="T106" fmla="*/ 341 w 362"/>
                <a:gd name="T107" fmla="*/ 338 h 385"/>
                <a:gd name="T108" fmla="*/ 347 w 362"/>
                <a:gd name="T109" fmla="*/ 33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385">
                  <a:moveTo>
                    <a:pt x="340" y="312"/>
                  </a:moveTo>
                  <a:cubicBezTo>
                    <a:pt x="332" y="302"/>
                    <a:pt x="332" y="300"/>
                    <a:pt x="329" y="294"/>
                  </a:cubicBezTo>
                  <a:cubicBezTo>
                    <a:pt x="329" y="292"/>
                    <a:pt x="328" y="289"/>
                    <a:pt x="326" y="286"/>
                  </a:cubicBezTo>
                  <a:cubicBezTo>
                    <a:pt x="324" y="279"/>
                    <a:pt x="322" y="272"/>
                    <a:pt x="321" y="265"/>
                  </a:cubicBezTo>
                  <a:cubicBezTo>
                    <a:pt x="320" y="257"/>
                    <a:pt x="320" y="250"/>
                    <a:pt x="320" y="242"/>
                  </a:cubicBezTo>
                  <a:cubicBezTo>
                    <a:pt x="320" y="235"/>
                    <a:pt x="324" y="224"/>
                    <a:pt x="328" y="213"/>
                  </a:cubicBezTo>
                  <a:cubicBezTo>
                    <a:pt x="335" y="196"/>
                    <a:pt x="344" y="179"/>
                    <a:pt x="348" y="173"/>
                  </a:cubicBezTo>
                  <a:cubicBezTo>
                    <a:pt x="351" y="169"/>
                    <a:pt x="354" y="164"/>
                    <a:pt x="356" y="159"/>
                  </a:cubicBezTo>
                  <a:cubicBezTo>
                    <a:pt x="359" y="154"/>
                    <a:pt x="361" y="149"/>
                    <a:pt x="362" y="144"/>
                  </a:cubicBezTo>
                  <a:cubicBezTo>
                    <a:pt x="362" y="140"/>
                    <a:pt x="362" y="136"/>
                    <a:pt x="361" y="132"/>
                  </a:cubicBezTo>
                  <a:cubicBezTo>
                    <a:pt x="361" y="132"/>
                    <a:pt x="361" y="132"/>
                    <a:pt x="361" y="132"/>
                  </a:cubicBezTo>
                  <a:cubicBezTo>
                    <a:pt x="360" y="129"/>
                    <a:pt x="359" y="124"/>
                    <a:pt x="356" y="119"/>
                  </a:cubicBezTo>
                  <a:cubicBezTo>
                    <a:pt x="354" y="113"/>
                    <a:pt x="352" y="109"/>
                    <a:pt x="351" y="104"/>
                  </a:cubicBezTo>
                  <a:cubicBezTo>
                    <a:pt x="349" y="99"/>
                    <a:pt x="349" y="94"/>
                    <a:pt x="350" y="87"/>
                  </a:cubicBezTo>
                  <a:cubicBezTo>
                    <a:pt x="352" y="77"/>
                    <a:pt x="349" y="74"/>
                    <a:pt x="343" y="67"/>
                  </a:cubicBezTo>
                  <a:cubicBezTo>
                    <a:pt x="342" y="66"/>
                    <a:pt x="342" y="66"/>
                    <a:pt x="342" y="66"/>
                  </a:cubicBezTo>
                  <a:cubicBezTo>
                    <a:pt x="338" y="61"/>
                    <a:pt x="334" y="57"/>
                    <a:pt x="328" y="53"/>
                  </a:cubicBezTo>
                  <a:cubicBezTo>
                    <a:pt x="323" y="50"/>
                    <a:pt x="317" y="47"/>
                    <a:pt x="310" y="46"/>
                  </a:cubicBezTo>
                  <a:cubicBezTo>
                    <a:pt x="299" y="45"/>
                    <a:pt x="293" y="46"/>
                    <a:pt x="286" y="47"/>
                  </a:cubicBezTo>
                  <a:cubicBezTo>
                    <a:pt x="284" y="47"/>
                    <a:pt x="282" y="48"/>
                    <a:pt x="280" y="48"/>
                  </a:cubicBezTo>
                  <a:cubicBezTo>
                    <a:pt x="274" y="49"/>
                    <a:pt x="269" y="53"/>
                    <a:pt x="265" y="56"/>
                  </a:cubicBezTo>
                  <a:cubicBezTo>
                    <a:pt x="260" y="60"/>
                    <a:pt x="257" y="63"/>
                    <a:pt x="253" y="63"/>
                  </a:cubicBezTo>
                  <a:cubicBezTo>
                    <a:pt x="249" y="63"/>
                    <a:pt x="246" y="62"/>
                    <a:pt x="242" y="61"/>
                  </a:cubicBezTo>
                  <a:cubicBezTo>
                    <a:pt x="238" y="59"/>
                    <a:pt x="234" y="57"/>
                    <a:pt x="229" y="54"/>
                  </a:cubicBezTo>
                  <a:cubicBezTo>
                    <a:pt x="223" y="51"/>
                    <a:pt x="219" y="48"/>
                    <a:pt x="216" y="45"/>
                  </a:cubicBezTo>
                  <a:cubicBezTo>
                    <a:pt x="213" y="41"/>
                    <a:pt x="211" y="37"/>
                    <a:pt x="209" y="31"/>
                  </a:cubicBezTo>
                  <a:cubicBezTo>
                    <a:pt x="207" y="24"/>
                    <a:pt x="204" y="23"/>
                    <a:pt x="201" y="21"/>
                  </a:cubicBezTo>
                  <a:cubicBezTo>
                    <a:pt x="199" y="20"/>
                    <a:pt x="197" y="18"/>
                    <a:pt x="194" y="17"/>
                  </a:cubicBezTo>
                  <a:cubicBezTo>
                    <a:pt x="192" y="15"/>
                    <a:pt x="188" y="14"/>
                    <a:pt x="183" y="15"/>
                  </a:cubicBezTo>
                  <a:cubicBezTo>
                    <a:pt x="177" y="15"/>
                    <a:pt x="172" y="17"/>
                    <a:pt x="168" y="19"/>
                  </a:cubicBezTo>
                  <a:cubicBezTo>
                    <a:pt x="166" y="20"/>
                    <a:pt x="166" y="21"/>
                    <a:pt x="166" y="21"/>
                  </a:cubicBezTo>
                  <a:cubicBezTo>
                    <a:pt x="158" y="26"/>
                    <a:pt x="153" y="29"/>
                    <a:pt x="142" y="26"/>
                  </a:cubicBezTo>
                  <a:cubicBezTo>
                    <a:pt x="132" y="22"/>
                    <a:pt x="134" y="13"/>
                    <a:pt x="135" y="6"/>
                  </a:cubicBezTo>
                  <a:cubicBezTo>
                    <a:pt x="135" y="4"/>
                    <a:pt x="136" y="3"/>
                    <a:pt x="136" y="2"/>
                  </a:cubicBezTo>
                  <a:cubicBezTo>
                    <a:pt x="135" y="2"/>
                    <a:pt x="135" y="1"/>
                    <a:pt x="134" y="1"/>
                  </a:cubicBezTo>
                  <a:cubicBezTo>
                    <a:pt x="132" y="0"/>
                    <a:pt x="129" y="0"/>
                    <a:pt x="127" y="0"/>
                  </a:cubicBezTo>
                  <a:cubicBezTo>
                    <a:pt x="125" y="0"/>
                    <a:pt x="123" y="1"/>
                    <a:pt x="122" y="1"/>
                  </a:cubicBezTo>
                  <a:cubicBezTo>
                    <a:pt x="120" y="2"/>
                    <a:pt x="119" y="4"/>
                    <a:pt x="118" y="7"/>
                  </a:cubicBezTo>
                  <a:cubicBezTo>
                    <a:pt x="117" y="11"/>
                    <a:pt x="115" y="17"/>
                    <a:pt x="108" y="19"/>
                  </a:cubicBezTo>
                  <a:cubicBezTo>
                    <a:pt x="103" y="20"/>
                    <a:pt x="101" y="22"/>
                    <a:pt x="99" y="23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6" y="25"/>
                    <a:pt x="94" y="28"/>
                    <a:pt x="89" y="29"/>
                  </a:cubicBezTo>
                  <a:cubicBezTo>
                    <a:pt x="80" y="31"/>
                    <a:pt x="75" y="28"/>
                    <a:pt x="67" y="23"/>
                  </a:cubicBezTo>
                  <a:cubicBezTo>
                    <a:pt x="66" y="22"/>
                    <a:pt x="64" y="21"/>
                    <a:pt x="62" y="20"/>
                  </a:cubicBezTo>
                  <a:cubicBezTo>
                    <a:pt x="58" y="18"/>
                    <a:pt x="55" y="17"/>
                    <a:pt x="52" y="17"/>
                  </a:cubicBezTo>
                  <a:cubicBezTo>
                    <a:pt x="50" y="17"/>
                    <a:pt x="48" y="17"/>
                    <a:pt x="46" y="19"/>
                  </a:cubicBezTo>
                  <a:cubicBezTo>
                    <a:pt x="44" y="21"/>
                    <a:pt x="36" y="26"/>
                    <a:pt x="31" y="31"/>
                  </a:cubicBezTo>
                  <a:cubicBezTo>
                    <a:pt x="28" y="34"/>
                    <a:pt x="26" y="36"/>
                    <a:pt x="26" y="36"/>
                  </a:cubicBezTo>
                  <a:cubicBezTo>
                    <a:pt x="26" y="38"/>
                    <a:pt x="26" y="41"/>
                    <a:pt x="26" y="45"/>
                  </a:cubicBezTo>
                  <a:cubicBezTo>
                    <a:pt x="26" y="49"/>
                    <a:pt x="27" y="53"/>
                    <a:pt x="28" y="58"/>
                  </a:cubicBezTo>
                  <a:cubicBezTo>
                    <a:pt x="28" y="63"/>
                    <a:pt x="29" y="66"/>
                    <a:pt x="31" y="68"/>
                  </a:cubicBezTo>
                  <a:cubicBezTo>
                    <a:pt x="32" y="69"/>
                    <a:pt x="34" y="70"/>
                    <a:pt x="36" y="71"/>
                  </a:cubicBezTo>
                  <a:cubicBezTo>
                    <a:pt x="41" y="73"/>
                    <a:pt x="44" y="76"/>
                    <a:pt x="46" y="81"/>
                  </a:cubicBezTo>
                  <a:cubicBezTo>
                    <a:pt x="47" y="85"/>
                    <a:pt x="47" y="91"/>
                    <a:pt x="45" y="96"/>
                  </a:cubicBezTo>
                  <a:cubicBezTo>
                    <a:pt x="45" y="100"/>
                    <a:pt x="44" y="102"/>
                    <a:pt x="44" y="103"/>
                  </a:cubicBezTo>
                  <a:cubicBezTo>
                    <a:pt x="43" y="106"/>
                    <a:pt x="43" y="107"/>
                    <a:pt x="43" y="109"/>
                  </a:cubicBezTo>
                  <a:cubicBezTo>
                    <a:pt x="43" y="112"/>
                    <a:pt x="44" y="114"/>
                    <a:pt x="46" y="116"/>
                  </a:cubicBezTo>
                  <a:cubicBezTo>
                    <a:pt x="47" y="118"/>
                    <a:pt x="48" y="119"/>
                    <a:pt x="49" y="121"/>
                  </a:cubicBezTo>
                  <a:cubicBezTo>
                    <a:pt x="49" y="121"/>
                    <a:pt x="49" y="121"/>
                    <a:pt x="49" y="121"/>
                  </a:cubicBezTo>
                  <a:cubicBezTo>
                    <a:pt x="50" y="123"/>
                    <a:pt x="52" y="127"/>
                    <a:pt x="53" y="131"/>
                  </a:cubicBezTo>
                  <a:cubicBezTo>
                    <a:pt x="54" y="136"/>
                    <a:pt x="53" y="141"/>
                    <a:pt x="48" y="143"/>
                  </a:cubicBezTo>
                  <a:cubicBezTo>
                    <a:pt x="44" y="144"/>
                    <a:pt x="39" y="142"/>
                    <a:pt x="34" y="139"/>
                  </a:cubicBezTo>
                  <a:cubicBezTo>
                    <a:pt x="31" y="138"/>
                    <a:pt x="28" y="137"/>
                    <a:pt x="26" y="137"/>
                  </a:cubicBezTo>
                  <a:cubicBezTo>
                    <a:pt x="25" y="137"/>
                    <a:pt x="24" y="137"/>
                    <a:pt x="23" y="137"/>
                  </a:cubicBezTo>
                  <a:cubicBezTo>
                    <a:pt x="22" y="137"/>
                    <a:pt x="22" y="137"/>
                    <a:pt x="21" y="137"/>
                  </a:cubicBezTo>
                  <a:cubicBezTo>
                    <a:pt x="21" y="137"/>
                    <a:pt x="21" y="137"/>
                    <a:pt x="21" y="137"/>
                  </a:cubicBezTo>
                  <a:cubicBezTo>
                    <a:pt x="21" y="138"/>
                    <a:pt x="21" y="138"/>
                    <a:pt x="20" y="139"/>
                  </a:cubicBezTo>
                  <a:cubicBezTo>
                    <a:pt x="20" y="140"/>
                    <a:pt x="20" y="141"/>
                    <a:pt x="20" y="143"/>
                  </a:cubicBezTo>
                  <a:cubicBezTo>
                    <a:pt x="21" y="146"/>
                    <a:pt x="23" y="149"/>
                    <a:pt x="25" y="151"/>
                  </a:cubicBezTo>
                  <a:cubicBezTo>
                    <a:pt x="28" y="154"/>
                    <a:pt x="31" y="157"/>
                    <a:pt x="32" y="163"/>
                  </a:cubicBezTo>
                  <a:cubicBezTo>
                    <a:pt x="33" y="174"/>
                    <a:pt x="27" y="181"/>
                    <a:pt x="22" y="188"/>
                  </a:cubicBezTo>
                  <a:cubicBezTo>
                    <a:pt x="22" y="188"/>
                    <a:pt x="22" y="188"/>
                    <a:pt x="22" y="188"/>
                  </a:cubicBezTo>
                  <a:cubicBezTo>
                    <a:pt x="21" y="189"/>
                    <a:pt x="21" y="189"/>
                    <a:pt x="21" y="189"/>
                  </a:cubicBezTo>
                  <a:cubicBezTo>
                    <a:pt x="21" y="189"/>
                    <a:pt x="21" y="189"/>
                    <a:pt x="21" y="189"/>
                  </a:cubicBezTo>
                  <a:cubicBezTo>
                    <a:pt x="17" y="196"/>
                    <a:pt x="14" y="197"/>
                    <a:pt x="10" y="198"/>
                  </a:cubicBezTo>
                  <a:cubicBezTo>
                    <a:pt x="10" y="200"/>
                    <a:pt x="11" y="201"/>
                    <a:pt x="11" y="203"/>
                  </a:cubicBezTo>
                  <a:cubicBezTo>
                    <a:pt x="13" y="211"/>
                    <a:pt x="15" y="219"/>
                    <a:pt x="15" y="225"/>
                  </a:cubicBezTo>
                  <a:cubicBezTo>
                    <a:pt x="15" y="234"/>
                    <a:pt x="14" y="235"/>
                    <a:pt x="8" y="244"/>
                  </a:cubicBezTo>
                  <a:cubicBezTo>
                    <a:pt x="8" y="244"/>
                    <a:pt x="8" y="244"/>
                    <a:pt x="8" y="244"/>
                  </a:cubicBezTo>
                  <a:cubicBezTo>
                    <a:pt x="7" y="245"/>
                    <a:pt x="6" y="246"/>
                    <a:pt x="4" y="248"/>
                  </a:cubicBezTo>
                  <a:cubicBezTo>
                    <a:pt x="0" y="254"/>
                    <a:pt x="0" y="256"/>
                    <a:pt x="1" y="257"/>
                  </a:cubicBezTo>
                  <a:cubicBezTo>
                    <a:pt x="1" y="257"/>
                    <a:pt x="1" y="257"/>
                    <a:pt x="1" y="257"/>
                  </a:cubicBezTo>
                  <a:cubicBezTo>
                    <a:pt x="2" y="257"/>
                    <a:pt x="3" y="258"/>
                    <a:pt x="4" y="259"/>
                  </a:cubicBezTo>
                  <a:cubicBezTo>
                    <a:pt x="4" y="259"/>
                    <a:pt x="4" y="259"/>
                    <a:pt x="4" y="259"/>
                  </a:cubicBezTo>
                  <a:cubicBezTo>
                    <a:pt x="5" y="259"/>
                    <a:pt x="7" y="260"/>
                    <a:pt x="9" y="262"/>
                  </a:cubicBezTo>
                  <a:cubicBezTo>
                    <a:pt x="13" y="265"/>
                    <a:pt x="16" y="265"/>
                    <a:pt x="21" y="266"/>
                  </a:cubicBezTo>
                  <a:cubicBezTo>
                    <a:pt x="26" y="267"/>
                    <a:pt x="33" y="268"/>
                    <a:pt x="42" y="272"/>
                  </a:cubicBezTo>
                  <a:cubicBezTo>
                    <a:pt x="56" y="278"/>
                    <a:pt x="57" y="281"/>
                    <a:pt x="60" y="287"/>
                  </a:cubicBezTo>
                  <a:cubicBezTo>
                    <a:pt x="60" y="289"/>
                    <a:pt x="61" y="292"/>
                    <a:pt x="64" y="295"/>
                  </a:cubicBezTo>
                  <a:cubicBezTo>
                    <a:pt x="69" y="302"/>
                    <a:pt x="71" y="308"/>
                    <a:pt x="71" y="314"/>
                  </a:cubicBezTo>
                  <a:cubicBezTo>
                    <a:pt x="71" y="320"/>
                    <a:pt x="70" y="327"/>
                    <a:pt x="68" y="337"/>
                  </a:cubicBezTo>
                  <a:cubicBezTo>
                    <a:pt x="66" y="347"/>
                    <a:pt x="63" y="351"/>
                    <a:pt x="61" y="354"/>
                  </a:cubicBezTo>
                  <a:cubicBezTo>
                    <a:pt x="60" y="356"/>
                    <a:pt x="59" y="357"/>
                    <a:pt x="59" y="362"/>
                  </a:cubicBezTo>
                  <a:cubicBezTo>
                    <a:pt x="59" y="368"/>
                    <a:pt x="60" y="377"/>
                    <a:pt x="61" y="384"/>
                  </a:cubicBezTo>
                  <a:cubicBezTo>
                    <a:pt x="61" y="384"/>
                    <a:pt x="61" y="384"/>
                    <a:pt x="61" y="384"/>
                  </a:cubicBezTo>
                  <a:cubicBezTo>
                    <a:pt x="67" y="385"/>
                    <a:pt x="87" y="375"/>
                    <a:pt x="95" y="371"/>
                  </a:cubicBezTo>
                  <a:cubicBezTo>
                    <a:pt x="103" y="366"/>
                    <a:pt x="123" y="357"/>
                    <a:pt x="146" y="352"/>
                  </a:cubicBezTo>
                  <a:cubicBezTo>
                    <a:pt x="170" y="348"/>
                    <a:pt x="178" y="342"/>
                    <a:pt x="185" y="342"/>
                  </a:cubicBezTo>
                  <a:cubicBezTo>
                    <a:pt x="193" y="341"/>
                    <a:pt x="194" y="337"/>
                    <a:pt x="200" y="337"/>
                  </a:cubicBezTo>
                  <a:cubicBezTo>
                    <a:pt x="206" y="336"/>
                    <a:pt x="213" y="335"/>
                    <a:pt x="219" y="335"/>
                  </a:cubicBezTo>
                  <a:cubicBezTo>
                    <a:pt x="225" y="335"/>
                    <a:pt x="233" y="332"/>
                    <a:pt x="242" y="330"/>
                  </a:cubicBezTo>
                  <a:cubicBezTo>
                    <a:pt x="251" y="328"/>
                    <a:pt x="259" y="325"/>
                    <a:pt x="265" y="326"/>
                  </a:cubicBezTo>
                  <a:cubicBezTo>
                    <a:pt x="272" y="327"/>
                    <a:pt x="279" y="328"/>
                    <a:pt x="282" y="327"/>
                  </a:cubicBezTo>
                  <a:cubicBezTo>
                    <a:pt x="286" y="325"/>
                    <a:pt x="282" y="318"/>
                    <a:pt x="290" y="322"/>
                  </a:cubicBezTo>
                  <a:cubicBezTo>
                    <a:pt x="297" y="327"/>
                    <a:pt x="296" y="333"/>
                    <a:pt x="300" y="334"/>
                  </a:cubicBezTo>
                  <a:cubicBezTo>
                    <a:pt x="305" y="335"/>
                    <a:pt x="311" y="336"/>
                    <a:pt x="314" y="333"/>
                  </a:cubicBezTo>
                  <a:cubicBezTo>
                    <a:pt x="317" y="331"/>
                    <a:pt x="320" y="324"/>
                    <a:pt x="326" y="326"/>
                  </a:cubicBezTo>
                  <a:cubicBezTo>
                    <a:pt x="332" y="328"/>
                    <a:pt x="334" y="331"/>
                    <a:pt x="341" y="338"/>
                  </a:cubicBezTo>
                  <a:cubicBezTo>
                    <a:pt x="343" y="341"/>
                    <a:pt x="345" y="342"/>
                    <a:pt x="347" y="343"/>
                  </a:cubicBezTo>
                  <a:cubicBezTo>
                    <a:pt x="347" y="340"/>
                    <a:pt x="347" y="336"/>
                    <a:pt x="347" y="333"/>
                  </a:cubicBezTo>
                  <a:cubicBezTo>
                    <a:pt x="346" y="325"/>
                    <a:pt x="344" y="317"/>
                    <a:pt x="340" y="31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6" name="Freeform 494"/>
            <p:cNvSpPr>
              <a:spLocks/>
            </p:cNvSpPr>
            <p:nvPr/>
          </p:nvSpPr>
          <p:spPr bwMode="auto">
            <a:xfrm>
              <a:off x="4378041" y="4428622"/>
              <a:ext cx="50006" cy="108347"/>
            </a:xfrm>
            <a:custGeom>
              <a:avLst/>
              <a:gdLst>
                <a:gd name="T0" fmla="*/ 125 w 175"/>
                <a:gd name="T1" fmla="*/ 205 h 376"/>
                <a:gd name="T2" fmla="*/ 131 w 175"/>
                <a:gd name="T3" fmla="*/ 201 h 376"/>
                <a:gd name="T4" fmla="*/ 142 w 175"/>
                <a:gd name="T5" fmla="*/ 180 h 376"/>
                <a:gd name="T6" fmla="*/ 149 w 175"/>
                <a:gd name="T7" fmla="*/ 162 h 376"/>
                <a:gd name="T8" fmla="*/ 161 w 175"/>
                <a:gd name="T9" fmla="*/ 145 h 376"/>
                <a:gd name="T10" fmla="*/ 173 w 175"/>
                <a:gd name="T11" fmla="*/ 125 h 376"/>
                <a:gd name="T12" fmla="*/ 175 w 175"/>
                <a:gd name="T13" fmla="*/ 100 h 376"/>
                <a:gd name="T14" fmla="*/ 173 w 175"/>
                <a:gd name="T15" fmla="*/ 83 h 376"/>
                <a:gd name="T16" fmla="*/ 169 w 175"/>
                <a:gd name="T17" fmla="*/ 76 h 376"/>
                <a:gd name="T18" fmla="*/ 164 w 175"/>
                <a:gd name="T19" fmla="*/ 58 h 376"/>
                <a:gd name="T20" fmla="*/ 163 w 175"/>
                <a:gd name="T21" fmla="*/ 50 h 376"/>
                <a:gd name="T22" fmla="*/ 163 w 175"/>
                <a:gd name="T23" fmla="*/ 38 h 376"/>
                <a:gd name="T24" fmla="*/ 126 w 175"/>
                <a:gd name="T25" fmla="*/ 7 h 376"/>
                <a:gd name="T26" fmla="*/ 126 w 175"/>
                <a:gd name="T27" fmla="*/ 7 h 376"/>
                <a:gd name="T28" fmla="*/ 123 w 175"/>
                <a:gd name="T29" fmla="*/ 5 h 376"/>
                <a:gd name="T30" fmla="*/ 112 w 175"/>
                <a:gd name="T31" fmla="*/ 3 h 376"/>
                <a:gd name="T32" fmla="*/ 99 w 175"/>
                <a:gd name="T33" fmla="*/ 9 h 376"/>
                <a:gd name="T34" fmla="*/ 87 w 175"/>
                <a:gd name="T35" fmla="*/ 14 h 376"/>
                <a:gd name="T36" fmla="*/ 89 w 175"/>
                <a:gd name="T37" fmla="*/ 17 h 376"/>
                <a:gd name="T38" fmla="*/ 95 w 175"/>
                <a:gd name="T39" fmla="*/ 32 h 376"/>
                <a:gd name="T40" fmla="*/ 88 w 175"/>
                <a:gd name="T41" fmla="*/ 44 h 376"/>
                <a:gd name="T42" fmla="*/ 82 w 175"/>
                <a:gd name="T43" fmla="*/ 52 h 376"/>
                <a:gd name="T44" fmla="*/ 68 w 175"/>
                <a:gd name="T45" fmla="*/ 59 h 376"/>
                <a:gd name="T46" fmla="*/ 61 w 175"/>
                <a:gd name="T47" fmla="*/ 60 h 376"/>
                <a:gd name="T48" fmla="*/ 50 w 175"/>
                <a:gd name="T49" fmla="*/ 60 h 376"/>
                <a:gd name="T50" fmla="*/ 28 w 175"/>
                <a:gd name="T51" fmla="*/ 64 h 376"/>
                <a:gd name="T52" fmla="*/ 12 w 175"/>
                <a:gd name="T53" fmla="*/ 83 h 376"/>
                <a:gd name="T54" fmla="*/ 1 w 175"/>
                <a:gd name="T55" fmla="*/ 100 h 376"/>
                <a:gd name="T56" fmla="*/ 0 w 175"/>
                <a:gd name="T57" fmla="*/ 111 h 376"/>
                <a:gd name="T58" fmla="*/ 4 w 175"/>
                <a:gd name="T59" fmla="*/ 120 h 376"/>
                <a:gd name="T60" fmla="*/ 19 w 175"/>
                <a:gd name="T61" fmla="*/ 133 h 376"/>
                <a:gd name="T62" fmla="*/ 33 w 175"/>
                <a:gd name="T63" fmla="*/ 146 h 376"/>
                <a:gd name="T64" fmla="*/ 34 w 175"/>
                <a:gd name="T65" fmla="*/ 158 h 376"/>
                <a:gd name="T66" fmla="*/ 36 w 175"/>
                <a:gd name="T67" fmla="*/ 180 h 376"/>
                <a:gd name="T68" fmla="*/ 41 w 175"/>
                <a:gd name="T69" fmla="*/ 193 h 376"/>
                <a:gd name="T70" fmla="*/ 46 w 175"/>
                <a:gd name="T71" fmla="*/ 201 h 376"/>
                <a:gd name="T72" fmla="*/ 46 w 175"/>
                <a:gd name="T73" fmla="*/ 201 h 376"/>
                <a:gd name="T74" fmla="*/ 50 w 175"/>
                <a:gd name="T75" fmla="*/ 222 h 376"/>
                <a:gd name="T76" fmla="*/ 52 w 175"/>
                <a:gd name="T77" fmla="*/ 251 h 376"/>
                <a:gd name="T78" fmla="*/ 53 w 175"/>
                <a:gd name="T79" fmla="*/ 265 h 376"/>
                <a:gd name="T80" fmla="*/ 52 w 175"/>
                <a:gd name="T81" fmla="*/ 312 h 376"/>
                <a:gd name="T82" fmla="*/ 49 w 175"/>
                <a:gd name="T83" fmla="*/ 332 h 376"/>
                <a:gd name="T84" fmla="*/ 48 w 175"/>
                <a:gd name="T85" fmla="*/ 349 h 376"/>
                <a:gd name="T86" fmla="*/ 53 w 175"/>
                <a:gd name="T87" fmla="*/ 360 h 376"/>
                <a:gd name="T88" fmla="*/ 59 w 175"/>
                <a:gd name="T89" fmla="*/ 368 h 376"/>
                <a:gd name="T90" fmla="*/ 59 w 175"/>
                <a:gd name="T91" fmla="*/ 368 h 376"/>
                <a:gd name="T92" fmla="*/ 60 w 175"/>
                <a:gd name="T93" fmla="*/ 376 h 376"/>
                <a:gd name="T94" fmla="*/ 68 w 175"/>
                <a:gd name="T95" fmla="*/ 375 h 376"/>
                <a:gd name="T96" fmla="*/ 90 w 175"/>
                <a:gd name="T97" fmla="*/ 375 h 376"/>
                <a:gd name="T98" fmla="*/ 111 w 175"/>
                <a:gd name="T99" fmla="*/ 373 h 376"/>
                <a:gd name="T100" fmla="*/ 111 w 175"/>
                <a:gd name="T101" fmla="*/ 354 h 376"/>
                <a:gd name="T102" fmla="*/ 110 w 175"/>
                <a:gd name="T103" fmla="*/ 328 h 376"/>
                <a:gd name="T104" fmla="*/ 111 w 175"/>
                <a:gd name="T105" fmla="*/ 303 h 376"/>
                <a:gd name="T106" fmla="*/ 110 w 175"/>
                <a:gd name="T107" fmla="*/ 283 h 376"/>
                <a:gd name="T108" fmla="*/ 110 w 175"/>
                <a:gd name="T109" fmla="*/ 256 h 376"/>
                <a:gd name="T110" fmla="*/ 110 w 175"/>
                <a:gd name="T111" fmla="*/ 233 h 376"/>
                <a:gd name="T112" fmla="*/ 116 w 175"/>
                <a:gd name="T113" fmla="*/ 212 h 376"/>
                <a:gd name="T114" fmla="*/ 125 w 175"/>
                <a:gd name="T115" fmla="*/ 20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5" h="376">
                  <a:moveTo>
                    <a:pt x="125" y="205"/>
                  </a:moveTo>
                  <a:cubicBezTo>
                    <a:pt x="126" y="205"/>
                    <a:pt x="127" y="205"/>
                    <a:pt x="131" y="201"/>
                  </a:cubicBezTo>
                  <a:cubicBezTo>
                    <a:pt x="136" y="195"/>
                    <a:pt x="139" y="188"/>
                    <a:pt x="142" y="180"/>
                  </a:cubicBezTo>
                  <a:cubicBezTo>
                    <a:pt x="144" y="174"/>
                    <a:pt x="146" y="169"/>
                    <a:pt x="149" y="162"/>
                  </a:cubicBezTo>
                  <a:cubicBezTo>
                    <a:pt x="153" y="155"/>
                    <a:pt x="157" y="150"/>
                    <a:pt x="161" y="145"/>
                  </a:cubicBezTo>
                  <a:cubicBezTo>
                    <a:pt x="166" y="138"/>
                    <a:pt x="171" y="133"/>
                    <a:pt x="173" y="125"/>
                  </a:cubicBezTo>
                  <a:cubicBezTo>
                    <a:pt x="174" y="117"/>
                    <a:pt x="175" y="108"/>
                    <a:pt x="175" y="100"/>
                  </a:cubicBezTo>
                  <a:cubicBezTo>
                    <a:pt x="175" y="93"/>
                    <a:pt x="175" y="87"/>
                    <a:pt x="173" y="83"/>
                  </a:cubicBezTo>
                  <a:cubicBezTo>
                    <a:pt x="172" y="79"/>
                    <a:pt x="170" y="77"/>
                    <a:pt x="169" y="76"/>
                  </a:cubicBezTo>
                  <a:cubicBezTo>
                    <a:pt x="166" y="72"/>
                    <a:pt x="164" y="69"/>
                    <a:pt x="164" y="58"/>
                  </a:cubicBezTo>
                  <a:cubicBezTo>
                    <a:pt x="164" y="54"/>
                    <a:pt x="163" y="52"/>
                    <a:pt x="163" y="50"/>
                  </a:cubicBezTo>
                  <a:cubicBezTo>
                    <a:pt x="163" y="46"/>
                    <a:pt x="162" y="44"/>
                    <a:pt x="163" y="38"/>
                  </a:cubicBezTo>
                  <a:cubicBezTo>
                    <a:pt x="157" y="33"/>
                    <a:pt x="133" y="14"/>
                    <a:pt x="126" y="7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5" y="6"/>
                    <a:pt x="124" y="5"/>
                    <a:pt x="123" y="5"/>
                  </a:cubicBezTo>
                  <a:cubicBezTo>
                    <a:pt x="119" y="1"/>
                    <a:pt x="118" y="0"/>
                    <a:pt x="112" y="3"/>
                  </a:cubicBezTo>
                  <a:cubicBezTo>
                    <a:pt x="107" y="5"/>
                    <a:pt x="103" y="7"/>
                    <a:pt x="99" y="9"/>
                  </a:cubicBezTo>
                  <a:cubicBezTo>
                    <a:pt x="95" y="11"/>
                    <a:pt x="91" y="12"/>
                    <a:pt x="87" y="14"/>
                  </a:cubicBezTo>
                  <a:cubicBezTo>
                    <a:pt x="88" y="15"/>
                    <a:pt x="88" y="16"/>
                    <a:pt x="89" y="17"/>
                  </a:cubicBezTo>
                  <a:cubicBezTo>
                    <a:pt x="92" y="23"/>
                    <a:pt x="95" y="28"/>
                    <a:pt x="95" y="32"/>
                  </a:cubicBezTo>
                  <a:cubicBezTo>
                    <a:pt x="95" y="37"/>
                    <a:pt x="92" y="40"/>
                    <a:pt x="88" y="44"/>
                  </a:cubicBezTo>
                  <a:cubicBezTo>
                    <a:pt x="86" y="46"/>
                    <a:pt x="84" y="49"/>
                    <a:pt x="82" y="52"/>
                  </a:cubicBezTo>
                  <a:cubicBezTo>
                    <a:pt x="76" y="59"/>
                    <a:pt x="74" y="59"/>
                    <a:pt x="68" y="59"/>
                  </a:cubicBezTo>
                  <a:cubicBezTo>
                    <a:pt x="66" y="59"/>
                    <a:pt x="64" y="59"/>
                    <a:pt x="61" y="60"/>
                  </a:cubicBezTo>
                  <a:cubicBezTo>
                    <a:pt x="58" y="60"/>
                    <a:pt x="54" y="60"/>
                    <a:pt x="50" y="60"/>
                  </a:cubicBezTo>
                  <a:cubicBezTo>
                    <a:pt x="42" y="60"/>
                    <a:pt x="33" y="60"/>
                    <a:pt x="28" y="64"/>
                  </a:cubicBezTo>
                  <a:cubicBezTo>
                    <a:pt x="25" y="67"/>
                    <a:pt x="18" y="75"/>
                    <a:pt x="12" y="83"/>
                  </a:cubicBezTo>
                  <a:cubicBezTo>
                    <a:pt x="7" y="89"/>
                    <a:pt x="2" y="96"/>
                    <a:pt x="1" y="100"/>
                  </a:cubicBezTo>
                  <a:cubicBezTo>
                    <a:pt x="0" y="103"/>
                    <a:pt x="0" y="107"/>
                    <a:pt x="0" y="111"/>
                  </a:cubicBezTo>
                  <a:cubicBezTo>
                    <a:pt x="1" y="114"/>
                    <a:pt x="2" y="117"/>
                    <a:pt x="4" y="120"/>
                  </a:cubicBezTo>
                  <a:cubicBezTo>
                    <a:pt x="6" y="123"/>
                    <a:pt x="13" y="129"/>
                    <a:pt x="19" y="133"/>
                  </a:cubicBezTo>
                  <a:cubicBezTo>
                    <a:pt x="26" y="139"/>
                    <a:pt x="32" y="143"/>
                    <a:pt x="33" y="146"/>
                  </a:cubicBezTo>
                  <a:cubicBezTo>
                    <a:pt x="34" y="149"/>
                    <a:pt x="34" y="153"/>
                    <a:pt x="34" y="158"/>
                  </a:cubicBezTo>
                  <a:cubicBezTo>
                    <a:pt x="34" y="164"/>
                    <a:pt x="35" y="171"/>
                    <a:pt x="36" y="180"/>
                  </a:cubicBezTo>
                  <a:cubicBezTo>
                    <a:pt x="37" y="189"/>
                    <a:pt x="39" y="191"/>
                    <a:pt x="41" y="193"/>
                  </a:cubicBezTo>
                  <a:cubicBezTo>
                    <a:pt x="42" y="195"/>
                    <a:pt x="44" y="197"/>
                    <a:pt x="46" y="201"/>
                  </a:cubicBezTo>
                  <a:cubicBezTo>
                    <a:pt x="46" y="201"/>
                    <a:pt x="46" y="201"/>
                    <a:pt x="46" y="201"/>
                  </a:cubicBezTo>
                  <a:cubicBezTo>
                    <a:pt x="48" y="206"/>
                    <a:pt x="49" y="213"/>
                    <a:pt x="50" y="222"/>
                  </a:cubicBezTo>
                  <a:cubicBezTo>
                    <a:pt x="51" y="231"/>
                    <a:pt x="51" y="241"/>
                    <a:pt x="52" y="251"/>
                  </a:cubicBezTo>
                  <a:cubicBezTo>
                    <a:pt x="52" y="256"/>
                    <a:pt x="52" y="261"/>
                    <a:pt x="53" y="265"/>
                  </a:cubicBezTo>
                  <a:cubicBezTo>
                    <a:pt x="53" y="283"/>
                    <a:pt x="54" y="300"/>
                    <a:pt x="52" y="312"/>
                  </a:cubicBezTo>
                  <a:cubicBezTo>
                    <a:pt x="50" y="320"/>
                    <a:pt x="49" y="326"/>
                    <a:pt x="49" y="332"/>
                  </a:cubicBezTo>
                  <a:cubicBezTo>
                    <a:pt x="48" y="338"/>
                    <a:pt x="48" y="343"/>
                    <a:pt x="48" y="349"/>
                  </a:cubicBezTo>
                  <a:cubicBezTo>
                    <a:pt x="49" y="356"/>
                    <a:pt x="51" y="358"/>
                    <a:pt x="53" y="360"/>
                  </a:cubicBezTo>
                  <a:cubicBezTo>
                    <a:pt x="55" y="362"/>
                    <a:pt x="57" y="364"/>
                    <a:pt x="59" y="368"/>
                  </a:cubicBezTo>
                  <a:cubicBezTo>
                    <a:pt x="59" y="368"/>
                    <a:pt x="59" y="368"/>
                    <a:pt x="59" y="368"/>
                  </a:cubicBezTo>
                  <a:cubicBezTo>
                    <a:pt x="60" y="371"/>
                    <a:pt x="60" y="374"/>
                    <a:pt x="60" y="376"/>
                  </a:cubicBezTo>
                  <a:cubicBezTo>
                    <a:pt x="62" y="376"/>
                    <a:pt x="64" y="375"/>
                    <a:pt x="68" y="375"/>
                  </a:cubicBezTo>
                  <a:cubicBezTo>
                    <a:pt x="80" y="375"/>
                    <a:pt x="78" y="376"/>
                    <a:pt x="90" y="375"/>
                  </a:cubicBezTo>
                  <a:cubicBezTo>
                    <a:pt x="101" y="374"/>
                    <a:pt x="101" y="375"/>
                    <a:pt x="111" y="373"/>
                  </a:cubicBezTo>
                  <a:cubicBezTo>
                    <a:pt x="111" y="369"/>
                    <a:pt x="111" y="364"/>
                    <a:pt x="111" y="354"/>
                  </a:cubicBezTo>
                  <a:cubicBezTo>
                    <a:pt x="110" y="341"/>
                    <a:pt x="110" y="334"/>
                    <a:pt x="110" y="328"/>
                  </a:cubicBezTo>
                  <a:cubicBezTo>
                    <a:pt x="110" y="322"/>
                    <a:pt x="110" y="316"/>
                    <a:pt x="111" y="303"/>
                  </a:cubicBezTo>
                  <a:cubicBezTo>
                    <a:pt x="111" y="292"/>
                    <a:pt x="110" y="287"/>
                    <a:pt x="110" y="283"/>
                  </a:cubicBezTo>
                  <a:cubicBezTo>
                    <a:pt x="109" y="277"/>
                    <a:pt x="109" y="271"/>
                    <a:pt x="110" y="256"/>
                  </a:cubicBezTo>
                  <a:cubicBezTo>
                    <a:pt x="110" y="245"/>
                    <a:pt x="110" y="238"/>
                    <a:pt x="110" y="233"/>
                  </a:cubicBezTo>
                  <a:cubicBezTo>
                    <a:pt x="109" y="223"/>
                    <a:pt x="109" y="219"/>
                    <a:pt x="116" y="212"/>
                  </a:cubicBezTo>
                  <a:cubicBezTo>
                    <a:pt x="121" y="207"/>
                    <a:pt x="123" y="206"/>
                    <a:pt x="125" y="20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7" name="Freeform 495"/>
            <p:cNvSpPr>
              <a:spLocks/>
            </p:cNvSpPr>
            <p:nvPr/>
          </p:nvSpPr>
          <p:spPr bwMode="auto">
            <a:xfrm>
              <a:off x="4460194" y="4670319"/>
              <a:ext cx="4762" cy="5953"/>
            </a:xfrm>
            <a:custGeom>
              <a:avLst/>
              <a:gdLst>
                <a:gd name="T0" fmla="*/ 5 w 18"/>
                <a:gd name="T1" fmla="*/ 10 h 21"/>
                <a:gd name="T2" fmla="*/ 4 w 18"/>
                <a:gd name="T3" fmla="*/ 21 h 21"/>
                <a:gd name="T4" fmla="*/ 15 w 18"/>
                <a:gd name="T5" fmla="*/ 15 h 21"/>
                <a:gd name="T6" fmla="*/ 5 w 18"/>
                <a:gd name="T7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5" y="10"/>
                  </a:moveTo>
                  <a:cubicBezTo>
                    <a:pt x="3" y="15"/>
                    <a:pt x="0" y="21"/>
                    <a:pt x="4" y="21"/>
                  </a:cubicBezTo>
                  <a:cubicBezTo>
                    <a:pt x="8" y="21"/>
                    <a:pt x="12" y="18"/>
                    <a:pt x="15" y="15"/>
                  </a:cubicBezTo>
                  <a:cubicBezTo>
                    <a:pt x="18" y="11"/>
                    <a:pt x="14" y="0"/>
                    <a:pt x="5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8" name="Freeform 496"/>
            <p:cNvSpPr>
              <a:spLocks/>
            </p:cNvSpPr>
            <p:nvPr/>
          </p:nvSpPr>
          <p:spPr bwMode="auto">
            <a:xfrm>
              <a:off x="4476863" y="4639363"/>
              <a:ext cx="5953" cy="8334"/>
            </a:xfrm>
            <a:custGeom>
              <a:avLst/>
              <a:gdLst>
                <a:gd name="T0" fmla="*/ 5 w 22"/>
                <a:gd name="T1" fmla="*/ 12 h 29"/>
                <a:gd name="T2" fmla="*/ 3 w 22"/>
                <a:gd name="T3" fmla="*/ 26 h 29"/>
                <a:gd name="T4" fmla="*/ 17 w 22"/>
                <a:gd name="T5" fmla="*/ 21 h 29"/>
                <a:gd name="T6" fmla="*/ 5 w 22"/>
                <a:gd name="T7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9">
                  <a:moveTo>
                    <a:pt x="5" y="12"/>
                  </a:moveTo>
                  <a:cubicBezTo>
                    <a:pt x="2" y="17"/>
                    <a:pt x="0" y="23"/>
                    <a:pt x="3" y="26"/>
                  </a:cubicBezTo>
                  <a:cubicBezTo>
                    <a:pt x="6" y="29"/>
                    <a:pt x="12" y="29"/>
                    <a:pt x="17" y="21"/>
                  </a:cubicBezTo>
                  <a:cubicBezTo>
                    <a:pt x="22" y="14"/>
                    <a:pt x="15" y="0"/>
                    <a:pt x="5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9" name="Freeform 497"/>
            <p:cNvSpPr>
              <a:spLocks/>
            </p:cNvSpPr>
            <p:nvPr/>
          </p:nvSpPr>
          <p:spPr bwMode="auto">
            <a:xfrm>
              <a:off x="4182778" y="5401363"/>
              <a:ext cx="4762" cy="8334"/>
            </a:xfrm>
            <a:custGeom>
              <a:avLst/>
              <a:gdLst>
                <a:gd name="T0" fmla="*/ 0 w 20"/>
                <a:gd name="T1" fmla="*/ 10 h 31"/>
                <a:gd name="T2" fmla="*/ 7 w 20"/>
                <a:gd name="T3" fmla="*/ 21 h 31"/>
                <a:gd name="T4" fmla="*/ 16 w 20"/>
                <a:gd name="T5" fmla="*/ 28 h 31"/>
                <a:gd name="T6" fmla="*/ 15 w 20"/>
                <a:gd name="T7" fmla="*/ 17 h 31"/>
                <a:gd name="T8" fmla="*/ 0 w 20"/>
                <a:gd name="T9" fmla="*/ 1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1">
                  <a:moveTo>
                    <a:pt x="0" y="10"/>
                  </a:moveTo>
                  <a:cubicBezTo>
                    <a:pt x="0" y="18"/>
                    <a:pt x="2" y="15"/>
                    <a:pt x="7" y="21"/>
                  </a:cubicBezTo>
                  <a:cubicBezTo>
                    <a:pt x="12" y="28"/>
                    <a:pt x="13" y="31"/>
                    <a:pt x="16" y="28"/>
                  </a:cubicBezTo>
                  <a:cubicBezTo>
                    <a:pt x="19" y="24"/>
                    <a:pt x="20" y="21"/>
                    <a:pt x="15" y="17"/>
                  </a:cubicBezTo>
                  <a:cubicBezTo>
                    <a:pt x="11" y="12"/>
                    <a:pt x="0" y="0"/>
                    <a:pt x="0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0" name="Freeform 498"/>
            <p:cNvSpPr>
              <a:spLocks/>
            </p:cNvSpPr>
            <p:nvPr/>
          </p:nvSpPr>
          <p:spPr bwMode="auto">
            <a:xfrm>
              <a:off x="5343638" y="4751282"/>
              <a:ext cx="3572" cy="4763"/>
            </a:xfrm>
            <a:custGeom>
              <a:avLst/>
              <a:gdLst>
                <a:gd name="T0" fmla="*/ 2 w 10"/>
                <a:gd name="T1" fmla="*/ 8 h 18"/>
                <a:gd name="T2" fmla="*/ 7 w 10"/>
                <a:gd name="T3" fmla="*/ 17 h 18"/>
                <a:gd name="T4" fmla="*/ 8 w 10"/>
                <a:gd name="T5" fmla="*/ 0 h 18"/>
                <a:gd name="T6" fmla="*/ 2 w 10"/>
                <a:gd name="T7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8">
                  <a:moveTo>
                    <a:pt x="2" y="8"/>
                  </a:moveTo>
                  <a:cubicBezTo>
                    <a:pt x="0" y="13"/>
                    <a:pt x="4" y="18"/>
                    <a:pt x="7" y="17"/>
                  </a:cubicBezTo>
                  <a:cubicBezTo>
                    <a:pt x="10" y="16"/>
                    <a:pt x="10" y="0"/>
                    <a:pt x="8" y="0"/>
                  </a:cubicBezTo>
                  <a:cubicBezTo>
                    <a:pt x="5" y="1"/>
                    <a:pt x="2" y="1"/>
                    <a:pt x="2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1" name="Freeform 499"/>
            <p:cNvSpPr>
              <a:spLocks/>
            </p:cNvSpPr>
            <p:nvPr/>
          </p:nvSpPr>
          <p:spPr bwMode="auto">
            <a:xfrm>
              <a:off x="5350781" y="4721516"/>
              <a:ext cx="3572" cy="5953"/>
            </a:xfrm>
            <a:custGeom>
              <a:avLst/>
              <a:gdLst>
                <a:gd name="T0" fmla="*/ 1 w 12"/>
                <a:gd name="T1" fmla="*/ 7 h 19"/>
                <a:gd name="T2" fmla="*/ 4 w 12"/>
                <a:gd name="T3" fmla="*/ 15 h 19"/>
                <a:gd name="T4" fmla="*/ 12 w 12"/>
                <a:gd name="T5" fmla="*/ 14 h 19"/>
                <a:gd name="T6" fmla="*/ 1 w 12"/>
                <a:gd name="T7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9">
                  <a:moveTo>
                    <a:pt x="1" y="7"/>
                  </a:moveTo>
                  <a:cubicBezTo>
                    <a:pt x="0" y="11"/>
                    <a:pt x="1" y="11"/>
                    <a:pt x="4" y="15"/>
                  </a:cubicBezTo>
                  <a:cubicBezTo>
                    <a:pt x="7" y="19"/>
                    <a:pt x="12" y="19"/>
                    <a:pt x="12" y="14"/>
                  </a:cubicBezTo>
                  <a:cubicBezTo>
                    <a:pt x="11" y="9"/>
                    <a:pt x="2" y="0"/>
                    <a:pt x="1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2" name="Freeform 500"/>
            <p:cNvSpPr>
              <a:spLocks/>
            </p:cNvSpPr>
            <p:nvPr/>
          </p:nvSpPr>
          <p:spPr bwMode="auto">
            <a:xfrm>
              <a:off x="5346019" y="4725088"/>
              <a:ext cx="4762" cy="9525"/>
            </a:xfrm>
            <a:custGeom>
              <a:avLst/>
              <a:gdLst>
                <a:gd name="T0" fmla="*/ 8 w 19"/>
                <a:gd name="T1" fmla="*/ 31 h 31"/>
                <a:gd name="T2" fmla="*/ 14 w 19"/>
                <a:gd name="T3" fmla="*/ 24 h 31"/>
                <a:gd name="T4" fmla="*/ 8 w 19"/>
                <a:gd name="T5" fmla="*/ 13 h 31"/>
                <a:gd name="T6" fmla="*/ 0 w 19"/>
                <a:gd name="T7" fmla="*/ 12 h 31"/>
                <a:gd name="T8" fmla="*/ 5 w 19"/>
                <a:gd name="T9" fmla="*/ 19 h 31"/>
                <a:gd name="T10" fmla="*/ 8 w 19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31">
                  <a:moveTo>
                    <a:pt x="8" y="31"/>
                  </a:moveTo>
                  <a:cubicBezTo>
                    <a:pt x="12" y="30"/>
                    <a:pt x="19" y="28"/>
                    <a:pt x="14" y="24"/>
                  </a:cubicBezTo>
                  <a:cubicBezTo>
                    <a:pt x="9" y="20"/>
                    <a:pt x="9" y="16"/>
                    <a:pt x="8" y="13"/>
                  </a:cubicBezTo>
                  <a:cubicBezTo>
                    <a:pt x="6" y="9"/>
                    <a:pt x="0" y="0"/>
                    <a:pt x="0" y="12"/>
                  </a:cubicBezTo>
                  <a:cubicBezTo>
                    <a:pt x="0" y="17"/>
                    <a:pt x="3" y="14"/>
                    <a:pt x="5" y="19"/>
                  </a:cubicBezTo>
                  <a:cubicBezTo>
                    <a:pt x="6" y="25"/>
                    <a:pt x="3" y="31"/>
                    <a:pt x="8" y="3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3" name="Freeform 501"/>
            <p:cNvSpPr>
              <a:spLocks/>
            </p:cNvSpPr>
            <p:nvPr/>
          </p:nvSpPr>
          <p:spPr bwMode="auto">
            <a:xfrm>
              <a:off x="5309109" y="4421478"/>
              <a:ext cx="20241" cy="7144"/>
            </a:xfrm>
            <a:custGeom>
              <a:avLst/>
              <a:gdLst>
                <a:gd name="T0" fmla="*/ 56 w 69"/>
                <a:gd name="T1" fmla="*/ 6 h 24"/>
                <a:gd name="T2" fmla="*/ 47 w 69"/>
                <a:gd name="T3" fmla="*/ 1 h 24"/>
                <a:gd name="T4" fmla="*/ 34 w 69"/>
                <a:gd name="T5" fmla="*/ 5 h 24"/>
                <a:gd name="T6" fmla="*/ 23 w 69"/>
                <a:gd name="T7" fmla="*/ 7 h 24"/>
                <a:gd name="T8" fmla="*/ 15 w 69"/>
                <a:gd name="T9" fmla="*/ 3 h 24"/>
                <a:gd name="T10" fmla="*/ 4 w 69"/>
                <a:gd name="T11" fmla="*/ 6 h 24"/>
                <a:gd name="T12" fmla="*/ 2 w 69"/>
                <a:gd name="T13" fmla="*/ 13 h 24"/>
                <a:gd name="T14" fmla="*/ 14 w 69"/>
                <a:gd name="T15" fmla="*/ 19 h 24"/>
                <a:gd name="T16" fmla="*/ 27 w 69"/>
                <a:gd name="T17" fmla="*/ 24 h 24"/>
                <a:gd name="T18" fmla="*/ 42 w 69"/>
                <a:gd name="T19" fmla="*/ 21 h 24"/>
                <a:gd name="T20" fmla="*/ 62 w 69"/>
                <a:gd name="T21" fmla="*/ 16 h 24"/>
                <a:gd name="T22" fmla="*/ 68 w 69"/>
                <a:gd name="T23" fmla="*/ 9 h 24"/>
                <a:gd name="T24" fmla="*/ 56 w 69"/>
                <a:gd name="T25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" h="24">
                  <a:moveTo>
                    <a:pt x="56" y="6"/>
                  </a:moveTo>
                  <a:cubicBezTo>
                    <a:pt x="51" y="4"/>
                    <a:pt x="51" y="2"/>
                    <a:pt x="47" y="1"/>
                  </a:cubicBezTo>
                  <a:cubicBezTo>
                    <a:pt x="44" y="0"/>
                    <a:pt x="41" y="1"/>
                    <a:pt x="34" y="5"/>
                  </a:cubicBezTo>
                  <a:cubicBezTo>
                    <a:pt x="30" y="7"/>
                    <a:pt x="26" y="8"/>
                    <a:pt x="23" y="7"/>
                  </a:cubicBezTo>
                  <a:cubicBezTo>
                    <a:pt x="21" y="7"/>
                    <a:pt x="19" y="5"/>
                    <a:pt x="15" y="3"/>
                  </a:cubicBezTo>
                  <a:cubicBezTo>
                    <a:pt x="11" y="1"/>
                    <a:pt x="8" y="4"/>
                    <a:pt x="4" y="6"/>
                  </a:cubicBezTo>
                  <a:cubicBezTo>
                    <a:pt x="0" y="7"/>
                    <a:pt x="0" y="11"/>
                    <a:pt x="2" y="13"/>
                  </a:cubicBezTo>
                  <a:cubicBezTo>
                    <a:pt x="5" y="15"/>
                    <a:pt x="10" y="16"/>
                    <a:pt x="14" y="19"/>
                  </a:cubicBezTo>
                  <a:cubicBezTo>
                    <a:pt x="18" y="22"/>
                    <a:pt x="23" y="24"/>
                    <a:pt x="27" y="24"/>
                  </a:cubicBezTo>
                  <a:cubicBezTo>
                    <a:pt x="32" y="24"/>
                    <a:pt x="37" y="23"/>
                    <a:pt x="42" y="21"/>
                  </a:cubicBezTo>
                  <a:cubicBezTo>
                    <a:pt x="47" y="19"/>
                    <a:pt x="55" y="18"/>
                    <a:pt x="62" y="16"/>
                  </a:cubicBezTo>
                  <a:cubicBezTo>
                    <a:pt x="68" y="13"/>
                    <a:pt x="69" y="11"/>
                    <a:pt x="68" y="9"/>
                  </a:cubicBezTo>
                  <a:cubicBezTo>
                    <a:pt x="66" y="8"/>
                    <a:pt x="61" y="8"/>
                    <a:pt x="56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4" name="Freeform 502"/>
            <p:cNvSpPr>
              <a:spLocks/>
            </p:cNvSpPr>
            <p:nvPr/>
          </p:nvSpPr>
          <p:spPr bwMode="auto">
            <a:xfrm>
              <a:off x="5343638" y="5023935"/>
              <a:ext cx="9525" cy="9525"/>
            </a:xfrm>
            <a:custGeom>
              <a:avLst/>
              <a:gdLst>
                <a:gd name="T0" fmla="*/ 23 w 36"/>
                <a:gd name="T1" fmla="*/ 6 h 32"/>
                <a:gd name="T2" fmla="*/ 3 w 36"/>
                <a:gd name="T3" fmla="*/ 8 h 32"/>
                <a:gd name="T4" fmla="*/ 6 w 36"/>
                <a:gd name="T5" fmla="*/ 26 h 32"/>
                <a:gd name="T6" fmla="*/ 21 w 36"/>
                <a:gd name="T7" fmla="*/ 32 h 32"/>
                <a:gd name="T8" fmla="*/ 34 w 36"/>
                <a:gd name="T9" fmla="*/ 28 h 32"/>
                <a:gd name="T10" fmla="*/ 33 w 36"/>
                <a:gd name="T11" fmla="*/ 18 h 32"/>
                <a:gd name="T12" fmla="*/ 23 w 36"/>
                <a:gd name="T13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2">
                  <a:moveTo>
                    <a:pt x="23" y="6"/>
                  </a:moveTo>
                  <a:cubicBezTo>
                    <a:pt x="17" y="2"/>
                    <a:pt x="6" y="0"/>
                    <a:pt x="3" y="8"/>
                  </a:cubicBezTo>
                  <a:cubicBezTo>
                    <a:pt x="0" y="15"/>
                    <a:pt x="1" y="22"/>
                    <a:pt x="6" y="26"/>
                  </a:cubicBezTo>
                  <a:cubicBezTo>
                    <a:pt x="11" y="30"/>
                    <a:pt x="12" y="32"/>
                    <a:pt x="21" y="32"/>
                  </a:cubicBezTo>
                  <a:cubicBezTo>
                    <a:pt x="30" y="32"/>
                    <a:pt x="31" y="30"/>
                    <a:pt x="34" y="28"/>
                  </a:cubicBezTo>
                  <a:cubicBezTo>
                    <a:pt x="36" y="25"/>
                    <a:pt x="36" y="22"/>
                    <a:pt x="33" y="18"/>
                  </a:cubicBezTo>
                  <a:cubicBezTo>
                    <a:pt x="30" y="14"/>
                    <a:pt x="29" y="10"/>
                    <a:pt x="23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5" name="Freeform 503"/>
            <p:cNvSpPr>
              <a:spLocks/>
            </p:cNvSpPr>
            <p:nvPr/>
          </p:nvSpPr>
          <p:spPr bwMode="auto">
            <a:xfrm>
              <a:off x="5359116" y="4772713"/>
              <a:ext cx="4762" cy="4763"/>
            </a:xfrm>
            <a:custGeom>
              <a:avLst/>
              <a:gdLst>
                <a:gd name="T0" fmla="*/ 2 w 17"/>
                <a:gd name="T1" fmla="*/ 7 h 16"/>
                <a:gd name="T2" fmla="*/ 3 w 17"/>
                <a:gd name="T3" fmla="*/ 14 h 16"/>
                <a:gd name="T4" fmla="*/ 16 w 17"/>
                <a:gd name="T5" fmla="*/ 12 h 16"/>
                <a:gd name="T6" fmla="*/ 2 w 17"/>
                <a:gd name="T7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6">
                  <a:moveTo>
                    <a:pt x="2" y="7"/>
                  </a:moveTo>
                  <a:cubicBezTo>
                    <a:pt x="0" y="11"/>
                    <a:pt x="1" y="12"/>
                    <a:pt x="3" y="14"/>
                  </a:cubicBezTo>
                  <a:cubicBezTo>
                    <a:pt x="6" y="16"/>
                    <a:pt x="15" y="16"/>
                    <a:pt x="16" y="12"/>
                  </a:cubicBezTo>
                  <a:cubicBezTo>
                    <a:pt x="17" y="7"/>
                    <a:pt x="10" y="0"/>
                    <a:pt x="2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6" name="Freeform 504"/>
            <p:cNvSpPr>
              <a:spLocks/>
            </p:cNvSpPr>
            <p:nvPr/>
          </p:nvSpPr>
          <p:spPr bwMode="auto">
            <a:xfrm>
              <a:off x="5403169" y="4277413"/>
              <a:ext cx="5953" cy="8334"/>
            </a:xfrm>
            <a:custGeom>
              <a:avLst/>
              <a:gdLst>
                <a:gd name="T0" fmla="*/ 21 w 24"/>
                <a:gd name="T1" fmla="*/ 0 h 32"/>
                <a:gd name="T2" fmla="*/ 13 w 24"/>
                <a:gd name="T3" fmla="*/ 11 h 32"/>
                <a:gd name="T4" fmla="*/ 9 w 24"/>
                <a:gd name="T5" fmla="*/ 15 h 32"/>
                <a:gd name="T6" fmla="*/ 0 w 24"/>
                <a:gd name="T7" fmla="*/ 28 h 32"/>
                <a:gd name="T8" fmla="*/ 15 w 24"/>
                <a:gd name="T9" fmla="*/ 18 h 32"/>
                <a:gd name="T10" fmla="*/ 23 w 24"/>
                <a:gd name="T11" fmla="*/ 9 h 32"/>
                <a:gd name="T12" fmla="*/ 21 w 24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21" y="0"/>
                  </a:moveTo>
                  <a:cubicBezTo>
                    <a:pt x="19" y="0"/>
                    <a:pt x="17" y="2"/>
                    <a:pt x="13" y="11"/>
                  </a:cubicBezTo>
                  <a:cubicBezTo>
                    <a:pt x="11" y="13"/>
                    <a:pt x="12" y="10"/>
                    <a:pt x="9" y="15"/>
                  </a:cubicBezTo>
                  <a:cubicBezTo>
                    <a:pt x="5" y="21"/>
                    <a:pt x="0" y="22"/>
                    <a:pt x="0" y="28"/>
                  </a:cubicBezTo>
                  <a:cubicBezTo>
                    <a:pt x="0" y="32"/>
                    <a:pt x="11" y="21"/>
                    <a:pt x="15" y="18"/>
                  </a:cubicBezTo>
                  <a:cubicBezTo>
                    <a:pt x="19" y="15"/>
                    <a:pt x="22" y="12"/>
                    <a:pt x="23" y="9"/>
                  </a:cubicBezTo>
                  <a:cubicBezTo>
                    <a:pt x="23" y="6"/>
                    <a:pt x="24" y="0"/>
                    <a:pt x="21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7" name="Freeform 505"/>
            <p:cNvSpPr>
              <a:spLocks/>
            </p:cNvSpPr>
            <p:nvPr/>
          </p:nvSpPr>
          <p:spPr bwMode="auto">
            <a:xfrm>
              <a:off x="5356734" y="4169066"/>
              <a:ext cx="8334" cy="14288"/>
            </a:xfrm>
            <a:custGeom>
              <a:avLst/>
              <a:gdLst>
                <a:gd name="T0" fmla="*/ 16 w 26"/>
                <a:gd name="T1" fmla="*/ 4 h 50"/>
                <a:gd name="T2" fmla="*/ 0 w 26"/>
                <a:gd name="T3" fmla="*/ 22 h 50"/>
                <a:gd name="T4" fmla="*/ 0 w 26"/>
                <a:gd name="T5" fmla="*/ 23 h 50"/>
                <a:gd name="T6" fmla="*/ 10 w 26"/>
                <a:gd name="T7" fmla="*/ 46 h 50"/>
                <a:gd name="T8" fmla="*/ 16 w 26"/>
                <a:gd name="T9" fmla="*/ 50 h 50"/>
                <a:gd name="T10" fmla="*/ 19 w 26"/>
                <a:gd name="T11" fmla="*/ 39 h 50"/>
                <a:gd name="T12" fmla="*/ 24 w 26"/>
                <a:gd name="T13" fmla="*/ 24 h 50"/>
                <a:gd name="T14" fmla="*/ 24 w 26"/>
                <a:gd name="T15" fmla="*/ 10 h 50"/>
                <a:gd name="T16" fmla="*/ 16 w 26"/>
                <a:gd name="T17" fmla="*/ 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50">
                  <a:moveTo>
                    <a:pt x="16" y="4"/>
                  </a:moveTo>
                  <a:cubicBezTo>
                    <a:pt x="11" y="7"/>
                    <a:pt x="5" y="15"/>
                    <a:pt x="0" y="22"/>
                  </a:cubicBezTo>
                  <a:cubicBezTo>
                    <a:pt x="0" y="22"/>
                    <a:pt x="0" y="23"/>
                    <a:pt x="0" y="23"/>
                  </a:cubicBezTo>
                  <a:cubicBezTo>
                    <a:pt x="2" y="33"/>
                    <a:pt x="4" y="42"/>
                    <a:pt x="10" y="46"/>
                  </a:cubicBezTo>
                  <a:cubicBezTo>
                    <a:pt x="12" y="47"/>
                    <a:pt x="14" y="49"/>
                    <a:pt x="16" y="50"/>
                  </a:cubicBezTo>
                  <a:cubicBezTo>
                    <a:pt x="16" y="46"/>
                    <a:pt x="18" y="42"/>
                    <a:pt x="19" y="39"/>
                  </a:cubicBezTo>
                  <a:cubicBezTo>
                    <a:pt x="22" y="33"/>
                    <a:pt x="26" y="28"/>
                    <a:pt x="24" y="24"/>
                  </a:cubicBezTo>
                  <a:cubicBezTo>
                    <a:pt x="22" y="19"/>
                    <a:pt x="22" y="15"/>
                    <a:pt x="24" y="10"/>
                  </a:cubicBezTo>
                  <a:cubicBezTo>
                    <a:pt x="26" y="4"/>
                    <a:pt x="22" y="0"/>
                    <a:pt x="16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8" name="Freeform 506"/>
            <p:cNvSpPr>
              <a:spLocks/>
            </p:cNvSpPr>
            <p:nvPr/>
          </p:nvSpPr>
          <p:spPr bwMode="auto">
            <a:xfrm>
              <a:off x="5357925" y="4191688"/>
              <a:ext cx="8334" cy="11906"/>
            </a:xfrm>
            <a:custGeom>
              <a:avLst/>
              <a:gdLst>
                <a:gd name="T0" fmla="*/ 2 w 30"/>
                <a:gd name="T1" fmla="*/ 4 h 41"/>
                <a:gd name="T2" fmla="*/ 0 w 30"/>
                <a:gd name="T3" fmla="*/ 11 h 41"/>
                <a:gd name="T4" fmla="*/ 2 w 30"/>
                <a:gd name="T5" fmla="*/ 21 h 41"/>
                <a:gd name="T6" fmla="*/ 8 w 30"/>
                <a:gd name="T7" fmla="*/ 33 h 41"/>
                <a:gd name="T8" fmla="*/ 15 w 30"/>
                <a:gd name="T9" fmla="*/ 40 h 41"/>
                <a:gd name="T10" fmla="*/ 30 w 30"/>
                <a:gd name="T11" fmla="*/ 37 h 41"/>
                <a:gd name="T12" fmla="*/ 26 w 30"/>
                <a:gd name="T13" fmla="*/ 31 h 41"/>
                <a:gd name="T14" fmla="*/ 14 w 30"/>
                <a:gd name="T15" fmla="*/ 5 h 41"/>
                <a:gd name="T16" fmla="*/ 13 w 30"/>
                <a:gd name="T17" fmla="*/ 0 h 41"/>
                <a:gd name="T18" fmla="*/ 7 w 30"/>
                <a:gd name="T19" fmla="*/ 1 h 41"/>
                <a:gd name="T20" fmla="*/ 2 w 30"/>
                <a:gd name="T21" fmla="*/ 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41">
                  <a:moveTo>
                    <a:pt x="2" y="4"/>
                  </a:moveTo>
                  <a:cubicBezTo>
                    <a:pt x="1" y="6"/>
                    <a:pt x="0" y="8"/>
                    <a:pt x="0" y="11"/>
                  </a:cubicBezTo>
                  <a:cubicBezTo>
                    <a:pt x="0" y="14"/>
                    <a:pt x="0" y="17"/>
                    <a:pt x="2" y="21"/>
                  </a:cubicBezTo>
                  <a:cubicBezTo>
                    <a:pt x="3" y="24"/>
                    <a:pt x="5" y="29"/>
                    <a:pt x="8" y="33"/>
                  </a:cubicBezTo>
                  <a:cubicBezTo>
                    <a:pt x="11" y="36"/>
                    <a:pt x="13" y="39"/>
                    <a:pt x="15" y="40"/>
                  </a:cubicBezTo>
                  <a:cubicBezTo>
                    <a:pt x="17" y="41"/>
                    <a:pt x="23" y="39"/>
                    <a:pt x="30" y="37"/>
                  </a:cubicBezTo>
                  <a:cubicBezTo>
                    <a:pt x="29" y="36"/>
                    <a:pt x="28" y="34"/>
                    <a:pt x="26" y="31"/>
                  </a:cubicBezTo>
                  <a:cubicBezTo>
                    <a:pt x="19" y="20"/>
                    <a:pt x="19" y="18"/>
                    <a:pt x="14" y="5"/>
                  </a:cubicBezTo>
                  <a:cubicBezTo>
                    <a:pt x="14" y="3"/>
                    <a:pt x="13" y="2"/>
                    <a:pt x="13" y="0"/>
                  </a:cubicBezTo>
                  <a:cubicBezTo>
                    <a:pt x="11" y="1"/>
                    <a:pt x="9" y="1"/>
                    <a:pt x="7" y="1"/>
                  </a:cubicBezTo>
                  <a:cubicBezTo>
                    <a:pt x="4" y="2"/>
                    <a:pt x="2" y="2"/>
                    <a:pt x="2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9" name="Freeform 507"/>
            <p:cNvSpPr>
              <a:spLocks/>
            </p:cNvSpPr>
            <p:nvPr/>
          </p:nvSpPr>
          <p:spPr bwMode="auto">
            <a:xfrm>
              <a:off x="5281725" y="4178591"/>
              <a:ext cx="141684" cy="171450"/>
            </a:xfrm>
            <a:custGeom>
              <a:avLst/>
              <a:gdLst>
                <a:gd name="T0" fmla="*/ 475 w 493"/>
                <a:gd name="T1" fmla="*/ 216 h 596"/>
                <a:gd name="T2" fmla="*/ 435 w 493"/>
                <a:gd name="T3" fmla="*/ 164 h 596"/>
                <a:gd name="T4" fmla="*/ 381 w 493"/>
                <a:gd name="T5" fmla="*/ 146 h 596"/>
                <a:gd name="T6" fmla="*/ 322 w 493"/>
                <a:gd name="T7" fmla="*/ 120 h 596"/>
                <a:gd name="T8" fmla="*/ 299 w 493"/>
                <a:gd name="T9" fmla="*/ 88 h 596"/>
                <a:gd name="T10" fmla="*/ 266 w 493"/>
                <a:gd name="T11" fmla="*/ 82 h 596"/>
                <a:gd name="T12" fmla="*/ 256 w 493"/>
                <a:gd name="T13" fmla="*/ 55 h 596"/>
                <a:gd name="T14" fmla="*/ 270 w 493"/>
                <a:gd name="T15" fmla="*/ 37 h 596"/>
                <a:gd name="T16" fmla="*/ 276 w 493"/>
                <a:gd name="T17" fmla="*/ 26 h 596"/>
                <a:gd name="T18" fmla="*/ 266 w 493"/>
                <a:gd name="T19" fmla="*/ 19 h 596"/>
                <a:gd name="T20" fmla="*/ 244 w 493"/>
                <a:gd name="T21" fmla="*/ 15 h 596"/>
                <a:gd name="T22" fmla="*/ 181 w 493"/>
                <a:gd name="T23" fmla="*/ 72 h 596"/>
                <a:gd name="T24" fmla="*/ 157 w 493"/>
                <a:gd name="T25" fmla="*/ 106 h 596"/>
                <a:gd name="T26" fmla="*/ 126 w 493"/>
                <a:gd name="T27" fmla="*/ 113 h 596"/>
                <a:gd name="T28" fmla="*/ 105 w 493"/>
                <a:gd name="T29" fmla="*/ 119 h 596"/>
                <a:gd name="T30" fmla="*/ 53 w 493"/>
                <a:gd name="T31" fmla="*/ 115 h 596"/>
                <a:gd name="T32" fmla="*/ 0 w 493"/>
                <a:gd name="T33" fmla="*/ 128 h 596"/>
                <a:gd name="T34" fmla="*/ 30 w 493"/>
                <a:gd name="T35" fmla="*/ 170 h 596"/>
                <a:gd name="T36" fmla="*/ 104 w 493"/>
                <a:gd name="T37" fmla="*/ 197 h 596"/>
                <a:gd name="T38" fmla="*/ 226 w 493"/>
                <a:gd name="T39" fmla="*/ 240 h 596"/>
                <a:gd name="T40" fmla="*/ 221 w 493"/>
                <a:gd name="T41" fmla="*/ 314 h 596"/>
                <a:gd name="T42" fmla="*/ 61 w 493"/>
                <a:gd name="T43" fmla="*/ 437 h 596"/>
                <a:gd name="T44" fmla="*/ 83 w 493"/>
                <a:gd name="T45" fmla="*/ 596 h 596"/>
                <a:gd name="T46" fmla="*/ 113 w 493"/>
                <a:gd name="T47" fmla="*/ 587 h 596"/>
                <a:gd name="T48" fmla="*/ 169 w 493"/>
                <a:gd name="T49" fmla="*/ 573 h 596"/>
                <a:gd name="T50" fmla="*/ 205 w 493"/>
                <a:gd name="T51" fmla="*/ 567 h 596"/>
                <a:gd name="T52" fmla="*/ 218 w 493"/>
                <a:gd name="T53" fmla="*/ 531 h 596"/>
                <a:gd name="T54" fmla="*/ 260 w 493"/>
                <a:gd name="T55" fmla="*/ 518 h 596"/>
                <a:gd name="T56" fmla="*/ 294 w 493"/>
                <a:gd name="T57" fmla="*/ 497 h 596"/>
                <a:gd name="T58" fmla="*/ 328 w 493"/>
                <a:gd name="T59" fmla="*/ 459 h 596"/>
                <a:gd name="T60" fmla="*/ 368 w 493"/>
                <a:gd name="T61" fmla="*/ 448 h 596"/>
                <a:gd name="T62" fmla="*/ 364 w 493"/>
                <a:gd name="T63" fmla="*/ 408 h 596"/>
                <a:gd name="T64" fmla="*/ 377 w 493"/>
                <a:gd name="T65" fmla="*/ 371 h 596"/>
                <a:gd name="T66" fmla="*/ 394 w 493"/>
                <a:gd name="T67" fmla="*/ 347 h 596"/>
                <a:gd name="T68" fmla="*/ 420 w 493"/>
                <a:gd name="T69" fmla="*/ 342 h 596"/>
                <a:gd name="T70" fmla="*/ 444 w 493"/>
                <a:gd name="T71" fmla="*/ 307 h 596"/>
                <a:gd name="T72" fmla="*/ 482 w 493"/>
                <a:gd name="T73" fmla="*/ 259 h 596"/>
                <a:gd name="T74" fmla="*/ 490 w 493"/>
                <a:gd name="T75" fmla="*/ 219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93" h="596">
                  <a:moveTo>
                    <a:pt x="490" y="219"/>
                  </a:moveTo>
                  <a:cubicBezTo>
                    <a:pt x="488" y="217"/>
                    <a:pt x="483" y="216"/>
                    <a:pt x="475" y="216"/>
                  </a:cubicBezTo>
                  <a:cubicBezTo>
                    <a:pt x="467" y="215"/>
                    <a:pt x="466" y="207"/>
                    <a:pt x="461" y="201"/>
                  </a:cubicBezTo>
                  <a:cubicBezTo>
                    <a:pt x="456" y="195"/>
                    <a:pt x="440" y="172"/>
                    <a:pt x="435" y="164"/>
                  </a:cubicBezTo>
                  <a:cubicBezTo>
                    <a:pt x="430" y="156"/>
                    <a:pt x="419" y="148"/>
                    <a:pt x="408" y="147"/>
                  </a:cubicBezTo>
                  <a:cubicBezTo>
                    <a:pt x="396" y="146"/>
                    <a:pt x="392" y="147"/>
                    <a:pt x="381" y="146"/>
                  </a:cubicBezTo>
                  <a:cubicBezTo>
                    <a:pt x="371" y="145"/>
                    <a:pt x="366" y="139"/>
                    <a:pt x="351" y="137"/>
                  </a:cubicBezTo>
                  <a:cubicBezTo>
                    <a:pt x="337" y="134"/>
                    <a:pt x="332" y="128"/>
                    <a:pt x="322" y="120"/>
                  </a:cubicBezTo>
                  <a:cubicBezTo>
                    <a:pt x="313" y="112"/>
                    <a:pt x="312" y="106"/>
                    <a:pt x="304" y="95"/>
                  </a:cubicBezTo>
                  <a:cubicBezTo>
                    <a:pt x="302" y="92"/>
                    <a:pt x="300" y="90"/>
                    <a:pt x="299" y="88"/>
                  </a:cubicBezTo>
                  <a:cubicBezTo>
                    <a:pt x="290" y="91"/>
                    <a:pt x="280" y="93"/>
                    <a:pt x="276" y="91"/>
                  </a:cubicBezTo>
                  <a:cubicBezTo>
                    <a:pt x="273" y="90"/>
                    <a:pt x="269" y="86"/>
                    <a:pt x="266" y="82"/>
                  </a:cubicBezTo>
                  <a:cubicBezTo>
                    <a:pt x="262" y="77"/>
                    <a:pt x="259" y="72"/>
                    <a:pt x="258" y="67"/>
                  </a:cubicBezTo>
                  <a:cubicBezTo>
                    <a:pt x="257" y="63"/>
                    <a:pt x="256" y="59"/>
                    <a:pt x="256" y="55"/>
                  </a:cubicBezTo>
                  <a:cubicBezTo>
                    <a:pt x="256" y="51"/>
                    <a:pt x="257" y="48"/>
                    <a:pt x="258" y="45"/>
                  </a:cubicBezTo>
                  <a:cubicBezTo>
                    <a:pt x="260" y="41"/>
                    <a:pt x="264" y="38"/>
                    <a:pt x="270" y="37"/>
                  </a:cubicBezTo>
                  <a:cubicBezTo>
                    <a:pt x="272" y="37"/>
                    <a:pt x="274" y="37"/>
                    <a:pt x="276" y="37"/>
                  </a:cubicBezTo>
                  <a:cubicBezTo>
                    <a:pt x="276" y="33"/>
                    <a:pt x="277" y="30"/>
                    <a:pt x="276" y="26"/>
                  </a:cubicBezTo>
                  <a:cubicBezTo>
                    <a:pt x="276" y="26"/>
                    <a:pt x="276" y="26"/>
                    <a:pt x="276" y="26"/>
                  </a:cubicBezTo>
                  <a:cubicBezTo>
                    <a:pt x="273" y="24"/>
                    <a:pt x="269" y="22"/>
                    <a:pt x="266" y="19"/>
                  </a:cubicBezTo>
                  <a:cubicBezTo>
                    <a:pt x="259" y="15"/>
                    <a:pt x="257" y="8"/>
                    <a:pt x="255" y="0"/>
                  </a:cubicBezTo>
                  <a:cubicBezTo>
                    <a:pt x="253" y="4"/>
                    <a:pt x="250" y="8"/>
                    <a:pt x="244" y="15"/>
                  </a:cubicBezTo>
                  <a:cubicBezTo>
                    <a:pt x="233" y="27"/>
                    <a:pt x="219" y="33"/>
                    <a:pt x="215" y="40"/>
                  </a:cubicBezTo>
                  <a:cubicBezTo>
                    <a:pt x="212" y="48"/>
                    <a:pt x="189" y="66"/>
                    <a:pt x="181" y="72"/>
                  </a:cubicBezTo>
                  <a:cubicBezTo>
                    <a:pt x="172" y="79"/>
                    <a:pt x="170" y="83"/>
                    <a:pt x="167" y="89"/>
                  </a:cubicBezTo>
                  <a:cubicBezTo>
                    <a:pt x="165" y="96"/>
                    <a:pt x="162" y="104"/>
                    <a:pt x="157" y="106"/>
                  </a:cubicBezTo>
                  <a:cubicBezTo>
                    <a:pt x="152" y="107"/>
                    <a:pt x="147" y="107"/>
                    <a:pt x="143" y="112"/>
                  </a:cubicBezTo>
                  <a:cubicBezTo>
                    <a:pt x="140" y="117"/>
                    <a:pt x="131" y="114"/>
                    <a:pt x="126" y="113"/>
                  </a:cubicBezTo>
                  <a:cubicBezTo>
                    <a:pt x="120" y="112"/>
                    <a:pt x="118" y="114"/>
                    <a:pt x="115" y="119"/>
                  </a:cubicBezTo>
                  <a:cubicBezTo>
                    <a:pt x="111" y="124"/>
                    <a:pt x="105" y="119"/>
                    <a:pt x="105" y="119"/>
                  </a:cubicBezTo>
                  <a:cubicBezTo>
                    <a:pt x="105" y="119"/>
                    <a:pt x="92" y="118"/>
                    <a:pt x="81" y="117"/>
                  </a:cubicBezTo>
                  <a:cubicBezTo>
                    <a:pt x="71" y="116"/>
                    <a:pt x="64" y="116"/>
                    <a:pt x="53" y="115"/>
                  </a:cubicBezTo>
                  <a:cubicBezTo>
                    <a:pt x="43" y="115"/>
                    <a:pt x="28" y="120"/>
                    <a:pt x="20" y="125"/>
                  </a:cubicBezTo>
                  <a:cubicBezTo>
                    <a:pt x="14" y="129"/>
                    <a:pt x="6" y="130"/>
                    <a:pt x="0" y="128"/>
                  </a:cubicBezTo>
                  <a:cubicBezTo>
                    <a:pt x="1" y="131"/>
                    <a:pt x="2" y="135"/>
                    <a:pt x="3" y="137"/>
                  </a:cubicBezTo>
                  <a:cubicBezTo>
                    <a:pt x="4" y="141"/>
                    <a:pt x="17" y="156"/>
                    <a:pt x="30" y="170"/>
                  </a:cubicBezTo>
                  <a:cubicBezTo>
                    <a:pt x="40" y="181"/>
                    <a:pt x="51" y="191"/>
                    <a:pt x="54" y="192"/>
                  </a:cubicBezTo>
                  <a:cubicBezTo>
                    <a:pt x="57" y="193"/>
                    <a:pt x="78" y="195"/>
                    <a:pt x="104" y="197"/>
                  </a:cubicBezTo>
                  <a:cubicBezTo>
                    <a:pt x="149" y="200"/>
                    <a:pt x="207" y="205"/>
                    <a:pt x="211" y="211"/>
                  </a:cubicBezTo>
                  <a:cubicBezTo>
                    <a:pt x="214" y="215"/>
                    <a:pt x="221" y="227"/>
                    <a:pt x="226" y="240"/>
                  </a:cubicBezTo>
                  <a:cubicBezTo>
                    <a:pt x="230" y="249"/>
                    <a:pt x="233" y="258"/>
                    <a:pt x="233" y="264"/>
                  </a:cubicBezTo>
                  <a:cubicBezTo>
                    <a:pt x="234" y="269"/>
                    <a:pt x="228" y="290"/>
                    <a:pt x="221" y="314"/>
                  </a:cubicBezTo>
                  <a:cubicBezTo>
                    <a:pt x="211" y="347"/>
                    <a:pt x="198" y="385"/>
                    <a:pt x="196" y="388"/>
                  </a:cubicBezTo>
                  <a:cubicBezTo>
                    <a:pt x="193" y="392"/>
                    <a:pt x="114" y="419"/>
                    <a:pt x="61" y="437"/>
                  </a:cubicBezTo>
                  <a:cubicBezTo>
                    <a:pt x="40" y="444"/>
                    <a:pt x="24" y="450"/>
                    <a:pt x="17" y="452"/>
                  </a:cubicBezTo>
                  <a:cubicBezTo>
                    <a:pt x="83" y="596"/>
                    <a:pt x="83" y="596"/>
                    <a:pt x="83" y="596"/>
                  </a:cubicBezTo>
                  <a:cubicBezTo>
                    <a:pt x="84" y="595"/>
                    <a:pt x="84" y="595"/>
                    <a:pt x="85" y="595"/>
                  </a:cubicBezTo>
                  <a:cubicBezTo>
                    <a:pt x="92" y="589"/>
                    <a:pt x="102" y="592"/>
                    <a:pt x="113" y="587"/>
                  </a:cubicBezTo>
                  <a:cubicBezTo>
                    <a:pt x="125" y="582"/>
                    <a:pt x="125" y="578"/>
                    <a:pt x="137" y="574"/>
                  </a:cubicBezTo>
                  <a:cubicBezTo>
                    <a:pt x="149" y="571"/>
                    <a:pt x="161" y="573"/>
                    <a:pt x="169" y="573"/>
                  </a:cubicBezTo>
                  <a:cubicBezTo>
                    <a:pt x="176" y="573"/>
                    <a:pt x="182" y="575"/>
                    <a:pt x="189" y="575"/>
                  </a:cubicBezTo>
                  <a:cubicBezTo>
                    <a:pt x="196" y="574"/>
                    <a:pt x="199" y="574"/>
                    <a:pt x="205" y="567"/>
                  </a:cubicBezTo>
                  <a:cubicBezTo>
                    <a:pt x="211" y="561"/>
                    <a:pt x="212" y="560"/>
                    <a:pt x="212" y="552"/>
                  </a:cubicBezTo>
                  <a:cubicBezTo>
                    <a:pt x="211" y="544"/>
                    <a:pt x="213" y="539"/>
                    <a:pt x="218" y="531"/>
                  </a:cubicBezTo>
                  <a:cubicBezTo>
                    <a:pt x="222" y="524"/>
                    <a:pt x="226" y="522"/>
                    <a:pt x="235" y="519"/>
                  </a:cubicBezTo>
                  <a:cubicBezTo>
                    <a:pt x="243" y="516"/>
                    <a:pt x="252" y="518"/>
                    <a:pt x="260" y="518"/>
                  </a:cubicBezTo>
                  <a:cubicBezTo>
                    <a:pt x="268" y="518"/>
                    <a:pt x="271" y="517"/>
                    <a:pt x="280" y="512"/>
                  </a:cubicBezTo>
                  <a:cubicBezTo>
                    <a:pt x="288" y="506"/>
                    <a:pt x="292" y="503"/>
                    <a:pt x="294" y="497"/>
                  </a:cubicBezTo>
                  <a:cubicBezTo>
                    <a:pt x="297" y="490"/>
                    <a:pt x="303" y="475"/>
                    <a:pt x="307" y="467"/>
                  </a:cubicBezTo>
                  <a:cubicBezTo>
                    <a:pt x="311" y="459"/>
                    <a:pt x="319" y="462"/>
                    <a:pt x="328" y="459"/>
                  </a:cubicBezTo>
                  <a:cubicBezTo>
                    <a:pt x="337" y="455"/>
                    <a:pt x="345" y="455"/>
                    <a:pt x="355" y="453"/>
                  </a:cubicBezTo>
                  <a:cubicBezTo>
                    <a:pt x="366" y="450"/>
                    <a:pt x="366" y="450"/>
                    <a:pt x="368" y="448"/>
                  </a:cubicBezTo>
                  <a:cubicBezTo>
                    <a:pt x="370" y="447"/>
                    <a:pt x="369" y="439"/>
                    <a:pt x="367" y="432"/>
                  </a:cubicBezTo>
                  <a:cubicBezTo>
                    <a:pt x="366" y="425"/>
                    <a:pt x="366" y="419"/>
                    <a:pt x="364" y="408"/>
                  </a:cubicBezTo>
                  <a:cubicBezTo>
                    <a:pt x="361" y="398"/>
                    <a:pt x="365" y="400"/>
                    <a:pt x="370" y="391"/>
                  </a:cubicBezTo>
                  <a:cubicBezTo>
                    <a:pt x="375" y="381"/>
                    <a:pt x="375" y="379"/>
                    <a:pt x="377" y="371"/>
                  </a:cubicBezTo>
                  <a:cubicBezTo>
                    <a:pt x="380" y="362"/>
                    <a:pt x="378" y="360"/>
                    <a:pt x="386" y="353"/>
                  </a:cubicBezTo>
                  <a:cubicBezTo>
                    <a:pt x="393" y="345"/>
                    <a:pt x="390" y="347"/>
                    <a:pt x="394" y="347"/>
                  </a:cubicBezTo>
                  <a:cubicBezTo>
                    <a:pt x="398" y="347"/>
                    <a:pt x="400" y="356"/>
                    <a:pt x="404" y="356"/>
                  </a:cubicBezTo>
                  <a:cubicBezTo>
                    <a:pt x="408" y="356"/>
                    <a:pt x="416" y="351"/>
                    <a:pt x="420" y="342"/>
                  </a:cubicBezTo>
                  <a:cubicBezTo>
                    <a:pt x="423" y="333"/>
                    <a:pt x="427" y="336"/>
                    <a:pt x="432" y="327"/>
                  </a:cubicBezTo>
                  <a:cubicBezTo>
                    <a:pt x="436" y="319"/>
                    <a:pt x="439" y="313"/>
                    <a:pt x="444" y="307"/>
                  </a:cubicBezTo>
                  <a:cubicBezTo>
                    <a:pt x="449" y="300"/>
                    <a:pt x="460" y="296"/>
                    <a:pt x="464" y="290"/>
                  </a:cubicBezTo>
                  <a:cubicBezTo>
                    <a:pt x="468" y="285"/>
                    <a:pt x="480" y="267"/>
                    <a:pt x="482" y="259"/>
                  </a:cubicBezTo>
                  <a:cubicBezTo>
                    <a:pt x="485" y="251"/>
                    <a:pt x="493" y="242"/>
                    <a:pt x="493" y="237"/>
                  </a:cubicBezTo>
                  <a:cubicBezTo>
                    <a:pt x="493" y="232"/>
                    <a:pt x="492" y="222"/>
                    <a:pt x="490" y="219"/>
                  </a:cubicBezTo>
                  <a:close/>
                </a:path>
              </a:pathLst>
            </a:custGeom>
            <a:solidFill>
              <a:schemeClr val="accent3">
                <a:alpha val="92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0" name="Freeform 508"/>
            <p:cNvSpPr>
              <a:spLocks/>
            </p:cNvSpPr>
            <p:nvPr/>
          </p:nvSpPr>
          <p:spPr bwMode="auto">
            <a:xfrm>
              <a:off x="5380547" y="5007266"/>
              <a:ext cx="8334" cy="10716"/>
            </a:xfrm>
            <a:custGeom>
              <a:avLst/>
              <a:gdLst>
                <a:gd name="T0" fmla="*/ 24 w 29"/>
                <a:gd name="T1" fmla="*/ 6 h 36"/>
                <a:gd name="T2" fmla="*/ 7 w 29"/>
                <a:gd name="T3" fmla="*/ 14 h 36"/>
                <a:gd name="T4" fmla="*/ 1 w 29"/>
                <a:gd name="T5" fmla="*/ 31 h 36"/>
                <a:gd name="T6" fmla="*/ 10 w 29"/>
                <a:gd name="T7" fmla="*/ 34 h 36"/>
                <a:gd name="T8" fmla="*/ 22 w 29"/>
                <a:gd name="T9" fmla="*/ 30 h 36"/>
                <a:gd name="T10" fmla="*/ 27 w 29"/>
                <a:gd name="T11" fmla="*/ 18 h 36"/>
                <a:gd name="T12" fmla="*/ 24 w 29"/>
                <a:gd name="T13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6">
                  <a:moveTo>
                    <a:pt x="24" y="6"/>
                  </a:moveTo>
                  <a:cubicBezTo>
                    <a:pt x="21" y="3"/>
                    <a:pt x="10" y="0"/>
                    <a:pt x="7" y="14"/>
                  </a:cubicBezTo>
                  <a:cubicBezTo>
                    <a:pt x="5" y="23"/>
                    <a:pt x="0" y="27"/>
                    <a:pt x="1" y="31"/>
                  </a:cubicBezTo>
                  <a:cubicBezTo>
                    <a:pt x="3" y="34"/>
                    <a:pt x="4" y="36"/>
                    <a:pt x="10" y="34"/>
                  </a:cubicBezTo>
                  <a:cubicBezTo>
                    <a:pt x="15" y="33"/>
                    <a:pt x="19" y="35"/>
                    <a:pt x="22" y="30"/>
                  </a:cubicBezTo>
                  <a:cubicBezTo>
                    <a:pt x="25" y="25"/>
                    <a:pt x="29" y="24"/>
                    <a:pt x="27" y="18"/>
                  </a:cubicBezTo>
                  <a:cubicBezTo>
                    <a:pt x="25" y="12"/>
                    <a:pt x="27" y="10"/>
                    <a:pt x="24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1" name="Freeform 509"/>
            <p:cNvSpPr>
              <a:spLocks/>
            </p:cNvSpPr>
            <p:nvPr/>
          </p:nvSpPr>
          <p:spPr bwMode="auto">
            <a:xfrm>
              <a:off x="5307919" y="4732232"/>
              <a:ext cx="5953" cy="4763"/>
            </a:xfrm>
            <a:custGeom>
              <a:avLst/>
              <a:gdLst>
                <a:gd name="T0" fmla="*/ 2 w 21"/>
                <a:gd name="T1" fmla="*/ 9 h 16"/>
                <a:gd name="T2" fmla="*/ 6 w 21"/>
                <a:gd name="T3" fmla="*/ 16 h 16"/>
                <a:gd name="T4" fmla="*/ 18 w 21"/>
                <a:gd name="T5" fmla="*/ 5 h 16"/>
                <a:gd name="T6" fmla="*/ 2 w 21"/>
                <a:gd name="T7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6">
                  <a:moveTo>
                    <a:pt x="2" y="9"/>
                  </a:moveTo>
                  <a:cubicBezTo>
                    <a:pt x="0" y="13"/>
                    <a:pt x="0" y="16"/>
                    <a:pt x="6" y="16"/>
                  </a:cubicBezTo>
                  <a:cubicBezTo>
                    <a:pt x="12" y="15"/>
                    <a:pt x="21" y="8"/>
                    <a:pt x="18" y="5"/>
                  </a:cubicBezTo>
                  <a:cubicBezTo>
                    <a:pt x="15" y="2"/>
                    <a:pt x="4" y="0"/>
                    <a:pt x="2" y="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2" name="Freeform 510"/>
            <p:cNvSpPr>
              <a:spLocks/>
            </p:cNvSpPr>
            <p:nvPr/>
          </p:nvSpPr>
          <p:spPr bwMode="auto">
            <a:xfrm>
              <a:off x="5160281" y="4873916"/>
              <a:ext cx="4762" cy="7144"/>
            </a:xfrm>
            <a:custGeom>
              <a:avLst/>
              <a:gdLst>
                <a:gd name="T0" fmla="*/ 9 w 16"/>
                <a:gd name="T1" fmla="*/ 18 h 24"/>
                <a:gd name="T2" fmla="*/ 15 w 16"/>
                <a:gd name="T3" fmla="*/ 17 h 24"/>
                <a:gd name="T4" fmla="*/ 16 w 16"/>
                <a:gd name="T5" fmla="*/ 8 h 24"/>
                <a:gd name="T6" fmla="*/ 7 w 16"/>
                <a:gd name="T7" fmla="*/ 0 h 24"/>
                <a:gd name="T8" fmla="*/ 3 w 16"/>
                <a:gd name="T9" fmla="*/ 10 h 24"/>
                <a:gd name="T10" fmla="*/ 9 w 16"/>
                <a:gd name="T11" fmla="*/ 1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4">
                  <a:moveTo>
                    <a:pt x="9" y="18"/>
                  </a:moveTo>
                  <a:cubicBezTo>
                    <a:pt x="11" y="24"/>
                    <a:pt x="14" y="22"/>
                    <a:pt x="15" y="17"/>
                  </a:cubicBezTo>
                  <a:cubicBezTo>
                    <a:pt x="15" y="12"/>
                    <a:pt x="16" y="11"/>
                    <a:pt x="16" y="8"/>
                  </a:cubicBezTo>
                  <a:cubicBezTo>
                    <a:pt x="16" y="5"/>
                    <a:pt x="14" y="0"/>
                    <a:pt x="7" y="0"/>
                  </a:cubicBezTo>
                  <a:cubicBezTo>
                    <a:pt x="2" y="2"/>
                    <a:pt x="0" y="7"/>
                    <a:pt x="3" y="10"/>
                  </a:cubicBezTo>
                  <a:cubicBezTo>
                    <a:pt x="6" y="13"/>
                    <a:pt x="7" y="11"/>
                    <a:pt x="9" y="1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3" name="Freeform 511"/>
            <p:cNvSpPr>
              <a:spLocks/>
            </p:cNvSpPr>
            <p:nvPr/>
          </p:nvSpPr>
          <p:spPr bwMode="auto">
            <a:xfrm>
              <a:off x="5265056" y="4810813"/>
              <a:ext cx="5953" cy="4763"/>
            </a:xfrm>
            <a:custGeom>
              <a:avLst/>
              <a:gdLst>
                <a:gd name="T0" fmla="*/ 15 w 18"/>
                <a:gd name="T1" fmla="*/ 1 h 19"/>
                <a:gd name="T2" fmla="*/ 6 w 18"/>
                <a:gd name="T3" fmla="*/ 6 h 19"/>
                <a:gd name="T4" fmla="*/ 6 w 18"/>
                <a:gd name="T5" fmla="*/ 18 h 19"/>
                <a:gd name="T6" fmla="*/ 15 w 18"/>
                <a:gd name="T7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9">
                  <a:moveTo>
                    <a:pt x="15" y="1"/>
                  </a:moveTo>
                  <a:cubicBezTo>
                    <a:pt x="12" y="0"/>
                    <a:pt x="7" y="0"/>
                    <a:pt x="6" y="6"/>
                  </a:cubicBezTo>
                  <a:cubicBezTo>
                    <a:pt x="1" y="12"/>
                    <a:pt x="0" y="16"/>
                    <a:pt x="6" y="18"/>
                  </a:cubicBezTo>
                  <a:cubicBezTo>
                    <a:pt x="13" y="19"/>
                    <a:pt x="18" y="3"/>
                    <a:pt x="15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4" name="Freeform 512"/>
            <p:cNvSpPr>
              <a:spLocks/>
            </p:cNvSpPr>
            <p:nvPr/>
          </p:nvSpPr>
          <p:spPr bwMode="auto">
            <a:xfrm>
              <a:off x="5203144" y="4816766"/>
              <a:ext cx="5953" cy="5953"/>
            </a:xfrm>
            <a:custGeom>
              <a:avLst/>
              <a:gdLst>
                <a:gd name="T0" fmla="*/ 15 w 18"/>
                <a:gd name="T1" fmla="*/ 16 h 21"/>
                <a:gd name="T2" fmla="*/ 1 w 18"/>
                <a:gd name="T3" fmla="*/ 10 h 21"/>
                <a:gd name="T4" fmla="*/ 4 w 18"/>
                <a:gd name="T5" fmla="*/ 19 h 21"/>
                <a:gd name="T6" fmla="*/ 15 w 18"/>
                <a:gd name="T7" fmla="*/ 1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15" y="16"/>
                  </a:moveTo>
                  <a:cubicBezTo>
                    <a:pt x="18" y="14"/>
                    <a:pt x="2" y="0"/>
                    <a:pt x="1" y="10"/>
                  </a:cubicBezTo>
                  <a:cubicBezTo>
                    <a:pt x="1" y="15"/>
                    <a:pt x="0" y="18"/>
                    <a:pt x="4" y="19"/>
                  </a:cubicBezTo>
                  <a:cubicBezTo>
                    <a:pt x="7" y="21"/>
                    <a:pt x="12" y="18"/>
                    <a:pt x="15" y="1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5" name="Freeform 513"/>
            <p:cNvSpPr>
              <a:spLocks/>
            </p:cNvSpPr>
            <p:nvPr/>
          </p:nvSpPr>
          <p:spPr bwMode="auto">
            <a:xfrm>
              <a:off x="5181713" y="4813194"/>
              <a:ext cx="9525" cy="5953"/>
            </a:xfrm>
            <a:custGeom>
              <a:avLst/>
              <a:gdLst>
                <a:gd name="T0" fmla="*/ 20 w 34"/>
                <a:gd name="T1" fmla="*/ 12 h 20"/>
                <a:gd name="T2" fmla="*/ 29 w 34"/>
                <a:gd name="T3" fmla="*/ 2 h 20"/>
                <a:gd name="T4" fmla="*/ 6 w 34"/>
                <a:gd name="T5" fmla="*/ 10 h 20"/>
                <a:gd name="T6" fmla="*/ 5 w 34"/>
                <a:gd name="T7" fmla="*/ 19 h 20"/>
                <a:gd name="T8" fmla="*/ 20 w 34"/>
                <a:gd name="T9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20" y="12"/>
                  </a:moveTo>
                  <a:cubicBezTo>
                    <a:pt x="27" y="10"/>
                    <a:pt x="34" y="3"/>
                    <a:pt x="29" y="2"/>
                  </a:cubicBezTo>
                  <a:cubicBezTo>
                    <a:pt x="24" y="0"/>
                    <a:pt x="11" y="0"/>
                    <a:pt x="6" y="10"/>
                  </a:cubicBezTo>
                  <a:cubicBezTo>
                    <a:pt x="3" y="14"/>
                    <a:pt x="0" y="18"/>
                    <a:pt x="5" y="19"/>
                  </a:cubicBezTo>
                  <a:cubicBezTo>
                    <a:pt x="11" y="20"/>
                    <a:pt x="12" y="14"/>
                    <a:pt x="20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6" name="Freeform 514"/>
            <p:cNvSpPr>
              <a:spLocks/>
            </p:cNvSpPr>
            <p:nvPr/>
          </p:nvSpPr>
          <p:spPr bwMode="auto">
            <a:xfrm>
              <a:off x="5267438" y="4826291"/>
              <a:ext cx="4762" cy="5953"/>
            </a:xfrm>
            <a:custGeom>
              <a:avLst/>
              <a:gdLst>
                <a:gd name="T0" fmla="*/ 7 w 17"/>
                <a:gd name="T1" fmla="*/ 7 h 21"/>
                <a:gd name="T2" fmla="*/ 5 w 17"/>
                <a:gd name="T3" fmla="*/ 16 h 21"/>
                <a:gd name="T4" fmla="*/ 16 w 17"/>
                <a:gd name="T5" fmla="*/ 16 h 21"/>
                <a:gd name="T6" fmla="*/ 7 w 17"/>
                <a:gd name="T7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1">
                  <a:moveTo>
                    <a:pt x="7" y="7"/>
                  </a:moveTo>
                  <a:cubicBezTo>
                    <a:pt x="5" y="11"/>
                    <a:pt x="0" y="13"/>
                    <a:pt x="5" y="16"/>
                  </a:cubicBezTo>
                  <a:cubicBezTo>
                    <a:pt x="10" y="19"/>
                    <a:pt x="15" y="21"/>
                    <a:pt x="16" y="16"/>
                  </a:cubicBezTo>
                  <a:cubicBezTo>
                    <a:pt x="17" y="11"/>
                    <a:pt x="10" y="0"/>
                    <a:pt x="7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7" name="Freeform 515"/>
            <p:cNvSpPr>
              <a:spLocks/>
            </p:cNvSpPr>
            <p:nvPr/>
          </p:nvSpPr>
          <p:spPr bwMode="auto">
            <a:xfrm>
              <a:off x="5276963" y="5532332"/>
              <a:ext cx="8334" cy="8334"/>
            </a:xfrm>
            <a:custGeom>
              <a:avLst/>
              <a:gdLst>
                <a:gd name="T0" fmla="*/ 21 w 27"/>
                <a:gd name="T1" fmla="*/ 20 h 29"/>
                <a:gd name="T2" fmla="*/ 2 w 27"/>
                <a:gd name="T3" fmla="*/ 9 h 29"/>
                <a:gd name="T4" fmla="*/ 6 w 27"/>
                <a:gd name="T5" fmla="*/ 20 h 29"/>
                <a:gd name="T6" fmla="*/ 19 w 27"/>
                <a:gd name="T7" fmla="*/ 26 h 29"/>
                <a:gd name="T8" fmla="*/ 21 w 27"/>
                <a:gd name="T9" fmla="*/ 2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9">
                  <a:moveTo>
                    <a:pt x="21" y="20"/>
                  </a:moveTo>
                  <a:cubicBezTo>
                    <a:pt x="15" y="15"/>
                    <a:pt x="3" y="0"/>
                    <a:pt x="2" y="9"/>
                  </a:cubicBezTo>
                  <a:cubicBezTo>
                    <a:pt x="0" y="16"/>
                    <a:pt x="1" y="17"/>
                    <a:pt x="6" y="20"/>
                  </a:cubicBezTo>
                  <a:cubicBezTo>
                    <a:pt x="11" y="23"/>
                    <a:pt x="16" y="29"/>
                    <a:pt x="19" y="26"/>
                  </a:cubicBezTo>
                  <a:cubicBezTo>
                    <a:pt x="22" y="23"/>
                    <a:pt x="27" y="25"/>
                    <a:pt x="21" y="2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8" name="Freeform 516"/>
            <p:cNvSpPr>
              <a:spLocks/>
            </p:cNvSpPr>
            <p:nvPr/>
          </p:nvSpPr>
          <p:spPr bwMode="auto">
            <a:xfrm>
              <a:off x="5091225" y="4433385"/>
              <a:ext cx="180975" cy="241697"/>
            </a:xfrm>
            <a:custGeom>
              <a:avLst/>
              <a:gdLst>
                <a:gd name="T0" fmla="*/ 609 w 632"/>
                <a:gd name="T1" fmla="*/ 6 h 842"/>
                <a:gd name="T2" fmla="*/ 592 w 632"/>
                <a:gd name="T3" fmla="*/ 14 h 842"/>
                <a:gd name="T4" fmla="*/ 552 w 632"/>
                <a:gd name="T5" fmla="*/ 27 h 842"/>
                <a:gd name="T6" fmla="*/ 503 w 632"/>
                <a:gd name="T7" fmla="*/ 44 h 842"/>
                <a:gd name="T8" fmla="*/ 445 w 632"/>
                <a:gd name="T9" fmla="*/ 56 h 842"/>
                <a:gd name="T10" fmla="*/ 386 w 632"/>
                <a:gd name="T11" fmla="*/ 57 h 842"/>
                <a:gd name="T12" fmla="*/ 333 w 632"/>
                <a:gd name="T13" fmla="*/ 84 h 842"/>
                <a:gd name="T14" fmla="*/ 292 w 632"/>
                <a:gd name="T15" fmla="*/ 77 h 842"/>
                <a:gd name="T16" fmla="*/ 246 w 632"/>
                <a:gd name="T17" fmla="*/ 98 h 842"/>
                <a:gd name="T18" fmla="*/ 192 w 632"/>
                <a:gd name="T19" fmla="*/ 99 h 842"/>
                <a:gd name="T20" fmla="*/ 166 w 632"/>
                <a:gd name="T21" fmla="*/ 69 h 842"/>
                <a:gd name="T22" fmla="*/ 142 w 632"/>
                <a:gd name="T23" fmla="*/ 38 h 842"/>
                <a:gd name="T24" fmla="*/ 107 w 632"/>
                <a:gd name="T25" fmla="*/ 92 h 842"/>
                <a:gd name="T26" fmla="*/ 112 w 632"/>
                <a:gd name="T27" fmla="*/ 106 h 842"/>
                <a:gd name="T28" fmla="*/ 149 w 632"/>
                <a:gd name="T29" fmla="*/ 158 h 842"/>
                <a:gd name="T30" fmla="*/ 195 w 632"/>
                <a:gd name="T31" fmla="*/ 193 h 842"/>
                <a:gd name="T32" fmla="*/ 244 w 632"/>
                <a:gd name="T33" fmla="*/ 209 h 842"/>
                <a:gd name="T34" fmla="*/ 310 w 632"/>
                <a:gd name="T35" fmla="*/ 230 h 842"/>
                <a:gd name="T36" fmla="*/ 386 w 632"/>
                <a:gd name="T37" fmla="*/ 251 h 842"/>
                <a:gd name="T38" fmla="*/ 419 w 632"/>
                <a:gd name="T39" fmla="*/ 253 h 842"/>
                <a:gd name="T40" fmla="*/ 423 w 632"/>
                <a:gd name="T41" fmla="*/ 258 h 842"/>
                <a:gd name="T42" fmla="*/ 419 w 632"/>
                <a:gd name="T43" fmla="*/ 270 h 842"/>
                <a:gd name="T44" fmla="*/ 347 w 632"/>
                <a:gd name="T45" fmla="*/ 342 h 842"/>
                <a:gd name="T46" fmla="*/ 253 w 632"/>
                <a:gd name="T47" fmla="*/ 438 h 842"/>
                <a:gd name="T48" fmla="*/ 195 w 632"/>
                <a:gd name="T49" fmla="*/ 450 h 842"/>
                <a:gd name="T50" fmla="*/ 152 w 632"/>
                <a:gd name="T51" fmla="*/ 460 h 842"/>
                <a:gd name="T52" fmla="*/ 113 w 632"/>
                <a:gd name="T53" fmla="*/ 487 h 842"/>
                <a:gd name="T54" fmla="*/ 77 w 632"/>
                <a:gd name="T55" fmla="*/ 492 h 842"/>
                <a:gd name="T56" fmla="*/ 53 w 632"/>
                <a:gd name="T57" fmla="*/ 509 h 842"/>
                <a:gd name="T58" fmla="*/ 9 w 632"/>
                <a:gd name="T59" fmla="*/ 566 h 842"/>
                <a:gd name="T60" fmla="*/ 0 w 632"/>
                <a:gd name="T61" fmla="*/ 585 h 842"/>
                <a:gd name="T62" fmla="*/ 3 w 632"/>
                <a:gd name="T63" fmla="*/ 804 h 842"/>
                <a:gd name="T64" fmla="*/ 31 w 632"/>
                <a:gd name="T65" fmla="*/ 842 h 842"/>
                <a:gd name="T66" fmla="*/ 46 w 632"/>
                <a:gd name="T67" fmla="*/ 820 h 842"/>
                <a:gd name="T68" fmla="*/ 84 w 632"/>
                <a:gd name="T69" fmla="*/ 776 h 842"/>
                <a:gd name="T70" fmla="*/ 147 w 632"/>
                <a:gd name="T71" fmla="*/ 712 h 842"/>
                <a:gd name="T72" fmla="*/ 230 w 632"/>
                <a:gd name="T73" fmla="*/ 646 h 842"/>
                <a:gd name="T74" fmla="*/ 292 w 632"/>
                <a:gd name="T75" fmla="*/ 599 h 842"/>
                <a:gd name="T76" fmla="*/ 380 w 632"/>
                <a:gd name="T77" fmla="*/ 526 h 842"/>
                <a:gd name="T78" fmla="*/ 477 w 632"/>
                <a:gd name="T79" fmla="*/ 398 h 842"/>
                <a:gd name="T80" fmla="*/ 543 w 632"/>
                <a:gd name="T81" fmla="*/ 259 h 842"/>
                <a:gd name="T82" fmla="*/ 601 w 632"/>
                <a:gd name="T83" fmla="*/ 162 h 842"/>
                <a:gd name="T84" fmla="*/ 611 w 632"/>
                <a:gd name="T85" fmla="*/ 105 h 842"/>
                <a:gd name="T86" fmla="*/ 625 w 632"/>
                <a:gd name="T87" fmla="*/ 69 h 842"/>
                <a:gd name="T88" fmla="*/ 625 w 632"/>
                <a:gd name="T89" fmla="*/ 34 h 842"/>
                <a:gd name="T90" fmla="*/ 624 w 632"/>
                <a:gd name="T91" fmla="*/ 11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32" h="842">
                  <a:moveTo>
                    <a:pt x="624" y="11"/>
                  </a:moveTo>
                  <a:cubicBezTo>
                    <a:pt x="616" y="10"/>
                    <a:pt x="613" y="9"/>
                    <a:pt x="609" y="6"/>
                  </a:cubicBezTo>
                  <a:cubicBezTo>
                    <a:pt x="605" y="4"/>
                    <a:pt x="603" y="0"/>
                    <a:pt x="601" y="2"/>
                  </a:cubicBezTo>
                  <a:cubicBezTo>
                    <a:pt x="599" y="3"/>
                    <a:pt x="595" y="9"/>
                    <a:pt x="592" y="14"/>
                  </a:cubicBezTo>
                  <a:cubicBezTo>
                    <a:pt x="589" y="19"/>
                    <a:pt x="584" y="20"/>
                    <a:pt x="575" y="21"/>
                  </a:cubicBezTo>
                  <a:cubicBezTo>
                    <a:pt x="566" y="22"/>
                    <a:pt x="565" y="20"/>
                    <a:pt x="552" y="27"/>
                  </a:cubicBezTo>
                  <a:cubicBezTo>
                    <a:pt x="538" y="35"/>
                    <a:pt x="538" y="36"/>
                    <a:pt x="529" y="39"/>
                  </a:cubicBezTo>
                  <a:cubicBezTo>
                    <a:pt x="520" y="42"/>
                    <a:pt x="515" y="38"/>
                    <a:pt x="503" y="44"/>
                  </a:cubicBezTo>
                  <a:cubicBezTo>
                    <a:pt x="491" y="50"/>
                    <a:pt x="488" y="51"/>
                    <a:pt x="478" y="51"/>
                  </a:cubicBezTo>
                  <a:cubicBezTo>
                    <a:pt x="468" y="52"/>
                    <a:pt x="454" y="57"/>
                    <a:pt x="445" y="56"/>
                  </a:cubicBezTo>
                  <a:cubicBezTo>
                    <a:pt x="435" y="54"/>
                    <a:pt x="415" y="54"/>
                    <a:pt x="407" y="53"/>
                  </a:cubicBezTo>
                  <a:cubicBezTo>
                    <a:pt x="399" y="52"/>
                    <a:pt x="390" y="55"/>
                    <a:pt x="386" y="57"/>
                  </a:cubicBezTo>
                  <a:cubicBezTo>
                    <a:pt x="382" y="60"/>
                    <a:pt x="374" y="65"/>
                    <a:pt x="364" y="69"/>
                  </a:cubicBezTo>
                  <a:cubicBezTo>
                    <a:pt x="355" y="73"/>
                    <a:pt x="337" y="81"/>
                    <a:pt x="333" y="84"/>
                  </a:cubicBezTo>
                  <a:cubicBezTo>
                    <a:pt x="329" y="86"/>
                    <a:pt x="321" y="85"/>
                    <a:pt x="312" y="82"/>
                  </a:cubicBezTo>
                  <a:cubicBezTo>
                    <a:pt x="304" y="78"/>
                    <a:pt x="301" y="73"/>
                    <a:pt x="292" y="77"/>
                  </a:cubicBezTo>
                  <a:cubicBezTo>
                    <a:pt x="283" y="81"/>
                    <a:pt x="272" y="85"/>
                    <a:pt x="266" y="89"/>
                  </a:cubicBezTo>
                  <a:cubicBezTo>
                    <a:pt x="260" y="92"/>
                    <a:pt x="257" y="98"/>
                    <a:pt x="246" y="98"/>
                  </a:cubicBezTo>
                  <a:cubicBezTo>
                    <a:pt x="235" y="99"/>
                    <a:pt x="230" y="103"/>
                    <a:pt x="219" y="101"/>
                  </a:cubicBezTo>
                  <a:cubicBezTo>
                    <a:pt x="207" y="99"/>
                    <a:pt x="195" y="98"/>
                    <a:pt x="192" y="99"/>
                  </a:cubicBezTo>
                  <a:cubicBezTo>
                    <a:pt x="189" y="99"/>
                    <a:pt x="181" y="88"/>
                    <a:pt x="178" y="82"/>
                  </a:cubicBezTo>
                  <a:cubicBezTo>
                    <a:pt x="176" y="77"/>
                    <a:pt x="173" y="75"/>
                    <a:pt x="166" y="69"/>
                  </a:cubicBezTo>
                  <a:cubicBezTo>
                    <a:pt x="159" y="63"/>
                    <a:pt x="153" y="63"/>
                    <a:pt x="150" y="55"/>
                  </a:cubicBezTo>
                  <a:cubicBezTo>
                    <a:pt x="148" y="49"/>
                    <a:pt x="145" y="42"/>
                    <a:pt x="142" y="38"/>
                  </a:cubicBezTo>
                  <a:cubicBezTo>
                    <a:pt x="136" y="45"/>
                    <a:pt x="126" y="59"/>
                    <a:pt x="118" y="71"/>
                  </a:cubicBezTo>
                  <a:cubicBezTo>
                    <a:pt x="112" y="81"/>
                    <a:pt x="107" y="89"/>
                    <a:pt x="107" y="92"/>
                  </a:cubicBezTo>
                  <a:cubicBezTo>
                    <a:pt x="107" y="97"/>
                    <a:pt x="107" y="97"/>
                    <a:pt x="108" y="99"/>
                  </a:cubicBezTo>
                  <a:cubicBezTo>
                    <a:pt x="109" y="100"/>
                    <a:pt x="110" y="102"/>
                    <a:pt x="112" y="106"/>
                  </a:cubicBezTo>
                  <a:cubicBezTo>
                    <a:pt x="115" y="112"/>
                    <a:pt x="123" y="125"/>
                    <a:pt x="131" y="138"/>
                  </a:cubicBezTo>
                  <a:cubicBezTo>
                    <a:pt x="137" y="146"/>
                    <a:pt x="144" y="154"/>
                    <a:pt x="149" y="158"/>
                  </a:cubicBezTo>
                  <a:cubicBezTo>
                    <a:pt x="152" y="160"/>
                    <a:pt x="155" y="164"/>
                    <a:pt x="160" y="167"/>
                  </a:cubicBezTo>
                  <a:cubicBezTo>
                    <a:pt x="172" y="177"/>
                    <a:pt x="185" y="189"/>
                    <a:pt x="195" y="193"/>
                  </a:cubicBezTo>
                  <a:cubicBezTo>
                    <a:pt x="195" y="193"/>
                    <a:pt x="195" y="193"/>
                    <a:pt x="195" y="193"/>
                  </a:cubicBezTo>
                  <a:cubicBezTo>
                    <a:pt x="202" y="197"/>
                    <a:pt x="223" y="203"/>
                    <a:pt x="244" y="209"/>
                  </a:cubicBezTo>
                  <a:cubicBezTo>
                    <a:pt x="258" y="213"/>
                    <a:pt x="271" y="217"/>
                    <a:pt x="280" y="219"/>
                  </a:cubicBezTo>
                  <a:cubicBezTo>
                    <a:pt x="287" y="222"/>
                    <a:pt x="298" y="226"/>
                    <a:pt x="310" y="230"/>
                  </a:cubicBezTo>
                  <a:cubicBezTo>
                    <a:pt x="334" y="239"/>
                    <a:pt x="362" y="250"/>
                    <a:pt x="368" y="250"/>
                  </a:cubicBezTo>
                  <a:cubicBezTo>
                    <a:pt x="373" y="251"/>
                    <a:pt x="379" y="251"/>
                    <a:pt x="386" y="251"/>
                  </a:cubicBezTo>
                  <a:cubicBezTo>
                    <a:pt x="395" y="251"/>
                    <a:pt x="404" y="251"/>
                    <a:pt x="410" y="251"/>
                  </a:cubicBezTo>
                  <a:cubicBezTo>
                    <a:pt x="413" y="251"/>
                    <a:pt x="417" y="252"/>
                    <a:pt x="419" y="253"/>
                  </a:cubicBezTo>
                  <a:cubicBezTo>
                    <a:pt x="421" y="255"/>
                    <a:pt x="422" y="256"/>
                    <a:pt x="423" y="258"/>
                  </a:cubicBezTo>
                  <a:cubicBezTo>
                    <a:pt x="423" y="258"/>
                    <a:pt x="423" y="258"/>
                    <a:pt x="423" y="258"/>
                  </a:cubicBezTo>
                  <a:cubicBezTo>
                    <a:pt x="424" y="260"/>
                    <a:pt x="424" y="262"/>
                    <a:pt x="424" y="264"/>
                  </a:cubicBezTo>
                  <a:cubicBezTo>
                    <a:pt x="423" y="266"/>
                    <a:pt x="421" y="268"/>
                    <a:pt x="419" y="270"/>
                  </a:cubicBezTo>
                  <a:cubicBezTo>
                    <a:pt x="413" y="277"/>
                    <a:pt x="362" y="327"/>
                    <a:pt x="347" y="342"/>
                  </a:cubicBezTo>
                  <a:cubicBezTo>
                    <a:pt x="347" y="342"/>
                    <a:pt x="347" y="342"/>
                    <a:pt x="347" y="342"/>
                  </a:cubicBezTo>
                  <a:cubicBezTo>
                    <a:pt x="342" y="347"/>
                    <a:pt x="332" y="357"/>
                    <a:pt x="321" y="370"/>
                  </a:cubicBezTo>
                  <a:cubicBezTo>
                    <a:pt x="296" y="396"/>
                    <a:pt x="264" y="430"/>
                    <a:pt x="253" y="438"/>
                  </a:cubicBezTo>
                  <a:cubicBezTo>
                    <a:pt x="239" y="450"/>
                    <a:pt x="216" y="450"/>
                    <a:pt x="201" y="450"/>
                  </a:cubicBezTo>
                  <a:cubicBezTo>
                    <a:pt x="199" y="450"/>
                    <a:pt x="197" y="450"/>
                    <a:pt x="195" y="450"/>
                  </a:cubicBezTo>
                  <a:cubicBezTo>
                    <a:pt x="188" y="450"/>
                    <a:pt x="181" y="451"/>
                    <a:pt x="174" y="452"/>
                  </a:cubicBezTo>
                  <a:cubicBezTo>
                    <a:pt x="167" y="454"/>
                    <a:pt x="160" y="456"/>
                    <a:pt x="152" y="460"/>
                  </a:cubicBezTo>
                  <a:cubicBezTo>
                    <a:pt x="143" y="466"/>
                    <a:pt x="133" y="473"/>
                    <a:pt x="125" y="478"/>
                  </a:cubicBezTo>
                  <a:cubicBezTo>
                    <a:pt x="121" y="482"/>
                    <a:pt x="117" y="485"/>
                    <a:pt x="113" y="487"/>
                  </a:cubicBezTo>
                  <a:cubicBezTo>
                    <a:pt x="105" y="492"/>
                    <a:pt x="96" y="492"/>
                    <a:pt x="86" y="492"/>
                  </a:cubicBezTo>
                  <a:cubicBezTo>
                    <a:pt x="83" y="492"/>
                    <a:pt x="80" y="492"/>
                    <a:pt x="77" y="492"/>
                  </a:cubicBezTo>
                  <a:cubicBezTo>
                    <a:pt x="69" y="492"/>
                    <a:pt x="63" y="498"/>
                    <a:pt x="58" y="504"/>
                  </a:cubicBezTo>
                  <a:cubicBezTo>
                    <a:pt x="56" y="506"/>
                    <a:pt x="54" y="508"/>
                    <a:pt x="53" y="509"/>
                  </a:cubicBezTo>
                  <a:cubicBezTo>
                    <a:pt x="49" y="512"/>
                    <a:pt x="41" y="524"/>
                    <a:pt x="32" y="536"/>
                  </a:cubicBezTo>
                  <a:cubicBezTo>
                    <a:pt x="23" y="549"/>
                    <a:pt x="13" y="562"/>
                    <a:pt x="9" y="566"/>
                  </a:cubicBezTo>
                  <a:cubicBezTo>
                    <a:pt x="5" y="570"/>
                    <a:pt x="3" y="573"/>
                    <a:pt x="2" y="575"/>
                  </a:cubicBezTo>
                  <a:cubicBezTo>
                    <a:pt x="1" y="578"/>
                    <a:pt x="1" y="581"/>
                    <a:pt x="0" y="585"/>
                  </a:cubicBezTo>
                  <a:cubicBezTo>
                    <a:pt x="0" y="590"/>
                    <a:pt x="0" y="668"/>
                    <a:pt x="0" y="730"/>
                  </a:cubicBezTo>
                  <a:cubicBezTo>
                    <a:pt x="1" y="769"/>
                    <a:pt x="2" y="802"/>
                    <a:pt x="3" y="804"/>
                  </a:cubicBezTo>
                  <a:cubicBezTo>
                    <a:pt x="5" y="807"/>
                    <a:pt x="14" y="820"/>
                    <a:pt x="23" y="832"/>
                  </a:cubicBezTo>
                  <a:cubicBezTo>
                    <a:pt x="26" y="836"/>
                    <a:pt x="28" y="839"/>
                    <a:pt x="31" y="842"/>
                  </a:cubicBezTo>
                  <a:cubicBezTo>
                    <a:pt x="31" y="841"/>
                    <a:pt x="32" y="840"/>
                    <a:pt x="33" y="839"/>
                  </a:cubicBezTo>
                  <a:cubicBezTo>
                    <a:pt x="39" y="833"/>
                    <a:pt x="42" y="829"/>
                    <a:pt x="46" y="820"/>
                  </a:cubicBezTo>
                  <a:cubicBezTo>
                    <a:pt x="50" y="811"/>
                    <a:pt x="47" y="807"/>
                    <a:pt x="56" y="799"/>
                  </a:cubicBezTo>
                  <a:cubicBezTo>
                    <a:pt x="66" y="792"/>
                    <a:pt x="76" y="785"/>
                    <a:pt x="84" y="776"/>
                  </a:cubicBezTo>
                  <a:cubicBezTo>
                    <a:pt x="91" y="768"/>
                    <a:pt x="90" y="761"/>
                    <a:pt x="102" y="751"/>
                  </a:cubicBezTo>
                  <a:cubicBezTo>
                    <a:pt x="114" y="740"/>
                    <a:pt x="141" y="718"/>
                    <a:pt x="147" y="712"/>
                  </a:cubicBezTo>
                  <a:cubicBezTo>
                    <a:pt x="153" y="706"/>
                    <a:pt x="164" y="696"/>
                    <a:pt x="170" y="693"/>
                  </a:cubicBezTo>
                  <a:cubicBezTo>
                    <a:pt x="177" y="689"/>
                    <a:pt x="216" y="657"/>
                    <a:pt x="230" y="646"/>
                  </a:cubicBezTo>
                  <a:cubicBezTo>
                    <a:pt x="245" y="635"/>
                    <a:pt x="254" y="629"/>
                    <a:pt x="265" y="622"/>
                  </a:cubicBezTo>
                  <a:cubicBezTo>
                    <a:pt x="275" y="615"/>
                    <a:pt x="283" y="607"/>
                    <a:pt x="292" y="599"/>
                  </a:cubicBezTo>
                  <a:cubicBezTo>
                    <a:pt x="302" y="592"/>
                    <a:pt x="314" y="582"/>
                    <a:pt x="325" y="573"/>
                  </a:cubicBezTo>
                  <a:cubicBezTo>
                    <a:pt x="337" y="563"/>
                    <a:pt x="366" y="539"/>
                    <a:pt x="380" y="526"/>
                  </a:cubicBezTo>
                  <a:cubicBezTo>
                    <a:pt x="394" y="513"/>
                    <a:pt x="413" y="485"/>
                    <a:pt x="426" y="473"/>
                  </a:cubicBezTo>
                  <a:cubicBezTo>
                    <a:pt x="439" y="461"/>
                    <a:pt x="464" y="418"/>
                    <a:pt x="477" y="398"/>
                  </a:cubicBezTo>
                  <a:cubicBezTo>
                    <a:pt x="489" y="379"/>
                    <a:pt x="505" y="350"/>
                    <a:pt x="515" y="325"/>
                  </a:cubicBezTo>
                  <a:cubicBezTo>
                    <a:pt x="525" y="299"/>
                    <a:pt x="535" y="271"/>
                    <a:pt x="543" y="259"/>
                  </a:cubicBezTo>
                  <a:cubicBezTo>
                    <a:pt x="550" y="248"/>
                    <a:pt x="571" y="223"/>
                    <a:pt x="577" y="213"/>
                  </a:cubicBezTo>
                  <a:cubicBezTo>
                    <a:pt x="584" y="202"/>
                    <a:pt x="598" y="172"/>
                    <a:pt x="601" y="162"/>
                  </a:cubicBezTo>
                  <a:cubicBezTo>
                    <a:pt x="605" y="151"/>
                    <a:pt x="605" y="144"/>
                    <a:pt x="606" y="130"/>
                  </a:cubicBezTo>
                  <a:cubicBezTo>
                    <a:pt x="607" y="116"/>
                    <a:pt x="606" y="109"/>
                    <a:pt x="611" y="105"/>
                  </a:cubicBezTo>
                  <a:cubicBezTo>
                    <a:pt x="616" y="100"/>
                    <a:pt x="623" y="96"/>
                    <a:pt x="625" y="91"/>
                  </a:cubicBezTo>
                  <a:cubicBezTo>
                    <a:pt x="627" y="86"/>
                    <a:pt x="626" y="78"/>
                    <a:pt x="625" y="69"/>
                  </a:cubicBezTo>
                  <a:cubicBezTo>
                    <a:pt x="623" y="61"/>
                    <a:pt x="622" y="56"/>
                    <a:pt x="622" y="49"/>
                  </a:cubicBezTo>
                  <a:cubicBezTo>
                    <a:pt x="622" y="43"/>
                    <a:pt x="619" y="42"/>
                    <a:pt x="625" y="34"/>
                  </a:cubicBezTo>
                  <a:cubicBezTo>
                    <a:pt x="630" y="27"/>
                    <a:pt x="632" y="22"/>
                    <a:pt x="632" y="18"/>
                  </a:cubicBezTo>
                  <a:cubicBezTo>
                    <a:pt x="632" y="14"/>
                    <a:pt x="632" y="12"/>
                    <a:pt x="624" y="1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9" name="Freeform 517"/>
            <p:cNvSpPr>
              <a:spLocks/>
            </p:cNvSpPr>
            <p:nvPr/>
          </p:nvSpPr>
          <p:spPr bwMode="auto">
            <a:xfrm>
              <a:off x="5296013" y="4770332"/>
              <a:ext cx="3572" cy="3572"/>
            </a:xfrm>
            <a:custGeom>
              <a:avLst/>
              <a:gdLst>
                <a:gd name="T0" fmla="*/ 1 w 13"/>
                <a:gd name="T1" fmla="*/ 7 h 15"/>
                <a:gd name="T2" fmla="*/ 6 w 13"/>
                <a:gd name="T3" fmla="*/ 14 h 15"/>
                <a:gd name="T4" fmla="*/ 13 w 13"/>
                <a:gd name="T5" fmla="*/ 8 h 15"/>
                <a:gd name="T6" fmla="*/ 1 w 13"/>
                <a:gd name="T7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5">
                  <a:moveTo>
                    <a:pt x="1" y="7"/>
                  </a:moveTo>
                  <a:cubicBezTo>
                    <a:pt x="0" y="11"/>
                    <a:pt x="4" y="14"/>
                    <a:pt x="6" y="14"/>
                  </a:cubicBezTo>
                  <a:cubicBezTo>
                    <a:pt x="9" y="15"/>
                    <a:pt x="13" y="14"/>
                    <a:pt x="13" y="8"/>
                  </a:cubicBezTo>
                  <a:cubicBezTo>
                    <a:pt x="13" y="2"/>
                    <a:pt x="0" y="0"/>
                    <a:pt x="1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0" name="Freeform 518"/>
            <p:cNvSpPr>
              <a:spLocks/>
            </p:cNvSpPr>
            <p:nvPr/>
          </p:nvSpPr>
          <p:spPr bwMode="auto">
            <a:xfrm>
              <a:off x="5122181" y="4309560"/>
              <a:ext cx="182166" cy="114300"/>
            </a:xfrm>
            <a:custGeom>
              <a:avLst/>
              <a:gdLst>
                <a:gd name="T0" fmla="*/ 636 w 636"/>
                <a:gd name="T1" fmla="*/ 146 h 398"/>
                <a:gd name="T2" fmla="*/ 570 w 636"/>
                <a:gd name="T3" fmla="*/ 0 h 398"/>
                <a:gd name="T4" fmla="*/ 462 w 636"/>
                <a:gd name="T5" fmla="*/ 15 h 398"/>
                <a:gd name="T6" fmla="*/ 393 w 636"/>
                <a:gd name="T7" fmla="*/ 24 h 398"/>
                <a:gd name="T8" fmla="*/ 369 w 636"/>
                <a:gd name="T9" fmla="*/ 35 h 398"/>
                <a:gd name="T10" fmla="*/ 335 w 636"/>
                <a:gd name="T11" fmla="*/ 55 h 398"/>
                <a:gd name="T12" fmla="*/ 316 w 636"/>
                <a:gd name="T13" fmla="*/ 84 h 398"/>
                <a:gd name="T14" fmla="*/ 293 w 636"/>
                <a:gd name="T15" fmla="*/ 117 h 398"/>
                <a:gd name="T16" fmla="*/ 268 w 636"/>
                <a:gd name="T17" fmla="*/ 125 h 398"/>
                <a:gd name="T18" fmla="*/ 263 w 636"/>
                <a:gd name="T19" fmla="*/ 125 h 398"/>
                <a:gd name="T20" fmla="*/ 242 w 636"/>
                <a:gd name="T21" fmla="*/ 113 h 398"/>
                <a:gd name="T22" fmla="*/ 238 w 636"/>
                <a:gd name="T23" fmla="*/ 108 h 398"/>
                <a:gd name="T24" fmla="*/ 192 w 636"/>
                <a:gd name="T25" fmla="*/ 104 h 398"/>
                <a:gd name="T26" fmla="*/ 144 w 636"/>
                <a:gd name="T27" fmla="*/ 101 h 398"/>
                <a:gd name="T28" fmla="*/ 106 w 636"/>
                <a:gd name="T29" fmla="*/ 104 h 398"/>
                <a:gd name="T30" fmla="*/ 74 w 636"/>
                <a:gd name="T31" fmla="*/ 107 h 398"/>
                <a:gd name="T32" fmla="*/ 54 w 636"/>
                <a:gd name="T33" fmla="*/ 101 h 398"/>
                <a:gd name="T34" fmla="*/ 40 w 636"/>
                <a:gd name="T35" fmla="*/ 98 h 398"/>
                <a:gd name="T36" fmla="*/ 30 w 636"/>
                <a:gd name="T37" fmla="*/ 116 h 398"/>
                <a:gd name="T38" fmla="*/ 30 w 636"/>
                <a:gd name="T39" fmla="*/ 116 h 398"/>
                <a:gd name="T40" fmla="*/ 30 w 636"/>
                <a:gd name="T41" fmla="*/ 117 h 398"/>
                <a:gd name="T42" fmla="*/ 29 w 636"/>
                <a:gd name="T43" fmla="*/ 134 h 398"/>
                <a:gd name="T44" fmla="*/ 29 w 636"/>
                <a:gd name="T45" fmla="*/ 148 h 398"/>
                <a:gd name="T46" fmla="*/ 0 w 636"/>
                <a:gd name="T47" fmla="*/ 168 h 398"/>
                <a:gd name="T48" fmla="*/ 1 w 636"/>
                <a:gd name="T49" fmla="*/ 180 h 398"/>
                <a:gd name="T50" fmla="*/ 2 w 636"/>
                <a:gd name="T51" fmla="*/ 223 h 398"/>
                <a:gd name="T52" fmla="*/ 2 w 636"/>
                <a:gd name="T53" fmla="*/ 244 h 398"/>
                <a:gd name="T54" fmla="*/ 9 w 636"/>
                <a:gd name="T55" fmla="*/ 269 h 398"/>
                <a:gd name="T56" fmla="*/ 17 w 636"/>
                <a:gd name="T57" fmla="*/ 305 h 398"/>
                <a:gd name="T58" fmla="*/ 33 w 636"/>
                <a:gd name="T59" fmla="*/ 333 h 398"/>
                <a:gd name="T60" fmla="*/ 28 w 636"/>
                <a:gd name="T61" fmla="*/ 359 h 398"/>
                <a:gd name="T62" fmla="*/ 38 w 636"/>
                <a:gd name="T63" fmla="*/ 385 h 398"/>
                <a:gd name="T64" fmla="*/ 57 w 636"/>
                <a:gd name="T65" fmla="*/ 393 h 398"/>
                <a:gd name="T66" fmla="*/ 93 w 636"/>
                <a:gd name="T67" fmla="*/ 398 h 398"/>
                <a:gd name="T68" fmla="*/ 115 w 636"/>
                <a:gd name="T69" fmla="*/ 390 h 398"/>
                <a:gd name="T70" fmla="*/ 134 w 636"/>
                <a:gd name="T71" fmla="*/ 388 h 398"/>
                <a:gd name="T72" fmla="*/ 165 w 636"/>
                <a:gd name="T73" fmla="*/ 365 h 398"/>
                <a:gd name="T74" fmla="*/ 199 w 636"/>
                <a:gd name="T75" fmla="*/ 349 h 398"/>
                <a:gd name="T76" fmla="*/ 240 w 636"/>
                <a:gd name="T77" fmla="*/ 342 h 398"/>
                <a:gd name="T78" fmla="*/ 275 w 636"/>
                <a:gd name="T79" fmla="*/ 336 h 398"/>
                <a:gd name="T80" fmla="*/ 310 w 636"/>
                <a:gd name="T81" fmla="*/ 315 h 398"/>
                <a:gd name="T82" fmla="*/ 342 w 636"/>
                <a:gd name="T83" fmla="*/ 310 h 398"/>
                <a:gd name="T84" fmla="*/ 368 w 636"/>
                <a:gd name="T85" fmla="*/ 305 h 398"/>
                <a:gd name="T86" fmla="*/ 397 w 636"/>
                <a:gd name="T87" fmla="*/ 276 h 398"/>
                <a:gd name="T88" fmla="*/ 446 w 636"/>
                <a:gd name="T89" fmla="*/ 259 h 398"/>
                <a:gd name="T90" fmla="*/ 497 w 636"/>
                <a:gd name="T91" fmla="*/ 244 h 398"/>
                <a:gd name="T92" fmla="*/ 576 w 636"/>
                <a:gd name="T93" fmla="*/ 214 h 398"/>
                <a:gd name="T94" fmla="*/ 583 w 636"/>
                <a:gd name="T95" fmla="*/ 201 h 398"/>
                <a:gd name="T96" fmla="*/ 584 w 636"/>
                <a:gd name="T97" fmla="*/ 184 h 398"/>
                <a:gd name="T98" fmla="*/ 598 w 636"/>
                <a:gd name="T99" fmla="*/ 163 h 398"/>
                <a:gd name="T100" fmla="*/ 615 w 636"/>
                <a:gd name="T101" fmla="*/ 155 h 398"/>
                <a:gd name="T102" fmla="*/ 636 w 636"/>
                <a:gd name="T103" fmla="*/ 146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36" h="398">
                  <a:moveTo>
                    <a:pt x="636" y="146"/>
                  </a:moveTo>
                  <a:cubicBezTo>
                    <a:pt x="570" y="0"/>
                    <a:pt x="570" y="0"/>
                    <a:pt x="570" y="0"/>
                  </a:cubicBezTo>
                  <a:cubicBezTo>
                    <a:pt x="553" y="4"/>
                    <a:pt x="504" y="10"/>
                    <a:pt x="462" y="15"/>
                  </a:cubicBezTo>
                  <a:cubicBezTo>
                    <a:pt x="429" y="19"/>
                    <a:pt x="399" y="23"/>
                    <a:pt x="393" y="24"/>
                  </a:cubicBezTo>
                  <a:cubicBezTo>
                    <a:pt x="388" y="26"/>
                    <a:pt x="379" y="30"/>
                    <a:pt x="369" y="35"/>
                  </a:cubicBezTo>
                  <a:cubicBezTo>
                    <a:pt x="355" y="42"/>
                    <a:pt x="340" y="51"/>
                    <a:pt x="335" y="55"/>
                  </a:cubicBezTo>
                  <a:cubicBezTo>
                    <a:pt x="331" y="58"/>
                    <a:pt x="324" y="71"/>
                    <a:pt x="316" y="84"/>
                  </a:cubicBezTo>
                  <a:cubicBezTo>
                    <a:pt x="307" y="99"/>
                    <a:pt x="299" y="113"/>
                    <a:pt x="293" y="117"/>
                  </a:cubicBezTo>
                  <a:cubicBezTo>
                    <a:pt x="283" y="125"/>
                    <a:pt x="282" y="125"/>
                    <a:pt x="268" y="125"/>
                  </a:cubicBezTo>
                  <a:cubicBezTo>
                    <a:pt x="268" y="125"/>
                    <a:pt x="268" y="125"/>
                    <a:pt x="263" y="125"/>
                  </a:cubicBezTo>
                  <a:cubicBezTo>
                    <a:pt x="250" y="125"/>
                    <a:pt x="246" y="119"/>
                    <a:pt x="242" y="113"/>
                  </a:cubicBezTo>
                  <a:cubicBezTo>
                    <a:pt x="241" y="111"/>
                    <a:pt x="239" y="109"/>
                    <a:pt x="238" y="108"/>
                  </a:cubicBezTo>
                  <a:cubicBezTo>
                    <a:pt x="233" y="107"/>
                    <a:pt x="213" y="105"/>
                    <a:pt x="192" y="104"/>
                  </a:cubicBezTo>
                  <a:cubicBezTo>
                    <a:pt x="173" y="102"/>
                    <a:pt x="154" y="101"/>
                    <a:pt x="144" y="101"/>
                  </a:cubicBezTo>
                  <a:cubicBezTo>
                    <a:pt x="134" y="101"/>
                    <a:pt x="119" y="103"/>
                    <a:pt x="106" y="104"/>
                  </a:cubicBezTo>
                  <a:cubicBezTo>
                    <a:pt x="93" y="106"/>
                    <a:pt x="81" y="107"/>
                    <a:pt x="74" y="107"/>
                  </a:cubicBezTo>
                  <a:cubicBezTo>
                    <a:pt x="67" y="107"/>
                    <a:pt x="60" y="104"/>
                    <a:pt x="54" y="101"/>
                  </a:cubicBezTo>
                  <a:cubicBezTo>
                    <a:pt x="48" y="99"/>
                    <a:pt x="43" y="97"/>
                    <a:pt x="40" y="98"/>
                  </a:cubicBezTo>
                  <a:cubicBezTo>
                    <a:pt x="34" y="100"/>
                    <a:pt x="33" y="104"/>
                    <a:pt x="30" y="116"/>
                  </a:cubicBezTo>
                  <a:cubicBezTo>
                    <a:pt x="30" y="116"/>
                    <a:pt x="30" y="116"/>
                    <a:pt x="30" y="116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28" y="124"/>
                    <a:pt x="29" y="129"/>
                    <a:pt x="29" y="134"/>
                  </a:cubicBezTo>
                  <a:cubicBezTo>
                    <a:pt x="30" y="139"/>
                    <a:pt x="31" y="143"/>
                    <a:pt x="29" y="148"/>
                  </a:cubicBezTo>
                  <a:cubicBezTo>
                    <a:pt x="27" y="154"/>
                    <a:pt x="12" y="162"/>
                    <a:pt x="0" y="168"/>
                  </a:cubicBezTo>
                  <a:cubicBezTo>
                    <a:pt x="0" y="172"/>
                    <a:pt x="0" y="175"/>
                    <a:pt x="1" y="180"/>
                  </a:cubicBezTo>
                  <a:cubicBezTo>
                    <a:pt x="2" y="196"/>
                    <a:pt x="2" y="218"/>
                    <a:pt x="2" y="223"/>
                  </a:cubicBezTo>
                  <a:cubicBezTo>
                    <a:pt x="1" y="227"/>
                    <a:pt x="0" y="235"/>
                    <a:pt x="2" y="244"/>
                  </a:cubicBezTo>
                  <a:cubicBezTo>
                    <a:pt x="4" y="254"/>
                    <a:pt x="5" y="258"/>
                    <a:pt x="9" y="269"/>
                  </a:cubicBezTo>
                  <a:cubicBezTo>
                    <a:pt x="13" y="280"/>
                    <a:pt x="16" y="295"/>
                    <a:pt x="17" y="305"/>
                  </a:cubicBezTo>
                  <a:cubicBezTo>
                    <a:pt x="17" y="314"/>
                    <a:pt x="31" y="321"/>
                    <a:pt x="33" y="333"/>
                  </a:cubicBezTo>
                  <a:cubicBezTo>
                    <a:pt x="35" y="345"/>
                    <a:pt x="31" y="344"/>
                    <a:pt x="28" y="359"/>
                  </a:cubicBezTo>
                  <a:cubicBezTo>
                    <a:pt x="25" y="373"/>
                    <a:pt x="34" y="375"/>
                    <a:pt x="38" y="385"/>
                  </a:cubicBezTo>
                  <a:cubicBezTo>
                    <a:pt x="42" y="396"/>
                    <a:pt x="46" y="392"/>
                    <a:pt x="57" y="393"/>
                  </a:cubicBezTo>
                  <a:cubicBezTo>
                    <a:pt x="69" y="395"/>
                    <a:pt x="80" y="397"/>
                    <a:pt x="93" y="398"/>
                  </a:cubicBezTo>
                  <a:cubicBezTo>
                    <a:pt x="106" y="398"/>
                    <a:pt x="104" y="396"/>
                    <a:pt x="115" y="390"/>
                  </a:cubicBezTo>
                  <a:cubicBezTo>
                    <a:pt x="127" y="384"/>
                    <a:pt x="123" y="390"/>
                    <a:pt x="134" y="388"/>
                  </a:cubicBezTo>
                  <a:cubicBezTo>
                    <a:pt x="145" y="386"/>
                    <a:pt x="152" y="376"/>
                    <a:pt x="165" y="365"/>
                  </a:cubicBezTo>
                  <a:cubicBezTo>
                    <a:pt x="178" y="353"/>
                    <a:pt x="184" y="351"/>
                    <a:pt x="199" y="349"/>
                  </a:cubicBezTo>
                  <a:cubicBezTo>
                    <a:pt x="214" y="347"/>
                    <a:pt x="221" y="345"/>
                    <a:pt x="240" y="342"/>
                  </a:cubicBezTo>
                  <a:cubicBezTo>
                    <a:pt x="260" y="340"/>
                    <a:pt x="266" y="339"/>
                    <a:pt x="275" y="336"/>
                  </a:cubicBezTo>
                  <a:cubicBezTo>
                    <a:pt x="283" y="332"/>
                    <a:pt x="299" y="325"/>
                    <a:pt x="310" y="315"/>
                  </a:cubicBezTo>
                  <a:cubicBezTo>
                    <a:pt x="321" y="306"/>
                    <a:pt x="326" y="308"/>
                    <a:pt x="342" y="310"/>
                  </a:cubicBezTo>
                  <a:cubicBezTo>
                    <a:pt x="358" y="312"/>
                    <a:pt x="362" y="310"/>
                    <a:pt x="368" y="305"/>
                  </a:cubicBezTo>
                  <a:cubicBezTo>
                    <a:pt x="375" y="299"/>
                    <a:pt x="387" y="281"/>
                    <a:pt x="397" y="276"/>
                  </a:cubicBezTo>
                  <a:cubicBezTo>
                    <a:pt x="407" y="270"/>
                    <a:pt x="432" y="264"/>
                    <a:pt x="446" y="259"/>
                  </a:cubicBezTo>
                  <a:cubicBezTo>
                    <a:pt x="460" y="254"/>
                    <a:pt x="474" y="250"/>
                    <a:pt x="497" y="244"/>
                  </a:cubicBezTo>
                  <a:cubicBezTo>
                    <a:pt x="521" y="239"/>
                    <a:pt x="570" y="218"/>
                    <a:pt x="576" y="214"/>
                  </a:cubicBezTo>
                  <a:cubicBezTo>
                    <a:pt x="581" y="210"/>
                    <a:pt x="583" y="208"/>
                    <a:pt x="583" y="201"/>
                  </a:cubicBezTo>
                  <a:cubicBezTo>
                    <a:pt x="583" y="194"/>
                    <a:pt x="581" y="189"/>
                    <a:pt x="584" y="184"/>
                  </a:cubicBezTo>
                  <a:cubicBezTo>
                    <a:pt x="587" y="180"/>
                    <a:pt x="594" y="170"/>
                    <a:pt x="598" y="163"/>
                  </a:cubicBezTo>
                  <a:cubicBezTo>
                    <a:pt x="602" y="156"/>
                    <a:pt x="608" y="156"/>
                    <a:pt x="615" y="155"/>
                  </a:cubicBezTo>
                  <a:cubicBezTo>
                    <a:pt x="619" y="154"/>
                    <a:pt x="628" y="150"/>
                    <a:pt x="636" y="14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1" name="Freeform 519"/>
            <p:cNvSpPr>
              <a:spLocks/>
            </p:cNvSpPr>
            <p:nvPr/>
          </p:nvSpPr>
          <p:spPr bwMode="auto">
            <a:xfrm>
              <a:off x="5305538" y="4745328"/>
              <a:ext cx="5953" cy="5953"/>
            </a:xfrm>
            <a:custGeom>
              <a:avLst/>
              <a:gdLst>
                <a:gd name="T0" fmla="*/ 6 w 18"/>
                <a:gd name="T1" fmla="*/ 8 h 21"/>
                <a:gd name="T2" fmla="*/ 5 w 18"/>
                <a:gd name="T3" fmla="*/ 20 h 21"/>
                <a:gd name="T4" fmla="*/ 15 w 18"/>
                <a:gd name="T5" fmla="*/ 6 h 21"/>
                <a:gd name="T6" fmla="*/ 6 w 18"/>
                <a:gd name="T7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6" y="8"/>
                  </a:moveTo>
                  <a:cubicBezTo>
                    <a:pt x="5" y="10"/>
                    <a:pt x="0" y="19"/>
                    <a:pt x="5" y="20"/>
                  </a:cubicBezTo>
                  <a:cubicBezTo>
                    <a:pt x="9" y="21"/>
                    <a:pt x="12" y="13"/>
                    <a:pt x="15" y="6"/>
                  </a:cubicBezTo>
                  <a:cubicBezTo>
                    <a:pt x="18" y="0"/>
                    <a:pt x="8" y="0"/>
                    <a:pt x="6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2" name="Freeform 520"/>
            <p:cNvSpPr>
              <a:spLocks/>
            </p:cNvSpPr>
            <p:nvPr/>
          </p:nvSpPr>
          <p:spPr bwMode="auto">
            <a:xfrm>
              <a:off x="5286488" y="4429813"/>
              <a:ext cx="4762" cy="3572"/>
            </a:xfrm>
            <a:custGeom>
              <a:avLst/>
              <a:gdLst>
                <a:gd name="T0" fmla="*/ 12 w 20"/>
                <a:gd name="T1" fmla="*/ 4 h 13"/>
                <a:gd name="T2" fmla="*/ 0 w 20"/>
                <a:gd name="T3" fmla="*/ 5 h 13"/>
                <a:gd name="T4" fmla="*/ 9 w 20"/>
                <a:gd name="T5" fmla="*/ 7 h 13"/>
                <a:gd name="T6" fmla="*/ 14 w 20"/>
                <a:gd name="T7" fmla="*/ 11 h 13"/>
                <a:gd name="T8" fmla="*/ 18 w 20"/>
                <a:gd name="T9" fmla="*/ 8 h 13"/>
                <a:gd name="T10" fmla="*/ 12 w 20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3">
                  <a:moveTo>
                    <a:pt x="12" y="4"/>
                  </a:moveTo>
                  <a:cubicBezTo>
                    <a:pt x="5" y="0"/>
                    <a:pt x="0" y="2"/>
                    <a:pt x="0" y="5"/>
                  </a:cubicBezTo>
                  <a:cubicBezTo>
                    <a:pt x="0" y="9"/>
                    <a:pt x="4" y="7"/>
                    <a:pt x="9" y="7"/>
                  </a:cubicBezTo>
                  <a:cubicBezTo>
                    <a:pt x="14" y="8"/>
                    <a:pt x="12" y="10"/>
                    <a:pt x="14" y="11"/>
                  </a:cubicBezTo>
                  <a:cubicBezTo>
                    <a:pt x="16" y="13"/>
                    <a:pt x="20" y="10"/>
                    <a:pt x="18" y="8"/>
                  </a:cubicBezTo>
                  <a:cubicBezTo>
                    <a:pt x="17" y="6"/>
                    <a:pt x="14" y="7"/>
                    <a:pt x="12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3" name="Freeform 521"/>
            <p:cNvSpPr>
              <a:spLocks/>
            </p:cNvSpPr>
            <p:nvPr/>
          </p:nvSpPr>
          <p:spPr bwMode="auto">
            <a:xfrm>
              <a:off x="4129200" y="3983328"/>
              <a:ext cx="211931" cy="160734"/>
            </a:xfrm>
            <a:custGeom>
              <a:avLst/>
              <a:gdLst>
                <a:gd name="T0" fmla="*/ 275 w 738"/>
                <a:gd name="T1" fmla="*/ 488 h 558"/>
                <a:gd name="T2" fmla="*/ 302 w 738"/>
                <a:gd name="T3" fmla="*/ 466 h 558"/>
                <a:gd name="T4" fmla="*/ 353 w 738"/>
                <a:gd name="T5" fmla="*/ 436 h 558"/>
                <a:gd name="T6" fmla="*/ 387 w 738"/>
                <a:gd name="T7" fmla="*/ 431 h 558"/>
                <a:gd name="T8" fmla="*/ 406 w 738"/>
                <a:gd name="T9" fmla="*/ 422 h 558"/>
                <a:gd name="T10" fmla="*/ 415 w 738"/>
                <a:gd name="T11" fmla="*/ 413 h 558"/>
                <a:gd name="T12" fmla="*/ 440 w 738"/>
                <a:gd name="T13" fmla="*/ 413 h 558"/>
                <a:gd name="T14" fmla="*/ 468 w 738"/>
                <a:gd name="T15" fmla="*/ 409 h 558"/>
                <a:gd name="T16" fmla="*/ 502 w 738"/>
                <a:gd name="T17" fmla="*/ 374 h 558"/>
                <a:gd name="T18" fmla="*/ 568 w 738"/>
                <a:gd name="T19" fmla="*/ 344 h 558"/>
                <a:gd name="T20" fmla="*/ 580 w 738"/>
                <a:gd name="T21" fmla="*/ 335 h 558"/>
                <a:gd name="T22" fmla="*/ 576 w 738"/>
                <a:gd name="T23" fmla="*/ 330 h 558"/>
                <a:gd name="T24" fmla="*/ 575 w 738"/>
                <a:gd name="T25" fmla="*/ 316 h 558"/>
                <a:gd name="T26" fmla="*/ 576 w 738"/>
                <a:gd name="T27" fmla="*/ 312 h 558"/>
                <a:gd name="T28" fmla="*/ 572 w 738"/>
                <a:gd name="T29" fmla="*/ 307 h 558"/>
                <a:gd name="T30" fmla="*/ 572 w 738"/>
                <a:gd name="T31" fmla="*/ 289 h 558"/>
                <a:gd name="T32" fmla="*/ 598 w 738"/>
                <a:gd name="T33" fmla="*/ 286 h 558"/>
                <a:gd name="T34" fmla="*/ 618 w 738"/>
                <a:gd name="T35" fmla="*/ 277 h 558"/>
                <a:gd name="T36" fmla="*/ 633 w 738"/>
                <a:gd name="T37" fmla="*/ 261 h 558"/>
                <a:gd name="T38" fmla="*/ 651 w 738"/>
                <a:gd name="T39" fmla="*/ 258 h 558"/>
                <a:gd name="T40" fmla="*/ 672 w 738"/>
                <a:gd name="T41" fmla="*/ 255 h 558"/>
                <a:gd name="T42" fmla="*/ 719 w 738"/>
                <a:gd name="T43" fmla="*/ 261 h 558"/>
                <a:gd name="T44" fmla="*/ 720 w 738"/>
                <a:gd name="T45" fmla="*/ 261 h 558"/>
                <a:gd name="T46" fmla="*/ 729 w 738"/>
                <a:gd name="T47" fmla="*/ 256 h 558"/>
                <a:gd name="T48" fmla="*/ 732 w 738"/>
                <a:gd name="T49" fmla="*/ 245 h 558"/>
                <a:gd name="T50" fmla="*/ 732 w 738"/>
                <a:gd name="T51" fmla="*/ 227 h 558"/>
                <a:gd name="T52" fmla="*/ 722 w 738"/>
                <a:gd name="T53" fmla="*/ 212 h 558"/>
                <a:gd name="T54" fmla="*/ 719 w 738"/>
                <a:gd name="T55" fmla="*/ 202 h 558"/>
                <a:gd name="T56" fmla="*/ 710 w 738"/>
                <a:gd name="T57" fmla="*/ 181 h 558"/>
                <a:gd name="T58" fmla="*/ 702 w 738"/>
                <a:gd name="T59" fmla="*/ 134 h 558"/>
                <a:gd name="T60" fmla="*/ 704 w 738"/>
                <a:gd name="T61" fmla="*/ 109 h 558"/>
                <a:gd name="T62" fmla="*/ 699 w 738"/>
                <a:gd name="T63" fmla="*/ 96 h 558"/>
                <a:gd name="T64" fmla="*/ 695 w 738"/>
                <a:gd name="T65" fmla="*/ 81 h 558"/>
                <a:gd name="T66" fmla="*/ 675 w 738"/>
                <a:gd name="T67" fmla="*/ 55 h 558"/>
                <a:gd name="T68" fmla="*/ 635 w 738"/>
                <a:gd name="T69" fmla="*/ 50 h 558"/>
                <a:gd name="T70" fmla="*/ 604 w 738"/>
                <a:gd name="T71" fmla="*/ 40 h 558"/>
                <a:gd name="T72" fmla="*/ 534 w 738"/>
                <a:gd name="T73" fmla="*/ 50 h 558"/>
                <a:gd name="T74" fmla="*/ 483 w 738"/>
                <a:gd name="T75" fmla="*/ 10 h 558"/>
                <a:gd name="T76" fmla="*/ 463 w 738"/>
                <a:gd name="T77" fmla="*/ 5 h 558"/>
                <a:gd name="T78" fmla="*/ 442 w 738"/>
                <a:gd name="T79" fmla="*/ 22 h 558"/>
                <a:gd name="T80" fmla="*/ 416 w 738"/>
                <a:gd name="T81" fmla="*/ 78 h 558"/>
                <a:gd name="T82" fmla="*/ 373 w 738"/>
                <a:gd name="T83" fmla="*/ 140 h 558"/>
                <a:gd name="T84" fmla="*/ 318 w 738"/>
                <a:gd name="T85" fmla="*/ 167 h 558"/>
                <a:gd name="T86" fmla="*/ 263 w 738"/>
                <a:gd name="T87" fmla="*/ 208 h 558"/>
                <a:gd name="T88" fmla="*/ 231 w 738"/>
                <a:gd name="T89" fmla="*/ 248 h 558"/>
                <a:gd name="T90" fmla="*/ 209 w 738"/>
                <a:gd name="T91" fmla="*/ 298 h 558"/>
                <a:gd name="T92" fmla="*/ 204 w 738"/>
                <a:gd name="T93" fmla="*/ 341 h 558"/>
                <a:gd name="T94" fmla="*/ 208 w 738"/>
                <a:gd name="T95" fmla="*/ 372 h 558"/>
                <a:gd name="T96" fmla="*/ 208 w 738"/>
                <a:gd name="T97" fmla="*/ 407 h 558"/>
                <a:gd name="T98" fmla="*/ 168 w 738"/>
                <a:gd name="T99" fmla="*/ 461 h 558"/>
                <a:gd name="T100" fmla="*/ 86 w 738"/>
                <a:gd name="T101" fmla="*/ 521 h 558"/>
                <a:gd name="T102" fmla="*/ 9 w 738"/>
                <a:gd name="T103" fmla="*/ 545 h 558"/>
                <a:gd name="T104" fmla="*/ 271 w 738"/>
                <a:gd name="T10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38" h="558">
                  <a:moveTo>
                    <a:pt x="271" y="506"/>
                  </a:moveTo>
                  <a:cubicBezTo>
                    <a:pt x="270" y="492"/>
                    <a:pt x="271" y="492"/>
                    <a:pt x="275" y="488"/>
                  </a:cubicBezTo>
                  <a:cubicBezTo>
                    <a:pt x="275" y="487"/>
                    <a:pt x="276" y="487"/>
                    <a:pt x="277" y="486"/>
                  </a:cubicBezTo>
                  <a:cubicBezTo>
                    <a:pt x="279" y="483"/>
                    <a:pt x="290" y="475"/>
                    <a:pt x="302" y="466"/>
                  </a:cubicBezTo>
                  <a:cubicBezTo>
                    <a:pt x="315" y="457"/>
                    <a:pt x="330" y="446"/>
                    <a:pt x="336" y="443"/>
                  </a:cubicBezTo>
                  <a:cubicBezTo>
                    <a:pt x="340" y="440"/>
                    <a:pt x="347" y="438"/>
                    <a:pt x="353" y="436"/>
                  </a:cubicBezTo>
                  <a:cubicBezTo>
                    <a:pt x="363" y="434"/>
                    <a:pt x="373" y="432"/>
                    <a:pt x="379" y="432"/>
                  </a:cubicBezTo>
                  <a:cubicBezTo>
                    <a:pt x="381" y="431"/>
                    <a:pt x="384" y="431"/>
                    <a:pt x="387" y="431"/>
                  </a:cubicBezTo>
                  <a:cubicBezTo>
                    <a:pt x="392" y="431"/>
                    <a:pt x="397" y="431"/>
                    <a:pt x="401" y="428"/>
                  </a:cubicBezTo>
                  <a:cubicBezTo>
                    <a:pt x="403" y="427"/>
                    <a:pt x="404" y="425"/>
                    <a:pt x="406" y="422"/>
                  </a:cubicBezTo>
                  <a:cubicBezTo>
                    <a:pt x="406" y="422"/>
                    <a:pt x="406" y="422"/>
                    <a:pt x="406" y="422"/>
                  </a:cubicBezTo>
                  <a:cubicBezTo>
                    <a:pt x="408" y="418"/>
                    <a:pt x="410" y="415"/>
                    <a:pt x="415" y="413"/>
                  </a:cubicBezTo>
                  <a:cubicBezTo>
                    <a:pt x="420" y="412"/>
                    <a:pt x="425" y="412"/>
                    <a:pt x="431" y="413"/>
                  </a:cubicBezTo>
                  <a:cubicBezTo>
                    <a:pt x="434" y="413"/>
                    <a:pt x="437" y="413"/>
                    <a:pt x="440" y="413"/>
                  </a:cubicBezTo>
                  <a:cubicBezTo>
                    <a:pt x="442" y="413"/>
                    <a:pt x="442" y="413"/>
                    <a:pt x="442" y="413"/>
                  </a:cubicBezTo>
                  <a:cubicBezTo>
                    <a:pt x="450" y="413"/>
                    <a:pt x="462" y="413"/>
                    <a:pt x="468" y="409"/>
                  </a:cubicBezTo>
                  <a:cubicBezTo>
                    <a:pt x="472" y="406"/>
                    <a:pt x="479" y="398"/>
                    <a:pt x="486" y="390"/>
                  </a:cubicBezTo>
                  <a:cubicBezTo>
                    <a:pt x="493" y="383"/>
                    <a:pt x="499" y="377"/>
                    <a:pt x="502" y="374"/>
                  </a:cubicBezTo>
                  <a:cubicBezTo>
                    <a:pt x="506" y="371"/>
                    <a:pt x="528" y="361"/>
                    <a:pt x="546" y="353"/>
                  </a:cubicBezTo>
                  <a:cubicBezTo>
                    <a:pt x="556" y="349"/>
                    <a:pt x="565" y="345"/>
                    <a:pt x="568" y="344"/>
                  </a:cubicBezTo>
                  <a:cubicBezTo>
                    <a:pt x="570" y="342"/>
                    <a:pt x="571" y="342"/>
                    <a:pt x="571" y="342"/>
                  </a:cubicBezTo>
                  <a:cubicBezTo>
                    <a:pt x="576" y="339"/>
                    <a:pt x="580" y="337"/>
                    <a:pt x="580" y="335"/>
                  </a:cubicBezTo>
                  <a:cubicBezTo>
                    <a:pt x="580" y="334"/>
                    <a:pt x="580" y="334"/>
                    <a:pt x="579" y="333"/>
                  </a:cubicBezTo>
                  <a:cubicBezTo>
                    <a:pt x="578" y="332"/>
                    <a:pt x="577" y="331"/>
                    <a:pt x="576" y="330"/>
                  </a:cubicBezTo>
                  <a:cubicBezTo>
                    <a:pt x="572" y="325"/>
                    <a:pt x="573" y="323"/>
                    <a:pt x="575" y="317"/>
                  </a:cubicBezTo>
                  <a:cubicBezTo>
                    <a:pt x="575" y="316"/>
                    <a:pt x="575" y="316"/>
                    <a:pt x="575" y="316"/>
                  </a:cubicBezTo>
                  <a:cubicBezTo>
                    <a:pt x="575" y="316"/>
                    <a:pt x="575" y="316"/>
                    <a:pt x="575" y="316"/>
                  </a:cubicBezTo>
                  <a:cubicBezTo>
                    <a:pt x="576" y="314"/>
                    <a:pt x="576" y="313"/>
                    <a:pt x="576" y="312"/>
                  </a:cubicBezTo>
                  <a:cubicBezTo>
                    <a:pt x="576" y="312"/>
                    <a:pt x="576" y="312"/>
                    <a:pt x="576" y="312"/>
                  </a:cubicBezTo>
                  <a:cubicBezTo>
                    <a:pt x="575" y="311"/>
                    <a:pt x="574" y="309"/>
                    <a:pt x="572" y="307"/>
                  </a:cubicBezTo>
                  <a:cubicBezTo>
                    <a:pt x="569" y="304"/>
                    <a:pt x="568" y="301"/>
                    <a:pt x="568" y="298"/>
                  </a:cubicBezTo>
                  <a:cubicBezTo>
                    <a:pt x="568" y="295"/>
                    <a:pt x="570" y="291"/>
                    <a:pt x="572" y="289"/>
                  </a:cubicBezTo>
                  <a:cubicBezTo>
                    <a:pt x="576" y="285"/>
                    <a:pt x="582" y="285"/>
                    <a:pt x="589" y="286"/>
                  </a:cubicBezTo>
                  <a:cubicBezTo>
                    <a:pt x="592" y="286"/>
                    <a:pt x="595" y="286"/>
                    <a:pt x="598" y="286"/>
                  </a:cubicBezTo>
                  <a:cubicBezTo>
                    <a:pt x="602" y="286"/>
                    <a:pt x="605" y="285"/>
                    <a:pt x="608" y="284"/>
                  </a:cubicBezTo>
                  <a:cubicBezTo>
                    <a:pt x="611" y="283"/>
                    <a:pt x="614" y="281"/>
                    <a:pt x="618" y="277"/>
                  </a:cubicBezTo>
                  <a:cubicBezTo>
                    <a:pt x="622" y="273"/>
                    <a:pt x="624" y="270"/>
                    <a:pt x="627" y="268"/>
                  </a:cubicBezTo>
                  <a:cubicBezTo>
                    <a:pt x="629" y="265"/>
                    <a:pt x="631" y="263"/>
                    <a:pt x="633" y="261"/>
                  </a:cubicBezTo>
                  <a:cubicBezTo>
                    <a:pt x="637" y="258"/>
                    <a:pt x="640" y="258"/>
                    <a:pt x="645" y="258"/>
                  </a:cubicBezTo>
                  <a:cubicBezTo>
                    <a:pt x="647" y="258"/>
                    <a:pt x="649" y="258"/>
                    <a:pt x="651" y="258"/>
                  </a:cubicBezTo>
                  <a:cubicBezTo>
                    <a:pt x="654" y="258"/>
                    <a:pt x="655" y="257"/>
                    <a:pt x="657" y="257"/>
                  </a:cubicBezTo>
                  <a:cubicBezTo>
                    <a:pt x="660" y="256"/>
                    <a:pt x="663" y="255"/>
                    <a:pt x="672" y="255"/>
                  </a:cubicBezTo>
                  <a:cubicBezTo>
                    <a:pt x="679" y="255"/>
                    <a:pt x="690" y="257"/>
                    <a:pt x="700" y="258"/>
                  </a:cubicBezTo>
                  <a:cubicBezTo>
                    <a:pt x="708" y="259"/>
                    <a:pt x="715" y="261"/>
                    <a:pt x="719" y="261"/>
                  </a:cubicBezTo>
                  <a:cubicBezTo>
                    <a:pt x="720" y="261"/>
                    <a:pt x="720" y="261"/>
                    <a:pt x="720" y="261"/>
                  </a:cubicBezTo>
                  <a:cubicBezTo>
                    <a:pt x="720" y="261"/>
                    <a:pt x="720" y="261"/>
                    <a:pt x="720" y="261"/>
                  </a:cubicBezTo>
                  <a:cubicBezTo>
                    <a:pt x="726" y="261"/>
                    <a:pt x="729" y="261"/>
                    <a:pt x="729" y="260"/>
                  </a:cubicBezTo>
                  <a:cubicBezTo>
                    <a:pt x="729" y="257"/>
                    <a:pt x="729" y="256"/>
                    <a:pt x="729" y="256"/>
                  </a:cubicBezTo>
                  <a:cubicBezTo>
                    <a:pt x="729" y="255"/>
                    <a:pt x="729" y="254"/>
                    <a:pt x="730" y="252"/>
                  </a:cubicBezTo>
                  <a:cubicBezTo>
                    <a:pt x="730" y="250"/>
                    <a:pt x="731" y="248"/>
                    <a:pt x="732" y="245"/>
                  </a:cubicBezTo>
                  <a:cubicBezTo>
                    <a:pt x="735" y="240"/>
                    <a:pt x="738" y="233"/>
                    <a:pt x="736" y="231"/>
                  </a:cubicBezTo>
                  <a:cubicBezTo>
                    <a:pt x="735" y="230"/>
                    <a:pt x="733" y="228"/>
                    <a:pt x="732" y="227"/>
                  </a:cubicBezTo>
                  <a:cubicBezTo>
                    <a:pt x="728" y="223"/>
                    <a:pt x="725" y="220"/>
                    <a:pt x="722" y="212"/>
                  </a:cubicBezTo>
                  <a:cubicBezTo>
                    <a:pt x="722" y="212"/>
                    <a:pt x="722" y="212"/>
                    <a:pt x="722" y="212"/>
                  </a:cubicBezTo>
                  <a:cubicBezTo>
                    <a:pt x="720" y="208"/>
                    <a:pt x="719" y="205"/>
                    <a:pt x="719" y="202"/>
                  </a:cubicBezTo>
                  <a:cubicBezTo>
                    <a:pt x="719" y="202"/>
                    <a:pt x="719" y="202"/>
                    <a:pt x="719" y="202"/>
                  </a:cubicBezTo>
                  <a:cubicBezTo>
                    <a:pt x="718" y="198"/>
                    <a:pt x="717" y="194"/>
                    <a:pt x="713" y="188"/>
                  </a:cubicBezTo>
                  <a:cubicBezTo>
                    <a:pt x="713" y="186"/>
                    <a:pt x="711" y="184"/>
                    <a:pt x="710" y="181"/>
                  </a:cubicBezTo>
                  <a:cubicBezTo>
                    <a:pt x="704" y="170"/>
                    <a:pt x="698" y="158"/>
                    <a:pt x="699" y="149"/>
                  </a:cubicBezTo>
                  <a:cubicBezTo>
                    <a:pt x="699" y="143"/>
                    <a:pt x="700" y="139"/>
                    <a:pt x="702" y="134"/>
                  </a:cubicBezTo>
                  <a:cubicBezTo>
                    <a:pt x="703" y="128"/>
                    <a:pt x="705" y="123"/>
                    <a:pt x="705" y="117"/>
                  </a:cubicBezTo>
                  <a:cubicBezTo>
                    <a:pt x="704" y="114"/>
                    <a:pt x="704" y="111"/>
                    <a:pt x="704" y="109"/>
                  </a:cubicBezTo>
                  <a:cubicBezTo>
                    <a:pt x="704" y="104"/>
                    <a:pt x="704" y="103"/>
                    <a:pt x="702" y="100"/>
                  </a:cubicBezTo>
                  <a:cubicBezTo>
                    <a:pt x="701" y="99"/>
                    <a:pt x="700" y="97"/>
                    <a:pt x="699" y="96"/>
                  </a:cubicBezTo>
                  <a:cubicBezTo>
                    <a:pt x="695" y="92"/>
                    <a:pt x="692" y="89"/>
                    <a:pt x="694" y="84"/>
                  </a:cubicBezTo>
                  <a:cubicBezTo>
                    <a:pt x="694" y="83"/>
                    <a:pt x="694" y="82"/>
                    <a:pt x="695" y="81"/>
                  </a:cubicBezTo>
                  <a:cubicBezTo>
                    <a:pt x="696" y="79"/>
                    <a:pt x="697" y="76"/>
                    <a:pt x="694" y="74"/>
                  </a:cubicBezTo>
                  <a:cubicBezTo>
                    <a:pt x="690" y="70"/>
                    <a:pt x="682" y="62"/>
                    <a:pt x="675" y="55"/>
                  </a:cubicBezTo>
                  <a:cubicBezTo>
                    <a:pt x="665" y="54"/>
                    <a:pt x="656" y="50"/>
                    <a:pt x="652" y="48"/>
                  </a:cubicBezTo>
                  <a:cubicBezTo>
                    <a:pt x="647" y="47"/>
                    <a:pt x="642" y="52"/>
                    <a:pt x="635" y="50"/>
                  </a:cubicBezTo>
                  <a:cubicBezTo>
                    <a:pt x="629" y="47"/>
                    <a:pt x="630" y="37"/>
                    <a:pt x="626" y="35"/>
                  </a:cubicBezTo>
                  <a:cubicBezTo>
                    <a:pt x="622" y="32"/>
                    <a:pt x="611" y="38"/>
                    <a:pt x="604" y="40"/>
                  </a:cubicBezTo>
                  <a:cubicBezTo>
                    <a:pt x="597" y="43"/>
                    <a:pt x="583" y="50"/>
                    <a:pt x="568" y="51"/>
                  </a:cubicBezTo>
                  <a:cubicBezTo>
                    <a:pt x="553" y="51"/>
                    <a:pt x="545" y="49"/>
                    <a:pt x="534" y="50"/>
                  </a:cubicBezTo>
                  <a:cubicBezTo>
                    <a:pt x="524" y="50"/>
                    <a:pt x="509" y="42"/>
                    <a:pt x="503" y="35"/>
                  </a:cubicBezTo>
                  <a:cubicBezTo>
                    <a:pt x="496" y="29"/>
                    <a:pt x="486" y="16"/>
                    <a:pt x="483" y="10"/>
                  </a:cubicBezTo>
                  <a:cubicBezTo>
                    <a:pt x="480" y="4"/>
                    <a:pt x="479" y="0"/>
                    <a:pt x="474" y="1"/>
                  </a:cubicBezTo>
                  <a:cubicBezTo>
                    <a:pt x="469" y="2"/>
                    <a:pt x="470" y="4"/>
                    <a:pt x="463" y="5"/>
                  </a:cubicBezTo>
                  <a:cubicBezTo>
                    <a:pt x="456" y="6"/>
                    <a:pt x="450" y="6"/>
                    <a:pt x="448" y="8"/>
                  </a:cubicBezTo>
                  <a:cubicBezTo>
                    <a:pt x="447" y="9"/>
                    <a:pt x="446" y="9"/>
                    <a:pt x="442" y="22"/>
                  </a:cubicBezTo>
                  <a:cubicBezTo>
                    <a:pt x="439" y="34"/>
                    <a:pt x="436" y="37"/>
                    <a:pt x="435" y="45"/>
                  </a:cubicBezTo>
                  <a:cubicBezTo>
                    <a:pt x="434" y="52"/>
                    <a:pt x="421" y="69"/>
                    <a:pt x="416" y="78"/>
                  </a:cubicBezTo>
                  <a:cubicBezTo>
                    <a:pt x="412" y="88"/>
                    <a:pt x="409" y="97"/>
                    <a:pt x="400" y="109"/>
                  </a:cubicBezTo>
                  <a:cubicBezTo>
                    <a:pt x="391" y="121"/>
                    <a:pt x="382" y="135"/>
                    <a:pt x="373" y="140"/>
                  </a:cubicBezTo>
                  <a:cubicBezTo>
                    <a:pt x="363" y="145"/>
                    <a:pt x="366" y="147"/>
                    <a:pt x="356" y="149"/>
                  </a:cubicBezTo>
                  <a:cubicBezTo>
                    <a:pt x="346" y="152"/>
                    <a:pt x="331" y="161"/>
                    <a:pt x="318" y="167"/>
                  </a:cubicBezTo>
                  <a:cubicBezTo>
                    <a:pt x="306" y="174"/>
                    <a:pt x="298" y="179"/>
                    <a:pt x="286" y="183"/>
                  </a:cubicBezTo>
                  <a:cubicBezTo>
                    <a:pt x="275" y="188"/>
                    <a:pt x="271" y="200"/>
                    <a:pt x="263" y="208"/>
                  </a:cubicBezTo>
                  <a:cubicBezTo>
                    <a:pt x="255" y="215"/>
                    <a:pt x="247" y="220"/>
                    <a:pt x="241" y="227"/>
                  </a:cubicBezTo>
                  <a:cubicBezTo>
                    <a:pt x="235" y="234"/>
                    <a:pt x="231" y="240"/>
                    <a:pt x="231" y="248"/>
                  </a:cubicBezTo>
                  <a:cubicBezTo>
                    <a:pt x="230" y="256"/>
                    <a:pt x="233" y="261"/>
                    <a:pt x="228" y="272"/>
                  </a:cubicBezTo>
                  <a:cubicBezTo>
                    <a:pt x="223" y="283"/>
                    <a:pt x="214" y="289"/>
                    <a:pt x="209" y="298"/>
                  </a:cubicBezTo>
                  <a:cubicBezTo>
                    <a:pt x="204" y="308"/>
                    <a:pt x="202" y="312"/>
                    <a:pt x="202" y="320"/>
                  </a:cubicBezTo>
                  <a:cubicBezTo>
                    <a:pt x="202" y="328"/>
                    <a:pt x="204" y="337"/>
                    <a:pt x="204" y="341"/>
                  </a:cubicBezTo>
                  <a:cubicBezTo>
                    <a:pt x="205" y="345"/>
                    <a:pt x="202" y="352"/>
                    <a:pt x="203" y="359"/>
                  </a:cubicBezTo>
                  <a:cubicBezTo>
                    <a:pt x="205" y="366"/>
                    <a:pt x="202" y="368"/>
                    <a:pt x="208" y="372"/>
                  </a:cubicBezTo>
                  <a:cubicBezTo>
                    <a:pt x="214" y="376"/>
                    <a:pt x="217" y="378"/>
                    <a:pt x="217" y="384"/>
                  </a:cubicBezTo>
                  <a:cubicBezTo>
                    <a:pt x="217" y="391"/>
                    <a:pt x="213" y="398"/>
                    <a:pt x="208" y="407"/>
                  </a:cubicBezTo>
                  <a:cubicBezTo>
                    <a:pt x="203" y="416"/>
                    <a:pt x="198" y="427"/>
                    <a:pt x="191" y="433"/>
                  </a:cubicBezTo>
                  <a:cubicBezTo>
                    <a:pt x="184" y="438"/>
                    <a:pt x="178" y="452"/>
                    <a:pt x="168" y="461"/>
                  </a:cubicBezTo>
                  <a:cubicBezTo>
                    <a:pt x="157" y="470"/>
                    <a:pt x="147" y="477"/>
                    <a:pt x="134" y="487"/>
                  </a:cubicBezTo>
                  <a:cubicBezTo>
                    <a:pt x="120" y="497"/>
                    <a:pt x="95" y="515"/>
                    <a:pt x="86" y="521"/>
                  </a:cubicBezTo>
                  <a:cubicBezTo>
                    <a:pt x="76" y="527"/>
                    <a:pt x="73" y="529"/>
                    <a:pt x="58" y="532"/>
                  </a:cubicBezTo>
                  <a:cubicBezTo>
                    <a:pt x="43" y="535"/>
                    <a:pt x="16" y="540"/>
                    <a:pt x="9" y="545"/>
                  </a:cubicBezTo>
                  <a:cubicBezTo>
                    <a:pt x="5" y="548"/>
                    <a:pt x="3" y="553"/>
                    <a:pt x="0" y="558"/>
                  </a:cubicBezTo>
                  <a:cubicBezTo>
                    <a:pt x="271" y="558"/>
                    <a:pt x="271" y="558"/>
                    <a:pt x="271" y="558"/>
                  </a:cubicBezTo>
                  <a:cubicBezTo>
                    <a:pt x="271" y="532"/>
                    <a:pt x="271" y="511"/>
                    <a:pt x="271" y="50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4" name="Freeform 522"/>
            <p:cNvSpPr>
              <a:spLocks/>
            </p:cNvSpPr>
            <p:nvPr/>
          </p:nvSpPr>
          <p:spPr bwMode="auto">
            <a:xfrm>
              <a:off x="4061335" y="4146444"/>
              <a:ext cx="146447" cy="116681"/>
            </a:xfrm>
            <a:custGeom>
              <a:avLst/>
              <a:gdLst>
                <a:gd name="T0" fmla="*/ 200 w 511"/>
                <a:gd name="T1" fmla="*/ 67 h 409"/>
                <a:gd name="T2" fmla="*/ 163 w 511"/>
                <a:gd name="T3" fmla="*/ 87 h 409"/>
                <a:gd name="T4" fmla="*/ 153 w 511"/>
                <a:gd name="T5" fmla="*/ 110 h 409"/>
                <a:gd name="T6" fmla="*/ 136 w 511"/>
                <a:gd name="T7" fmla="*/ 137 h 409"/>
                <a:gd name="T8" fmla="*/ 134 w 511"/>
                <a:gd name="T9" fmla="*/ 158 h 409"/>
                <a:gd name="T10" fmla="*/ 131 w 511"/>
                <a:gd name="T11" fmla="*/ 172 h 409"/>
                <a:gd name="T12" fmla="*/ 124 w 511"/>
                <a:gd name="T13" fmla="*/ 191 h 409"/>
                <a:gd name="T14" fmla="*/ 110 w 511"/>
                <a:gd name="T15" fmla="*/ 210 h 409"/>
                <a:gd name="T16" fmla="*/ 91 w 511"/>
                <a:gd name="T17" fmla="*/ 231 h 409"/>
                <a:gd name="T18" fmla="*/ 72 w 511"/>
                <a:gd name="T19" fmla="*/ 246 h 409"/>
                <a:gd name="T20" fmla="*/ 65 w 511"/>
                <a:gd name="T21" fmla="*/ 260 h 409"/>
                <a:gd name="T22" fmla="*/ 63 w 511"/>
                <a:gd name="T23" fmla="*/ 278 h 409"/>
                <a:gd name="T24" fmla="*/ 49 w 511"/>
                <a:gd name="T25" fmla="*/ 300 h 409"/>
                <a:gd name="T26" fmla="*/ 39 w 511"/>
                <a:gd name="T27" fmla="*/ 334 h 409"/>
                <a:gd name="T28" fmla="*/ 29 w 511"/>
                <a:gd name="T29" fmla="*/ 348 h 409"/>
                <a:gd name="T30" fmla="*/ 6 w 511"/>
                <a:gd name="T31" fmla="*/ 372 h 409"/>
                <a:gd name="T32" fmla="*/ 0 w 511"/>
                <a:gd name="T33" fmla="*/ 397 h 409"/>
                <a:gd name="T34" fmla="*/ 0 w 511"/>
                <a:gd name="T35" fmla="*/ 409 h 409"/>
                <a:gd name="T36" fmla="*/ 239 w 511"/>
                <a:gd name="T37" fmla="*/ 407 h 409"/>
                <a:gd name="T38" fmla="*/ 242 w 511"/>
                <a:gd name="T39" fmla="*/ 406 h 409"/>
                <a:gd name="T40" fmla="*/ 241 w 511"/>
                <a:gd name="T41" fmla="*/ 404 h 409"/>
                <a:gd name="T42" fmla="*/ 241 w 511"/>
                <a:gd name="T43" fmla="*/ 394 h 409"/>
                <a:gd name="T44" fmla="*/ 239 w 511"/>
                <a:gd name="T45" fmla="*/ 368 h 409"/>
                <a:gd name="T46" fmla="*/ 236 w 511"/>
                <a:gd name="T47" fmla="*/ 338 h 409"/>
                <a:gd name="T48" fmla="*/ 237 w 511"/>
                <a:gd name="T49" fmla="*/ 316 h 409"/>
                <a:gd name="T50" fmla="*/ 246 w 511"/>
                <a:gd name="T51" fmla="*/ 300 h 409"/>
                <a:gd name="T52" fmla="*/ 264 w 511"/>
                <a:gd name="T53" fmla="*/ 285 h 409"/>
                <a:gd name="T54" fmla="*/ 295 w 511"/>
                <a:gd name="T55" fmla="*/ 273 h 409"/>
                <a:gd name="T56" fmla="*/ 303 w 511"/>
                <a:gd name="T57" fmla="*/ 270 h 409"/>
                <a:gd name="T58" fmla="*/ 306 w 511"/>
                <a:gd name="T59" fmla="*/ 264 h 409"/>
                <a:gd name="T60" fmla="*/ 305 w 511"/>
                <a:gd name="T61" fmla="*/ 262 h 409"/>
                <a:gd name="T62" fmla="*/ 305 w 511"/>
                <a:gd name="T63" fmla="*/ 262 h 409"/>
                <a:gd name="T64" fmla="*/ 305 w 511"/>
                <a:gd name="T65" fmla="*/ 258 h 409"/>
                <a:gd name="T66" fmla="*/ 305 w 511"/>
                <a:gd name="T67" fmla="*/ 114 h 409"/>
                <a:gd name="T68" fmla="*/ 318 w 511"/>
                <a:gd name="T69" fmla="*/ 103 h 409"/>
                <a:gd name="T70" fmla="*/ 503 w 511"/>
                <a:gd name="T71" fmla="*/ 103 h 409"/>
                <a:gd name="T72" fmla="*/ 510 w 511"/>
                <a:gd name="T73" fmla="*/ 95 h 409"/>
                <a:gd name="T74" fmla="*/ 510 w 511"/>
                <a:gd name="T75" fmla="*/ 95 h 409"/>
                <a:gd name="T76" fmla="*/ 511 w 511"/>
                <a:gd name="T77" fmla="*/ 16 h 409"/>
                <a:gd name="T78" fmla="*/ 511 w 511"/>
                <a:gd name="T79" fmla="*/ 0 h 409"/>
                <a:gd name="T80" fmla="*/ 236 w 511"/>
                <a:gd name="T81" fmla="*/ 0 h 409"/>
                <a:gd name="T82" fmla="*/ 235 w 511"/>
                <a:gd name="T83" fmla="*/ 0 h 409"/>
                <a:gd name="T84" fmla="*/ 225 w 511"/>
                <a:gd name="T85" fmla="*/ 20 h 409"/>
                <a:gd name="T86" fmla="*/ 217 w 511"/>
                <a:gd name="T87" fmla="*/ 44 h 409"/>
                <a:gd name="T88" fmla="*/ 200 w 511"/>
                <a:gd name="T89" fmla="*/ 67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1" h="409">
                  <a:moveTo>
                    <a:pt x="200" y="67"/>
                  </a:moveTo>
                  <a:cubicBezTo>
                    <a:pt x="187" y="74"/>
                    <a:pt x="173" y="79"/>
                    <a:pt x="163" y="87"/>
                  </a:cubicBezTo>
                  <a:cubicBezTo>
                    <a:pt x="154" y="96"/>
                    <a:pt x="158" y="101"/>
                    <a:pt x="153" y="110"/>
                  </a:cubicBezTo>
                  <a:cubicBezTo>
                    <a:pt x="149" y="119"/>
                    <a:pt x="137" y="129"/>
                    <a:pt x="136" y="137"/>
                  </a:cubicBezTo>
                  <a:cubicBezTo>
                    <a:pt x="134" y="145"/>
                    <a:pt x="134" y="153"/>
                    <a:pt x="134" y="158"/>
                  </a:cubicBezTo>
                  <a:cubicBezTo>
                    <a:pt x="135" y="163"/>
                    <a:pt x="135" y="165"/>
                    <a:pt x="131" y="172"/>
                  </a:cubicBezTo>
                  <a:cubicBezTo>
                    <a:pt x="127" y="179"/>
                    <a:pt x="126" y="184"/>
                    <a:pt x="124" y="191"/>
                  </a:cubicBezTo>
                  <a:cubicBezTo>
                    <a:pt x="122" y="198"/>
                    <a:pt x="116" y="205"/>
                    <a:pt x="110" y="210"/>
                  </a:cubicBezTo>
                  <a:cubicBezTo>
                    <a:pt x="105" y="215"/>
                    <a:pt x="97" y="224"/>
                    <a:pt x="91" y="231"/>
                  </a:cubicBezTo>
                  <a:cubicBezTo>
                    <a:pt x="85" y="239"/>
                    <a:pt x="79" y="241"/>
                    <a:pt x="72" y="246"/>
                  </a:cubicBezTo>
                  <a:cubicBezTo>
                    <a:pt x="65" y="252"/>
                    <a:pt x="64" y="255"/>
                    <a:pt x="65" y="260"/>
                  </a:cubicBezTo>
                  <a:cubicBezTo>
                    <a:pt x="67" y="265"/>
                    <a:pt x="67" y="270"/>
                    <a:pt x="63" y="278"/>
                  </a:cubicBezTo>
                  <a:cubicBezTo>
                    <a:pt x="59" y="286"/>
                    <a:pt x="53" y="288"/>
                    <a:pt x="49" y="300"/>
                  </a:cubicBezTo>
                  <a:cubicBezTo>
                    <a:pt x="45" y="312"/>
                    <a:pt x="40" y="328"/>
                    <a:pt x="39" y="334"/>
                  </a:cubicBezTo>
                  <a:cubicBezTo>
                    <a:pt x="38" y="339"/>
                    <a:pt x="35" y="342"/>
                    <a:pt x="29" y="348"/>
                  </a:cubicBezTo>
                  <a:cubicBezTo>
                    <a:pt x="22" y="354"/>
                    <a:pt x="10" y="361"/>
                    <a:pt x="6" y="372"/>
                  </a:cubicBezTo>
                  <a:cubicBezTo>
                    <a:pt x="2" y="382"/>
                    <a:pt x="1" y="386"/>
                    <a:pt x="0" y="397"/>
                  </a:cubicBezTo>
                  <a:cubicBezTo>
                    <a:pt x="0" y="401"/>
                    <a:pt x="0" y="405"/>
                    <a:pt x="0" y="409"/>
                  </a:cubicBezTo>
                  <a:cubicBezTo>
                    <a:pt x="44" y="409"/>
                    <a:pt x="235" y="408"/>
                    <a:pt x="239" y="407"/>
                  </a:cubicBezTo>
                  <a:cubicBezTo>
                    <a:pt x="240" y="407"/>
                    <a:pt x="241" y="406"/>
                    <a:pt x="242" y="406"/>
                  </a:cubicBezTo>
                  <a:cubicBezTo>
                    <a:pt x="242" y="406"/>
                    <a:pt x="242" y="405"/>
                    <a:pt x="241" y="404"/>
                  </a:cubicBezTo>
                  <a:cubicBezTo>
                    <a:pt x="241" y="403"/>
                    <a:pt x="241" y="399"/>
                    <a:pt x="241" y="394"/>
                  </a:cubicBezTo>
                  <a:cubicBezTo>
                    <a:pt x="240" y="387"/>
                    <a:pt x="240" y="377"/>
                    <a:pt x="239" y="368"/>
                  </a:cubicBezTo>
                  <a:cubicBezTo>
                    <a:pt x="238" y="360"/>
                    <a:pt x="237" y="349"/>
                    <a:pt x="236" y="338"/>
                  </a:cubicBezTo>
                  <a:cubicBezTo>
                    <a:pt x="236" y="329"/>
                    <a:pt x="236" y="321"/>
                    <a:pt x="237" y="316"/>
                  </a:cubicBezTo>
                  <a:cubicBezTo>
                    <a:pt x="238" y="311"/>
                    <a:pt x="242" y="305"/>
                    <a:pt x="246" y="300"/>
                  </a:cubicBezTo>
                  <a:cubicBezTo>
                    <a:pt x="252" y="294"/>
                    <a:pt x="260" y="288"/>
                    <a:pt x="264" y="285"/>
                  </a:cubicBezTo>
                  <a:cubicBezTo>
                    <a:pt x="270" y="282"/>
                    <a:pt x="285" y="277"/>
                    <a:pt x="295" y="273"/>
                  </a:cubicBezTo>
                  <a:cubicBezTo>
                    <a:pt x="299" y="272"/>
                    <a:pt x="302" y="271"/>
                    <a:pt x="303" y="270"/>
                  </a:cubicBezTo>
                  <a:cubicBezTo>
                    <a:pt x="306" y="269"/>
                    <a:pt x="306" y="266"/>
                    <a:pt x="306" y="264"/>
                  </a:cubicBezTo>
                  <a:cubicBezTo>
                    <a:pt x="306" y="263"/>
                    <a:pt x="305" y="262"/>
                    <a:pt x="305" y="262"/>
                  </a:cubicBezTo>
                  <a:cubicBezTo>
                    <a:pt x="305" y="262"/>
                    <a:pt x="305" y="262"/>
                    <a:pt x="305" y="262"/>
                  </a:cubicBezTo>
                  <a:cubicBezTo>
                    <a:pt x="305" y="258"/>
                    <a:pt x="305" y="258"/>
                    <a:pt x="305" y="258"/>
                  </a:cubicBezTo>
                  <a:cubicBezTo>
                    <a:pt x="305" y="235"/>
                    <a:pt x="306" y="122"/>
                    <a:pt x="305" y="114"/>
                  </a:cubicBezTo>
                  <a:cubicBezTo>
                    <a:pt x="305" y="102"/>
                    <a:pt x="316" y="103"/>
                    <a:pt x="318" y="103"/>
                  </a:cubicBezTo>
                  <a:cubicBezTo>
                    <a:pt x="326" y="103"/>
                    <a:pt x="491" y="103"/>
                    <a:pt x="503" y="103"/>
                  </a:cubicBezTo>
                  <a:cubicBezTo>
                    <a:pt x="510" y="103"/>
                    <a:pt x="510" y="99"/>
                    <a:pt x="510" y="95"/>
                  </a:cubicBezTo>
                  <a:cubicBezTo>
                    <a:pt x="510" y="95"/>
                    <a:pt x="510" y="95"/>
                    <a:pt x="510" y="95"/>
                  </a:cubicBezTo>
                  <a:cubicBezTo>
                    <a:pt x="510" y="92"/>
                    <a:pt x="511" y="54"/>
                    <a:pt x="511" y="16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30" y="7"/>
                    <a:pt x="227" y="8"/>
                    <a:pt x="225" y="20"/>
                  </a:cubicBezTo>
                  <a:cubicBezTo>
                    <a:pt x="223" y="31"/>
                    <a:pt x="220" y="38"/>
                    <a:pt x="217" y="44"/>
                  </a:cubicBezTo>
                  <a:cubicBezTo>
                    <a:pt x="213" y="50"/>
                    <a:pt x="212" y="60"/>
                    <a:pt x="200" y="6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5" name="Freeform 524"/>
            <p:cNvSpPr>
              <a:spLocks/>
            </p:cNvSpPr>
            <p:nvPr/>
          </p:nvSpPr>
          <p:spPr bwMode="auto">
            <a:xfrm>
              <a:off x="4204210" y="3105838"/>
              <a:ext cx="16669" cy="9525"/>
            </a:xfrm>
            <a:custGeom>
              <a:avLst/>
              <a:gdLst>
                <a:gd name="T0" fmla="*/ 14 w 58"/>
                <a:gd name="T1" fmla="*/ 30 h 33"/>
                <a:gd name="T2" fmla="*/ 30 w 58"/>
                <a:gd name="T3" fmla="*/ 20 h 33"/>
                <a:gd name="T4" fmla="*/ 54 w 58"/>
                <a:gd name="T5" fmla="*/ 6 h 33"/>
                <a:gd name="T6" fmla="*/ 26 w 58"/>
                <a:gd name="T7" fmla="*/ 14 h 33"/>
                <a:gd name="T8" fmla="*/ 6 w 58"/>
                <a:gd name="T9" fmla="*/ 24 h 33"/>
                <a:gd name="T10" fmla="*/ 14 w 58"/>
                <a:gd name="T11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33">
                  <a:moveTo>
                    <a:pt x="14" y="30"/>
                  </a:moveTo>
                  <a:cubicBezTo>
                    <a:pt x="22" y="26"/>
                    <a:pt x="15" y="24"/>
                    <a:pt x="30" y="20"/>
                  </a:cubicBezTo>
                  <a:cubicBezTo>
                    <a:pt x="45" y="15"/>
                    <a:pt x="51" y="12"/>
                    <a:pt x="54" y="6"/>
                  </a:cubicBezTo>
                  <a:cubicBezTo>
                    <a:pt x="58" y="0"/>
                    <a:pt x="37" y="9"/>
                    <a:pt x="26" y="14"/>
                  </a:cubicBezTo>
                  <a:cubicBezTo>
                    <a:pt x="18" y="18"/>
                    <a:pt x="12" y="19"/>
                    <a:pt x="6" y="24"/>
                  </a:cubicBezTo>
                  <a:cubicBezTo>
                    <a:pt x="0" y="28"/>
                    <a:pt x="5" y="33"/>
                    <a:pt x="14" y="3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6" name="Freeform 525"/>
            <p:cNvSpPr>
              <a:spLocks noEditPoints="1"/>
            </p:cNvSpPr>
            <p:nvPr/>
          </p:nvSpPr>
          <p:spPr bwMode="auto">
            <a:xfrm>
              <a:off x="4039903" y="4038097"/>
              <a:ext cx="83344" cy="107156"/>
            </a:xfrm>
            <a:custGeom>
              <a:avLst/>
              <a:gdLst>
                <a:gd name="T0" fmla="*/ 55 w 293"/>
                <a:gd name="T1" fmla="*/ 338 h 372"/>
                <a:gd name="T2" fmla="*/ 58 w 293"/>
                <a:gd name="T3" fmla="*/ 344 h 372"/>
                <a:gd name="T4" fmla="*/ 64 w 293"/>
                <a:gd name="T5" fmla="*/ 346 h 372"/>
                <a:gd name="T6" fmla="*/ 65 w 293"/>
                <a:gd name="T7" fmla="*/ 340 h 372"/>
                <a:gd name="T8" fmla="*/ 55 w 293"/>
                <a:gd name="T9" fmla="*/ 338 h 372"/>
                <a:gd name="T10" fmla="*/ 8 w 293"/>
                <a:gd name="T11" fmla="*/ 362 h 372"/>
                <a:gd name="T12" fmla="*/ 7 w 293"/>
                <a:gd name="T13" fmla="*/ 371 h 372"/>
                <a:gd name="T14" fmla="*/ 14 w 293"/>
                <a:gd name="T15" fmla="*/ 368 h 372"/>
                <a:gd name="T16" fmla="*/ 14 w 293"/>
                <a:gd name="T17" fmla="*/ 360 h 372"/>
                <a:gd name="T18" fmla="*/ 8 w 293"/>
                <a:gd name="T19" fmla="*/ 362 h 372"/>
                <a:gd name="T20" fmla="*/ 16 w 293"/>
                <a:gd name="T21" fmla="*/ 296 h 372"/>
                <a:gd name="T22" fmla="*/ 20 w 293"/>
                <a:gd name="T23" fmla="*/ 303 h 372"/>
                <a:gd name="T24" fmla="*/ 25 w 293"/>
                <a:gd name="T25" fmla="*/ 310 h 372"/>
                <a:gd name="T26" fmla="*/ 26 w 293"/>
                <a:gd name="T27" fmla="*/ 300 h 372"/>
                <a:gd name="T28" fmla="*/ 16 w 293"/>
                <a:gd name="T29" fmla="*/ 296 h 372"/>
                <a:gd name="T30" fmla="*/ 117 w 293"/>
                <a:gd name="T31" fmla="*/ 10 h 372"/>
                <a:gd name="T32" fmla="*/ 114 w 293"/>
                <a:gd name="T33" fmla="*/ 4 h 372"/>
                <a:gd name="T34" fmla="*/ 111 w 293"/>
                <a:gd name="T35" fmla="*/ 11 h 372"/>
                <a:gd name="T36" fmla="*/ 117 w 293"/>
                <a:gd name="T37" fmla="*/ 10 h 372"/>
                <a:gd name="T38" fmla="*/ 82 w 293"/>
                <a:gd name="T39" fmla="*/ 322 h 372"/>
                <a:gd name="T40" fmla="*/ 81 w 293"/>
                <a:gd name="T41" fmla="*/ 332 h 372"/>
                <a:gd name="T42" fmla="*/ 90 w 293"/>
                <a:gd name="T43" fmla="*/ 342 h 372"/>
                <a:gd name="T44" fmla="*/ 99 w 293"/>
                <a:gd name="T45" fmla="*/ 348 h 372"/>
                <a:gd name="T46" fmla="*/ 103 w 293"/>
                <a:gd name="T47" fmla="*/ 337 h 372"/>
                <a:gd name="T48" fmla="*/ 114 w 293"/>
                <a:gd name="T49" fmla="*/ 327 h 372"/>
                <a:gd name="T50" fmla="*/ 126 w 293"/>
                <a:gd name="T51" fmla="*/ 312 h 372"/>
                <a:gd name="T52" fmla="*/ 118 w 293"/>
                <a:gd name="T53" fmla="*/ 310 h 372"/>
                <a:gd name="T54" fmla="*/ 96 w 293"/>
                <a:gd name="T55" fmla="*/ 319 h 372"/>
                <a:gd name="T56" fmla="*/ 82 w 293"/>
                <a:gd name="T57" fmla="*/ 322 h 372"/>
                <a:gd name="T58" fmla="*/ 161 w 293"/>
                <a:gd name="T59" fmla="*/ 367 h 372"/>
                <a:gd name="T60" fmla="*/ 169 w 293"/>
                <a:gd name="T61" fmla="*/ 363 h 372"/>
                <a:gd name="T62" fmla="*/ 174 w 293"/>
                <a:gd name="T63" fmla="*/ 357 h 372"/>
                <a:gd name="T64" fmla="*/ 172 w 293"/>
                <a:gd name="T65" fmla="*/ 349 h 372"/>
                <a:gd name="T66" fmla="*/ 171 w 293"/>
                <a:gd name="T67" fmla="*/ 342 h 372"/>
                <a:gd name="T68" fmla="*/ 160 w 293"/>
                <a:gd name="T69" fmla="*/ 339 h 372"/>
                <a:gd name="T70" fmla="*/ 151 w 293"/>
                <a:gd name="T71" fmla="*/ 351 h 372"/>
                <a:gd name="T72" fmla="*/ 156 w 293"/>
                <a:gd name="T73" fmla="*/ 360 h 372"/>
                <a:gd name="T74" fmla="*/ 161 w 293"/>
                <a:gd name="T75" fmla="*/ 367 h 372"/>
                <a:gd name="T76" fmla="*/ 242 w 293"/>
                <a:gd name="T77" fmla="*/ 340 h 372"/>
                <a:gd name="T78" fmla="*/ 252 w 293"/>
                <a:gd name="T79" fmla="*/ 338 h 372"/>
                <a:gd name="T80" fmla="*/ 264 w 293"/>
                <a:gd name="T81" fmla="*/ 330 h 372"/>
                <a:gd name="T82" fmla="*/ 269 w 293"/>
                <a:gd name="T83" fmla="*/ 317 h 372"/>
                <a:gd name="T84" fmla="*/ 261 w 293"/>
                <a:gd name="T85" fmla="*/ 309 h 372"/>
                <a:gd name="T86" fmla="*/ 256 w 293"/>
                <a:gd name="T87" fmla="*/ 317 h 372"/>
                <a:gd name="T88" fmla="*/ 252 w 293"/>
                <a:gd name="T89" fmla="*/ 327 h 372"/>
                <a:gd name="T90" fmla="*/ 242 w 293"/>
                <a:gd name="T91" fmla="*/ 340 h 372"/>
                <a:gd name="T92" fmla="*/ 274 w 293"/>
                <a:gd name="T93" fmla="*/ 283 h 372"/>
                <a:gd name="T94" fmla="*/ 280 w 293"/>
                <a:gd name="T95" fmla="*/ 288 h 372"/>
                <a:gd name="T96" fmla="*/ 287 w 293"/>
                <a:gd name="T97" fmla="*/ 281 h 372"/>
                <a:gd name="T98" fmla="*/ 291 w 293"/>
                <a:gd name="T99" fmla="*/ 274 h 372"/>
                <a:gd name="T100" fmla="*/ 283 w 293"/>
                <a:gd name="T101" fmla="*/ 276 h 372"/>
                <a:gd name="T102" fmla="*/ 274 w 293"/>
                <a:gd name="T103" fmla="*/ 283 h 372"/>
                <a:gd name="T104" fmla="*/ 77 w 293"/>
                <a:gd name="T105" fmla="*/ 35 h 372"/>
                <a:gd name="T106" fmla="*/ 85 w 293"/>
                <a:gd name="T107" fmla="*/ 31 h 372"/>
                <a:gd name="T108" fmla="*/ 89 w 293"/>
                <a:gd name="T109" fmla="*/ 26 h 372"/>
                <a:gd name="T110" fmla="*/ 74 w 293"/>
                <a:gd name="T111" fmla="*/ 25 h 372"/>
                <a:gd name="T112" fmla="*/ 64 w 293"/>
                <a:gd name="T113" fmla="*/ 24 h 372"/>
                <a:gd name="T114" fmla="*/ 69 w 293"/>
                <a:gd name="T115" fmla="*/ 30 h 372"/>
                <a:gd name="T116" fmla="*/ 77 w 293"/>
                <a:gd name="T117" fmla="*/ 35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3" h="372">
                  <a:moveTo>
                    <a:pt x="55" y="338"/>
                  </a:moveTo>
                  <a:cubicBezTo>
                    <a:pt x="55" y="340"/>
                    <a:pt x="55" y="341"/>
                    <a:pt x="58" y="344"/>
                  </a:cubicBezTo>
                  <a:cubicBezTo>
                    <a:pt x="60" y="346"/>
                    <a:pt x="63" y="349"/>
                    <a:pt x="64" y="346"/>
                  </a:cubicBezTo>
                  <a:cubicBezTo>
                    <a:pt x="65" y="343"/>
                    <a:pt x="66" y="343"/>
                    <a:pt x="65" y="340"/>
                  </a:cubicBezTo>
                  <a:cubicBezTo>
                    <a:pt x="64" y="337"/>
                    <a:pt x="57" y="333"/>
                    <a:pt x="55" y="338"/>
                  </a:cubicBezTo>
                  <a:close/>
                  <a:moveTo>
                    <a:pt x="8" y="362"/>
                  </a:moveTo>
                  <a:cubicBezTo>
                    <a:pt x="0" y="362"/>
                    <a:pt x="2" y="369"/>
                    <a:pt x="7" y="371"/>
                  </a:cubicBezTo>
                  <a:cubicBezTo>
                    <a:pt x="12" y="372"/>
                    <a:pt x="13" y="371"/>
                    <a:pt x="14" y="368"/>
                  </a:cubicBezTo>
                  <a:cubicBezTo>
                    <a:pt x="14" y="364"/>
                    <a:pt x="15" y="363"/>
                    <a:pt x="14" y="360"/>
                  </a:cubicBezTo>
                  <a:cubicBezTo>
                    <a:pt x="13" y="358"/>
                    <a:pt x="12" y="360"/>
                    <a:pt x="8" y="362"/>
                  </a:cubicBezTo>
                  <a:close/>
                  <a:moveTo>
                    <a:pt x="16" y="296"/>
                  </a:moveTo>
                  <a:cubicBezTo>
                    <a:pt x="16" y="298"/>
                    <a:pt x="18" y="301"/>
                    <a:pt x="20" y="303"/>
                  </a:cubicBezTo>
                  <a:cubicBezTo>
                    <a:pt x="23" y="306"/>
                    <a:pt x="23" y="311"/>
                    <a:pt x="25" y="310"/>
                  </a:cubicBezTo>
                  <a:cubicBezTo>
                    <a:pt x="27" y="309"/>
                    <a:pt x="28" y="302"/>
                    <a:pt x="26" y="300"/>
                  </a:cubicBezTo>
                  <a:cubicBezTo>
                    <a:pt x="24" y="297"/>
                    <a:pt x="19" y="290"/>
                    <a:pt x="16" y="296"/>
                  </a:cubicBezTo>
                  <a:close/>
                  <a:moveTo>
                    <a:pt x="117" y="10"/>
                  </a:moveTo>
                  <a:cubicBezTo>
                    <a:pt x="120" y="7"/>
                    <a:pt x="119" y="0"/>
                    <a:pt x="114" y="4"/>
                  </a:cubicBezTo>
                  <a:cubicBezTo>
                    <a:pt x="112" y="7"/>
                    <a:pt x="109" y="10"/>
                    <a:pt x="111" y="11"/>
                  </a:cubicBezTo>
                  <a:cubicBezTo>
                    <a:pt x="114" y="12"/>
                    <a:pt x="113" y="12"/>
                    <a:pt x="117" y="10"/>
                  </a:cubicBezTo>
                  <a:close/>
                  <a:moveTo>
                    <a:pt x="82" y="322"/>
                  </a:moveTo>
                  <a:cubicBezTo>
                    <a:pt x="79" y="325"/>
                    <a:pt x="76" y="328"/>
                    <a:pt x="81" y="332"/>
                  </a:cubicBezTo>
                  <a:cubicBezTo>
                    <a:pt x="86" y="335"/>
                    <a:pt x="87" y="337"/>
                    <a:pt x="90" y="342"/>
                  </a:cubicBezTo>
                  <a:cubicBezTo>
                    <a:pt x="93" y="347"/>
                    <a:pt x="94" y="350"/>
                    <a:pt x="99" y="348"/>
                  </a:cubicBezTo>
                  <a:cubicBezTo>
                    <a:pt x="103" y="345"/>
                    <a:pt x="100" y="342"/>
                    <a:pt x="103" y="337"/>
                  </a:cubicBezTo>
                  <a:cubicBezTo>
                    <a:pt x="106" y="332"/>
                    <a:pt x="108" y="331"/>
                    <a:pt x="114" y="327"/>
                  </a:cubicBezTo>
                  <a:cubicBezTo>
                    <a:pt x="120" y="323"/>
                    <a:pt x="126" y="316"/>
                    <a:pt x="126" y="312"/>
                  </a:cubicBezTo>
                  <a:cubicBezTo>
                    <a:pt x="126" y="307"/>
                    <a:pt x="119" y="307"/>
                    <a:pt x="118" y="310"/>
                  </a:cubicBezTo>
                  <a:cubicBezTo>
                    <a:pt x="116" y="313"/>
                    <a:pt x="105" y="313"/>
                    <a:pt x="96" y="319"/>
                  </a:cubicBezTo>
                  <a:cubicBezTo>
                    <a:pt x="90" y="322"/>
                    <a:pt x="85" y="319"/>
                    <a:pt x="82" y="322"/>
                  </a:cubicBezTo>
                  <a:close/>
                  <a:moveTo>
                    <a:pt x="161" y="367"/>
                  </a:moveTo>
                  <a:cubicBezTo>
                    <a:pt x="165" y="369"/>
                    <a:pt x="166" y="364"/>
                    <a:pt x="169" y="363"/>
                  </a:cubicBezTo>
                  <a:cubicBezTo>
                    <a:pt x="172" y="362"/>
                    <a:pt x="173" y="360"/>
                    <a:pt x="174" y="357"/>
                  </a:cubicBezTo>
                  <a:cubicBezTo>
                    <a:pt x="174" y="355"/>
                    <a:pt x="173" y="353"/>
                    <a:pt x="172" y="349"/>
                  </a:cubicBezTo>
                  <a:cubicBezTo>
                    <a:pt x="172" y="344"/>
                    <a:pt x="172" y="346"/>
                    <a:pt x="171" y="342"/>
                  </a:cubicBezTo>
                  <a:cubicBezTo>
                    <a:pt x="170" y="338"/>
                    <a:pt x="164" y="339"/>
                    <a:pt x="160" y="339"/>
                  </a:cubicBezTo>
                  <a:cubicBezTo>
                    <a:pt x="154" y="340"/>
                    <a:pt x="151" y="347"/>
                    <a:pt x="151" y="351"/>
                  </a:cubicBezTo>
                  <a:cubicBezTo>
                    <a:pt x="151" y="356"/>
                    <a:pt x="154" y="357"/>
                    <a:pt x="156" y="360"/>
                  </a:cubicBezTo>
                  <a:cubicBezTo>
                    <a:pt x="158" y="363"/>
                    <a:pt x="158" y="365"/>
                    <a:pt x="161" y="367"/>
                  </a:cubicBezTo>
                  <a:close/>
                  <a:moveTo>
                    <a:pt x="242" y="340"/>
                  </a:moveTo>
                  <a:cubicBezTo>
                    <a:pt x="245" y="342"/>
                    <a:pt x="248" y="342"/>
                    <a:pt x="252" y="338"/>
                  </a:cubicBezTo>
                  <a:cubicBezTo>
                    <a:pt x="256" y="334"/>
                    <a:pt x="261" y="333"/>
                    <a:pt x="264" y="330"/>
                  </a:cubicBezTo>
                  <a:cubicBezTo>
                    <a:pt x="266" y="328"/>
                    <a:pt x="269" y="323"/>
                    <a:pt x="269" y="317"/>
                  </a:cubicBezTo>
                  <a:cubicBezTo>
                    <a:pt x="269" y="312"/>
                    <a:pt x="264" y="306"/>
                    <a:pt x="261" y="309"/>
                  </a:cubicBezTo>
                  <a:cubicBezTo>
                    <a:pt x="257" y="312"/>
                    <a:pt x="255" y="312"/>
                    <a:pt x="256" y="317"/>
                  </a:cubicBezTo>
                  <a:cubicBezTo>
                    <a:pt x="256" y="322"/>
                    <a:pt x="256" y="324"/>
                    <a:pt x="252" y="327"/>
                  </a:cubicBezTo>
                  <a:cubicBezTo>
                    <a:pt x="249" y="331"/>
                    <a:pt x="240" y="338"/>
                    <a:pt x="242" y="340"/>
                  </a:cubicBezTo>
                  <a:close/>
                  <a:moveTo>
                    <a:pt x="274" y="283"/>
                  </a:moveTo>
                  <a:cubicBezTo>
                    <a:pt x="275" y="288"/>
                    <a:pt x="276" y="290"/>
                    <a:pt x="280" y="288"/>
                  </a:cubicBezTo>
                  <a:cubicBezTo>
                    <a:pt x="283" y="285"/>
                    <a:pt x="283" y="283"/>
                    <a:pt x="287" y="281"/>
                  </a:cubicBezTo>
                  <a:cubicBezTo>
                    <a:pt x="292" y="279"/>
                    <a:pt x="293" y="276"/>
                    <a:pt x="291" y="274"/>
                  </a:cubicBezTo>
                  <a:cubicBezTo>
                    <a:pt x="289" y="271"/>
                    <a:pt x="287" y="273"/>
                    <a:pt x="283" y="276"/>
                  </a:cubicBezTo>
                  <a:cubicBezTo>
                    <a:pt x="279" y="279"/>
                    <a:pt x="274" y="278"/>
                    <a:pt x="274" y="283"/>
                  </a:cubicBezTo>
                  <a:close/>
                  <a:moveTo>
                    <a:pt x="77" y="35"/>
                  </a:moveTo>
                  <a:cubicBezTo>
                    <a:pt x="82" y="34"/>
                    <a:pt x="81" y="33"/>
                    <a:pt x="85" y="31"/>
                  </a:cubicBezTo>
                  <a:cubicBezTo>
                    <a:pt x="88" y="28"/>
                    <a:pt x="90" y="29"/>
                    <a:pt x="89" y="26"/>
                  </a:cubicBezTo>
                  <a:cubicBezTo>
                    <a:pt x="87" y="23"/>
                    <a:pt x="78" y="26"/>
                    <a:pt x="74" y="25"/>
                  </a:cubicBezTo>
                  <a:cubicBezTo>
                    <a:pt x="70" y="25"/>
                    <a:pt x="66" y="22"/>
                    <a:pt x="64" y="24"/>
                  </a:cubicBezTo>
                  <a:cubicBezTo>
                    <a:pt x="63" y="27"/>
                    <a:pt x="66" y="28"/>
                    <a:pt x="69" y="30"/>
                  </a:cubicBezTo>
                  <a:cubicBezTo>
                    <a:pt x="72" y="32"/>
                    <a:pt x="72" y="36"/>
                    <a:pt x="77" y="3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7" name="Freeform 526"/>
            <p:cNvSpPr>
              <a:spLocks noEditPoints="1"/>
            </p:cNvSpPr>
            <p:nvPr/>
          </p:nvSpPr>
          <p:spPr bwMode="auto">
            <a:xfrm>
              <a:off x="3806541" y="3907128"/>
              <a:ext cx="113109" cy="57150"/>
            </a:xfrm>
            <a:custGeom>
              <a:avLst/>
              <a:gdLst>
                <a:gd name="T0" fmla="*/ 383 w 392"/>
                <a:gd name="T1" fmla="*/ 193 h 198"/>
                <a:gd name="T2" fmla="*/ 388 w 392"/>
                <a:gd name="T3" fmla="*/ 197 h 198"/>
                <a:gd name="T4" fmla="*/ 389 w 392"/>
                <a:gd name="T5" fmla="*/ 192 h 198"/>
                <a:gd name="T6" fmla="*/ 382 w 392"/>
                <a:gd name="T7" fmla="*/ 187 h 198"/>
                <a:gd name="T8" fmla="*/ 383 w 392"/>
                <a:gd name="T9" fmla="*/ 193 h 198"/>
                <a:gd name="T10" fmla="*/ 254 w 392"/>
                <a:gd name="T11" fmla="*/ 61 h 198"/>
                <a:gd name="T12" fmla="*/ 245 w 392"/>
                <a:gd name="T13" fmla="*/ 63 h 198"/>
                <a:gd name="T14" fmla="*/ 252 w 392"/>
                <a:gd name="T15" fmla="*/ 70 h 198"/>
                <a:gd name="T16" fmla="*/ 259 w 392"/>
                <a:gd name="T17" fmla="*/ 73 h 198"/>
                <a:gd name="T18" fmla="*/ 260 w 392"/>
                <a:gd name="T19" fmla="*/ 65 h 198"/>
                <a:gd name="T20" fmla="*/ 254 w 392"/>
                <a:gd name="T21" fmla="*/ 61 h 198"/>
                <a:gd name="T22" fmla="*/ 186 w 392"/>
                <a:gd name="T23" fmla="*/ 77 h 198"/>
                <a:gd name="T24" fmla="*/ 171 w 392"/>
                <a:gd name="T25" fmla="*/ 81 h 198"/>
                <a:gd name="T26" fmla="*/ 177 w 392"/>
                <a:gd name="T27" fmla="*/ 87 h 198"/>
                <a:gd name="T28" fmla="*/ 198 w 392"/>
                <a:gd name="T29" fmla="*/ 82 h 198"/>
                <a:gd name="T30" fmla="*/ 186 w 392"/>
                <a:gd name="T31" fmla="*/ 77 h 198"/>
                <a:gd name="T32" fmla="*/ 1 w 392"/>
                <a:gd name="T33" fmla="*/ 7 h 198"/>
                <a:gd name="T34" fmla="*/ 3 w 392"/>
                <a:gd name="T35" fmla="*/ 14 h 198"/>
                <a:gd name="T36" fmla="*/ 5 w 392"/>
                <a:gd name="T37" fmla="*/ 22 h 198"/>
                <a:gd name="T38" fmla="*/ 8 w 392"/>
                <a:gd name="T39" fmla="*/ 17 h 198"/>
                <a:gd name="T40" fmla="*/ 1 w 392"/>
                <a:gd name="T41" fmla="*/ 7 h 198"/>
                <a:gd name="T42" fmla="*/ 378 w 392"/>
                <a:gd name="T43" fmla="*/ 131 h 198"/>
                <a:gd name="T44" fmla="*/ 371 w 392"/>
                <a:gd name="T45" fmla="*/ 127 h 198"/>
                <a:gd name="T46" fmla="*/ 359 w 392"/>
                <a:gd name="T47" fmla="*/ 126 h 198"/>
                <a:gd name="T48" fmla="*/ 346 w 392"/>
                <a:gd name="T49" fmla="*/ 123 h 198"/>
                <a:gd name="T50" fmla="*/ 337 w 392"/>
                <a:gd name="T51" fmla="*/ 122 h 198"/>
                <a:gd name="T52" fmla="*/ 344 w 392"/>
                <a:gd name="T53" fmla="*/ 131 h 198"/>
                <a:gd name="T54" fmla="*/ 353 w 392"/>
                <a:gd name="T55" fmla="*/ 138 h 198"/>
                <a:gd name="T56" fmla="*/ 367 w 392"/>
                <a:gd name="T57" fmla="*/ 134 h 198"/>
                <a:gd name="T58" fmla="*/ 378 w 392"/>
                <a:gd name="T59" fmla="*/ 131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2" h="198">
                  <a:moveTo>
                    <a:pt x="383" y="193"/>
                  </a:moveTo>
                  <a:cubicBezTo>
                    <a:pt x="388" y="194"/>
                    <a:pt x="385" y="197"/>
                    <a:pt x="388" y="197"/>
                  </a:cubicBezTo>
                  <a:cubicBezTo>
                    <a:pt x="392" y="198"/>
                    <a:pt x="391" y="196"/>
                    <a:pt x="389" y="192"/>
                  </a:cubicBezTo>
                  <a:cubicBezTo>
                    <a:pt x="387" y="188"/>
                    <a:pt x="386" y="188"/>
                    <a:pt x="382" y="187"/>
                  </a:cubicBezTo>
                  <a:cubicBezTo>
                    <a:pt x="375" y="186"/>
                    <a:pt x="377" y="192"/>
                    <a:pt x="383" y="193"/>
                  </a:cubicBezTo>
                  <a:close/>
                  <a:moveTo>
                    <a:pt x="254" y="61"/>
                  </a:moveTo>
                  <a:cubicBezTo>
                    <a:pt x="250" y="62"/>
                    <a:pt x="244" y="60"/>
                    <a:pt x="245" y="63"/>
                  </a:cubicBezTo>
                  <a:cubicBezTo>
                    <a:pt x="246" y="67"/>
                    <a:pt x="249" y="66"/>
                    <a:pt x="252" y="70"/>
                  </a:cubicBezTo>
                  <a:cubicBezTo>
                    <a:pt x="255" y="74"/>
                    <a:pt x="258" y="76"/>
                    <a:pt x="259" y="73"/>
                  </a:cubicBezTo>
                  <a:cubicBezTo>
                    <a:pt x="259" y="69"/>
                    <a:pt x="259" y="70"/>
                    <a:pt x="260" y="65"/>
                  </a:cubicBezTo>
                  <a:cubicBezTo>
                    <a:pt x="261" y="61"/>
                    <a:pt x="257" y="61"/>
                    <a:pt x="254" y="61"/>
                  </a:cubicBezTo>
                  <a:close/>
                  <a:moveTo>
                    <a:pt x="186" y="77"/>
                  </a:moveTo>
                  <a:cubicBezTo>
                    <a:pt x="175" y="69"/>
                    <a:pt x="169" y="77"/>
                    <a:pt x="171" y="81"/>
                  </a:cubicBezTo>
                  <a:cubicBezTo>
                    <a:pt x="172" y="85"/>
                    <a:pt x="173" y="86"/>
                    <a:pt x="177" y="87"/>
                  </a:cubicBezTo>
                  <a:cubicBezTo>
                    <a:pt x="180" y="87"/>
                    <a:pt x="200" y="87"/>
                    <a:pt x="198" y="82"/>
                  </a:cubicBezTo>
                  <a:cubicBezTo>
                    <a:pt x="197" y="78"/>
                    <a:pt x="190" y="82"/>
                    <a:pt x="186" y="77"/>
                  </a:cubicBezTo>
                  <a:close/>
                  <a:moveTo>
                    <a:pt x="1" y="7"/>
                  </a:moveTo>
                  <a:cubicBezTo>
                    <a:pt x="0" y="10"/>
                    <a:pt x="3" y="11"/>
                    <a:pt x="3" y="14"/>
                  </a:cubicBezTo>
                  <a:cubicBezTo>
                    <a:pt x="4" y="17"/>
                    <a:pt x="2" y="22"/>
                    <a:pt x="5" y="22"/>
                  </a:cubicBezTo>
                  <a:cubicBezTo>
                    <a:pt x="7" y="22"/>
                    <a:pt x="9" y="20"/>
                    <a:pt x="8" y="17"/>
                  </a:cubicBezTo>
                  <a:cubicBezTo>
                    <a:pt x="8" y="13"/>
                    <a:pt x="4" y="0"/>
                    <a:pt x="1" y="7"/>
                  </a:cubicBezTo>
                  <a:close/>
                  <a:moveTo>
                    <a:pt x="378" y="131"/>
                  </a:moveTo>
                  <a:cubicBezTo>
                    <a:pt x="379" y="129"/>
                    <a:pt x="376" y="128"/>
                    <a:pt x="371" y="127"/>
                  </a:cubicBezTo>
                  <a:cubicBezTo>
                    <a:pt x="366" y="127"/>
                    <a:pt x="365" y="127"/>
                    <a:pt x="359" y="126"/>
                  </a:cubicBezTo>
                  <a:cubicBezTo>
                    <a:pt x="353" y="124"/>
                    <a:pt x="349" y="125"/>
                    <a:pt x="346" y="123"/>
                  </a:cubicBezTo>
                  <a:cubicBezTo>
                    <a:pt x="343" y="120"/>
                    <a:pt x="338" y="120"/>
                    <a:pt x="337" y="122"/>
                  </a:cubicBezTo>
                  <a:cubicBezTo>
                    <a:pt x="335" y="124"/>
                    <a:pt x="339" y="128"/>
                    <a:pt x="344" y="131"/>
                  </a:cubicBezTo>
                  <a:cubicBezTo>
                    <a:pt x="349" y="133"/>
                    <a:pt x="348" y="135"/>
                    <a:pt x="353" y="138"/>
                  </a:cubicBezTo>
                  <a:cubicBezTo>
                    <a:pt x="358" y="140"/>
                    <a:pt x="360" y="137"/>
                    <a:pt x="367" y="134"/>
                  </a:cubicBezTo>
                  <a:cubicBezTo>
                    <a:pt x="374" y="132"/>
                    <a:pt x="377" y="133"/>
                    <a:pt x="378" y="13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8" name="Freeform 527"/>
            <p:cNvSpPr>
              <a:spLocks/>
            </p:cNvSpPr>
            <p:nvPr/>
          </p:nvSpPr>
          <p:spPr bwMode="auto">
            <a:xfrm>
              <a:off x="4142297" y="5333497"/>
              <a:ext cx="3572" cy="9525"/>
            </a:xfrm>
            <a:custGeom>
              <a:avLst/>
              <a:gdLst>
                <a:gd name="T0" fmla="*/ 0 w 12"/>
                <a:gd name="T1" fmla="*/ 14 h 31"/>
                <a:gd name="T2" fmla="*/ 6 w 12"/>
                <a:gd name="T3" fmla="*/ 27 h 31"/>
                <a:gd name="T4" fmla="*/ 12 w 12"/>
                <a:gd name="T5" fmla="*/ 23 h 31"/>
                <a:gd name="T6" fmla="*/ 0 w 12"/>
                <a:gd name="T7" fmla="*/ 1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1">
                  <a:moveTo>
                    <a:pt x="0" y="14"/>
                  </a:moveTo>
                  <a:cubicBezTo>
                    <a:pt x="2" y="20"/>
                    <a:pt x="1" y="23"/>
                    <a:pt x="6" y="27"/>
                  </a:cubicBezTo>
                  <a:cubicBezTo>
                    <a:pt x="11" y="31"/>
                    <a:pt x="12" y="30"/>
                    <a:pt x="12" y="23"/>
                  </a:cubicBezTo>
                  <a:cubicBezTo>
                    <a:pt x="12" y="17"/>
                    <a:pt x="2" y="0"/>
                    <a:pt x="0" y="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9" name="Freeform 529"/>
            <p:cNvSpPr>
              <a:spLocks/>
            </p:cNvSpPr>
            <p:nvPr/>
          </p:nvSpPr>
          <p:spPr bwMode="auto">
            <a:xfrm>
              <a:off x="4063716" y="4401238"/>
              <a:ext cx="52387" cy="14288"/>
            </a:xfrm>
            <a:custGeom>
              <a:avLst/>
              <a:gdLst>
                <a:gd name="T0" fmla="*/ 71 w 184"/>
                <a:gd name="T1" fmla="*/ 27 h 49"/>
                <a:gd name="T2" fmla="*/ 53 w 184"/>
                <a:gd name="T3" fmla="*/ 31 h 49"/>
                <a:gd name="T4" fmla="*/ 38 w 184"/>
                <a:gd name="T5" fmla="*/ 42 h 49"/>
                <a:gd name="T6" fmla="*/ 26 w 184"/>
                <a:gd name="T7" fmla="*/ 40 h 49"/>
                <a:gd name="T8" fmla="*/ 20 w 184"/>
                <a:gd name="T9" fmla="*/ 31 h 49"/>
                <a:gd name="T10" fmla="*/ 7 w 184"/>
                <a:gd name="T11" fmla="*/ 26 h 49"/>
                <a:gd name="T12" fmla="*/ 4 w 184"/>
                <a:gd name="T13" fmla="*/ 40 h 49"/>
                <a:gd name="T14" fmla="*/ 11 w 184"/>
                <a:gd name="T15" fmla="*/ 47 h 49"/>
                <a:gd name="T16" fmla="*/ 53 w 184"/>
                <a:gd name="T17" fmla="*/ 45 h 49"/>
                <a:gd name="T18" fmla="*/ 84 w 184"/>
                <a:gd name="T19" fmla="*/ 30 h 49"/>
                <a:gd name="T20" fmla="*/ 84 w 184"/>
                <a:gd name="T21" fmla="*/ 30 h 49"/>
                <a:gd name="T22" fmla="*/ 104 w 184"/>
                <a:gd name="T23" fmla="*/ 25 h 49"/>
                <a:gd name="T24" fmla="*/ 129 w 184"/>
                <a:gd name="T25" fmla="*/ 29 h 49"/>
                <a:gd name="T26" fmla="*/ 153 w 184"/>
                <a:gd name="T27" fmla="*/ 33 h 49"/>
                <a:gd name="T28" fmla="*/ 172 w 184"/>
                <a:gd name="T29" fmla="*/ 34 h 49"/>
                <a:gd name="T30" fmla="*/ 175 w 184"/>
                <a:gd name="T31" fmla="*/ 34 h 49"/>
                <a:gd name="T32" fmla="*/ 182 w 184"/>
                <a:gd name="T33" fmla="*/ 31 h 49"/>
                <a:gd name="T34" fmla="*/ 184 w 184"/>
                <a:gd name="T35" fmla="*/ 26 h 49"/>
                <a:gd name="T36" fmla="*/ 184 w 184"/>
                <a:gd name="T37" fmla="*/ 25 h 49"/>
                <a:gd name="T38" fmla="*/ 184 w 184"/>
                <a:gd name="T39" fmla="*/ 25 h 49"/>
                <a:gd name="T40" fmla="*/ 173 w 184"/>
                <a:gd name="T41" fmla="*/ 22 h 49"/>
                <a:gd name="T42" fmla="*/ 164 w 184"/>
                <a:gd name="T43" fmla="*/ 22 h 49"/>
                <a:gd name="T44" fmla="*/ 143 w 184"/>
                <a:gd name="T45" fmla="*/ 18 h 49"/>
                <a:gd name="T46" fmla="*/ 123 w 184"/>
                <a:gd name="T47" fmla="*/ 6 h 49"/>
                <a:gd name="T48" fmla="*/ 106 w 184"/>
                <a:gd name="T49" fmla="*/ 3 h 49"/>
                <a:gd name="T50" fmla="*/ 96 w 184"/>
                <a:gd name="T51" fmla="*/ 6 h 49"/>
                <a:gd name="T52" fmla="*/ 80 w 184"/>
                <a:gd name="T53" fmla="*/ 9 h 49"/>
                <a:gd name="T54" fmla="*/ 68 w 184"/>
                <a:gd name="T55" fmla="*/ 12 h 49"/>
                <a:gd name="T56" fmla="*/ 58 w 184"/>
                <a:gd name="T57" fmla="*/ 15 h 49"/>
                <a:gd name="T58" fmla="*/ 36 w 184"/>
                <a:gd name="T59" fmla="*/ 19 h 49"/>
                <a:gd name="T60" fmla="*/ 21 w 184"/>
                <a:gd name="T61" fmla="*/ 19 h 49"/>
                <a:gd name="T62" fmla="*/ 28 w 184"/>
                <a:gd name="T63" fmla="*/ 25 h 49"/>
                <a:gd name="T64" fmla="*/ 42 w 184"/>
                <a:gd name="T65" fmla="*/ 26 h 49"/>
                <a:gd name="T66" fmla="*/ 57 w 184"/>
                <a:gd name="T67" fmla="*/ 21 h 49"/>
                <a:gd name="T68" fmla="*/ 77 w 184"/>
                <a:gd name="T69" fmla="*/ 18 h 49"/>
                <a:gd name="T70" fmla="*/ 86 w 184"/>
                <a:gd name="T71" fmla="*/ 20 h 49"/>
                <a:gd name="T72" fmla="*/ 71 w 184"/>
                <a:gd name="T73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4" h="49">
                  <a:moveTo>
                    <a:pt x="71" y="27"/>
                  </a:moveTo>
                  <a:cubicBezTo>
                    <a:pt x="66" y="28"/>
                    <a:pt x="61" y="26"/>
                    <a:pt x="53" y="31"/>
                  </a:cubicBezTo>
                  <a:cubicBezTo>
                    <a:pt x="45" y="37"/>
                    <a:pt x="41" y="41"/>
                    <a:pt x="38" y="42"/>
                  </a:cubicBezTo>
                  <a:cubicBezTo>
                    <a:pt x="35" y="42"/>
                    <a:pt x="29" y="44"/>
                    <a:pt x="26" y="40"/>
                  </a:cubicBezTo>
                  <a:cubicBezTo>
                    <a:pt x="23" y="37"/>
                    <a:pt x="23" y="36"/>
                    <a:pt x="20" y="31"/>
                  </a:cubicBezTo>
                  <a:cubicBezTo>
                    <a:pt x="17" y="27"/>
                    <a:pt x="11" y="21"/>
                    <a:pt x="7" y="26"/>
                  </a:cubicBezTo>
                  <a:cubicBezTo>
                    <a:pt x="4" y="30"/>
                    <a:pt x="0" y="34"/>
                    <a:pt x="4" y="40"/>
                  </a:cubicBezTo>
                  <a:cubicBezTo>
                    <a:pt x="7" y="45"/>
                    <a:pt x="11" y="42"/>
                    <a:pt x="11" y="47"/>
                  </a:cubicBezTo>
                  <a:cubicBezTo>
                    <a:pt x="24" y="48"/>
                    <a:pt x="43" y="49"/>
                    <a:pt x="53" y="45"/>
                  </a:cubicBezTo>
                  <a:cubicBezTo>
                    <a:pt x="70" y="38"/>
                    <a:pt x="75" y="35"/>
                    <a:pt x="84" y="3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9" y="27"/>
                    <a:pt x="96" y="25"/>
                    <a:pt x="104" y="25"/>
                  </a:cubicBezTo>
                  <a:cubicBezTo>
                    <a:pt x="112" y="25"/>
                    <a:pt x="121" y="27"/>
                    <a:pt x="129" y="29"/>
                  </a:cubicBezTo>
                  <a:cubicBezTo>
                    <a:pt x="137" y="31"/>
                    <a:pt x="146" y="32"/>
                    <a:pt x="153" y="33"/>
                  </a:cubicBezTo>
                  <a:cubicBezTo>
                    <a:pt x="161" y="34"/>
                    <a:pt x="168" y="34"/>
                    <a:pt x="172" y="34"/>
                  </a:cubicBezTo>
                  <a:cubicBezTo>
                    <a:pt x="173" y="34"/>
                    <a:pt x="174" y="34"/>
                    <a:pt x="175" y="34"/>
                  </a:cubicBezTo>
                  <a:cubicBezTo>
                    <a:pt x="177" y="34"/>
                    <a:pt x="180" y="33"/>
                    <a:pt x="182" y="31"/>
                  </a:cubicBezTo>
                  <a:cubicBezTo>
                    <a:pt x="183" y="30"/>
                    <a:pt x="184" y="28"/>
                    <a:pt x="184" y="26"/>
                  </a:cubicBezTo>
                  <a:cubicBezTo>
                    <a:pt x="184" y="26"/>
                    <a:pt x="184" y="26"/>
                    <a:pt x="184" y="25"/>
                  </a:cubicBezTo>
                  <a:cubicBezTo>
                    <a:pt x="184" y="25"/>
                    <a:pt x="184" y="25"/>
                    <a:pt x="184" y="25"/>
                  </a:cubicBezTo>
                  <a:cubicBezTo>
                    <a:pt x="184" y="22"/>
                    <a:pt x="180" y="22"/>
                    <a:pt x="173" y="22"/>
                  </a:cubicBezTo>
                  <a:cubicBezTo>
                    <a:pt x="170" y="22"/>
                    <a:pt x="167" y="22"/>
                    <a:pt x="164" y="22"/>
                  </a:cubicBezTo>
                  <a:cubicBezTo>
                    <a:pt x="155" y="22"/>
                    <a:pt x="149" y="20"/>
                    <a:pt x="143" y="18"/>
                  </a:cubicBezTo>
                  <a:cubicBezTo>
                    <a:pt x="136" y="15"/>
                    <a:pt x="131" y="12"/>
                    <a:pt x="123" y="6"/>
                  </a:cubicBezTo>
                  <a:cubicBezTo>
                    <a:pt x="114" y="0"/>
                    <a:pt x="111" y="1"/>
                    <a:pt x="106" y="3"/>
                  </a:cubicBezTo>
                  <a:cubicBezTo>
                    <a:pt x="103" y="4"/>
                    <a:pt x="100" y="5"/>
                    <a:pt x="96" y="6"/>
                  </a:cubicBezTo>
                  <a:cubicBezTo>
                    <a:pt x="89" y="6"/>
                    <a:pt x="85" y="8"/>
                    <a:pt x="80" y="9"/>
                  </a:cubicBezTo>
                  <a:cubicBezTo>
                    <a:pt x="77" y="10"/>
                    <a:pt x="73" y="11"/>
                    <a:pt x="68" y="12"/>
                  </a:cubicBezTo>
                  <a:cubicBezTo>
                    <a:pt x="64" y="13"/>
                    <a:pt x="61" y="14"/>
                    <a:pt x="58" y="15"/>
                  </a:cubicBezTo>
                  <a:cubicBezTo>
                    <a:pt x="50" y="17"/>
                    <a:pt x="43" y="19"/>
                    <a:pt x="36" y="19"/>
                  </a:cubicBezTo>
                  <a:cubicBezTo>
                    <a:pt x="30" y="20"/>
                    <a:pt x="25" y="20"/>
                    <a:pt x="21" y="19"/>
                  </a:cubicBezTo>
                  <a:cubicBezTo>
                    <a:pt x="22" y="23"/>
                    <a:pt x="23" y="24"/>
                    <a:pt x="28" y="25"/>
                  </a:cubicBezTo>
                  <a:cubicBezTo>
                    <a:pt x="34" y="26"/>
                    <a:pt x="36" y="27"/>
                    <a:pt x="42" y="26"/>
                  </a:cubicBezTo>
                  <a:cubicBezTo>
                    <a:pt x="47" y="26"/>
                    <a:pt x="51" y="22"/>
                    <a:pt x="57" y="21"/>
                  </a:cubicBezTo>
                  <a:cubicBezTo>
                    <a:pt x="64" y="19"/>
                    <a:pt x="72" y="18"/>
                    <a:pt x="77" y="18"/>
                  </a:cubicBezTo>
                  <a:cubicBezTo>
                    <a:pt x="83" y="18"/>
                    <a:pt x="86" y="17"/>
                    <a:pt x="86" y="20"/>
                  </a:cubicBezTo>
                  <a:cubicBezTo>
                    <a:pt x="85" y="24"/>
                    <a:pt x="77" y="26"/>
                    <a:pt x="71" y="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0" name="Freeform 530"/>
            <p:cNvSpPr>
              <a:spLocks/>
            </p:cNvSpPr>
            <p:nvPr/>
          </p:nvSpPr>
          <p:spPr bwMode="auto">
            <a:xfrm>
              <a:off x="4050619" y="4351232"/>
              <a:ext cx="108347" cy="77391"/>
            </a:xfrm>
            <a:custGeom>
              <a:avLst/>
              <a:gdLst>
                <a:gd name="T0" fmla="*/ 95 w 377"/>
                <a:gd name="T1" fmla="*/ 260 h 267"/>
                <a:gd name="T2" fmla="*/ 130 w 377"/>
                <a:gd name="T3" fmla="*/ 257 h 267"/>
                <a:gd name="T4" fmla="*/ 170 w 377"/>
                <a:gd name="T5" fmla="*/ 248 h 267"/>
                <a:gd name="T6" fmla="*/ 219 w 377"/>
                <a:gd name="T7" fmla="*/ 244 h 267"/>
                <a:gd name="T8" fmla="*/ 282 w 377"/>
                <a:gd name="T9" fmla="*/ 249 h 267"/>
                <a:gd name="T10" fmla="*/ 315 w 377"/>
                <a:gd name="T11" fmla="*/ 262 h 267"/>
                <a:gd name="T12" fmla="*/ 377 w 377"/>
                <a:gd name="T13" fmla="*/ 255 h 267"/>
                <a:gd name="T14" fmla="*/ 373 w 377"/>
                <a:gd name="T15" fmla="*/ 226 h 267"/>
                <a:gd name="T16" fmla="*/ 358 w 377"/>
                <a:gd name="T17" fmla="*/ 207 h 267"/>
                <a:gd name="T18" fmla="*/ 347 w 377"/>
                <a:gd name="T19" fmla="*/ 199 h 267"/>
                <a:gd name="T20" fmla="*/ 340 w 377"/>
                <a:gd name="T21" fmla="*/ 186 h 267"/>
                <a:gd name="T22" fmla="*/ 333 w 377"/>
                <a:gd name="T23" fmla="*/ 152 h 267"/>
                <a:gd name="T24" fmla="*/ 324 w 377"/>
                <a:gd name="T25" fmla="*/ 123 h 267"/>
                <a:gd name="T26" fmla="*/ 293 w 377"/>
                <a:gd name="T27" fmla="*/ 91 h 267"/>
                <a:gd name="T28" fmla="*/ 264 w 377"/>
                <a:gd name="T29" fmla="*/ 62 h 267"/>
                <a:gd name="T30" fmla="*/ 250 w 377"/>
                <a:gd name="T31" fmla="*/ 33 h 267"/>
                <a:gd name="T32" fmla="*/ 222 w 377"/>
                <a:gd name="T33" fmla="*/ 27 h 267"/>
                <a:gd name="T34" fmla="*/ 199 w 377"/>
                <a:gd name="T35" fmla="*/ 4 h 267"/>
                <a:gd name="T36" fmla="*/ 167 w 377"/>
                <a:gd name="T37" fmla="*/ 2 h 267"/>
                <a:gd name="T38" fmla="*/ 117 w 377"/>
                <a:gd name="T39" fmla="*/ 10 h 267"/>
                <a:gd name="T40" fmla="*/ 85 w 377"/>
                <a:gd name="T41" fmla="*/ 11 h 267"/>
                <a:gd name="T42" fmla="*/ 67 w 377"/>
                <a:gd name="T43" fmla="*/ 25 h 267"/>
                <a:gd name="T44" fmla="*/ 39 w 377"/>
                <a:gd name="T45" fmla="*/ 87 h 267"/>
                <a:gd name="T46" fmla="*/ 13 w 377"/>
                <a:gd name="T47" fmla="*/ 112 h 267"/>
                <a:gd name="T48" fmla="*/ 12 w 377"/>
                <a:gd name="T49" fmla="*/ 124 h 267"/>
                <a:gd name="T50" fmla="*/ 39 w 377"/>
                <a:gd name="T51" fmla="*/ 153 h 267"/>
                <a:gd name="T52" fmla="*/ 61 w 377"/>
                <a:gd name="T53" fmla="*/ 158 h 267"/>
                <a:gd name="T54" fmla="*/ 55 w 377"/>
                <a:gd name="T55" fmla="*/ 175 h 267"/>
                <a:gd name="T56" fmla="*/ 66 w 377"/>
                <a:gd name="T57" fmla="*/ 184 h 267"/>
                <a:gd name="T58" fmla="*/ 99 w 377"/>
                <a:gd name="T59" fmla="*/ 180 h 267"/>
                <a:gd name="T60" fmla="*/ 122 w 377"/>
                <a:gd name="T61" fmla="*/ 175 h 267"/>
                <a:gd name="T62" fmla="*/ 147 w 377"/>
                <a:gd name="T63" fmla="*/ 168 h 267"/>
                <a:gd name="T64" fmla="*/ 190 w 377"/>
                <a:gd name="T65" fmla="*/ 183 h 267"/>
                <a:gd name="T66" fmla="*/ 217 w 377"/>
                <a:gd name="T67" fmla="*/ 187 h 267"/>
                <a:gd name="T68" fmla="*/ 236 w 377"/>
                <a:gd name="T69" fmla="*/ 197 h 267"/>
                <a:gd name="T70" fmla="*/ 231 w 377"/>
                <a:gd name="T71" fmla="*/ 210 h 267"/>
                <a:gd name="T72" fmla="*/ 216 w 377"/>
                <a:gd name="T73" fmla="*/ 215 h 267"/>
                <a:gd name="T74" fmla="*/ 171 w 377"/>
                <a:gd name="T75" fmla="*/ 210 h 267"/>
                <a:gd name="T76" fmla="*/ 132 w 377"/>
                <a:gd name="T77" fmla="*/ 210 h 267"/>
                <a:gd name="T78" fmla="*/ 100 w 377"/>
                <a:gd name="T79" fmla="*/ 225 h 267"/>
                <a:gd name="T80" fmla="*/ 51 w 377"/>
                <a:gd name="T81" fmla="*/ 239 h 267"/>
                <a:gd name="T82" fmla="*/ 74 w 377"/>
                <a:gd name="T83" fmla="*/ 249 h 267"/>
                <a:gd name="T84" fmla="*/ 97 w 377"/>
                <a:gd name="T85" fmla="*/ 242 h 267"/>
                <a:gd name="T86" fmla="*/ 117 w 377"/>
                <a:gd name="T87" fmla="*/ 249 h 267"/>
                <a:gd name="T88" fmla="*/ 136 w 377"/>
                <a:gd name="T89" fmla="*/ 241 h 267"/>
                <a:gd name="T90" fmla="*/ 122 w 377"/>
                <a:gd name="T91" fmla="*/ 256 h 267"/>
                <a:gd name="T92" fmla="*/ 90 w 377"/>
                <a:gd name="T93" fmla="*/ 257 h 267"/>
                <a:gd name="T94" fmla="*/ 52 w 377"/>
                <a:gd name="T95" fmla="*/ 261 h 267"/>
                <a:gd name="T96" fmla="*/ 67 w 377"/>
                <a:gd name="T97" fmla="*/ 264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77" h="267">
                  <a:moveTo>
                    <a:pt x="82" y="261"/>
                  </a:moveTo>
                  <a:cubicBezTo>
                    <a:pt x="87" y="261"/>
                    <a:pt x="91" y="260"/>
                    <a:pt x="95" y="260"/>
                  </a:cubicBezTo>
                  <a:cubicBezTo>
                    <a:pt x="97" y="260"/>
                    <a:pt x="101" y="260"/>
                    <a:pt x="106" y="259"/>
                  </a:cubicBezTo>
                  <a:cubicBezTo>
                    <a:pt x="113" y="258"/>
                    <a:pt x="122" y="257"/>
                    <a:pt x="130" y="257"/>
                  </a:cubicBezTo>
                  <a:cubicBezTo>
                    <a:pt x="135" y="257"/>
                    <a:pt x="141" y="255"/>
                    <a:pt x="147" y="253"/>
                  </a:cubicBezTo>
                  <a:cubicBezTo>
                    <a:pt x="153" y="251"/>
                    <a:pt x="161" y="249"/>
                    <a:pt x="170" y="248"/>
                  </a:cubicBezTo>
                  <a:cubicBezTo>
                    <a:pt x="178" y="247"/>
                    <a:pt x="184" y="246"/>
                    <a:pt x="190" y="246"/>
                  </a:cubicBezTo>
                  <a:cubicBezTo>
                    <a:pt x="196" y="245"/>
                    <a:pt x="204" y="245"/>
                    <a:pt x="219" y="244"/>
                  </a:cubicBezTo>
                  <a:cubicBezTo>
                    <a:pt x="226" y="244"/>
                    <a:pt x="232" y="244"/>
                    <a:pt x="237" y="243"/>
                  </a:cubicBezTo>
                  <a:cubicBezTo>
                    <a:pt x="254" y="242"/>
                    <a:pt x="265" y="241"/>
                    <a:pt x="282" y="249"/>
                  </a:cubicBezTo>
                  <a:cubicBezTo>
                    <a:pt x="291" y="253"/>
                    <a:pt x="294" y="256"/>
                    <a:pt x="297" y="258"/>
                  </a:cubicBezTo>
                  <a:cubicBezTo>
                    <a:pt x="300" y="260"/>
                    <a:pt x="301" y="261"/>
                    <a:pt x="315" y="262"/>
                  </a:cubicBezTo>
                  <a:cubicBezTo>
                    <a:pt x="337" y="262"/>
                    <a:pt x="368" y="261"/>
                    <a:pt x="376" y="261"/>
                  </a:cubicBezTo>
                  <a:cubicBezTo>
                    <a:pt x="377" y="259"/>
                    <a:pt x="377" y="257"/>
                    <a:pt x="377" y="255"/>
                  </a:cubicBezTo>
                  <a:cubicBezTo>
                    <a:pt x="377" y="251"/>
                    <a:pt x="377" y="247"/>
                    <a:pt x="376" y="242"/>
                  </a:cubicBezTo>
                  <a:cubicBezTo>
                    <a:pt x="376" y="237"/>
                    <a:pt x="375" y="232"/>
                    <a:pt x="373" y="226"/>
                  </a:cubicBezTo>
                  <a:cubicBezTo>
                    <a:pt x="372" y="221"/>
                    <a:pt x="371" y="218"/>
                    <a:pt x="369" y="215"/>
                  </a:cubicBezTo>
                  <a:cubicBezTo>
                    <a:pt x="366" y="212"/>
                    <a:pt x="363" y="210"/>
                    <a:pt x="358" y="207"/>
                  </a:cubicBezTo>
                  <a:cubicBezTo>
                    <a:pt x="357" y="206"/>
                    <a:pt x="357" y="206"/>
                    <a:pt x="357" y="206"/>
                  </a:cubicBezTo>
                  <a:cubicBezTo>
                    <a:pt x="352" y="203"/>
                    <a:pt x="349" y="202"/>
                    <a:pt x="347" y="199"/>
                  </a:cubicBezTo>
                  <a:cubicBezTo>
                    <a:pt x="346" y="198"/>
                    <a:pt x="345" y="196"/>
                    <a:pt x="343" y="193"/>
                  </a:cubicBezTo>
                  <a:cubicBezTo>
                    <a:pt x="342" y="191"/>
                    <a:pt x="341" y="189"/>
                    <a:pt x="340" y="186"/>
                  </a:cubicBezTo>
                  <a:cubicBezTo>
                    <a:pt x="335" y="177"/>
                    <a:pt x="335" y="174"/>
                    <a:pt x="336" y="169"/>
                  </a:cubicBezTo>
                  <a:cubicBezTo>
                    <a:pt x="336" y="166"/>
                    <a:pt x="336" y="161"/>
                    <a:pt x="333" y="152"/>
                  </a:cubicBezTo>
                  <a:cubicBezTo>
                    <a:pt x="330" y="143"/>
                    <a:pt x="329" y="138"/>
                    <a:pt x="328" y="134"/>
                  </a:cubicBezTo>
                  <a:cubicBezTo>
                    <a:pt x="327" y="129"/>
                    <a:pt x="327" y="128"/>
                    <a:pt x="324" y="123"/>
                  </a:cubicBezTo>
                  <a:cubicBezTo>
                    <a:pt x="320" y="119"/>
                    <a:pt x="316" y="115"/>
                    <a:pt x="311" y="109"/>
                  </a:cubicBezTo>
                  <a:cubicBezTo>
                    <a:pt x="306" y="104"/>
                    <a:pt x="300" y="98"/>
                    <a:pt x="293" y="91"/>
                  </a:cubicBezTo>
                  <a:cubicBezTo>
                    <a:pt x="282" y="79"/>
                    <a:pt x="279" y="76"/>
                    <a:pt x="274" y="71"/>
                  </a:cubicBezTo>
                  <a:cubicBezTo>
                    <a:pt x="271" y="69"/>
                    <a:pt x="269" y="66"/>
                    <a:pt x="264" y="62"/>
                  </a:cubicBezTo>
                  <a:cubicBezTo>
                    <a:pt x="255" y="53"/>
                    <a:pt x="253" y="45"/>
                    <a:pt x="252" y="39"/>
                  </a:cubicBezTo>
                  <a:cubicBezTo>
                    <a:pt x="252" y="36"/>
                    <a:pt x="251" y="34"/>
                    <a:pt x="250" y="33"/>
                  </a:cubicBezTo>
                  <a:cubicBezTo>
                    <a:pt x="248" y="31"/>
                    <a:pt x="244" y="31"/>
                    <a:pt x="240" y="30"/>
                  </a:cubicBezTo>
                  <a:cubicBezTo>
                    <a:pt x="235" y="30"/>
                    <a:pt x="229" y="29"/>
                    <a:pt x="222" y="27"/>
                  </a:cubicBezTo>
                  <a:cubicBezTo>
                    <a:pt x="214" y="24"/>
                    <a:pt x="210" y="18"/>
                    <a:pt x="207" y="13"/>
                  </a:cubicBezTo>
                  <a:cubicBezTo>
                    <a:pt x="205" y="10"/>
                    <a:pt x="203" y="6"/>
                    <a:pt x="199" y="4"/>
                  </a:cubicBezTo>
                  <a:cubicBezTo>
                    <a:pt x="193" y="0"/>
                    <a:pt x="188" y="1"/>
                    <a:pt x="181" y="1"/>
                  </a:cubicBezTo>
                  <a:cubicBezTo>
                    <a:pt x="177" y="2"/>
                    <a:pt x="172" y="2"/>
                    <a:pt x="167" y="2"/>
                  </a:cubicBezTo>
                  <a:cubicBezTo>
                    <a:pt x="158" y="3"/>
                    <a:pt x="150" y="4"/>
                    <a:pt x="142" y="6"/>
                  </a:cubicBezTo>
                  <a:cubicBezTo>
                    <a:pt x="134" y="8"/>
                    <a:pt x="126" y="9"/>
                    <a:pt x="117" y="10"/>
                  </a:cubicBezTo>
                  <a:cubicBezTo>
                    <a:pt x="109" y="10"/>
                    <a:pt x="104" y="10"/>
                    <a:pt x="100" y="10"/>
                  </a:cubicBezTo>
                  <a:cubicBezTo>
                    <a:pt x="95" y="9"/>
                    <a:pt x="91" y="9"/>
                    <a:pt x="85" y="11"/>
                  </a:cubicBezTo>
                  <a:cubicBezTo>
                    <a:pt x="79" y="12"/>
                    <a:pt x="73" y="16"/>
                    <a:pt x="68" y="19"/>
                  </a:cubicBezTo>
                  <a:cubicBezTo>
                    <a:pt x="68" y="21"/>
                    <a:pt x="68" y="23"/>
                    <a:pt x="67" y="25"/>
                  </a:cubicBezTo>
                  <a:cubicBezTo>
                    <a:pt x="67" y="40"/>
                    <a:pt x="66" y="43"/>
                    <a:pt x="63" y="51"/>
                  </a:cubicBezTo>
                  <a:cubicBezTo>
                    <a:pt x="60" y="58"/>
                    <a:pt x="45" y="78"/>
                    <a:pt x="39" y="87"/>
                  </a:cubicBezTo>
                  <a:cubicBezTo>
                    <a:pt x="33" y="95"/>
                    <a:pt x="32" y="100"/>
                    <a:pt x="26" y="105"/>
                  </a:cubicBezTo>
                  <a:cubicBezTo>
                    <a:pt x="20" y="111"/>
                    <a:pt x="20" y="113"/>
                    <a:pt x="13" y="112"/>
                  </a:cubicBezTo>
                  <a:cubicBezTo>
                    <a:pt x="6" y="111"/>
                    <a:pt x="1" y="109"/>
                    <a:pt x="1" y="114"/>
                  </a:cubicBezTo>
                  <a:cubicBezTo>
                    <a:pt x="0" y="120"/>
                    <a:pt x="4" y="123"/>
                    <a:pt x="12" y="124"/>
                  </a:cubicBezTo>
                  <a:cubicBezTo>
                    <a:pt x="19" y="125"/>
                    <a:pt x="26" y="126"/>
                    <a:pt x="30" y="132"/>
                  </a:cubicBezTo>
                  <a:cubicBezTo>
                    <a:pt x="33" y="137"/>
                    <a:pt x="36" y="148"/>
                    <a:pt x="39" y="153"/>
                  </a:cubicBezTo>
                  <a:cubicBezTo>
                    <a:pt x="43" y="159"/>
                    <a:pt x="47" y="163"/>
                    <a:pt x="50" y="162"/>
                  </a:cubicBezTo>
                  <a:cubicBezTo>
                    <a:pt x="53" y="161"/>
                    <a:pt x="59" y="155"/>
                    <a:pt x="61" y="158"/>
                  </a:cubicBezTo>
                  <a:cubicBezTo>
                    <a:pt x="63" y="161"/>
                    <a:pt x="60" y="162"/>
                    <a:pt x="57" y="165"/>
                  </a:cubicBezTo>
                  <a:cubicBezTo>
                    <a:pt x="55" y="169"/>
                    <a:pt x="51" y="170"/>
                    <a:pt x="55" y="175"/>
                  </a:cubicBezTo>
                  <a:cubicBezTo>
                    <a:pt x="58" y="179"/>
                    <a:pt x="61" y="181"/>
                    <a:pt x="63" y="184"/>
                  </a:cubicBezTo>
                  <a:cubicBezTo>
                    <a:pt x="64" y="184"/>
                    <a:pt x="65" y="184"/>
                    <a:pt x="66" y="184"/>
                  </a:cubicBezTo>
                  <a:cubicBezTo>
                    <a:pt x="70" y="185"/>
                    <a:pt x="74" y="185"/>
                    <a:pt x="79" y="184"/>
                  </a:cubicBezTo>
                  <a:cubicBezTo>
                    <a:pt x="86" y="184"/>
                    <a:pt x="92" y="182"/>
                    <a:pt x="99" y="180"/>
                  </a:cubicBezTo>
                  <a:cubicBezTo>
                    <a:pt x="103" y="179"/>
                    <a:pt x="107" y="178"/>
                    <a:pt x="111" y="178"/>
                  </a:cubicBezTo>
                  <a:cubicBezTo>
                    <a:pt x="115" y="177"/>
                    <a:pt x="118" y="176"/>
                    <a:pt x="122" y="175"/>
                  </a:cubicBezTo>
                  <a:cubicBezTo>
                    <a:pt x="127" y="173"/>
                    <a:pt x="131" y="172"/>
                    <a:pt x="139" y="171"/>
                  </a:cubicBezTo>
                  <a:cubicBezTo>
                    <a:pt x="142" y="170"/>
                    <a:pt x="145" y="169"/>
                    <a:pt x="147" y="168"/>
                  </a:cubicBezTo>
                  <a:cubicBezTo>
                    <a:pt x="154" y="166"/>
                    <a:pt x="159" y="164"/>
                    <a:pt x="171" y="173"/>
                  </a:cubicBezTo>
                  <a:cubicBezTo>
                    <a:pt x="179" y="178"/>
                    <a:pt x="184" y="181"/>
                    <a:pt x="190" y="183"/>
                  </a:cubicBezTo>
                  <a:cubicBezTo>
                    <a:pt x="195" y="186"/>
                    <a:pt x="201" y="187"/>
                    <a:pt x="208" y="187"/>
                  </a:cubicBezTo>
                  <a:cubicBezTo>
                    <a:pt x="211" y="187"/>
                    <a:pt x="214" y="187"/>
                    <a:pt x="217" y="187"/>
                  </a:cubicBezTo>
                  <a:cubicBezTo>
                    <a:pt x="229" y="187"/>
                    <a:pt x="235" y="188"/>
                    <a:pt x="236" y="197"/>
                  </a:cubicBezTo>
                  <a:cubicBezTo>
                    <a:pt x="236" y="197"/>
                    <a:pt x="236" y="197"/>
                    <a:pt x="236" y="197"/>
                  </a:cubicBezTo>
                  <a:cubicBezTo>
                    <a:pt x="236" y="198"/>
                    <a:pt x="236" y="199"/>
                    <a:pt x="236" y="200"/>
                  </a:cubicBezTo>
                  <a:cubicBezTo>
                    <a:pt x="236" y="204"/>
                    <a:pt x="234" y="208"/>
                    <a:pt x="231" y="210"/>
                  </a:cubicBezTo>
                  <a:cubicBezTo>
                    <a:pt x="228" y="213"/>
                    <a:pt x="224" y="214"/>
                    <a:pt x="220" y="215"/>
                  </a:cubicBezTo>
                  <a:cubicBezTo>
                    <a:pt x="218" y="215"/>
                    <a:pt x="217" y="215"/>
                    <a:pt x="216" y="215"/>
                  </a:cubicBezTo>
                  <a:cubicBezTo>
                    <a:pt x="211" y="215"/>
                    <a:pt x="204" y="215"/>
                    <a:pt x="196" y="214"/>
                  </a:cubicBezTo>
                  <a:cubicBezTo>
                    <a:pt x="189" y="213"/>
                    <a:pt x="180" y="212"/>
                    <a:pt x="171" y="210"/>
                  </a:cubicBezTo>
                  <a:cubicBezTo>
                    <a:pt x="163" y="208"/>
                    <a:pt x="155" y="206"/>
                    <a:pt x="148" y="206"/>
                  </a:cubicBezTo>
                  <a:cubicBezTo>
                    <a:pt x="141" y="206"/>
                    <a:pt x="136" y="207"/>
                    <a:pt x="132" y="210"/>
                  </a:cubicBezTo>
                  <a:cubicBezTo>
                    <a:pt x="132" y="210"/>
                    <a:pt x="132" y="210"/>
                    <a:pt x="132" y="210"/>
                  </a:cubicBezTo>
                  <a:cubicBezTo>
                    <a:pt x="123" y="215"/>
                    <a:pt x="118" y="218"/>
                    <a:pt x="100" y="225"/>
                  </a:cubicBezTo>
                  <a:cubicBezTo>
                    <a:pt x="89" y="230"/>
                    <a:pt x="68" y="229"/>
                    <a:pt x="54" y="228"/>
                  </a:cubicBezTo>
                  <a:cubicBezTo>
                    <a:pt x="53" y="234"/>
                    <a:pt x="52" y="237"/>
                    <a:pt x="51" y="239"/>
                  </a:cubicBezTo>
                  <a:cubicBezTo>
                    <a:pt x="51" y="243"/>
                    <a:pt x="54" y="247"/>
                    <a:pt x="56" y="248"/>
                  </a:cubicBezTo>
                  <a:cubicBezTo>
                    <a:pt x="58" y="250"/>
                    <a:pt x="70" y="250"/>
                    <a:pt x="74" y="249"/>
                  </a:cubicBezTo>
                  <a:cubicBezTo>
                    <a:pt x="78" y="249"/>
                    <a:pt x="80" y="251"/>
                    <a:pt x="86" y="247"/>
                  </a:cubicBezTo>
                  <a:cubicBezTo>
                    <a:pt x="92" y="244"/>
                    <a:pt x="91" y="239"/>
                    <a:pt x="97" y="242"/>
                  </a:cubicBezTo>
                  <a:cubicBezTo>
                    <a:pt x="102" y="244"/>
                    <a:pt x="102" y="246"/>
                    <a:pt x="106" y="247"/>
                  </a:cubicBezTo>
                  <a:cubicBezTo>
                    <a:pt x="111" y="249"/>
                    <a:pt x="115" y="253"/>
                    <a:pt x="117" y="249"/>
                  </a:cubicBezTo>
                  <a:cubicBezTo>
                    <a:pt x="120" y="244"/>
                    <a:pt x="124" y="237"/>
                    <a:pt x="128" y="236"/>
                  </a:cubicBezTo>
                  <a:cubicBezTo>
                    <a:pt x="132" y="236"/>
                    <a:pt x="136" y="238"/>
                    <a:pt x="136" y="241"/>
                  </a:cubicBezTo>
                  <a:cubicBezTo>
                    <a:pt x="135" y="244"/>
                    <a:pt x="129" y="247"/>
                    <a:pt x="129" y="250"/>
                  </a:cubicBezTo>
                  <a:cubicBezTo>
                    <a:pt x="129" y="252"/>
                    <a:pt x="126" y="256"/>
                    <a:pt x="122" y="256"/>
                  </a:cubicBezTo>
                  <a:cubicBezTo>
                    <a:pt x="119" y="256"/>
                    <a:pt x="111" y="256"/>
                    <a:pt x="107" y="256"/>
                  </a:cubicBezTo>
                  <a:cubicBezTo>
                    <a:pt x="103" y="256"/>
                    <a:pt x="95" y="259"/>
                    <a:pt x="90" y="257"/>
                  </a:cubicBezTo>
                  <a:cubicBezTo>
                    <a:pt x="84" y="256"/>
                    <a:pt x="75" y="256"/>
                    <a:pt x="70" y="256"/>
                  </a:cubicBezTo>
                  <a:cubicBezTo>
                    <a:pt x="66" y="257"/>
                    <a:pt x="56" y="257"/>
                    <a:pt x="52" y="261"/>
                  </a:cubicBezTo>
                  <a:cubicBezTo>
                    <a:pt x="50" y="263"/>
                    <a:pt x="47" y="265"/>
                    <a:pt x="47" y="267"/>
                  </a:cubicBezTo>
                  <a:cubicBezTo>
                    <a:pt x="53" y="266"/>
                    <a:pt x="62" y="265"/>
                    <a:pt x="67" y="264"/>
                  </a:cubicBezTo>
                  <a:cubicBezTo>
                    <a:pt x="72" y="263"/>
                    <a:pt x="77" y="262"/>
                    <a:pt x="82" y="26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1" name="Freeform 531"/>
            <p:cNvSpPr>
              <a:spLocks/>
            </p:cNvSpPr>
            <p:nvPr/>
          </p:nvSpPr>
          <p:spPr bwMode="auto">
            <a:xfrm>
              <a:off x="4104197" y="4785810"/>
              <a:ext cx="7144" cy="5953"/>
            </a:xfrm>
            <a:custGeom>
              <a:avLst/>
              <a:gdLst>
                <a:gd name="T0" fmla="*/ 11 w 24"/>
                <a:gd name="T1" fmla="*/ 9 h 22"/>
                <a:gd name="T2" fmla="*/ 4 w 24"/>
                <a:gd name="T3" fmla="*/ 19 h 22"/>
                <a:gd name="T4" fmla="*/ 16 w 24"/>
                <a:gd name="T5" fmla="*/ 17 h 22"/>
                <a:gd name="T6" fmla="*/ 11 w 24"/>
                <a:gd name="T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2">
                  <a:moveTo>
                    <a:pt x="11" y="9"/>
                  </a:moveTo>
                  <a:cubicBezTo>
                    <a:pt x="5" y="13"/>
                    <a:pt x="0" y="16"/>
                    <a:pt x="4" y="19"/>
                  </a:cubicBezTo>
                  <a:cubicBezTo>
                    <a:pt x="9" y="22"/>
                    <a:pt x="11" y="20"/>
                    <a:pt x="16" y="17"/>
                  </a:cubicBezTo>
                  <a:cubicBezTo>
                    <a:pt x="21" y="13"/>
                    <a:pt x="24" y="0"/>
                    <a:pt x="11" y="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2" name="Freeform 532"/>
            <p:cNvSpPr>
              <a:spLocks/>
            </p:cNvSpPr>
            <p:nvPr/>
          </p:nvSpPr>
          <p:spPr bwMode="auto">
            <a:xfrm>
              <a:off x="4098244" y="4422669"/>
              <a:ext cx="126206" cy="97631"/>
            </a:xfrm>
            <a:custGeom>
              <a:avLst/>
              <a:gdLst>
                <a:gd name="T0" fmla="*/ 136 w 441"/>
                <a:gd name="T1" fmla="*/ 185 h 338"/>
                <a:gd name="T2" fmla="*/ 167 w 441"/>
                <a:gd name="T3" fmla="*/ 172 h 338"/>
                <a:gd name="T4" fmla="*/ 224 w 441"/>
                <a:gd name="T5" fmla="*/ 167 h 338"/>
                <a:gd name="T6" fmla="*/ 226 w 441"/>
                <a:gd name="T7" fmla="*/ 168 h 338"/>
                <a:gd name="T8" fmla="*/ 241 w 441"/>
                <a:gd name="T9" fmla="*/ 191 h 338"/>
                <a:gd name="T10" fmla="*/ 263 w 441"/>
                <a:gd name="T11" fmla="*/ 223 h 338"/>
                <a:gd name="T12" fmla="*/ 289 w 441"/>
                <a:gd name="T13" fmla="*/ 262 h 338"/>
                <a:gd name="T14" fmla="*/ 327 w 441"/>
                <a:gd name="T15" fmla="*/ 260 h 338"/>
                <a:gd name="T16" fmla="*/ 337 w 441"/>
                <a:gd name="T17" fmla="*/ 282 h 338"/>
                <a:gd name="T18" fmla="*/ 341 w 441"/>
                <a:gd name="T19" fmla="*/ 327 h 338"/>
                <a:gd name="T20" fmla="*/ 356 w 441"/>
                <a:gd name="T21" fmla="*/ 336 h 338"/>
                <a:gd name="T22" fmla="*/ 366 w 441"/>
                <a:gd name="T23" fmla="*/ 334 h 338"/>
                <a:gd name="T24" fmla="*/ 399 w 441"/>
                <a:gd name="T25" fmla="*/ 315 h 338"/>
                <a:gd name="T26" fmla="*/ 410 w 441"/>
                <a:gd name="T27" fmla="*/ 314 h 338"/>
                <a:gd name="T28" fmla="*/ 411 w 441"/>
                <a:gd name="T29" fmla="*/ 312 h 338"/>
                <a:gd name="T30" fmla="*/ 407 w 441"/>
                <a:gd name="T31" fmla="*/ 273 h 338"/>
                <a:gd name="T32" fmla="*/ 411 w 441"/>
                <a:gd name="T33" fmla="*/ 260 h 338"/>
                <a:gd name="T34" fmla="*/ 432 w 441"/>
                <a:gd name="T35" fmla="*/ 261 h 338"/>
                <a:gd name="T36" fmla="*/ 436 w 441"/>
                <a:gd name="T37" fmla="*/ 253 h 338"/>
                <a:gd name="T38" fmla="*/ 430 w 441"/>
                <a:gd name="T39" fmla="*/ 238 h 338"/>
                <a:gd name="T40" fmla="*/ 433 w 441"/>
                <a:gd name="T41" fmla="*/ 212 h 338"/>
                <a:gd name="T42" fmla="*/ 415 w 441"/>
                <a:gd name="T43" fmla="*/ 189 h 338"/>
                <a:gd name="T44" fmla="*/ 421 w 441"/>
                <a:gd name="T45" fmla="*/ 154 h 338"/>
                <a:gd name="T46" fmla="*/ 405 w 441"/>
                <a:gd name="T47" fmla="*/ 114 h 338"/>
                <a:gd name="T48" fmla="*/ 384 w 441"/>
                <a:gd name="T49" fmla="*/ 103 h 338"/>
                <a:gd name="T50" fmla="*/ 389 w 441"/>
                <a:gd name="T51" fmla="*/ 76 h 338"/>
                <a:gd name="T52" fmla="*/ 366 w 441"/>
                <a:gd name="T53" fmla="*/ 32 h 338"/>
                <a:gd name="T54" fmla="*/ 349 w 441"/>
                <a:gd name="T55" fmla="*/ 17 h 338"/>
                <a:gd name="T56" fmla="*/ 331 w 441"/>
                <a:gd name="T57" fmla="*/ 38 h 338"/>
                <a:gd name="T58" fmla="*/ 295 w 441"/>
                <a:gd name="T59" fmla="*/ 36 h 338"/>
                <a:gd name="T60" fmla="*/ 247 w 441"/>
                <a:gd name="T61" fmla="*/ 40 h 338"/>
                <a:gd name="T62" fmla="*/ 228 w 441"/>
                <a:gd name="T63" fmla="*/ 45 h 338"/>
                <a:gd name="T64" fmla="*/ 208 w 441"/>
                <a:gd name="T65" fmla="*/ 20 h 338"/>
                <a:gd name="T66" fmla="*/ 113 w 441"/>
                <a:gd name="T67" fmla="*/ 7 h 338"/>
                <a:gd name="T68" fmla="*/ 68 w 441"/>
                <a:gd name="T69" fmla="*/ 31 h 338"/>
                <a:gd name="T70" fmla="*/ 72 w 441"/>
                <a:gd name="T71" fmla="*/ 53 h 338"/>
                <a:gd name="T72" fmla="*/ 41 w 441"/>
                <a:gd name="T73" fmla="*/ 67 h 338"/>
                <a:gd name="T74" fmla="*/ 14 w 441"/>
                <a:gd name="T75" fmla="*/ 81 h 338"/>
                <a:gd name="T76" fmla="*/ 7 w 441"/>
                <a:gd name="T77" fmla="*/ 93 h 338"/>
                <a:gd name="T78" fmla="*/ 12 w 441"/>
                <a:gd name="T79" fmla="*/ 112 h 338"/>
                <a:gd name="T80" fmla="*/ 25 w 441"/>
                <a:gd name="T81" fmla="*/ 139 h 338"/>
                <a:gd name="T82" fmla="*/ 51 w 441"/>
                <a:gd name="T83" fmla="*/ 155 h 338"/>
                <a:gd name="T84" fmla="*/ 79 w 441"/>
                <a:gd name="T85" fmla="*/ 173 h 338"/>
                <a:gd name="T86" fmla="*/ 91 w 441"/>
                <a:gd name="T87" fmla="*/ 198 h 338"/>
                <a:gd name="T88" fmla="*/ 108 w 441"/>
                <a:gd name="T89" fmla="*/ 223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1" h="338">
                  <a:moveTo>
                    <a:pt x="118" y="213"/>
                  </a:moveTo>
                  <a:cubicBezTo>
                    <a:pt x="121" y="207"/>
                    <a:pt x="123" y="201"/>
                    <a:pt x="126" y="197"/>
                  </a:cubicBezTo>
                  <a:cubicBezTo>
                    <a:pt x="129" y="192"/>
                    <a:pt x="132" y="188"/>
                    <a:pt x="136" y="185"/>
                  </a:cubicBezTo>
                  <a:cubicBezTo>
                    <a:pt x="137" y="184"/>
                    <a:pt x="138" y="182"/>
                    <a:pt x="139" y="181"/>
                  </a:cubicBezTo>
                  <a:cubicBezTo>
                    <a:pt x="144" y="175"/>
                    <a:pt x="147" y="171"/>
                    <a:pt x="158" y="171"/>
                  </a:cubicBezTo>
                  <a:cubicBezTo>
                    <a:pt x="161" y="171"/>
                    <a:pt x="164" y="172"/>
                    <a:pt x="167" y="172"/>
                  </a:cubicBezTo>
                  <a:cubicBezTo>
                    <a:pt x="173" y="172"/>
                    <a:pt x="178" y="173"/>
                    <a:pt x="192" y="170"/>
                  </a:cubicBezTo>
                  <a:cubicBezTo>
                    <a:pt x="198" y="168"/>
                    <a:pt x="203" y="167"/>
                    <a:pt x="206" y="165"/>
                  </a:cubicBezTo>
                  <a:cubicBezTo>
                    <a:pt x="213" y="163"/>
                    <a:pt x="215" y="162"/>
                    <a:pt x="224" y="167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26" y="168"/>
                    <a:pt x="226" y="168"/>
                    <a:pt x="226" y="168"/>
                  </a:cubicBezTo>
                  <a:cubicBezTo>
                    <a:pt x="226" y="168"/>
                    <a:pt x="226" y="168"/>
                    <a:pt x="226" y="168"/>
                  </a:cubicBezTo>
                  <a:cubicBezTo>
                    <a:pt x="230" y="170"/>
                    <a:pt x="232" y="171"/>
                    <a:pt x="233" y="174"/>
                  </a:cubicBezTo>
                  <a:cubicBezTo>
                    <a:pt x="235" y="175"/>
                    <a:pt x="235" y="177"/>
                    <a:pt x="237" y="180"/>
                  </a:cubicBezTo>
                  <a:cubicBezTo>
                    <a:pt x="238" y="183"/>
                    <a:pt x="239" y="186"/>
                    <a:pt x="241" y="191"/>
                  </a:cubicBezTo>
                  <a:cubicBezTo>
                    <a:pt x="248" y="204"/>
                    <a:pt x="250" y="206"/>
                    <a:pt x="253" y="211"/>
                  </a:cubicBezTo>
                  <a:cubicBezTo>
                    <a:pt x="255" y="212"/>
                    <a:pt x="256" y="214"/>
                    <a:pt x="259" y="218"/>
                  </a:cubicBezTo>
                  <a:cubicBezTo>
                    <a:pt x="261" y="220"/>
                    <a:pt x="262" y="222"/>
                    <a:pt x="263" y="223"/>
                  </a:cubicBezTo>
                  <a:cubicBezTo>
                    <a:pt x="269" y="231"/>
                    <a:pt x="272" y="234"/>
                    <a:pt x="271" y="250"/>
                  </a:cubicBezTo>
                  <a:cubicBezTo>
                    <a:pt x="271" y="254"/>
                    <a:pt x="271" y="258"/>
                    <a:pt x="270" y="262"/>
                  </a:cubicBezTo>
                  <a:cubicBezTo>
                    <a:pt x="276" y="262"/>
                    <a:pt x="284" y="262"/>
                    <a:pt x="289" y="262"/>
                  </a:cubicBezTo>
                  <a:cubicBezTo>
                    <a:pt x="295" y="262"/>
                    <a:pt x="297" y="261"/>
                    <a:pt x="302" y="259"/>
                  </a:cubicBezTo>
                  <a:cubicBezTo>
                    <a:pt x="304" y="258"/>
                    <a:pt x="307" y="257"/>
                    <a:pt x="310" y="255"/>
                  </a:cubicBezTo>
                  <a:cubicBezTo>
                    <a:pt x="322" y="250"/>
                    <a:pt x="323" y="253"/>
                    <a:pt x="327" y="260"/>
                  </a:cubicBezTo>
                  <a:cubicBezTo>
                    <a:pt x="327" y="260"/>
                    <a:pt x="327" y="260"/>
                    <a:pt x="327" y="260"/>
                  </a:cubicBezTo>
                  <a:cubicBezTo>
                    <a:pt x="327" y="262"/>
                    <a:pt x="328" y="263"/>
                    <a:pt x="329" y="265"/>
                  </a:cubicBezTo>
                  <a:cubicBezTo>
                    <a:pt x="332" y="270"/>
                    <a:pt x="335" y="276"/>
                    <a:pt x="337" y="282"/>
                  </a:cubicBezTo>
                  <a:cubicBezTo>
                    <a:pt x="338" y="288"/>
                    <a:pt x="339" y="294"/>
                    <a:pt x="339" y="300"/>
                  </a:cubicBezTo>
                  <a:cubicBezTo>
                    <a:pt x="339" y="304"/>
                    <a:pt x="339" y="307"/>
                    <a:pt x="338" y="311"/>
                  </a:cubicBezTo>
                  <a:cubicBezTo>
                    <a:pt x="337" y="319"/>
                    <a:pt x="336" y="326"/>
                    <a:pt x="341" y="327"/>
                  </a:cubicBezTo>
                  <a:cubicBezTo>
                    <a:pt x="344" y="328"/>
                    <a:pt x="346" y="329"/>
                    <a:pt x="347" y="329"/>
                  </a:cubicBezTo>
                  <a:cubicBezTo>
                    <a:pt x="352" y="331"/>
                    <a:pt x="352" y="331"/>
                    <a:pt x="356" y="336"/>
                  </a:cubicBezTo>
                  <a:cubicBezTo>
                    <a:pt x="356" y="336"/>
                    <a:pt x="356" y="336"/>
                    <a:pt x="356" y="336"/>
                  </a:cubicBezTo>
                  <a:cubicBezTo>
                    <a:pt x="356" y="336"/>
                    <a:pt x="357" y="337"/>
                    <a:pt x="357" y="337"/>
                  </a:cubicBezTo>
                  <a:cubicBezTo>
                    <a:pt x="358" y="337"/>
                    <a:pt x="359" y="338"/>
                    <a:pt x="360" y="337"/>
                  </a:cubicBezTo>
                  <a:cubicBezTo>
                    <a:pt x="362" y="337"/>
                    <a:pt x="364" y="336"/>
                    <a:pt x="366" y="334"/>
                  </a:cubicBezTo>
                  <a:cubicBezTo>
                    <a:pt x="368" y="333"/>
                    <a:pt x="370" y="331"/>
                    <a:pt x="372" y="328"/>
                  </a:cubicBezTo>
                  <a:cubicBezTo>
                    <a:pt x="378" y="321"/>
                    <a:pt x="382" y="316"/>
                    <a:pt x="385" y="313"/>
                  </a:cubicBezTo>
                  <a:cubicBezTo>
                    <a:pt x="390" y="310"/>
                    <a:pt x="394" y="310"/>
                    <a:pt x="399" y="315"/>
                  </a:cubicBezTo>
                  <a:cubicBezTo>
                    <a:pt x="400" y="316"/>
                    <a:pt x="401" y="318"/>
                    <a:pt x="402" y="320"/>
                  </a:cubicBezTo>
                  <a:cubicBezTo>
                    <a:pt x="402" y="320"/>
                    <a:pt x="402" y="320"/>
                    <a:pt x="402" y="320"/>
                  </a:cubicBezTo>
                  <a:cubicBezTo>
                    <a:pt x="405" y="319"/>
                    <a:pt x="406" y="318"/>
                    <a:pt x="410" y="314"/>
                  </a:cubicBezTo>
                  <a:cubicBezTo>
                    <a:pt x="410" y="314"/>
                    <a:pt x="410" y="314"/>
                    <a:pt x="410" y="314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5" y="306"/>
                    <a:pt x="419" y="300"/>
                    <a:pt x="419" y="293"/>
                  </a:cubicBezTo>
                  <a:cubicBezTo>
                    <a:pt x="419" y="290"/>
                    <a:pt x="416" y="288"/>
                    <a:pt x="414" y="285"/>
                  </a:cubicBezTo>
                  <a:cubicBezTo>
                    <a:pt x="411" y="282"/>
                    <a:pt x="408" y="279"/>
                    <a:pt x="407" y="273"/>
                  </a:cubicBezTo>
                  <a:cubicBezTo>
                    <a:pt x="407" y="270"/>
                    <a:pt x="407" y="268"/>
                    <a:pt x="408" y="267"/>
                  </a:cubicBezTo>
                  <a:cubicBezTo>
                    <a:pt x="408" y="264"/>
                    <a:pt x="409" y="262"/>
                    <a:pt x="411" y="260"/>
                  </a:cubicBezTo>
                  <a:cubicBezTo>
                    <a:pt x="411" y="260"/>
                    <a:pt x="411" y="260"/>
                    <a:pt x="411" y="260"/>
                  </a:cubicBezTo>
                  <a:cubicBezTo>
                    <a:pt x="413" y="259"/>
                    <a:pt x="415" y="258"/>
                    <a:pt x="418" y="258"/>
                  </a:cubicBezTo>
                  <a:cubicBezTo>
                    <a:pt x="419" y="258"/>
                    <a:pt x="421" y="258"/>
                    <a:pt x="423" y="258"/>
                  </a:cubicBezTo>
                  <a:cubicBezTo>
                    <a:pt x="426" y="259"/>
                    <a:pt x="429" y="260"/>
                    <a:pt x="432" y="261"/>
                  </a:cubicBezTo>
                  <a:cubicBezTo>
                    <a:pt x="435" y="263"/>
                    <a:pt x="439" y="264"/>
                    <a:pt x="441" y="264"/>
                  </a:cubicBezTo>
                  <a:cubicBezTo>
                    <a:pt x="441" y="264"/>
                    <a:pt x="440" y="263"/>
                    <a:pt x="440" y="262"/>
                  </a:cubicBezTo>
                  <a:cubicBezTo>
                    <a:pt x="439" y="259"/>
                    <a:pt x="437" y="256"/>
                    <a:pt x="436" y="253"/>
                  </a:cubicBezTo>
                  <a:cubicBezTo>
                    <a:pt x="436" y="253"/>
                    <a:pt x="436" y="253"/>
                    <a:pt x="436" y="253"/>
                  </a:cubicBezTo>
                  <a:cubicBezTo>
                    <a:pt x="436" y="252"/>
                    <a:pt x="435" y="251"/>
                    <a:pt x="434" y="250"/>
                  </a:cubicBezTo>
                  <a:cubicBezTo>
                    <a:pt x="432" y="246"/>
                    <a:pt x="430" y="243"/>
                    <a:pt x="430" y="238"/>
                  </a:cubicBezTo>
                  <a:cubicBezTo>
                    <a:pt x="430" y="235"/>
                    <a:pt x="430" y="233"/>
                    <a:pt x="431" y="230"/>
                  </a:cubicBezTo>
                  <a:cubicBezTo>
                    <a:pt x="431" y="228"/>
                    <a:pt x="432" y="226"/>
                    <a:pt x="433" y="223"/>
                  </a:cubicBezTo>
                  <a:cubicBezTo>
                    <a:pt x="434" y="219"/>
                    <a:pt x="434" y="215"/>
                    <a:pt x="433" y="212"/>
                  </a:cubicBezTo>
                  <a:cubicBezTo>
                    <a:pt x="432" y="210"/>
                    <a:pt x="431" y="208"/>
                    <a:pt x="429" y="208"/>
                  </a:cubicBezTo>
                  <a:cubicBezTo>
                    <a:pt x="425" y="206"/>
                    <a:pt x="421" y="205"/>
                    <a:pt x="419" y="202"/>
                  </a:cubicBezTo>
                  <a:cubicBezTo>
                    <a:pt x="417" y="199"/>
                    <a:pt x="416" y="195"/>
                    <a:pt x="415" y="189"/>
                  </a:cubicBezTo>
                  <a:cubicBezTo>
                    <a:pt x="414" y="183"/>
                    <a:pt x="413" y="178"/>
                    <a:pt x="413" y="174"/>
                  </a:cubicBezTo>
                  <a:cubicBezTo>
                    <a:pt x="413" y="170"/>
                    <a:pt x="413" y="166"/>
                    <a:pt x="413" y="164"/>
                  </a:cubicBezTo>
                  <a:cubicBezTo>
                    <a:pt x="414" y="161"/>
                    <a:pt x="417" y="158"/>
                    <a:pt x="421" y="154"/>
                  </a:cubicBezTo>
                  <a:cubicBezTo>
                    <a:pt x="421" y="154"/>
                    <a:pt x="421" y="153"/>
                    <a:pt x="422" y="153"/>
                  </a:cubicBezTo>
                  <a:cubicBezTo>
                    <a:pt x="417" y="147"/>
                    <a:pt x="408" y="136"/>
                    <a:pt x="406" y="126"/>
                  </a:cubicBezTo>
                  <a:cubicBezTo>
                    <a:pt x="405" y="119"/>
                    <a:pt x="405" y="116"/>
                    <a:pt x="405" y="114"/>
                  </a:cubicBezTo>
                  <a:cubicBezTo>
                    <a:pt x="405" y="112"/>
                    <a:pt x="405" y="111"/>
                    <a:pt x="404" y="109"/>
                  </a:cubicBezTo>
                  <a:cubicBezTo>
                    <a:pt x="403" y="107"/>
                    <a:pt x="400" y="108"/>
                    <a:pt x="397" y="108"/>
                  </a:cubicBezTo>
                  <a:cubicBezTo>
                    <a:pt x="391" y="108"/>
                    <a:pt x="386" y="108"/>
                    <a:pt x="384" y="103"/>
                  </a:cubicBezTo>
                  <a:cubicBezTo>
                    <a:pt x="381" y="98"/>
                    <a:pt x="385" y="93"/>
                    <a:pt x="389" y="87"/>
                  </a:cubicBezTo>
                  <a:cubicBezTo>
                    <a:pt x="391" y="84"/>
                    <a:pt x="393" y="82"/>
                    <a:pt x="393" y="80"/>
                  </a:cubicBezTo>
                  <a:cubicBezTo>
                    <a:pt x="393" y="79"/>
                    <a:pt x="392" y="78"/>
                    <a:pt x="389" y="76"/>
                  </a:cubicBezTo>
                  <a:cubicBezTo>
                    <a:pt x="386" y="74"/>
                    <a:pt x="382" y="71"/>
                    <a:pt x="377" y="65"/>
                  </a:cubicBezTo>
                  <a:cubicBezTo>
                    <a:pt x="370" y="58"/>
                    <a:pt x="370" y="52"/>
                    <a:pt x="370" y="46"/>
                  </a:cubicBezTo>
                  <a:cubicBezTo>
                    <a:pt x="370" y="42"/>
                    <a:pt x="369" y="38"/>
                    <a:pt x="366" y="32"/>
                  </a:cubicBezTo>
                  <a:cubicBezTo>
                    <a:pt x="363" y="25"/>
                    <a:pt x="360" y="21"/>
                    <a:pt x="357" y="17"/>
                  </a:cubicBezTo>
                  <a:cubicBezTo>
                    <a:pt x="354" y="15"/>
                    <a:pt x="352" y="14"/>
                    <a:pt x="350" y="14"/>
                  </a:cubicBezTo>
                  <a:cubicBezTo>
                    <a:pt x="349" y="14"/>
                    <a:pt x="349" y="15"/>
                    <a:pt x="349" y="17"/>
                  </a:cubicBezTo>
                  <a:cubicBezTo>
                    <a:pt x="349" y="18"/>
                    <a:pt x="349" y="19"/>
                    <a:pt x="349" y="20"/>
                  </a:cubicBezTo>
                  <a:cubicBezTo>
                    <a:pt x="349" y="21"/>
                    <a:pt x="349" y="22"/>
                    <a:pt x="349" y="23"/>
                  </a:cubicBezTo>
                  <a:cubicBezTo>
                    <a:pt x="349" y="30"/>
                    <a:pt x="340" y="34"/>
                    <a:pt x="331" y="38"/>
                  </a:cubicBezTo>
                  <a:cubicBezTo>
                    <a:pt x="327" y="40"/>
                    <a:pt x="324" y="41"/>
                    <a:pt x="322" y="43"/>
                  </a:cubicBezTo>
                  <a:cubicBezTo>
                    <a:pt x="316" y="48"/>
                    <a:pt x="310" y="44"/>
                    <a:pt x="304" y="40"/>
                  </a:cubicBezTo>
                  <a:cubicBezTo>
                    <a:pt x="301" y="38"/>
                    <a:pt x="298" y="36"/>
                    <a:pt x="295" y="36"/>
                  </a:cubicBezTo>
                  <a:cubicBezTo>
                    <a:pt x="291" y="35"/>
                    <a:pt x="285" y="38"/>
                    <a:pt x="279" y="42"/>
                  </a:cubicBezTo>
                  <a:cubicBezTo>
                    <a:pt x="273" y="45"/>
                    <a:pt x="267" y="49"/>
                    <a:pt x="262" y="49"/>
                  </a:cubicBezTo>
                  <a:cubicBezTo>
                    <a:pt x="254" y="49"/>
                    <a:pt x="250" y="44"/>
                    <a:pt x="247" y="40"/>
                  </a:cubicBezTo>
                  <a:cubicBezTo>
                    <a:pt x="245" y="38"/>
                    <a:pt x="244" y="36"/>
                    <a:pt x="243" y="36"/>
                  </a:cubicBezTo>
                  <a:cubicBezTo>
                    <a:pt x="241" y="36"/>
                    <a:pt x="240" y="37"/>
                    <a:pt x="239" y="39"/>
                  </a:cubicBezTo>
                  <a:cubicBezTo>
                    <a:pt x="236" y="42"/>
                    <a:pt x="233" y="45"/>
                    <a:pt x="228" y="45"/>
                  </a:cubicBezTo>
                  <a:cubicBezTo>
                    <a:pt x="224" y="46"/>
                    <a:pt x="219" y="44"/>
                    <a:pt x="216" y="41"/>
                  </a:cubicBezTo>
                  <a:cubicBezTo>
                    <a:pt x="212" y="38"/>
                    <a:pt x="208" y="33"/>
                    <a:pt x="207" y="29"/>
                  </a:cubicBezTo>
                  <a:cubicBezTo>
                    <a:pt x="206" y="26"/>
                    <a:pt x="207" y="23"/>
                    <a:pt x="208" y="20"/>
                  </a:cubicBezTo>
                  <a:cubicBezTo>
                    <a:pt x="196" y="20"/>
                    <a:pt x="169" y="21"/>
                    <a:pt x="149" y="21"/>
                  </a:cubicBezTo>
                  <a:cubicBezTo>
                    <a:pt x="132" y="20"/>
                    <a:pt x="131" y="19"/>
                    <a:pt x="126" y="15"/>
                  </a:cubicBezTo>
                  <a:cubicBezTo>
                    <a:pt x="124" y="14"/>
                    <a:pt x="120" y="11"/>
                    <a:pt x="113" y="7"/>
                  </a:cubicBezTo>
                  <a:cubicBezTo>
                    <a:pt x="98" y="0"/>
                    <a:pt x="88" y="1"/>
                    <a:pt x="74" y="2"/>
                  </a:cubicBezTo>
                  <a:cubicBezTo>
                    <a:pt x="75" y="7"/>
                    <a:pt x="76" y="14"/>
                    <a:pt x="74" y="21"/>
                  </a:cubicBezTo>
                  <a:cubicBezTo>
                    <a:pt x="72" y="29"/>
                    <a:pt x="71" y="30"/>
                    <a:pt x="68" y="31"/>
                  </a:cubicBezTo>
                  <a:cubicBezTo>
                    <a:pt x="68" y="31"/>
                    <a:pt x="67" y="32"/>
                    <a:pt x="65" y="35"/>
                  </a:cubicBezTo>
                  <a:cubicBezTo>
                    <a:pt x="64" y="38"/>
                    <a:pt x="66" y="40"/>
                    <a:pt x="68" y="42"/>
                  </a:cubicBezTo>
                  <a:cubicBezTo>
                    <a:pt x="70" y="45"/>
                    <a:pt x="73" y="48"/>
                    <a:pt x="72" y="53"/>
                  </a:cubicBezTo>
                  <a:cubicBezTo>
                    <a:pt x="72" y="58"/>
                    <a:pt x="68" y="62"/>
                    <a:pt x="62" y="6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56" y="65"/>
                    <a:pt x="49" y="66"/>
                    <a:pt x="41" y="67"/>
                  </a:cubicBezTo>
                  <a:cubicBezTo>
                    <a:pt x="26" y="68"/>
                    <a:pt x="23" y="72"/>
                    <a:pt x="16" y="79"/>
                  </a:cubicBezTo>
                  <a:cubicBezTo>
                    <a:pt x="16" y="79"/>
                    <a:pt x="16" y="79"/>
                    <a:pt x="16" y="79"/>
                  </a:cubicBezTo>
                  <a:cubicBezTo>
                    <a:pt x="14" y="81"/>
                    <a:pt x="14" y="81"/>
                    <a:pt x="14" y="81"/>
                  </a:cubicBezTo>
                  <a:cubicBezTo>
                    <a:pt x="14" y="81"/>
                    <a:pt x="14" y="81"/>
                    <a:pt x="14" y="81"/>
                  </a:cubicBezTo>
                  <a:cubicBezTo>
                    <a:pt x="11" y="85"/>
                    <a:pt x="8" y="88"/>
                    <a:pt x="5" y="92"/>
                  </a:cubicBezTo>
                  <a:cubicBezTo>
                    <a:pt x="6" y="92"/>
                    <a:pt x="7" y="93"/>
                    <a:pt x="7" y="93"/>
                  </a:cubicBezTo>
                  <a:cubicBezTo>
                    <a:pt x="8" y="95"/>
                    <a:pt x="4" y="95"/>
                    <a:pt x="2" y="101"/>
                  </a:cubicBezTo>
                  <a:cubicBezTo>
                    <a:pt x="0" y="106"/>
                    <a:pt x="0" y="113"/>
                    <a:pt x="3" y="114"/>
                  </a:cubicBezTo>
                  <a:cubicBezTo>
                    <a:pt x="6" y="114"/>
                    <a:pt x="9" y="112"/>
                    <a:pt x="12" y="112"/>
                  </a:cubicBezTo>
                  <a:cubicBezTo>
                    <a:pt x="15" y="112"/>
                    <a:pt x="16" y="111"/>
                    <a:pt x="17" y="117"/>
                  </a:cubicBezTo>
                  <a:cubicBezTo>
                    <a:pt x="18" y="122"/>
                    <a:pt x="13" y="121"/>
                    <a:pt x="17" y="128"/>
                  </a:cubicBezTo>
                  <a:cubicBezTo>
                    <a:pt x="22" y="134"/>
                    <a:pt x="23" y="135"/>
                    <a:pt x="25" y="139"/>
                  </a:cubicBezTo>
                  <a:cubicBezTo>
                    <a:pt x="27" y="143"/>
                    <a:pt x="24" y="148"/>
                    <a:pt x="27" y="153"/>
                  </a:cubicBezTo>
                  <a:cubicBezTo>
                    <a:pt x="29" y="158"/>
                    <a:pt x="38" y="157"/>
                    <a:pt x="42" y="159"/>
                  </a:cubicBezTo>
                  <a:cubicBezTo>
                    <a:pt x="45" y="161"/>
                    <a:pt x="47" y="154"/>
                    <a:pt x="51" y="155"/>
                  </a:cubicBezTo>
                  <a:cubicBezTo>
                    <a:pt x="56" y="156"/>
                    <a:pt x="59" y="159"/>
                    <a:pt x="59" y="163"/>
                  </a:cubicBezTo>
                  <a:cubicBezTo>
                    <a:pt x="59" y="166"/>
                    <a:pt x="64" y="171"/>
                    <a:pt x="68" y="171"/>
                  </a:cubicBezTo>
                  <a:cubicBezTo>
                    <a:pt x="71" y="171"/>
                    <a:pt x="77" y="169"/>
                    <a:pt x="79" y="173"/>
                  </a:cubicBezTo>
                  <a:cubicBezTo>
                    <a:pt x="80" y="176"/>
                    <a:pt x="79" y="177"/>
                    <a:pt x="79" y="181"/>
                  </a:cubicBezTo>
                  <a:cubicBezTo>
                    <a:pt x="80" y="185"/>
                    <a:pt x="76" y="191"/>
                    <a:pt x="78" y="194"/>
                  </a:cubicBezTo>
                  <a:cubicBezTo>
                    <a:pt x="80" y="196"/>
                    <a:pt x="89" y="194"/>
                    <a:pt x="91" y="198"/>
                  </a:cubicBezTo>
                  <a:cubicBezTo>
                    <a:pt x="93" y="203"/>
                    <a:pt x="92" y="213"/>
                    <a:pt x="95" y="215"/>
                  </a:cubicBezTo>
                  <a:cubicBezTo>
                    <a:pt x="97" y="218"/>
                    <a:pt x="105" y="217"/>
                    <a:pt x="107" y="222"/>
                  </a:cubicBezTo>
                  <a:cubicBezTo>
                    <a:pt x="107" y="222"/>
                    <a:pt x="107" y="222"/>
                    <a:pt x="108" y="223"/>
                  </a:cubicBezTo>
                  <a:cubicBezTo>
                    <a:pt x="112" y="221"/>
                    <a:pt x="116" y="219"/>
                    <a:pt x="118" y="2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3" name="Freeform 533"/>
            <p:cNvSpPr>
              <a:spLocks noEditPoints="1"/>
            </p:cNvSpPr>
            <p:nvPr/>
          </p:nvSpPr>
          <p:spPr bwMode="auto">
            <a:xfrm>
              <a:off x="4064906" y="4423860"/>
              <a:ext cx="53578" cy="28575"/>
            </a:xfrm>
            <a:custGeom>
              <a:avLst/>
              <a:gdLst>
                <a:gd name="T0" fmla="*/ 125 w 184"/>
                <a:gd name="T1" fmla="*/ 71 h 100"/>
                <a:gd name="T2" fmla="*/ 155 w 184"/>
                <a:gd name="T3" fmla="*/ 56 h 100"/>
                <a:gd name="T4" fmla="*/ 174 w 184"/>
                <a:gd name="T5" fmla="*/ 53 h 100"/>
                <a:gd name="T6" fmla="*/ 177 w 184"/>
                <a:gd name="T7" fmla="*/ 45 h 100"/>
                <a:gd name="T8" fmla="*/ 179 w 184"/>
                <a:gd name="T9" fmla="*/ 21 h 100"/>
                <a:gd name="T10" fmla="*/ 180 w 184"/>
                <a:gd name="T11" fmla="*/ 0 h 100"/>
                <a:gd name="T12" fmla="*/ 140 w 184"/>
                <a:gd name="T13" fmla="*/ 2 h 100"/>
                <a:gd name="T14" fmla="*/ 98 w 184"/>
                <a:gd name="T15" fmla="*/ 9 h 100"/>
                <a:gd name="T16" fmla="*/ 56 w 184"/>
                <a:gd name="T17" fmla="*/ 15 h 100"/>
                <a:gd name="T18" fmla="*/ 32 w 184"/>
                <a:gd name="T19" fmla="*/ 17 h 100"/>
                <a:gd name="T20" fmla="*/ 0 w 184"/>
                <a:gd name="T21" fmla="*/ 22 h 100"/>
                <a:gd name="T22" fmla="*/ 28 w 184"/>
                <a:gd name="T23" fmla="*/ 22 h 100"/>
                <a:gd name="T24" fmla="*/ 31 w 184"/>
                <a:gd name="T25" fmla="*/ 29 h 100"/>
                <a:gd name="T26" fmla="*/ 47 w 184"/>
                <a:gd name="T27" fmla="*/ 39 h 100"/>
                <a:gd name="T28" fmla="*/ 57 w 184"/>
                <a:gd name="T29" fmla="*/ 46 h 100"/>
                <a:gd name="T30" fmla="*/ 83 w 184"/>
                <a:gd name="T31" fmla="*/ 40 h 100"/>
                <a:gd name="T32" fmla="*/ 107 w 184"/>
                <a:gd name="T33" fmla="*/ 46 h 100"/>
                <a:gd name="T34" fmla="*/ 92 w 184"/>
                <a:gd name="T35" fmla="*/ 66 h 100"/>
                <a:gd name="T36" fmla="*/ 99 w 184"/>
                <a:gd name="T37" fmla="*/ 89 h 100"/>
                <a:gd name="T38" fmla="*/ 112 w 184"/>
                <a:gd name="T39" fmla="*/ 86 h 100"/>
                <a:gd name="T40" fmla="*/ 124 w 184"/>
                <a:gd name="T41" fmla="*/ 73 h 100"/>
                <a:gd name="T42" fmla="*/ 66 w 184"/>
                <a:gd name="T43" fmla="*/ 79 h 100"/>
                <a:gd name="T44" fmla="*/ 69 w 184"/>
                <a:gd name="T45" fmla="*/ 84 h 100"/>
                <a:gd name="T46" fmla="*/ 48 w 184"/>
                <a:gd name="T47" fmla="*/ 73 h 100"/>
                <a:gd name="T48" fmla="*/ 51 w 184"/>
                <a:gd name="T49" fmla="*/ 71 h 100"/>
                <a:gd name="T50" fmla="*/ 48 w 184"/>
                <a:gd name="T51" fmla="*/ 73 h 100"/>
                <a:gd name="T52" fmla="*/ 44 w 184"/>
                <a:gd name="T53" fmla="*/ 86 h 100"/>
                <a:gd name="T54" fmla="*/ 32 w 184"/>
                <a:gd name="T55" fmla="*/ 86 h 100"/>
                <a:gd name="T56" fmla="*/ 47 w 184"/>
                <a:gd name="T57" fmla="*/ 95 h 100"/>
                <a:gd name="T58" fmla="*/ 52 w 184"/>
                <a:gd name="T59" fmla="*/ 89 h 100"/>
                <a:gd name="T60" fmla="*/ 20 w 184"/>
                <a:gd name="T61" fmla="*/ 66 h 100"/>
                <a:gd name="T62" fmla="*/ 29 w 184"/>
                <a:gd name="T63" fmla="*/ 65 h 100"/>
                <a:gd name="T64" fmla="*/ 101 w 184"/>
                <a:gd name="T65" fmla="*/ 57 h 100"/>
                <a:gd name="T66" fmla="*/ 102 w 184"/>
                <a:gd name="T67" fmla="*/ 48 h 100"/>
                <a:gd name="T68" fmla="*/ 84 w 184"/>
                <a:gd name="T69" fmla="*/ 48 h 100"/>
                <a:gd name="T70" fmla="*/ 82 w 184"/>
                <a:gd name="T71" fmla="*/ 61 h 100"/>
                <a:gd name="T72" fmla="*/ 101 w 184"/>
                <a:gd name="T73" fmla="*/ 5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4" h="100">
                  <a:moveTo>
                    <a:pt x="124" y="73"/>
                  </a:moveTo>
                  <a:cubicBezTo>
                    <a:pt x="125" y="71"/>
                    <a:pt x="125" y="71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33" y="62"/>
                    <a:pt x="138" y="57"/>
                    <a:pt x="155" y="56"/>
                  </a:cubicBezTo>
                  <a:cubicBezTo>
                    <a:pt x="163" y="55"/>
                    <a:pt x="170" y="54"/>
                    <a:pt x="174" y="53"/>
                  </a:cubicBezTo>
                  <a:cubicBezTo>
                    <a:pt x="174" y="53"/>
                    <a:pt x="174" y="53"/>
                    <a:pt x="174" y="53"/>
                  </a:cubicBezTo>
                  <a:cubicBezTo>
                    <a:pt x="178" y="52"/>
                    <a:pt x="179" y="51"/>
                    <a:pt x="180" y="50"/>
                  </a:cubicBezTo>
                  <a:cubicBezTo>
                    <a:pt x="180" y="48"/>
                    <a:pt x="178" y="46"/>
                    <a:pt x="177" y="45"/>
                  </a:cubicBezTo>
                  <a:cubicBezTo>
                    <a:pt x="173" y="40"/>
                    <a:pt x="169" y="36"/>
                    <a:pt x="173" y="28"/>
                  </a:cubicBezTo>
                  <a:cubicBezTo>
                    <a:pt x="176" y="23"/>
                    <a:pt x="178" y="22"/>
                    <a:pt x="179" y="21"/>
                  </a:cubicBezTo>
                  <a:cubicBezTo>
                    <a:pt x="180" y="21"/>
                    <a:pt x="180" y="20"/>
                    <a:pt x="182" y="16"/>
                  </a:cubicBezTo>
                  <a:cubicBezTo>
                    <a:pt x="184" y="9"/>
                    <a:pt x="182" y="3"/>
                    <a:pt x="180" y="0"/>
                  </a:cubicBezTo>
                  <a:cubicBezTo>
                    <a:pt x="177" y="0"/>
                    <a:pt x="173" y="0"/>
                    <a:pt x="168" y="0"/>
                  </a:cubicBezTo>
                  <a:cubicBezTo>
                    <a:pt x="154" y="1"/>
                    <a:pt x="146" y="1"/>
                    <a:pt x="140" y="2"/>
                  </a:cubicBezTo>
                  <a:cubicBezTo>
                    <a:pt x="133" y="2"/>
                    <a:pt x="128" y="3"/>
                    <a:pt x="120" y="4"/>
                  </a:cubicBezTo>
                  <a:cubicBezTo>
                    <a:pt x="111" y="4"/>
                    <a:pt x="104" y="7"/>
                    <a:pt x="98" y="9"/>
                  </a:cubicBezTo>
                  <a:cubicBezTo>
                    <a:pt x="91" y="11"/>
                    <a:pt x="85" y="13"/>
                    <a:pt x="79" y="13"/>
                  </a:cubicBezTo>
                  <a:cubicBezTo>
                    <a:pt x="72" y="13"/>
                    <a:pt x="63" y="14"/>
                    <a:pt x="56" y="15"/>
                  </a:cubicBezTo>
                  <a:cubicBezTo>
                    <a:pt x="51" y="16"/>
                    <a:pt x="47" y="16"/>
                    <a:pt x="44" y="16"/>
                  </a:cubicBezTo>
                  <a:cubicBezTo>
                    <a:pt x="41" y="16"/>
                    <a:pt x="36" y="17"/>
                    <a:pt x="32" y="17"/>
                  </a:cubicBezTo>
                  <a:cubicBezTo>
                    <a:pt x="27" y="18"/>
                    <a:pt x="22" y="18"/>
                    <a:pt x="18" y="20"/>
                  </a:cubicBezTo>
                  <a:cubicBezTo>
                    <a:pt x="14" y="21"/>
                    <a:pt x="7" y="22"/>
                    <a:pt x="0" y="22"/>
                  </a:cubicBezTo>
                  <a:cubicBezTo>
                    <a:pt x="4" y="24"/>
                    <a:pt x="8" y="26"/>
                    <a:pt x="13" y="26"/>
                  </a:cubicBezTo>
                  <a:cubicBezTo>
                    <a:pt x="19" y="26"/>
                    <a:pt x="25" y="23"/>
                    <a:pt x="28" y="22"/>
                  </a:cubicBezTo>
                  <a:cubicBezTo>
                    <a:pt x="31" y="21"/>
                    <a:pt x="38" y="17"/>
                    <a:pt x="38" y="21"/>
                  </a:cubicBezTo>
                  <a:cubicBezTo>
                    <a:pt x="38" y="24"/>
                    <a:pt x="32" y="27"/>
                    <a:pt x="31" y="29"/>
                  </a:cubicBezTo>
                  <a:cubicBezTo>
                    <a:pt x="30" y="32"/>
                    <a:pt x="28" y="34"/>
                    <a:pt x="32" y="38"/>
                  </a:cubicBezTo>
                  <a:cubicBezTo>
                    <a:pt x="36" y="41"/>
                    <a:pt x="40" y="41"/>
                    <a:pt x="47" y="39"/>
                  </a:cubicBezTo>
                  <a:cubicBezTo>
                    <a:pt x="54" y="37"/>
                    <a:pt x="62" y="31"/>
                    <a:pt x="64" y="34"/>
                  </a:cubicBezTo>
                  <a:cubicBezTo>
                    <a:pt x="67" y="38"/>
                    <a:pt x="57" y="46"/>
                    <a:pt x="57" y="46"/>
                  </a:cubicBezTo>
                  <a:cubicBezTo>
                    <a:pt x="57" y="46"/>
                    <a:pt x="63" y="51"/>
                    <a:pt x="69" y="49"/>
                  </a:cubicBezTo>
                  <a:cubicBezTo>
                    <a:pt x="74" y="47"/>
                    <a:pt x="74" y="41"/>
                    <a:pt x="83" y="40"/>
                  </a:cubicBezTo>
                  <a:cubicBezTo>
                    <a:pt x="91" y="40"/>
                    <a:pt x="96" y="34"/>
                    <a:pt x="101" y="38"/>
                  </a:cubicBezTo>
                  <a:cubicBezTo>
                    <a:pt x="107" y="42"/>
                    <a:pt x="107" y="41"/>
                    <a:pt x="107" y="46"/>
                  </a:cubicBezTo>
                  <a:cubicBezTo>
                    <a:pt x="107" y="52"/>
                    <a:pt x="114" y="53"/>
                    <a:pt x="109" y="59"/>
                  </a:cubicBezTo>
                  <a:cubicBezTo>
                    <a:pt x="105" y="65"/>
                    <a:pt x="97" y="62"/>
                    <a:pt x="92" y="66"/>
                  </a:cubicBezTo>
                  <a:cubicBezTo>
                    <a:pt x="88" y="69"/>
                    <a:pt x="79" y="77"/>
                    <a:pt x="84" y="81"/>
                  </a:cubicBezTo>
                  <a:cubicBezTo>
                    <a:pt x="89" y="86"/>
                    <a:pt x="94" y="88"/>
                    <a:pt x="99" y="89"/>
                  </a:cubicBezTo>
                  <a:cubicBezTo>
                    <a:pt x="104" y="89"/>
                    <a:pt x="104" y="88"/>
                    <a:pt x="108" y="86"/>
                  </a:cubicBezTo>
                  <a:cubicBezTo>
                    <a:pt x="109" y="86"/>
                    <a:pt x="110" y="86"/>
                    <a:pt x="112" y="86"/>
                  </a:cubicBezTo>
                  <a:cubicBezTo>
                    <a:pt x="112" y="85"/>
                    <a:pt x="112" y="85"/>
                    <a:pt x="112" y="85"/>
                  </a:cubicBezTo>
                  <a:cubicBezTo>
                    <a:pt x="115" y="82"/>
                    <a:pt x="119" y="77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lose/>
                  <a:moveTo>
                    <a:pt x="66" y="79"/>
                  </a:moveTo>
                  <a:cubicBezTo>
                    <a:pt x="64" y="81"/>
                    <a:pt x="62" y="82"/>
                    <a:pt x="64" y="83"/>
                  </a:cubicBezTo>
                  <a:cubicBezTo>
                    <a:pt x="65" y="85"/>
                    <a:pt x="67" y="86"/>
                    <a:pt x="69" y="84"/>
                  </a:cubicBezTo>
                  <a:cubicBezTo>
                    <a:pt x="71" y="83"/>
                    <a:pt x="69" y="78"/>
                    <a:pt x="66" y="79"/>
                  </a:cubicBezTo>
                  <a:close/>
                  <a:moveTo>
                    <a:pt x="48" y="73"/>
                  </a:moveTo>
                  <a:cubicBezTo>
                    <a:pt x="51" y="74"/>
                    <a:pt x="55" y="77"/>
                    <a:pt x="55" y="75"/>
                  </a:cubicBezTo>
                  <a:cubicBezTo>
                    <a:pt x="55" y="73"/>
                    <a:pt x="52" y="74"/>
                    <a:pt x="51" y="71"/>
                  </a:cubicBezTo>
                  <a:cubicBezTo>
                    <a:pt x="51" y="67"/>
                    <a:pt x="47" y="64"/>
                    <a:pt x="45" y="67"/>
                  </a:cubicBezTo>
                  <a:cubicBezTo>
                    <a:pt x="43" y="69"/>
                    <a:pt x="45" y="71"/>
                    <a:pt x="48" y="73"/>
                  </a:cubicBezTo>
                  <a:close/>
                  <a:moveTo>
                    <a:pt x="52" y="89"/>
                  </a:moveTo>
                  <a:cubicBezTo>
                    <a:pt x="49" y="89"/>
                    <a:pt x="48" y="88"/>
                    <a:pt x="44" y="86"/>
                  </a:cubicBezTo>
                  <a:cubicBezTo>
                    <a:pt x="41" y="83"/>
                    <a:pt x="41" y="82"/>
                    <a:pt x="35" y="82"/>
                  </a:cubicBezTo>
                  <a:cubicBezTo>
                    <a:pt x="33" y="82"/>
                    <a:pt x="32" y="84"/>
                    <a:pt x="32" y="86"/>
                  </a:cubicBezTo>
                  <a:cubicBezTo>
                    <a:pt x="32" y="89"/>
                    <a:pt x="32" y="92"/>
                    <a:pt x="36" y="96"/>
                  </a:cubicBezTo>
                  <a:cubicBezTo>
                    <a:pt x="41" y="100"/>
                    <a:pt x="42" y="95"/>
                    <a:pt x="47" y="95"/>
                  </a:cubicBezTo>
                  <a:cubicBezTo>
                    <a:pt x="53" y="94"/>
                    <a:pt x="54" y="94"/>
                    <a:pt x="55" y="91"/>
                  </a:cubicBezTo>
                  <a:cubicBezTo>
                    <a:pt x="56" y="87"/>
                    <a:pt x="54" y="89"/>
                    <a:pt x="52" y="89"/>
                  </a:cubicBezTo>
                  <a:close/>
                  <a:moveTo>
                    <a:pt x="25" y="61"/>
                  </a:moveTo>
                  <a:cubicBezTo>
                    <a:pt x="22" y="63"/>
                    <a:pt x="19" y="63"/>
                    <a:pt x="20" y="66"/>
                  </a:cubicBezTo>
                  <a:cubicBezTo>
                    <a:pt x="21" y="70"/>
                    <a:pt x="22" y="72"/>
                    <a:pt x="25" y="71"/>
                  </a:cubicBezTo>
                  <a:cubicBezTo>
                    <a:pt x="27" y="69"/>
                    <a:pt x="28" y="67"/>
                    <a:pt x="29" y="65"/>
                  </a:cubicBezTo>
                  <a:cubicBezTo>
                    <a:pt x="30" y="63"/>
                    <a:pt x="29" y="60"/>
                    <a:pt x="25" y="61"/>
                  </a:cubicBezTo>
                  <a:close/>
                  <a:moveTo>
                    <a:pt x="101" y="57"/>
                  </a:moveTo>
                  <a:cubicBezTo>
                    <a:pt x="104" y="57"/>
                    <a:pt x="103" y="56"/>
                    <a:pt x="102" y="53"/>
                  </a:cubicBezTo>
                  <a:cubicBezTo>
                    <a:pt x="101" y="51"/>
                    <a:pt x="102" y="51"/>
                    <a:pt x="102" y="48"/>
                  </a:cubicBezTo>
                  <a:cubicBezTo>
                    <a:pt x="102" y="45"/>
                    <a:pt x="98" y="45"/>
                    <a:pt x="93" y="45"/>
                  </a:cubicBezTo>
                  <a:cubicBezTo>
                    <a:pt x="88" y="45"/>
                    <a:pt x="87" y="46"/>
                    <a:pt x="84" y="48"/>
                  </a:cubicBezTo>
                  <a:cubicBezTo>
                    <a:pt x="80" y="50"/>
                    <a:pt x="80" y="55"/>
                    <a:pt x="78" y="58"/>
                  </a:cubicBezTo>
                  <a:cubicBezTo>
                    <a:pt x="76" y="61"/>
                    <a:pt x="79" y="61"/>
                    <a:pt x="82" y="61"/>
                  </a:cubicBezTo>
                  <a:cubicBezTo>
                    <a:pt x="85" y="62"/>
                    <a:pt x="87" y="59"/>
                    <a:pt x="91" y="57"/>
                  </a:cubicBezTo>
                  <a:cubicBezTo>
                    <a:pt x="95" y="56"/>
                    <a:pt x="97" y="57"/>
                    <a:pt x="101" y="5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4" name="Freeform 534"/>
            <p:cNvSpPr>
              <a:spLocks noEditPoints="1"/>
            </p:cNvSpPr>
            <p:nvPr/>
          </p:nvSpPr>
          <p:spPr bwMode="auto">
            <a:xfrm>
              <a:off x="3912506" y="4340516"/>
              <a:ext cx="48816" cy="44053"/>
            </a:xfrm>
            <a:custGeom>
              <a:avLst/>
              <a:gdLst>
                <a:gd name="T0" fmla="*/ 23 w 171"/>
                <a:gd name="T1" fmla="*/ 19 h 155"/>
                <a:gd name="T2" fmla="*/ 22 w 171"/>
                <a:gd name="T3" fmla="*/ 27 h 155"/>
                <a:gd name="T4" fmla="*/ 28 w 171"/>
                <a:gd name="T5" fmla="*/ 25 h 155"/>
                <a:gd name="T6" fmla="*/ 23 w 171"/>
                <a:gd name="T7" fmla="*/ 19 h 155"/>
                <a:gd name="T8" fmla="*/ 133 w 171"/>
                <a:gd name="T9" fmla="*/ 118 h 155"/>
                <a:gd name="T10" fmla="*/ 131 w 171"/>
                <a:gd name="T11" fmla="*/ 124 h 155"/>
                <a:gd name="T12" fmla="*/ 136 w 171"/>
                <a:gd name="T13" fmla="*/ 132 h 155"/>
                <a:gd name="T14" fmla="*/ 138 w 171"/>
                <a:gd name="T15" fmla="*/ 124 h 155"/>
                <a:gd name="T16" fmla="*/ 133 w 171"/>
                <a:gd name="T17" fmla="*/ 118 h 155"/>
                <a:gd name="T18" fmla="*/ 115 w 171"/>
                <a:gd name="T19" fmla="*/ 133 h 155"/>
                <a:gd name="T20" fmla="*/ 109 w 171"/>
                <a:gd name="T21" fmla="*/ 124 h 155"/>
                <a:gd name="T22" fmla="*/ 100 w 171"/>
                <a:gd name="T23" fmla="*/ 123 h 155"/>
                <a:gd name="T24" fmla="*/ 98 w 171"/>
                <a:gd name="T25" fmla="*/ 133 h 155"/>
                <a:gd name="T26" fmla="*/ 107 w 171"/>
                <a:gd name="T27" fmla="*/ 141 h 155"/>
                <a:gd name="T28" fmla="*/ 112 w 171"/>
                <a:gd name="T29" fmla="*/ 150 h 155"/>
                <a:gd name="T30" fmla="*/ 116 w 171"/>
                <a:gd name="T31" fmla="*/ 141 h 155"/>
                <a:gd name="T32" fmla="*/ 115 w 171"/>
                <a:gd name="T33" fmla="*/ 133 h 155"/>
                <a:gd name="T34" fmla="*/ 163 w 171"/>
                <a:gd name="T35" fmla="*/ 66 h 155"/>
                <a:gd name="T36" fmla="*/ 152 w 171"/>
                <a:gd name="T37" fmla="*/ 64 h 155"/>
                <a:gd name="T38" fmla="*/ 152 w 171"/>
                <a:gd name="T39" fmla="*/ 74 h 155"/>
                <a:gd name="T40" fmla="*/ 159 w 171"/>
                <a:gd name="T41" fmla="*/ 79 h 155"/>
                <a:gd name="T42" fmla="*/ 165 w 171"/>
                <a:gd name="T43" fmla="*/ 73 h 155"/>
                <a:gd name="T44" fmla="*/ 170 w 171"/>
                <a:gd name="T45" fmla="*/ 68 h 155"/>
                <a:gd name="T46" fmla="*/ 163 w 171"/>
                <a:gd name="T47" fmla="*/ 66 h 155"/>
                <a:gd name="T48" fmla="*/ 151 w 171"/>
                <a:gd name="T49" fmla="*/ 37 h 155"/>
                <a:gd name="T50" fmla="*/ 155 w 171"/>
                <a:gd name="T51" fmla="*/ 34 h 155"/>
                <a:gd name="T52" fmla="*/ 156 w 171"/>
                <a:gd name="T53" fmla="*/ 25 h 155"/>
                <a:gd name="T54" fmla="*/ 151 w 171"/>
                <a:gd name="T55" fmla="*/ 21 h 155"/>
                <a:gd name="T56" fmla="*/ 150 w 171"/>
                <a:gd name="T57" fmla="*/ 29 h 155"/>
                <a:gd name="T58" fmla="*/ 151 w 171"/>
                <a:gd name="T59" fmla="*/ 37 h 155"/>
                <a:gd name="T60" fmla="*/ 76 w 171"/>
                <a:gd name="T61" fmla="*/ 39 h 155"/>
                <a:gd name="T62" fmla="*/ 67 w 171"/>
                <a:gd name="T63" fmla="*/ 34 h 155"/>
                <a:gd name="T64" fmla="*/ 61 w 171"/>
                <a:gd name="T65" fmla="*/ 42 h 155"/>
                <a:gd name="T66" fmla="*/ 70 w 171"/>
                <a:gd name="T67" fmla="*/ 45 h 155"/>
                <a:gd name="T68" fmla="*/ 80 w 171"/>
                <a:gd name="T69" fmla="*/ 43 h 155"/>
                <a:gd name="T70" fmla="*/ 76 w 171"/>
                <a:gd name="T71" fmla="*/ 39 h 155"/>
                <a:gd name="T72" fmla="*/ 15 w 171"/>
                <a:gd name="T73" fmla="*/ 4 h 155"/>
                <a:gd name="T74" fmla="*/ 7 w 171"/>
                <a:gd name="T75" fmla="*/ 4 h 155"/>
                <a:gd name="T76" fmla="*/ 1 w 171"/>
                <a:gd name="T77" fmla="*/ 13 h 155"/>
                <a:gd name="T78" fmla="*/ 9 w 171"/>
                <a:gd name="T79" fmla="*/ 18 h 155"/>
                <a:gd name="T80" fmla="*/ 14 w 171"/>
                <a:gd name="T81" fmla="*/ 11 h 155"/>
                <a:gd name="T82" fmla="*/ 22 w 171"/>
                <a:gd name="T83" fmla="*/ 4 h 155"/>
                <a:gd name="T84" fmla="*/ 15 w 171"/>
                <a:gd name="T85" fmla="*/ 4 h 155"/>
                <a:gd name="T86" fmla="*/ 58 w 171"/>
                <a:gd name="T87" fmla="*/ 139 h 155"/>
                <a:gd name="T88" fmla="*/ 50 w 171"/>
                <a:gd name="T89" fmla="*/ 144 h 155"/>
                <a:gd name="T90" fmla="*/ 58 w 171"/>
                <a:gd name="T91" fmla="*/ 154 h 155"/>
                <a:gd name="T92" fmla="*/ 65 w 171"/>
                <a:gd name="T93" fmla="*/ 147 h 155"/>
                <a:gd name="T94" fmla="*/ 58 w 171"/>
                <a:gd name="T95" fmla="*/ 13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71" h="155">
                  <a:moveTo>
                    <a:pt x="23" y="19"/>
                  </a:moveTo>
                  <a:cubicBezTo>
                    <a:pt x="20" y="23"/>
                    <a:pt x="20" y="26"/>
                    <a:pt x="22" y="27"/>
                  </a:cubicBezTo>
                  <a:cubicBezTo>
                    <a:pt x="24" y="28"/>
                    <a:pt x="28" y="29"/>
                    <a:pt x="28" y="25"/>
                  </a:cubicBezTo>
                  <a:cubicBezTo>
                    <a:pt x="29" y="20"/>
                    <a:pt x="27" y="16"/>
                    <a:pt x="23" y="19"/>
                  </a:cubicBezTo>
                  <a:close/>
                  <a:moveTo>
                    <a:pt x="133" y="118"/>
                  </a:moveTo>
                  <a:cubicBezTo>
                    <a:pt x="131" y="121"/>
                    <a:pt x="129" y="120"/>
                    <a:pt x="131" y="124"/>
                  </a:cubicBezTo>
                  <a:cubicBezTo>
                    <a:pt x="133" y="129"/>
                    <a:pt x="133" y="134"/>
                    <a:pt x="136" y="132"/>
                  </a:cubicBezTo>
                  <a:cubicBezTo>
                    <a:pt x="138" y="130"/>
                    <a:pt x="137" y="129"/>
                    <a:pt x="138" y="124"/>
                  </a:cubicBezTo>
                  <a:cubicBezTo>
                    <a:pt x="139" y="120"/>
                    <a:pt x="139" y="115"/>
                    <a:pt x="133" y="118"/>
                  </a:cubicBezTo>
                  <a:close/>
                  <a:moveTo>
                    <a:pt x="115" y="133"/>
                  </a:moveTo>
                  <a:cubicBezTo>
                    <a:pt x="111" y="130"/>
                    <a:pt x="110" y="127"/>
                    <a:pt x="109" y="124"/>
                  </a:cubicBezTo>
                  <a:cubicBezTo>
                    <a:pt x="108" y="121"/>
                    <a:pt x="103" y="115"/>
                    <a:pt x="100" y="123"/>
                  </a:cubicBezTo>
                  <a:cubicBezTo>
                    <a:pt x="98" y="127"/>
                    <a:pt x="93" y="129"/>
                    <a:pt x="98" y="133"/>
                  </a:cubicBezTo>
                  <a:cubicBezTo>
                    <a:pt x="102" y="138"/>
                    <a:pt x="104" y="135"/>
                    <a:pt x="107" y="141"/>
                  </a:cubicBezTo>
                  <a:cubicBezTo>
                    <a:pt x="110" y="146"/>
                    <a:pt x="109" y="152"/>
                    <a:pt x="112" y="150"/>
                  </a:cubicBezTo>
                  <a:cubicBezTo>
                    <a:pt x="116" y="147"/>
                    <a:pt x="115" y="145"/>
                    <a:pt x="116" y="141"/>
                  </a:cubicBezTo>
                  <a:cubicBezTo>
                    <a:pt x="117" y="137"/>
                    <a:pt x="118" y="136"/>
                    <a:pt x="115" y="133"/>
                  </a:cubicBezTo>
                  <a:close/>
                  <a:moveTo>
                    <a:pt x="163" y="66"/>
                  </a:moveTo>
                  <a:cubicBezTo>
                    <a:pt x="161" y="65"/>
                    <a:pt x="153" y="58"/>
                    <a:pt x="152" y="64"/>
                  </a:cubicBezTo>
                  <a:cubicBezTo>
                    <a:pt x="150" y="68"/>
                    <a:pt x="149" y="70"/>
                    <a:pt x="152" y="74"/>
                  </a:cubicBezTo>
                  <a:cubicBezTo>
                    <a:pt x="155" y="78"/>
                    <a:pt x="155" y="81"/>
                    <a:pt x="159" y="79"/>
                  </a:cubicBezTo>
                  <a:cubicBezTo>
                    <a:pt x="162" y="78"/>
                    <a:pt x="162" y="75"/>
                    <a:pt x="165" y="73"/>
                  </a:cubicBezTo>
                  <a:cubicBezTo>
                    <a:pt x="168" y="70"/>
                    <a:pt x="171" y="70"/>
                    <a:pt x="170" y="68"/>
                  </a:cubicBezTo>
                  <a:cubicBezTo>
                    <a:pt x="169" y="66"/>
                    <a:pt x="165" y="67"/>
                    <a:pt x="163" y="66"/>
                  </a:cubicBezTo>
                  <a:close/>
                  <a:moveTo>
                    <a:pt x="151" y="37"/>
                  </a:moveTo>
                  <a:cubicBezTo>
                    <a:pt x="154" y="38"/>
                    <a:pt x="154" y="38"/>
                    <a:pt x="155" y="34"/>
                  </a:cubicBezTo>
                  <a:cubicBezTo>
                    <a:pt x="155" y="30"/>
                    <a:pt x="155" y="27"/>
                    <a:pt x="156" y="25"/>
                  </a:cubicBezTo>
                  <a:cubicBezTo>
                    <a:pt x="156" y="22"/>
                    <a:pt x="156" y="15"/>
                    <a:pt x="151" y="21"/>
                  </a:cubicBezTo>
                  <a:cubicBezTo>
                    <a:pt x="150" y="25"/>
                    <a:pt x="148" y="25"/>
                    <a:pt x="150" y="29"/>
                  </a:cubicBezTo>
                  <a:cubicBezTo>
                    <a:pt x="151" y="32"/>
                    <a:pt x="149" y="35"/>
                    <a:pt x="151" y="37"/>
                  </a:cubicBezTo>
                  <a:close/>
                  <a:moveTo>
                    <a:pt x="76" y="39"/>
                  </a:moveTo>
                  <a:cubicBezTo>
                    <a:pt x="70" y="38"/>
                    <a:pt x="73" y="37"/>
                    <a:pt x="67" y="34"/>
                  </a:cubicBezTo>
                  <a:cubicBezTo>
                    <a:pt x="62" y="30"/>
                    <a:pt x="60" y="39"/>
                    <a:pt x="61" y="42"/>
                  </a:cubicBezTo>
                  <a:cubicBezTo>
                    <a:pt x="63" y="45"/>
                    <a:pt x="65" y="50"/>
                    <a:pt x="70" y="45"/>
                  </a:cubicBezTo>
                  <a:cubicBezTo>
                    <a:pt x="74" y="40"/>
                    <a:pt x="77" y="44"/>
                    <a:pt x="80" y="43"/>
                  </a:cubicBezTo>
                  <a:cubicBezTo>
                    <a:pt x="84" y="42"/>
                    <a:pt x="82" y="39"/>
                    <a:pt x="76" y="39"/>
                  </a:cubicBezTo>
                  <a:close/>
                  <a:moveTo>
                    <a:pt x="15" y="4"/>
                  </a:moveTo>
                  <a:cubicBezTo>
                    <a:pt x="11" y="6"/>
                    <a:pt x="12" y="3"/>
                    <a:pt x="7" y="4"/>
                  </a:cubicBezTo>
                  <a:cubicBezTo>
                    <a:pt x="0" y="5"/>
                    <a:pt x="3" y="9"/>
                    <a:pt x="1" y="13"/>
                  </a:cubicBezTo>
                  <a:cubicBezTo>
                    <a:pt x="0" y="16"/>
                    <a:pt x="5" y="19"/>
                    <a:pt x="9" y="18"/>
                  </a:cubicBezTo>
                  <a:cubicBezTo>
                    <a:pt x="12" y="17"/>
                    <a:pt x="11" y="15"/>
                    <a:pt x="14" y="11"/>
                  </a:cubicBezTo>
                  <a:cubicBezTo>
                    <a:pt x="17" y="8"/>
                    <a:pt x="20" y="7"/>
                    <a:pt x="22" y="4"/>
                  </a:cubicBezTo>
                  <a:cubicBezTo>
                    <a:pt x="24" y="0"/>
                    <a:pt x="19" y="2"/>
                    <a:pt x="15" y="4"/>
                  </a:cubicBezTo>
                  <a:close/>
                  <a:moveTo>
                    <a:pt x="58" y="139"/>
                  </a:moveTo>
                  <a:cubicBezTo>
                    <a:pt x="53" y="141"/>
                    <a:pt x="49" y="140"/>
                    <a:pt x="50" y="144"/>
                  </a:cubicBezTo>
                  <a:cubicBezTo>
                    <a:pt x="50" y="148"/>
                    <a:pt x="51" y="155"/>
                    <a:pt x="58" y="154"/>
                  </a:cubicBezTo>
                  <a:cubicBezTo>
                    <a:pt x="64" y="154"/>
                    <a:pt x="65" y="153"/>
                    <a:pt x="65" y="147"/>
                  </a:cubicBezTo>
                  <a:cubicBezTo>
                    <a:pt x="65" y="142"/>
                    <a:pt x="62" y="138"/>
                    <a:pt x="58" y="13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405" name="Gruppieren 404"/>
            <p:cNvGrpSpPr/>
            <p:nvPr/>
          </p:nvGrpSpPr>
          <p:grpSpPr>
            <a:xfrm>
              <a:off x="3927985" y="2709360"/>
              <a:ext cx="3830240" cy="2583656"/>
              <a:chOff x="3927985" y="2709360"/>
              <a:chExt cx="3830240" cy="2583656"/>
            </a:xfrm>
            <a:gradFill>
              <a:gsLst>
                <a:gs pos="0">
                  <a:srgbClr val="4D88B2"/>
                </a:gs>
                <a:gs pos="100000">
                  <a:srgbClr val="B3CCDE"/>
                </a:gs>
              </a:gsLst>
              <a:lin ang="18900000" scaled="1"/>
            </a:gradFill>
          </p:grpSpPr>
          <p:sp>
            <p:nvSpPr>
              <p:cNvPr id="410" name="Freeform 453"/>
              <p:cNvSpPr>
                <a:spLocks/>
              </p:cNvSpPr>
              <p:nvPr/>
            </p:nvSpPr>
            <p:spPr bwMode="auto">
              <a:xfrm>
                <a:off x="4719750" y="3830928"/>
                <a:ext cx="27384" cy="25003"/>
              </a:xfrm>
              <a:custGeom>
                <a:avLst/>
                <a:gdLst>
                  <a:gd name="T0" fmla="*/ 68 w 95"/>
                  <a:gd name="T1" fmla="*/ 11 h 84"/>
                  <a:gd name="T2" fmla="*/ 62 w 95"/>
                  <a:gd name="T3" fmla="*/ 5 h 84"/>
                  <a:gd name="T4" fmla="*/ 52 w 95"/>
                  <a:gd name="T5" fmla="*/ 3 h 84"/>
                  <a:gd name="T6" fmla="*/ 39 w 95"/>
                  <a:gd name="T7" fmla="*/ 0 h 84"/>
                  <a:gd name="T8" fmla="*/ 35 w 95"/>
                  <a:gd name="T9" fmla="*/ 2 h 84"/>
                  <a:gd name="T10" fmla="*/ 35 w 95"/>
                  <a:gd name="T11" fmla="*/ 2 h 84"/>
                  <a:gd name="T12" fmla="*/ 33 w 95"/>
                  <a:gd name="T13" fmla="*/ 6 h 84"/>
                  <a:gd name="T14" fmla="*/ 33 w 95"/>
                  <a:gd name="T15" fmla="*/ 6 h 84"/>
                  <a:gd name="T16" fmla="*/ 20 w 95"/>
                  <a:gd name="T17" fmla="*/ 23 h 84"/>
                  <a:gd name="T18" fmla="*/ 11 w 95"/>
                  <a:gd name="T19" fmla="*/ 27 h 84"/>
                  <a:gd name="T20" fmla="*/ 2 w 95"/>
                  <a:gd name="T21" fmla="*/ 34 h 84"/>
                  <a:gd name="T22" fmla="*/ 2 w 95"/>
                  <a:gd name="T23" fmla="*/ 43 h 84"/>
                  <a:gd name="T24" fmla="*/ 4 w 95"/>
                  <a:gd name="T25" fmla="*/ 48 h 84"/>
                  <a:gd name="T26" fmla="*/ 14 w 95"/>
                  <a:gd name="T27" fmla="*/ 58 h 84"/>
                  <a:gd name="T28" fmla="*/ 26 w 95"/>
                  <a:gd name="T29" fmla="*/ 68 h 84"/>
                  <a:gd name="T30" fmla="*/ 32 w 95"/>
                  <a:gd name="T31" fmla="*/ 80 h 84"/>
                  <a:gd name="T32" fmla="*/ 33 w 95"/>
                  <a:gd name="T33" fmla="*/ 84 h 84"/>
                  <a:gd name="T34" fmla="*/ 47 w 95"/>
                  <a:gd name="T35" fmla="*/ 77 h 84"/>
                  <a:gd name="T36" fmla="*/ 60 w 95"/>
                  <a:gd name="T37" fmla="*/ 75 h 84"/>
                  <a:gd name="T38" fmla="*/ 63 w 95"/>
                  <a:gd name="T39" fmla="*/ 76 h 84"/>
                  <a:gd name="T40" fmla="*/ 71 w 95"/>
                  <a:gd name="T41" fmla="*/ 71 h 84"/>
                  <a:gd name="T42" fmla="*/ 71 w 95"/>
                  <a:gd name="T43" fmla="*/ 71 h 84"/>
                  <a:gd name="T44" fmla="*/ 79 w 95"/>
                  <a:gd name="T45" fmla="*/ 71 h 84"/>
                  <a:gd name="T46" fmla="*/ 80 w 95"/>
                  <a:gd name="T47" fmla="*/ 62 h 84"/>
                  <a:gd name="T48" fmla="*/ 87 w 95"/>
                  <a:gd name="T49" fmla="*/ 51 h 84"/>
                  <a:gd name="T50" fmla="*/ 94 w 95"/>
                  <a:gd name="T51" fmla="*/ 41 h 84"/>
                  <a:gd name="T52" fmla="*/ 89 w 95"/>
                  <a:gd name="T53" fmla="*/ 37 h 84"/>
                  <a:gd name="T54" fmla="*/ 77 w 95"/>
                  <a:gd name="T55" fmla="*/ 32 h 84"/>
                  <a:gd name="T56" fmla="*/ 68 w 95"/>
                  <a:gd name="T57" fmla="*/ 18 h 84"/>
                  <a:gd name="T58" fmla="*/ 68 w 95"/>
                  <a:gd name="T59" fmla="*/ 11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5" h="84">
                    <a:moveTo>
                      <a:pt x="68" y="11"/>
                    </a:moveTo>
                    <a:cubicBezTo>
                      <a:pt x="67" y="6"/>
                      <a:pt x="65" y="6"/>
                      <a:pt x="62" y="5"/>
                    </a:cubicBezTo>
                    <a:cubicBezTo>
                      <a:pt x="59" y="5"/>
                      <a:pt x="56" y="4"/>
                      <a:pt x="52" y="3"/>
                    </a:cubicBezTo>
                    <a:cubicBezTo>
                      <a:pt x="46" y="1"/>
                      <a:pt x="42" y="0"/>
                      <a:pt x="39" y="0"/>
                    </a:cubicBezTo>
                    <a:cubicBezTo>
                      <a:pt x="37" y="0"/>
                      <a:pt x="36" y="0"/>
                      <a:pt x="35" y="2"/>
                    </a:cubicBezTo>
                    <a:cubicBezTo>
                      <a:pt x="35" y="2"/>
                      <a:pt x="35" y="2"/>
                      <a:pt x="35" y="2"/>
                    </a:cubicBezTo>
                    <a:cubicBezTo>
                      <a:pt x="34" y="3"/>
                      <a:pt x="33" y="5"/>
                      <a:pt x="33" y="6"/>
                    </a:cubicBezTo>
                    <a:cubicBezTo>
                      <a:pt x="33" y="6"/>
                      <a:pt x="33" y="6"/>
                      <a:pt x="33" y="6"/>
                    </a:cubicBezTo>
                    <a:cubicBezTo>
                      <a:pt x="31" y="12"/>
                      <a:pt x="28" y="18"/>
                      <a:pt x="20" y="23"/>
                    </a:cubicBezTo>
                    <a:cubicBezTo>
                      <a:pt x="16" y="25"/>
                      <a:pt x="14" y="26"/>
                      <a:pt x="11" y="27"/>
                    </a:cubicBezTo>
                    <a:cubicBezTo>
                      <a:pt x="7" y="30"/>
                      <a:pt x="4" y="31"/>
                      <a:pt x="2" y="34"/>
                    </a:cubicBezTo>
                    <a:cubicBezTo>
                      <a:pt x="0" y="36"/>
                      <a:pt x="1" y="39"/>
                      <a:pt x="2" y="43"/>
                    </a:cubicBezTo>
                    <a:cubicBezTo>
                      <a:pt x="3" y="44"/>
                      <a:pt x="3" y="46"/>
                      <a:pt x="4" y="48"/>
                    </a:cubicBezTo>
                    <a:cubicBezTo>
                      <a:pt x="4" y="51"/>
                      <a:pt x="9" y="55"/>
                      <a:pt x="14" y="58"/>
                    </a:cubicBezTo>
                    <a:cubicBezTo>
                      <a:pt x="19" y="61"/>
                      <a:pt x="24" y="64"/>
                      <a:pt x="26" y="68"/>
                    </a:cubicBezTo>
                    <a:cubicBezTo>
                      <a:pt x="29" y="72"/>
                      <a:pt x="31" y="76"/>
                      <a:pt x="32" y="80"/>
                    </a:cubicBezTo>
                    <a:cubicBezTo>
                      <a:pt x="32" y="81"/>
                      <a:pt x="32" y="83"/>
                      <a:pt x="33" y="84"/>
                    </a:cubicBezTo>
                    <a:cubicBezTo>
                      <a:pt x="37" y="82"/>
                      <a:pt x="44" y="79"/>
                      <a:pt x="47" y="77"/>
                    </a:cubicBezTo>
                    <a:cubicBezTo>
                      <a:pt x="51" y="74"/>
                      <a:pt x="56" y="75"/>
                      <a:pt x="60" y="75"/>
                    </a:cubicBezTo>
                    <a:cubicBezTo>
                      <a:pt x="62" y="75"/>
                      <a:pt x="63" y="77"/>
                      <a:pt x="63" y="76"/>
                    </a:cubicBezTo>
                    <a:cubicBezTo>
                      <a:pt x="65" y="73"/>
                      <a:pt x="68" y="72"/>
                      <a:pt x="71" y="71"/>
                    </a:cubicBezTo>
                    <a:cubicBezTo>
                      <a:pt x="71" y="71"/>
                      <a:pt x="71" y="71"/>
                      <a:pt x="71" y="71"/>
                    </a:cubicBezTo>
                    <a:cubicBezTo>
                      <a:pt x="74" y="71"/>
                      <a:pt x="76" y="71"/>
                      <a:pt x="79" y="71"/>
                    </a:cubicBezTo>
                    <a:cubicBezTo>
                      <a:pt x="79" y="68"/>
                      <a:pt x="79" y="65"/>
                      <a:pt x="80" y="62"/>
                    </a:cubicBezTo>
                    <a:cubicBezTo>
                      <a:pt x="80" y="58"/>
                      <a:pt x="84" y="55"/>
                      <a:pt x="87" y="51"/>
                    </a:cubicBezTo>
                    <a:cubicBezTo>
                      <a:pt x="91" y="47"/>
                      <a:pt x="95" y="43"/>
                      <a:pt x="94" y="41"/>
                    </a:cubicBezTo>
                    <a:cubicBezTo>
                      <a:pt x="93" y="38"/>
                      <a:pt x="92" y="38"/>
                      <a:pt x="89" y="37"/>
                    </a:cubicBezTo>
                    <a:cubicBezTo>
                      <a:pt x="86" y="36"/>
                      <a:pt x="82" y="35"/>
                      <a:pt x="77" y="32"/>
                    </a:cubicBezTo>
                    <a:cubicBezTo>
                      <a:pt x="67" y="27"/>
                      <a:pt x="67" y="24"/>
                      <a:pt x="68" y="18"/>
                    </a:cubicBezTo>
                    <a:cubicBezTo>
                      <a:pt x="68" y="16"/>
                      <a:pt x="69" y="14"/>
                      <a:pt x="68" y="11"/>
                    </a:cubicBezTo>
                    <a:close/>
                  </a:path>
                </a:pathLst>
              </a:custGeom>
              <a:grpFill/>
              <a:ln w="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51435" tIns="25717" rIns="51435" bIns="25717" numCol="1" anchor="t" anchorCtr="0" compatLnSpc="1">
                <a:prstTxWarp prst="textNoShape">
                  <a:avLst/>
                </a:prstTxWarp>
              </a:bodyPr>
              <a:lstStyle/>
              <a:p>
                <a:pPr defTabSz="51432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13" kern="0" dirty="0">
                  <a:solidFill>
                    <a:sysClr val="windowText" lastClr="000000"/>
                  </a:solidFill>
                </a:endParaRPr>
              </a:p>
            </p:txBody>
          </p:sp>
          <p:grpSp>
            <p:nvGrpSpPr>
              <p:cNvPr id="411" name="Gruppieren 410"/>
              <p:cNvGrpSpPr/>
              <p:nvPr/>
            </p:nvGrpSpPr>
            <p:grpSpPr>
              <a:xfrm>
                <a:off x="3927985" y="2709360"/>
                <a:ext cx="3830240" cy="2583656"/>
                <a:chOff x="3927985" y="2709360"/>
                <a:chExt cx="3830240" cy="2583656"/>
              </a:xfrm>
              <a:grpFill/>
            </p:grpSpPr>
            <p:sp>
              <p:nvSpPr>
                <p:cNvPr id="412" name="Freeform 202"/>
                <p:cNvSpPr>
                  <a:spLocks/>
                </p:cNvSpPr>
                <p:nvPr/>
              </p:nvSpPr>
              <p:spPr bwMode="auto">
                <a:xfrm>
                  <a:off x="4986450" y="4009522"/>
                  <a:ext cx="22622" cy="28575"/>
                </a:xfrm>
                <a:custGeom>
                  <a:avLst/>
                  <a:gdLst>
                    <a:gd name="T0" fmla="*/ 22 w 79"/>
                    <a:gd name="T1" fmla="*/ 55 h 100"/>
                    <a:gd name="T2" fmla="*/ 10 w 79"/>
                    <a:gd name="T3" fmla="*/ 78 h 100"/>
                    <a:gd name="T4" fmla="*/ 0 w 79"/>
                    <a:gd name="T5" fmla="*/ 100 h 100"/>
                    <a:gd name="T6" fmla="*/ 27 w 79"/>
                    <a:gd name="T7" fmla="*/ 94 h 100"/>
                    <a:gd name="T8" fmla="*/ 42 w 79"/>
                    <a:gd name="T9" fmla="*/ 78 h 100"/>
                    <a:gd name="T10" fmla="*/ 50 w 79"/>
                    <a:gd name="T11" fmla="*/ 72 h 100"/>
                    <a:gd name="T12" fmla="*/ 53 w 79"/>
                    <a:gd name="T13" fmla="*/ 63 h 100"/>
                    <a:gd name="T14" fmla="*/ 52 w 79"/>
                    <a:gd name="T15" fmla="*/ 56 h 100"/>
                    <a:gd name="T16" fmla="*/ 59 w 79"/>
                    <a:gd name="T17" fmla="*/ 45 h 100"/>
                    <a:gd name="T18" fmla="*/ 73 w 79"/>
                    <a:gd name="T19" fmla="*/ 37 h 100"/>
                    <a:gd name="T20" fmla="*/ 78 w 79"/>
                    <a:gd name="T21" fmla="*/ 30 h 100"/>
                    <a:gd name="T22" fmla="*/ 75 w 79"/>
                    <a:gd name="T23" fmla="*/ 15 h 100"/>
                    <a:gd name="T24" fmla="*/ 63 w 79"/>
                    <a:gd name="T25" fmla="*/ 3 h 100"/>
                    <a:gd name="T26" fmla="*/ 59 w 79"/>
                    <a:gd name="T27" fmla="*/ 2 h 100"/>
                    <a:gd name="T28" fmla="*/ 45 w 79"/>
                    <a:gd name="T29" fmla="*/ 1 h 100"/>
                    <a:gd name="T30" fmla="*/ 43 w 79"/>
                    <a:gd name="T31" fmla="*/ 8 h 100"/>
                    <a:gd name="T32" fmla="*/ 32 w 79"/>
                    <a:gd name="T33" fmla="*/ 24 h 100"/>
                    <a:gd name="T34" fmla="*/ 28 w 79"/>
                    <a:gd name="T35" fmla="*/ 42 h 100"/>
                    <a:gd name="T36" fmla="*/ 22 w 79"/>
                    <a:gd name="T37" fmla="*/ 55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79" h="100">
                      <a:moveTo>
                        <a:pt x="22" y="55"/>
                      </a:moveTo>
                      <a:cubicBezTo>
                        <a:pt x="19" y="60"/>
                        <a:pt x="18" y="67"/>
                        <a:pt x="10" y="78"/>
                      </a:cubicBezTo>
                      <a:cubicBezTo>
                        <a:pt x="2" y="89"/>
                        <a:pt x="3" y="90"/>
                        <a:pt x="0" y="100"/>
                      </a:cubicBezTo>
                      <a:cubicBezTo>
                        <a:pt x="11" y="99"/>
                        <a:pt x="25" y="97"/>
                        <a:pt x="27" y="94"/>
                      </a:cubicBezTo>
                      <a:cubicBezTo>
                        <a:pt x="31" y="87"/>
                        <a:pt x="35" y="83"/>
                        <a:pt x="42" y="78"/>
                      </a:cubicBezTo>
                      <a:cubicBezTo>
                        <a:pt x="44" y="76"/>
                        <a:pt x="47" y="74"/>
                        <a:pt x="50" y="72"/>
                      </a:cubicBezTo>
                      <a:cubicBezTo>
                        <a:pt x="55" y="67"/>
                        <a:pt x="54" y="65"/>
                        <a:pt x="53" y="63"/>
                      </a:cubicBezTo>
                      <a:cubicBezTo>
                        <a:pt x="53" y="61"/>
                        <a:pt x="52" y="59"/>
                        <a:pt x="52" y="56"/>
                      </a:cubicBezTo>
                      <a:cubicBezTo>
                        <a:pt x="53" y="52"/>
                        <a:pt x="55" y="48"/>
                        <a:pt x="59" y="45"/>
                      </a:cubicBezTo>
                      <a:cubicBezTo>
                        <a:pt x="63" y="43"/>
                        <a:pt x="67" y="40"/>
                        <a:pt x="73" y="37"/>
                      </a:cubicBezTo>
                      <a:cubicBezTo>
                        <a:pt x="77" y="35"/>
                        <a:pt x="78" y="33"/>
                        <a:pt x="78" y="30"/>
                      </a:cubicBezTo>
                      <a:cubicBezTo>
                        <a:pt x="79" y="27"/>
                        <a:pt x="77" y="22"/>
                        <a:pt x="75" y="15"/>
                      </a:cubicBezTo>
                      <a:cubicBezTo>
                        <a:pt x="71" y="5"/>
                        <a:pt x="68" y="4"/>
                        <a:pt x="63" y="3"/>
                      </a:cubicBezTo>
                      <a:cubicBezTo>
                        <a:pt x="61" y="2"/>
                        <a:pt x="60" y="2"/>
                        <a:pt x="59" y="2"/>
                      </a:cubicBezTo>
                      <a:cubicBezTo>
                        <a:pt x="54" y="0"/>
                        <a:pt x="49" y="0"/>
                        <a:pt x="45" y="1"/>
                      </a:cubicBezTo>
                      <a:cubicBezTo>
                        <a:pt x="44" y="4"/>
                        <a:pt x="44" y="7"/>
                        <a:pt x="43" y="8"/>
                      </a:cubicBezTo>
                      <a:cubicBezTo>
                        <a:pt x="40" y="13"/>
                        <a:pt x="37" y="16"/>
                        <a:pt x="32" y="24"/>
                      </a:cubicBezTo>
                      <a:cubicBezTo>
                        <a:pt x="26" y="32"/>
                        <a:pt x="30" y="35"/>
                        <a:pt x="28" y="42"/>
                      </a:cubicBezTo>
                      <a:cubicBezTo>
                        <a:pt x="26" y="50"/>
                        <a:pt x="24" y="51"/>
                        <a:pt x="22" y="55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13" name="Freeform 407"/>
                <p:cNvSpPr>
                  <a:spLocks/>
                </p:cNvSpPr>
                <p:nvPr/>
              </p:nvSpPr>
              <p:spPr bwMode="auto">
                <a:xfrm>
                  <a:off x="4691175" y="3823785"/>
                  <a:ext cx="28575" cy="32147"/>
                </a:xfrm>
                <a:custGeom>
                  <a:avLst/>
                  <a:gdLst>
                    <a:gd name="T0" fmla="*/ 5 w 103"/>
                    <a:gd name="T1" fmla="*/ 59 h 112"/>
                    <a:gd name="T2" fmla="*/ 0 w 103"/>
                    <a:gd name="T3" fmla="*/ 73 h 112"/>
                    <a:gd name="T4" fmla="*/ 13 w 103"/>
                    <a:gd name="T5" fmla="*/ 73 h 112"/>
                    <a:gd name="T6" fmla="*/ 16 w 103"/>
                    <a:gd name="T7" fmla="*/ 84 h 112"/>
                    <a:gd name="T8" fmla="*/ 26 w 103"/>
                    <a:gd name="T9" fmla="*/ 97 h 112"/>
                    <a:gd name="T10" fmla="*/ 42 w 103"/>
                    <a:gd name="T11" fmla="*/ 106 h 112"/>
                    <a:gd name="T12" fmla="*/ 49 w 103"/>
                    <a:gd name="T13" fmla="*/ 112 h 112"/>
                    <a:gd name="T14" fmla="*/ 52 w 103"/>
                    <a:gd name="T15" fmla="*/ 100 h 112"/>
                    <a:gd name="T16" fmla="*/ 53 w 103"/>
                    <a:gd name="T17" fmla="*/ 87 h 112"/>
                    <a:gd name="T18" fmla="*/ 61 w 103"/>
                    <a:gd name="T19" fmla="*/ 77 h 112"/>
                    <a:gd name="T20" fmla="*/ 65 w 103"/>
                    <a:gd name="T21" fmla="*/ 72 h 112"/>
                    <a:gd name="T22" fmla="*/ 79 w 103"/>
                    <a:gd name="T23" fmla="*/ 67 h 112"/>
                    <a:gd name="T24" fmla="*/ 88 w 103"/>
                    <a:gd name="T25" fmla="*/ 71 h 112"/>
                    <a:gd name="T26" fmla="*/ 91 w 103"/>
                    <a:gd name="T27" fmla="*/ 73 h 112"/>
                    <a:gd name="T28" fmla="*/ 96 w 103"/>
                    <a:gd name="T29" fmla="*/ 72 h 112"/>
                    <a:gd name="T30" fmla="*/ 96 w 103"/>
                    <a:gd name="T31" fmla="*/ 70 h 112"/>
                    <a:gd name="T32" fmla="*/ 97 w 103"/>
                    <a:gd name="T33" fmla="*/ 54 h 112"/>
                    <a:gd name="T34" fmla="*/ 103 w 103"/>
                    <a:gd name="T35" fmla="*/ 48 h 112"/>
                    <a:gd name="T36" fmla="*/ 89 w 103"/>
                    <a:gd name="T37" fmla="*/ 31 h 112"/>
                    <a:gd name="T38" fmla="*/ 89 w 103"/>
                    <a:gd name="T39" fmla="*/ 31 h 112"/>
                    <a:gd name="T40" fmla="*/ 88 w 103"/>
                    <a:gd name="T41" fmla="*/ 29 h 112"/>
                    <a:gd name="T42" fmla="*/ 84 w 103"/>
                    <a:gd name="T43" fmla="*/ 23 h 112"/>
                    <a:gd name="T44" fmla="*/ 83 w 103"/>
                    <a:gd name="T45" fmla="*/ 22 h 112"/>
                    <a:gd name="T46" fmla="*/ 79 w 103"/>
                    <a:gd name="T47" fmla="*/ 19 h 112"/>
                    <a:gd name="T48" fmla="*/ 72 w 103"/>
                    <a:gd name="T49" fmla="*/ 16 h 112"/>
                    <a:gd name="T50" fmla="*/ 72 w 103"/>
                    <a:gd name="T51" fmla="*/ 16 h 112"/>
                    <a:gd name="T52" fmla="*/ 61 w 103"/>
                    <a:gd name="T53" fmla="*/ 11 h 112"/>
                    <a:gd name="T54" fmla="*/ 47 w 103"/>
                    <a:gd name="T55" fmla="*/ 0 h 112"/>
                    <a:gd name="T56" fmla="*/ 47 w 103"/>
                    <a:gd name="T57" fmla="*/ 0 h 112"/>
                    <a:gd name="T58" fmla="*/ 45 w 103"/>
                    <a:gd name="T59" fmla="*/ 1 h 112"/>
                    <a:gd name="T60" fmla="*/ 34 w 103"/>
                    <a:gd name="T61" fmla="*/ 7 h 112"/>
                    <a:gd name="T62" fmla="*/ 27 w 103"/>
                    <a:gd name="T63" fmla="*/ 12 h 112"/>
                    <a:gd name="T64" fmla="*/ 16 w 103"/>
                    <a:gd name="T65" fmla="*/ 20 h 112"/>
                    <a:gd name="T66" fmla="*/ 5 w 103"/>
                    <a:gd name="T67" fmla="*/ 34 h 112"/>
                    <a:gd name="T68" fmla="*/ 4 w 103"/>
                    <a:gd name="T69" fmla="*/ 48 h 112"/>
                    <a:gd name="T70" fmla="*/ 5 w 103"/>
                    <a:gd name="T71" fmla="*/ 55 h 112"/>
                    <a:gd name="T72" fmla="*/ 5 w 103"/>
                    <a:gd name="T73" fmla="*/ 55 h 112"/>
                    <a:gd name="T74" fmla="*/ 5 w 103"/>
                    <a:gd name="T75" fmla="*/ 55 h 112"/>
                    <a:gd name="T76" fmla="*/ 5 w 103"/>
                    <a:gd name="T77" fmla="*/ 59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03" h="112">
                      <a:moveTo>
                        <a:pt x="5" y="59"/>
                      </a:moveTo>
                      <a:cubicBezTo>
                        <a:pt x="4" y="63"/>
                        <a:pt x="2" y="68"/>
                        <a:pt x="0" y="73"/>
                      </a:cubicBezTo>
                      <a:cubicBezTo>
                        <a:pt x="8" y="73"/>
                        <a:pt x="10" y="69"/>
                        <a:pt x="13" y="73"/>
                      </a:cubicBezTo>
                      <a:cubicBezTo>
                        <a:pt x="16" y="77"/>
                        <a:pt x="14" y="78"/>
                        <a:pt x="16" y="84"/>
                      </a:cubicBezTo>
                      <a:cubicBezTo>
                        <a:pt x="17" y="91"/>
                        <a:pt x="19" y="94"/>
                        <a:pt x="26" y="97"/>
                      </a:cubicBezTo>
                      <a:cubicBezTo>
                        <a:pt x="32" y="99"/>
                        <a:pt x="37" y="101"/>
                        <a:pt x="42" y="106"/>
                      </a:cubicBezTo>
                      <a:cubicBezTo>
                        <a:pt x="45" y="108"/>
                        <a:pt x="47" y="110"/>
                        <a:pt x="49" y="112"/>
                      </a:cubicBezTo>
                      <a:cubicBezTo>
                        <a:pt x="50" y="108"/>
                        <a:pt x="52" y="104"/>
                        <a:pt x="52" y="100"/>
                      </a:cubicBezTo>
                      <a:cubicBezTo>
                        <a:pt x="52" y="94"/>
                        <a:pt x="52" y="90"/>
                        <a:pt x="53" y="87"/>
                      </a:cubicBezTo>
                      <a:cubicBezTo>
                        <a:pt x="54" y="83"/>
                        <a:pt x="56" y="80"/>
                        <a:pt x="61" y="77"/>
                      </a:cubicBezTo>
                      <a:cubicBezTo>
                        <a:pt x="63" y="75"/>
                        <a:pt x="64" y="74"/>
                        <a:pt x="65" y="72"/>
                      </a:cubicBezTo>
                      <a:cubicBezTo>
                        <a:pt x="69" y="68"/>
                        <a:pt x="71" y="65"/>
                        <a:pt x="79" y="67"/>
                      </a:cubicBezTo>
                      <a:cubicBezTo>
                        <a:pt x="84" y="68"/>
                        <a:pt x="86" y="70"/>
                        <a:pt x="88" y="71"/>
                      </a:cubicBezTo>
                      <a:cubicBezTo>
                        <a:pt x="89" y="72"/>
                        <a:pt x="90" y="72"/>
                        <a:pt x="91" y="73"/>
                      </a:cubicBezTo>
                      <a:cubicBezTo>
                        <a:pt x="93" y="73"/>
                        <a:pt x="95" y="72"/>
                        <a:pt x="96" y="72"/>
                      </a:cubicBezTo>
                      <a:cubicBezTo>
                        <a:pt x="96" y="71"/>
                        <a:pt x="96" y="71"/>
                        <a:pt x="96" y="70"/>
                      </a:cubicBezTo>
                      <a:cubicBezTo>
                        <a:pt x="94" y="64"/>
                        <a:pt x="92" y="59"/>
                        <a:pt x="97" y="54"/>
                      </a:cubicBezTo>
                      <a:cubicBezTo>
                        <a:pt x="99" y="51"/>
                        <a:pt x="101" y="50"/>
                        <a:pt x="103" y="48"/>
                      </a:cubicBezTo>
                      <a:cubicBezTo>
                        <a:pt x="99" y="45"/>
                        <a:pt x="93" y="39"/>
                        <a:pt x="89" y="31"/>
                      </a:cubicBezTo>
                      <a:cubicBezTo>
                        <a:pt x="89" y="31"/>
                        <a:pt x="89" y="31"/>
                        <a:pt x="89" y="31"/>
                      </a:cubicBezTo>
                      <a:cubicBezTo>
                        <a:pt x="88" y="29"/>
                        <a:pt x="88" y="29"/>
                        <a:pt x="88" y="29"/>
                      </a:cubicBezTo>
                      <a:cubicBezTo>
                        <a:pt x="86" y="25"/>
                        <a:pt x="85" y="24"/>
                        <a:pt x="84" y="23"/>
                      </a:cubicBezTo>
                      <a:cubicBezTo>
                        <a:pt x="84" y="23"/>
                        <a:pt x="83" y="22"/>
                        <a:pt x="83" y="22"/>
                      </a:cubicBezTo>
                      <a:cubicBezTo>
                        <a:pt x="82" y="21"/>
                        <a:pt x="80" y="20"/>
                        <a:pt x="79" y="19"/>
                      </a:cubicBezTo>
                      <a:cubicBezTo>
                        <a:pt x="76" y="17"/>
                        <a:pt x="74" y="17"/>
                        <a:pt x="72" y="16"/>
                      </a:cubicBezTo>
                      <a:cubicBezTo>
                        <a:pt x="72" y="16"/>
                        <a:pt x="72" y="16"/>
                        <a:pt x="72" y="16"/>
                      </a:cubicBezTo>
                      <a:cubicBezTo>
                        <a:pt x="68" y="16"/>
                        <a:pt x="65" y="15"/>
                        <a:pt x="61" y="11"/>
                      </a:cubicBezTo>
                      <a:cubicBezTo>
                        <a:pt x="56" y="6"/>
                        <a:pt x="51" y="3"/>
                        <a:pt x="47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46" y="1"/>
                        <a:pt x="45" y="1"/>
                        <a:pt x="45" y="1"/>
                      </a:cubicBezTo>
                      <a:cubicBezTo>
                        <a:pt x="39" y="4"/>
                        <a:pt x="36" y="6"/>
                        <a:pt x="34" y="7"/>
                      </a:cubicBezTo>
                      <a:cubicBezTo>
                        <a:pt x="32" y="9"/>
                        <a:pt x="31" y="10"/>
                        <a:pt x="27" y="12"/>
                      </a:cubicBezTo>
                      <a:cubicBezTo>
                        <a:pt x="23" y="13"/>
                        <a:pt x="20" y="16"/>
                        <a:pt x="16" y="20"/>
                      </a:cubicBezTo>
                      <a:cubicBezTo>
                        <a:pt x="13" y="24"/>
                        <a:pt x="9" y="29"/>
                        <a:pt x="5" y="34"/>
                      </a:cubicBezTo>
                      <a:cubicBezTo>
                        <a:pt x="2" y="38"/>
                        <a:pt x="3" y="43"/>
                        <a:pt x="4" y="48"/>
                      </a:cubicBezTo>
                      <a:cubicBezTo>
                        <a:pt x="4" y="51"/>
                        <a:pt x="4" y="53"/>
                        <a:pt x="5" y="55"/>
                      </a:cubicBezTo>
                      <a:cubicBezTo>
                        <a:pt x="5" y="55"/>
                        <a:pt x="5" y="55"/>
                        <a:pt x="5" y="55"/>
                      </a:cubicBezTo>
                      <a:cubicBezTo>
                        <a:pt x="5" y="55"/>
                        <a:pt x="5" y="55"/>
                        <a:pt x="5" y="55"/>
                      </a:cubicBezTo>
                      <a:cubicBezTo>
                        <a:pt x="5" y="56"/>
                        <a:pt x="5" y="58"/>
                        <a:pt x="5" y="59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14" name="Freeform 411"/>
                <p:cNvSpPr>
                  <a:spLocks/>
                </p:cNvSpPr>
                <p:nvPr/>
              </p:nvSpPr>
              <p:spPr bwMode="auto">
                <a:xfrm>
                  <a:off x="4710225" y="3420163"/>
                  <a:ext cx="11906" cy="9525"/>
                </a:xfrm>
                <a:custGeom>
                  <a:avLst/>
                  <a:gdLst>
                    <a:gd name="T0" fmla="*/ 12 w 39"/>
                    <a:gd name="T1" fmla="*/ 24 h 31"/>
                    <a:gd name="T2" fmla="*/ 23 w 39"/>
                    <a:gd name="T3" fmla="*/ 28 h 31"/>
                    <a:gd name="T4" fmla="*/ 30 w 39"/>
                    <a:gd name="T5" fmla="*/ 23 h 31"/>
                    <a:gd name="T6" fmla="*/ 37 w 39"/>
                    <a:gd name="T7" fmla="*/ 14 h 31"/>
                    <a:gd name="T8" fmla="*/ 34 w 39"/>
                    <a:gd name="T9" fmla="*/ 7 h 31"/>
                    <a:gd name="T10" fmla="*/ 26 w 39"/>
                    <a:gd name="T11" fmla="*/ 0 h 31"/>
                    <a:gd name="T12" fmla="*/ 13 w 39"/>
                    <a:gd name="T13" fmla="*/ 7 h 31"/>
                    <a:gd name="T14" fmla="*/ 2 w 39"/>
                    <a:gd name="T15" fmla="*/ 14 h 31"/>
                    <a:gd name="T16" fmla="*/ 12 w 39"/>
                    <a:gd name="T17" fmla="*/ 24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9" h="31">
                      <a:moveTo>
                        <a:pt x="12" y="24"/>
                      </a:moveTo>
                      <a:cubicBezTo>
                        <a:pt x="17" y="23"/>
                        <a:pt x="19" y="26"/>
                        <a:pt x="23" y="28"/>
                      </a:cubicBezTo>
                      <a:cubicBezTo>
                        <a:pt x="28" y="31"/>
                        <a:pt x="30" y="29"/>
                        <a:pt x="30" y="23"/>
                      </a:cubicBezTo>
                      <a:cubicBezTo>
                        <a:pt x="30" y="17"/>
                        <a:pt x="36" y="20"/>
                        <a:pt x="37" y="14"/>
                      </a:cubicBezTo>
                      <a:cubicBezTo>
                        <a:pt x="38" y="9"/>
                        <a:pt x="39" y="8"/>
                        <a:pt x="34" y="7"/>
                      </a:cubicBezTo>
                      <a:cubicBezTo>
                        <a:pt x="30" y="5"/>
                        <a:pt x="31" y="1"/>
                        <a:pt x="26" y="0"/>
                      </a:cubicBezTo>
                      <a:cubicBezTo>
                        <a:pt x="21" y="0"/>
                        <a:pt x="16" y="1"/>
                        <a:pt x="13" y="7"/>
                      </a:cubicBezTo>
                      <a:cubicBezTo>
                        <a:pt x="5" y="12"/>
                        <a:pt x="0" y="6"/>
                        <a:pt x="2" y="14"/>
                      </a:cubicBezTo>
                      <a:cubicBezTo>
                        <a:pt x="3" y="21"/>
                        <a:pt x="7" y="25"/>
                        <a:pt x="12" y="24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15" name="Freeform 420"/>
                <p:cNvSpPr>
                  <a:spLocks/>
                </p:cNvSpPr>
                <p:nvPr/>
              </p:nvSpPr>
              <p:spPr bwMode="auto">
                <a:xfrm>
                  <a:off x="4749516" y="3468978"/>
                  <a:ext cx="25003" cy="14288"/>
                </a:xfrm>
                <a:custGeom>
                  <a:avLst/>
                  <a:gdLst>
                    <a:gd name="T0" fmla="*/ 5 w 87"/>
                    <a:gd name="T1" fmla="*/ 11 h 53"/>
                    <a:gd name="T2" fmla="*/ 10 w 87"/>
                    <a:gd name="T3" fmla="*/ 18 h 53"/>
                    <a:gd name="T4" fmla="*/ 6 w 87"/>
                    <a:gd name="T5" fmla="*/ 26 h 53"/>
                    <a:gd name="T6" fmla="*/ 15 w 87"/>
                    <a:gd name="T7" fmla="*/ 34 h 53"/>
                    <a:gd name="T8" fmla="*/ 23 w 87"/>
                    <a:gd name="T9" fmla="*/ 41 h 53"/>
                    <a:gd name="T10" fmla="*/ 20 w 87"/>
                    <a:gd name="T11" fmla="*/ 51 h 53"/>
                    <a:gd name="T12" fmla="*/ 29 w 87"/>
                    <a:gd name="T13" fmla="*/ 42 h 53"/>
                    <a:gd name="T14" fmla="*/ 41 w 87"/>
                    <a:gd name="T15" fmla="*/ 30 h 53"/>
                    <a:gd name="T16" fmla="*/ 58 w 87"/>
                    <a:gd name="T17" fmla="*/ 29 h 53"/>
                    <a:gd name="T18" fmla="*/ 69 w 87"/>
                    <a:gd name="T19" fmla="*/ 20 h 53"/>
                    <a:gd name="T20" fmla="*/ 80 w 87"/>
                    <a:gd name="T21" fmla="*/ 13 h 53"/>
                    <a:gd name="T22" fmla="*/ 82 w 87"/>
                    <a:gd name="T23" fmla="*/ 6 h 53"/>
                    <a:gd name="T24" fmla="*/ 71 w 87"/>
                    <a:gd name="T25" fmla="*/ 5 h 53"/>
                    <a:gd name="T26" fmla="*/ 54 w 87"/>
                    <a:gd name="T27" fmla="*/ 1 h 53"/>
                    <a:gd name="T28" fmla="*/ 33 w 87"/>
                    <a:gd name="T29" fmla="*/ 5 h 53"/>
                    <a:gd name="T30" fmla="*/ 17 w 87"/>
                    <a:gd name="T31" fmla="*/ 12 h 53"/>
                    <a:gd name="T32" fmla="*/ 5 w 87"/>
                    <a:gd name="T33" fmla="*/ 11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7" h="53">
                      <a:moveTo>
                        <a:pt x="5" y="11"/>
                      </a:moveTo>
                      <a:cubicBezTo>
                        <a:pt x="0" y="13"/>
                        <a:pt x="7" y="14"/>
                        <a:pt x="10" y="18"/>
                      </a:cubicBezTo>
                      <a:cubicBezTo>
                        <a:pt x="14" y="21"/>
                        <a:pt x="9" y="22"/>
                        <a:pt x="6" y="26"/>
                      </a:cubicBezTo>
                      <a:cubicBezTo>
                        <a:pt x="4" y="30"/>
                        <a:pt x="8" y="32"/>
                        <a:pt x="15" y="34"/>
                      </a:cubicBezTo>
                      <a:cubicBezTo>
                        <a:pt x="22" y="36"/>
                        <a:pt x="22" y="35"/>
                        <a:pt x="23" y="41"/>
                      </a:cubicBezTo>
                      <a:cubicBezTo>
                        <a:pt x="24" y="47"/>
                        <a:pt x="19" y="48"/>
                        <a:pt x="20" y="51"/>
                      </a:cubicBezTo>
                      <a:cubicBezTo>
                        <a:pt x="20" y="53"/>
                        <a:pt x="28" y="49"/>
                        <a:pt x="29" y="42"/>
                      </a:cubicBezTo>
                      <a:cubicBezTo>
                        <a:pt x="30" y="35"/>
                        <a:pt x="32" y="35"/>
                        <a:pt x="41" y="30"/>
                      </a:cubicBezTo>
                      <a:cubicBezTo>
                        <a:pt x="49" y="25"/>
                        <a:pt x="49" y="30"/>
                        <a:pt x="58" y="29"/>
                      </a:cubicBezTo>
                      <a:cubicBezTo>
                        <a:pt x="67" y="27"/>
                        <a:pt x="64" y="26"/>
                        <a:pt x="69" y="20"/>
                      </a:cubicBezTo>
                      <a:cubicBezTo>
                        <a:pt x="73" y="14"/>
                        <a:pt x="74" y="16"/>
                        <a:pt x="80" y="13"/>
                      </a:cubicBezTo>
                      <a:cubicBezTo>
                        <a:pt x="87" y="10"/>
                        <a:pt x="86" y="8"/>
                        <a:pt x="82" y="6"/>
                      </a:cubicBezTo>
                      <a:cubicBezTo>
                        <a:pt x="78" y="4"/>
                        <a:pt x="75" y="6"/>
                        <a:pt x="71" y="5"/>
                      </a:cubicBezTo>
                      <a:cubicBezTo>
                        <a:pt x="66" y="3"/>
                        <a:pt x="61" y="2"/>
                        <a:pt x="54" y="1"/>
                      </a:cubicBezTo>
                      <a:cubicBezTo>
                        <a:pt x="46" y="0"/>
                        <a:pt x="44" y="1"/>
                        <a:pt x="33" y="5"/>
                      </a:cubicBezTo>
                      <a:cubicBezTo>
                        <a:pt x="26" y="9"/>
                        <a:pt x="23" y="12"/>
                        <a:pt x="17" y="12"/>
                      </a:cubicBezTo>
                      <a:cubicBezTo>
                        <a:pt x="11" y="12"/>
                        <a:pt x="11" y="8"/>
                        <a:pt x="5" y="11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16" name="Freeform 455"/>
                <p:cNvSpPr>
                  <a:spLocks/>
                </p:cNvSpPr>
                <p:nvPr/>
              </p:nvSpPr>
              <p:spPr bwMode="auto">
                <a:xfrm>
                  <a:off x="4729275" y="3851169"/>
                  <a:ext cx="40481" cy="28575"/>
                </a:xfrm>
                <a:custGeom>
                  <a:avLst/>
                  <a:gdLst>
                    <a:gd name="T0" fmla="*/ 0 w 140"/>
                    <a:gd name="T1" fmla="*/ 55 h 100"/>
                    <a:gd name="T2" fmla="*/ 2 w 140"/>
                    <a:gd name="T3" fmla="*/ 72 h 100"/>
                    <a:gd name="T4" fmla="*/ 7 w 140"/>
                    <a:gd name="T5" fmla="*/ 87 h 100"/>
                    <a:gd name="T6" fmla="*/ 19 w 140"/>
                    <a:gd name="T7" fmla="*/ 99 h 100"/>
                    <a:gd name="T8" fmla="*/ 22 w 140"/>
                    <a:gd name="T9" fmla="*/ 100 h 100"/>
                    <a:gd name="T10" fmla="*/ 30 w 140"/>
                    <a:gd name="T11" fmla="*/ 97 h 100"/>
                    <a:gd name="T12" fmla="*/ 45 w 140"/>
                    <a:gd name="T13" fmla="*/ 93 h 100"/>
                    <a:gd name="T14" fmla="*/ 54 w 140"/>
                    <a:gd name="T15" fmla="*/ 92 h 100"/>
                    <a:gd name="T16" fmla="*/ 54 w 140"/>
                    <a:gd name="T17" fmla="*/ 92 h 100"/>
                    <a:gd name="T18" fmla="*/ 72 w 140"/>
                    <a:gd name="T19" fmla="*/ 90 h 100"/>
                    <a:gd name="T20" fmla="*/ 78 w 140"/>
                    <a:gd name="T21" fmla="*/ 86 h 100"/>
                    <a:gd name="T22" fmla="*/ 95 w 140"/>
                    <a:gd name="T23" fmla="*/ 77 h 100"/>
                    <a:gd name="T24" fmla="*/ 107 w 140"/>
                    <a:gd name="T25" fmla="*/ 79 h 100"/>
                    <a:gd name="T26" fmla="*/ 113 w 140"/>
                    <a:gd name="T27" fmla="*/ 80 h 100"/>
                    <a:gd name="T28" fmla="*/ 122 w 140"/>
                    <a:gd name="T29" fmla="*/ 72 h 100"/>
                    <a:gd name="T30" fmla="*/ 124 w 140"/>
                    <a:gd name="T31" fmla="*/ 70 h 100"/>
                    <a:gd name="T32" fmla="*/ 131 w 140"/>
                    <a:gd name="T33" fmla="*/ 65 h 100"/>
                    <a:gd name="T34" fmla="*/ 133 w 140"/>
                    <a:gd name="T35" fmla="*/ 63 h 100"/>
                    <a:gd name="T36" fmla="*/ 138 w 140"/>
                    <a:gd name="T37" fmla="*/ 53 h 100"/>
                    <a:gd name="T38" fmla="*/ 140 w 140"/>
                    <a:gd name="T39" fmla="*/ 44 h 100"/>
                    <a:gd name="T40" fmla="*/ 138 w 140"/>
                    <a:gd name="T41" fmla="*/ 37 h 100"/>
                    <a:gd name="T42" fmla="*/ 133 w 140"/>
                    <a:gd name="T43" fmla="*/ 29 h 100"/>
                    <a:gd name="T44" fmla="*/ 120 w 140"/>
                    <a:gd name="T45" fmla="*/ 18 h 100"/>
                    <a:gd name="T46" fmla="*/ 110 w 140"/>
                    <a:gd name="T47" fmla="*/ 10 h 100"/>
                    <a:gd name="T48" fmla="*/ 105 w 140"/>
                    <a:gd name="T49" fmla="*/ 2 h 100"/>
                    <a:gd name="T50" fmla="*/ 105 w 140"/>
                    <a:gd name="T51" fmla="*/ 2 h 100"/>
                    <a:gd name="T52" fmla="*/ 103 w 140"/>
                    <a:gd name="T53" fmla="*/ 1 h 100"/>
                    <a:gd name="T54" fmla="*/ 103 w 140"/>
                    <a:gd name="T55" fmla="*/ 1 h 100"/>
                    <a:gd name="T56" fmla="*/ 88 w 140"/>
                    <a:gd name="T57" fmla="*/ 0 h 100"/>
                    <a:gd name="T58" fmla="*/ 74 w 140"/>
                    <a:gd name="T59" fmla="*/ 2 h 100"/>
                    <a:gd name="T60" fmla="*/ 63 w 140"/>
                    <a:gd name="T61" fmla="*/ 6 h 100"/>
                    <a:gd name="T62" fmla="*/ 63 w 140"/>
                    <a:gd name="T63" fmla="*/ 6 h 100"/>
                    <a:gd name="T64" fmla="*/ 61 w 140"/>
                    <a:gd name="T65" fmla="*/ 7 h 100"/>
                    <a:gd name="T66" fmla="*/ 49 w 140"/>
                    <a:gd name="T67" fmla="*/ 10 h 100"/>
                    <a:gd name="T68" fmla="*/ 40 w 140"/>
                    <a:gd name="T69" fmla="*/ 10 h 100"/>
                    <a:gd name="T70" fmla="*/ 40 w 140"/>
                    <a:gd name="T71" fmla="*/ 10 h 100"/>
                    <a:gd name="T72" fmla="*/ 37 w 140"/>
                    <a:gd name="T73" fmla="*/ 11 h 100"/>
                    <a:gd name="T74" fmla="*/ 26 w 140"/>
                    <a:gd name="T75" fmla="*/ 14 h 100"/>
                    <a:gd name="T76" fmla="*/ 18 w 140"/>
                    <a:gd name="T77" fmla="*/ 15 h 100"/>
                    <a:gd name="T78" fmla="*/ 1 w 140"/>
                    <a:gd name="T79" fmla="*/ 24 h 100"/>
                    <a:gd name="T80" fmla="*/ 1 w 140"/>
                    <a:gd name="T81" fmla="*/ 26 h 100"/>
                    <a:gd name="T82" fmla="*/ 1 w 140"/>
                    <a:gd name="T83" fmla="*/ 44 h 100"/>
                    <a:gd name="T84" fmla="*/ 0 w 140"/>
                    <a:gd name="T85" fmla="*/ 55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40" h="100">
                      <a:moveTo>
                        <a:pt x="0" y="55"/>
                      </a:moveTo>
                      <a:cubicBezTo>
                        <a:pt x="0" y="61"/>
                        <a:pt x="1" y="67"/>
                        <a:pt x="2" y="72"/>
                      </a:cubicBezTo>
                      <a:cubicBezTo>
                        <a:pt x="3" y="78"/>
                        <a:pt x="5" y="84"/>
                        <a:pt x="7" y="87"/>
                      </a:cubicBezTo>
                      <a:cubicBezTo>
                        <a:pt x="9" y="92"/>
                        <a:pt x="15" y="95"/>
                        <a:pt x="19" y="99"/>
                      </a:cubicBezTo>
                      <a:cubicBezTo>
                        <a:pt x="20" y="99"/>
                        <a:pt x="21" y="100"/>
                        <a:pt x="22" y="100"/>
                      </a:cubicBezTo>
                      <a:cubicBezTo>
                        <a:pt x="24" y="99"/>
                        <a:pt x="27" y="98"/>
                        <a:pt x="30" y="97"/>
                      </a:cubicBezTo>
                      <a:cubicBezTo>
                        <a:pt x="35" y="95"/>
                        <a:pt x="40" y="93"/>
                        <a:pt x="45" y="93"/>
                      </a:cubicBezTo>
                      <a:cubicBezTo>
                        <a:pt x="47" y="92"/>
                        <a:pt x="51" y="92"/>
                        <a:pt x="54" y="92"/>
                      </a:cubicBezTo>
                      <a:cubicBezTo>
                        <a:pt x="54" y="92"/>
                        <a:pt x="54" y="92"/>
                        <a:pt x="54" y="92"/>
                      </a:cubicBezTo>
                      <a:cubicBezTo>
                        <a:pt x="61" y="92"/>
                        <a:pt x="69" y="92"/>
                        <a:pt x="72" y="90"/>
                      </a:cubicBezTo>
                      <a:cubicBezTo>
                        <a:pt x="74" y="89"/>
                        <a:pt x="76" y="87"/>
                        <a:pt x="78" y="86"/>
                      </a:cubicBezTo>
                      <a:cubicBezTo>
                        <a:pt x="83" y="82"/>
                        <a:pt x="89" y="78"/>
                        <a:pt x="95" y="77"/>
                      </a:cubicBezTo>
                      <a:cubicBezTo>
                        <a:pt x="100" y="77"/>
                        <a:pt x="103" y="78"/>
                        <a:pt x="107" y="79"/>
                      </a:cubicBezTo>
                      <a:cubicBezTo>
                        <a:pt x="109" y="79"/>
                        <a:pt x="112" y="80"/>
                        <a:pt x="113" y="80"/>
                      </a:cubicBezTo>
                      <a:cubicBezTo>
                        <a:pt x="116" y="79"/>
                        <a:pt x="119" y="76"/>
                        <a:pt x="122" y="72"/>
                      </a:cubicBezTo>
                      <a:cubicBezTo>
                        <a:pt x="123" y="72"/>
                        <a:pt x="123" y="71"/>
                        <a:pt x="124" y="70"/>
                      </a:cubicBezTo>
                      <a:cubicBezTo>
                        <a:pt x="127" y="67"/>
                        <a:pt x="129" y="66"/>
                        <a:pt x="131" y="65"/>
                      </a:cubicBezTo>
                      <a:cubicBezTo>
                        <a:pt x="132" y="64"/>
                        <a:pt x="133" y="64"/>
                        <a:pt x="133" y="63"/>
                      </a:cubicBezTo>
                      <a:cubicBezTo>
                        <a:pt x="135" y="61"/>
                        <a:pt x="136" y="57"/>
                        <a:pt x="138" y="53"/>
                      </a:cubicBezTo>
                      <a:cubicBezTo>
                        <a:pt x="139" y="49"/>
                        <a:pt x="140" y="45"/>
                        <a:pt x="140" y="44"/>
                      </a:cubicBezTo>
                      <a:cubicBezTo>
                        <a:pt x="140" y="41"/>
                        <a:pt x="139" y="39"/>
                        <a:pt x="138" y="37"/>
                      </a:cubicBezTo>
                      <a:cubicBezTo>
                        <a:pt x="137" y="34"/>
                        <a:pt x="135" y="32"/>
                        <a:pt x="133" y="29"/>
                      </a:cubicBezTo>
                      <a:cubicBezTo>
                        <a:pt x="130" y="25"/>
                        <a:pt x="125" y="21"/>
                        <a:pt x="120" y="18"/>
                      </a:cubicBezTo>
                      <a:cubicBezTo>
                        <a:pt x="116" y="15"/>
                        <a:pt x="113" y="12"/>
                        <a:pt x="110" y="10"/>
                      </a:cubicBezTo>
                      <a:cubicBezTo>
                        <a:pt x="108" y="7"/>
                        <a:pt x="106" y="5"/>
                        <a:pt x="105" y="2"/>
                      </a:cubicBezTo>
                      <a:cubicBezTo>
                        <a:pt x="105" y="2"/>
                        <a:pt x="105" y="2"/>
                        <a:pt x="105" y="2"/>
                      </a:cubicBezTo>
                      <a:cubicBezTo>
                        <a:pt x="103" y="1"/>
                        <a:pt x="103" y="1"/>
                        <a:pt x="103" y="1"/>
                      </a:cubicBezTo>
                      <a:cubicBezTo>
                        <a:pt x="103" y="1"/>
                        <a:pt x="103" y="1"/>
                        <a:pt x="103" y="1"/>
                      </a:cubicBezTo>
                      <a:cubicBezTo>
                        <a:pt x="100" y="1"/>
                        <a:pt x="97" y="0"/>
                        <a:pt x="88" y="0"/>
                      </a:cubicBezTo>
                      <a:cubicBezTo>
                        <a:pt x="83" y="0"/>
                        <a:pt x="78" y="1"/>
                        <a:pt x="74" y="2"/>
                      </a:cubicBezTo>
                      <a:cubicBezTo>
                        <a:pt x="69" y="4"/>
                        <a:pt x="66" y="5"/>
                        <a:pt x="63" y="6"/>
                      </a:cubicBezTo>
                      <a:cubicBezTo>
                        <a:pt x="63" y="6"/>
                        <a:pt x="63" y="6"/>
                        <a:pt x="63" y="6"/>
                      </a:cubicBezTo>
                      <a:cubicBezTo>
                        <a:pt x="62" y="7"/>
                        <a:pt x="62" y="7"/>
                        <a:pt x="61" y="7"/>
                      </a:cubicBezTo>
                      <a:cubicBezTo>
                        <a:pt x="58" y="9"/>
                        <a:pt x="57" y="10"/>
                        <a:pt x="49" y="10"/>
                      </a:cubicBezTo>
                      <a:cubicBezTo>
                        <a:pt x="45" y="10"/>
                        <a:pt x="42" y="10"/>
                        <a:pt x="40" y="10"/>
                      </a:cubicBezTo>
                      <a:cubicBezTo>
                        <a:pt x="40" y="10"/>
                        <a:pt x="40" y="10"/>
                        <a:pt x="40" y="10"/>
                      </a:cubicBezTo>
                      <a:cubicBezTo>
                        <a:pt x="38" y="10"/>
                        <a:pt x="37" y="11"/>
                        <a:pt x="37" y="11"/>
                      </a:cubicBezTo>
                      <a:cubicBezTo>
                        <a:pt x="34" y="15"/>
                        <a:pt x="31" y="15"/>
                        <a:pt x="26" y="14"/>
                      </a:cubicBezTo>
                      <a:cubicBezTo>
                        <a:pt x="23" y="14"/>
                        <a:pt x="20" y="14"/>
                        <a:pt x="18" y="15"/>
                      </a:cubicBezTo>
                      <a:cubicBezTo>
                        <a:pt x="14" y="17"/>
                        <a:pt x="5" y="22"/>
                        <a:pt x="1" y="24"/>
                      </a:cubicBezTo>
                      <a:cubicBezTo>
                        <a:pt x="1" y="25"/>
                        <a:pt x="1" y="25"/>
                        <a:pt x="1" y="26"/>
                      </a:cubicBezTo>
                      <a:cubicBezTo>
                        <a:pt x="1" y="34"/>
                        <a:pt x="1" y="38"/>
                        <a:pt x="1" y="44"/>
                      </a:cubicBezTo>
                      <a:cubicBezTo>
                        <a:pt x="0" y="47"/>
                        <a:pt x="0" y="51"/>
                        <a:pt x="0" y="55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17" name="Freeform 469"/>
                <p:cNvSpPr>
                  <a:spLocks/>
                </p:cNvSpPr>
                <p:nvPr/>
              </p:nvSpPr>
              <p:spPr bwMode="auto">
                <a:xfrm>
                  <a:off x="4780472" y="3989282"/>
                  <a:ext cx="48816" cy="14288"/>
                </a:xfrm>
                <a:custGeom>
                  <a:avLst/>
                  <a:gdLst>
                    <a:gd name="T0" fmla="*/ 81 w 172"/>
                    <a:gd name="T1" fmla="*/ 46 h 47"/>
                    <a:gd name="T2" fmla="*/ 98 w 172"/>
                    <a:gd name="T3" fmla="*/ 45 h 47"/>
                    <a:gd name="T4" fmla="*/ 116 w 172"/>
                    <a:gd name="T5" fmla="*/ 41 h 47"/>
                    <a:gd name="T6" fmla="*/ 133 w 172"/>
                    <a:gd name="T7" fmla="*/ 40 h 47"/>
                    <a:gd name="T8" fmla="*/ 147 w 172"/>
                    <a:gd name="T9" fmla="*/ 38 h 47"/>
                    <a:gd name="T10" fmla="*/ 158 w 172"/>
                    <a:gd name="T11" fmla="*/ 39 h 47"/>
                    <a:gd name="T12" fmla="*/ 167 w 172"/>
                    <a:gd name="T13" fmla="*/ 35 h 47"/>
                    <a:gd name="T14" fmla="*/ 169 w 172"/>
                    <a:gd name="T15" fmla="*/ 24 h 47"/>
                    <a:gd name="T16" fmla="*/ 159 w 172"/>
                    <a:gd name="T17" fmla="*/ 28 h 47"/>
                    <a:gd name="T18" fmla="*/ 145 w 172"/>
                    <a:gd name="T19" fmla="*/ 32 h 47"/>
                    <a:gd name="T20" fmla="*/ 135 w 172"/>
                    <a:gd name="T21" fmla="*/ 27 h 47"/>
                    <a:gd name="T22" fmla="*/ 128 w 172"/>
                    <a:gd name="T23" fmla="*/ 21 h 47"/>
                    <a:gd name="T24" fmla="*/ 111 w 172"/>
                    <a:gd name="T25" fmla="*/ 21 h 47"/>
                    <a:gd name="T26" fmla="*/ 98 w 172"/>
                    <a:gd name="T27" fmla="*/ 14 h 47"/>
                    <a:gd name="T28" fmla="*/ 76 w 172"/>
                    <a:gd name="T29" fmla="*/ 16 h 47"/>
                    <a:gd name="T30" fmla="*/ 57 w 172"/>
                    <a:gd name="T31" fmla="*/ 18 h 47"/>
                    <a:gd name="T32" fmla="*/ 44 w 172"/>
                    <a:gd name="T33" fmla="*/ 12 h 47"/>
                    <a:gd name="T34" fmla="*/ 35 w 172"/>
                    <a:gd name="T35" fmla="*/ 8 h 47"/>
                    <a:gd name="T36" fmla="*/ 22 w 172"/>
                    <a:gd name="T37" fmla="*/ 3 h 47"/>
                    <a:gd name="T38" fmla="*/ 11 w 172"/>
                    <a:gd name="T39" fmla="*/ 3 h 47"/>
                    <a:gd name="T40" fmla="*/ 4 w 172"/>
                    <a:gd name="T41" fmla="*/ 12 h 47"/>
                    <a:gd name="T42" fmla="*/ 6 w 172"/>
                    <a:gd name="T43" fmla="*/ 19 h 47"/>
                    <a:gd name="T44" fmla="*/ 19 w 172"/>
                    <a:gd name="T45" fmla="*/ 21 h 47"/>
                    <a:gd name="T46" fmla="*/ 33 w 172"/>
                    <a:gd name="T47" fmla="*/ 22 h 47"/>
                    <a:gd name="T48" fmla="*/ 40 w 172"/>
                    <a:gd name="T49" fmla="*/ 26 h 47"/>
                    <a:gd name="T50" fmla="*/ 57 w 172"/>
                    <a:gd name="T51" fmla="*/ 30 h 47"/>
                    <a:gd name="T52" fmla="*/ 68 w 172"/>
                    <a:gd name="T53" fmla="*/ 33 h 47"/>
                    <a:gd name="T54" fmla="*/ 77 w 172"/>
                    <a:gd name="T55" fmla="*/ 37 h 47"/>
                    <a:gd name="T56" fmla="*/ 81 w 172"/>
                    <a:gd name="T57" fmla="*/ 46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72" h="47">
                      <a:moveTo>
                        <a:pt x="81" y="46"/>
                      </a:moveTo>
                      <a:cubicBezTo>
                        <a:pt x="87" y="47"/>
                        <a:pt x="91" y="47"/>
                        <a:pt x="98" y="45"/>
                      </a:cubicBezTo>
                      <a:cubicBezTo>
                        <a:pt x="105" y="42"/>
                        <a:pt x="111" y="41"/>
                        <a:pt x="116" y="41"/>
                      </a:cubicBezTo>
                      <a:cubicBezTo>
                        <a:pt x="121" y="42"/>
                        <a:pt x="130" y="42"/>
                        <a:pt x="133" y="40"/>
                      </a:cubicBezTo>
                      <a:cubicBezTo>
                        <a:pt x="137" y="38"/>
                        <a:pt x="145" y="37"/>
                        <a:pt x="147" y="38"/>
                      </a:cubicBezTo>
                      <a:cubicBezTo>
                        <a:pt x="150" y="39"/>
                        <a:pt x="154" y="39"/>
                        <a:pt x="158" y="39"/>
                      </a:cubicBezTo>
                      <a:cubicBezTo>
                        <a:pt x="162" y="39"/>
                        <a:pt x="167" y="39"/>
                        <a:pt x="167" y="35"/>
                      </a:cubicBezTo>
                      <a:cubicBezTo>
                        <a:pt x="167" y="31"/>
                        <a:pt x="172" y="25"/>
                        <a:pt x="169" y="24"/>
                      </a:cubicBezTo>
                      <a:cubicBezTo>
                        <a:pt x="166" y="24"/>
                        <a:pt x="164" y="25"/>
                        <a:pt x="159" y="28"/>
                      </a:cubicBezTo>
                      <a:cubicBezTo>
                        <a:pt x="155" y="31"/>
                        <a:pt x="151" y="32"/>
                        <a:pt x="145" y="32"/>
                      </a:cubicBezTo>
                      <a:cubicBezTo>
                        <a:pt x="139" y="31"/>
                        <a:pt x="136" y="30"/>
                        <a:pt x="135" y="27"/>
                      </a:cubicBezTo>
                      <a:cubicBezTo>
                        <a:pt x="135" y="24"/>
                        <a:pt x="135" y="21"/>
                        <a:pt x="128" y="21"/>
                      </a:cubicBezTo>
                      <a:cubicBezTo>
                        <a:pt x="120" y="21"/>
                        <a:pt x="119" y="26"/>
                        <a:pt x="111" y="21"/>
                      </a:cubicBezTo>
                      <a:cubicBezTo>
                        <a:pt x="103" y="16"/>
                        <a:pt x="108" y="14"/>
                        <a:pt x="98" y="14"/>
                      </a:cubicBezTo>
                      <a:cubicBezTo>
                        <a:pt x="88" y="13"/>
                        <a:pt x="82" y="14"/>
                        <a:pt x="76" y="16"/>
                      </a:cubicBezTo>
                      <a:cubicBezTo>
                        <a:pt x="71" y="18"/>
                        <a:pt x="63" y="19"/>
                        <a:pt x="57" y="18"/>
                      </a:cubicBezTo>
                      <a:cubicBezTo>
                        <a:pt x="52" y="17"/>
                        <a:pt x="48" y="16"/>
                        <a:pt x="44" y="12"/>
                      </a:cubicBezTo>
                      <a:cubicBezTo>
                        <a:pt x="41" y="9"/>
                        <a:pt x="38" y="12"/>
                        <a:pt x="35" y="8"/>
                      </a:cubicBezTo>
                      <a:cubicBezTo>
                        <a:pt x="31" y="5"/>
                        <a:pt x="28" y="3"/>
                        <a:pt x="22" y="3"/>
                      </a:cubicBezTo>
                      <a:cubicBezTo>
                        <a:pt x="16" y="4"/>
                        <a:pt x="16" y="0"/>
                        <a:pt x="11" y="3"/>
                      </a:cubicBezTo>
                      <a:cubicBezTo>
                        <a:pt x="7" y="6"/>
                        <a:pt x="5" y="8"/>
                        <a:pt x="4" y="12"/>
                      </a:cubicBezTo>
                      <a:cubicBezTo>
                        <a:pt x="4" y="15"/>
                        <a:pt x="0" y="18"/>
                        <a:pt x="6" y="19"/>
                      </a:cubicBezTo>
                      <a:cubicBezTo>
                        <a:pt x="12" y="21"/>
                        <a:pt x="12" y="21"/>
                        <a:pt x="19" y="21"/>
                      </a:cubicBezTo>
                      <a:cubicBezTo>
                        <a:pt x="26" y="21"/>
                        <a:pt x="31" y="20"/>
                        <a:pt x="33" y="22"/>
                      </a:cubicBezTo>
                      <a:cubicBezTo>
                        <a:pt x="35" y="24"/>
                        <a:pt x="35" y="24"/>
                        <a:pt x="40" y="26"/>
                      </a:cubicBezTo>
                      <a:cubicBezTo>
                        <a:pt x="45" y="28"/>
                        <a:pt x="48" y="26"/>
                        <a:pt x="57" y="30"/>
                      </a:cubicBezTo>
                      <a:cubicBezTo>
                        <a:pt x="63" y="32"/>
                        <a:pt x="64" y="31"/>
                        <a:pt x="68" y="33"/>
                      </a:cubicBezTo>
                      <a:cubicBezTo>
                        <a:pt x="73" y="34"/>
                        <a:pt x="76" y="32"/>
                        <a:pt x="77" y="37"/>
                      </a:cubicBezTo>
                      <a:cubicBezTo>
                        <a:pt x="78" y="43"/>
                        <a:pt x="75" y="45"/>
                        <a:pt x="81" y="46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grpSp>
              <p:nvGrpSpPr>
                <p:cNvPr id="418" name="Gruppieren 417"/>
                <p:cNvGrpSpPr/>
                <p:nvPr/>
              </p:nvGrpSpPr>
              <p:grpSpPr>
                <a:xfrm>
                  <a:off x="3927985" y="2709360"/>
                  <a:ext cx="3830240" cy="2583656"/>
                  <a:chOff x="3927985" y="2709360"/>
                  <a:chExt cx="3830240" cy="2583656"/>
                </a:xfrm>
                <a:grpFill/>
              </p:grpSpPr>
              <p:sp>
                <p:nvSpPr>
                  <p:cNvPr id="419" name="Freeform 209"/>
                  <p:cNvSpPr>
                    <a:spLocks/>
                  </p:cNvSpPr>
                  <p:nvPr/>
                </p:nvSpPr>
                <p:spPr bwMode="auto">
                  <a:xfrm>
                    <a:off x="4466147" y="3676147"/>
                    <a:ext cx="10716" cy="14287"/>
                  </a:xfrm>
                  <a:custGeom>
                    <a:avLst/>
                    <a:gdLst>
                      <a:gd name="T0" fmla="*/ 4 w 35"/>
                      <a:gd name="T1" fmla="*/ 49 h 51"/>
                      <a:gd name="T2" fmla="*/ 23 w 35"/>
                      <a:gd name="T3" fmla="*/ 51 h 51"/>
                      <a:gd name="T4" fmla="*/ 25 w 35"/>
                      <a:gd name="T5" fmla="*/ 51 h 51"/>
                      <a:gd name="T6" fmla="*/ 28 w 35"/>
                      <a:gd name="T7" fmla="*/ 51 h 51"/>
                      <a:gd name="T8" fmla="*/ 29 w 35"/>
                      <a:gd name="T9" fmla="*/ 51 h 51"/>
                      <a:gd name="T10" fmla="*/ 34 w 35"/>
                      <a:gd name="T11" fmla="*/ 31 h 51"/>
                      <a:gd name="T12" fmla="*/ 28 w 35"/>
                      <a:gd name="T13" fmla="*/ 21 h 51"/>
                      <a:gd name="T14" fmla="*/ 19 w 35"/>
                      <a:gd name="T15" fmla="*/ 15 h 51"/>
                      <a:gd name="T16" fmla="*/ 12 w 35"/>
                      <a:gd name="T17" fmla="*/ 2 h 51"/>
                      <a:gd name="T18" fmla="*/ 12 w 35"/>
                      <a:gd name="T19" fmla="*/ 0 h 51"/>
                      <a:gd name="T20" fmla="*/ 4 w 35"/>
                      <a:gd name="T21" fmla="*/ 7 h 51"/>
                      <a:gd name="T22" fmla="*/ 3 w 35"/>
                      <a:gd name="T23" fmla="*/ 31 h 51"/>
                      <a:gd name="T24" fmla="*/ 3 w 35"/>
                      <a:gd name="T25" fmla="*/ 31 h 51"/>
                      <a:gd name="T26" fmla="*/ 3 w 35"/>
                      <a:gd name="T27" fmla="*/ 31 h 51"/>
                      <a:gd name="T28" fmla="*/ 3 w 35"/>
                      <a:gd name="T29" fmla="*/ 31 h 51"/>
                      <a:gd name="T30" fmla="*/ 3 w 35"/>
                      <a:gd name="T31" fmla="*/ 48 h 51"/>
                      <a:gd name="T32" fmla="*/ 4 w 35"/>
                      <a:gd name="T33" fmla="*/ 49 h 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5" h="51">
                        <a:moveTo>
                          <a:pt x="4" y="49"/>
                        </a:moveTo>
                        <a:cubicBezTo>
                          <a:pt x="14" y="51"/>
                          <a:pt x="19" y="51"/>
                          <a:pt x="23" y="51"/>
                        </a:cubicBezTo>
                        <a:cubicBezTo>
                          <a:pt x="24" y="51"/>
                          <a:pt x="24" y="51"/>
                          <a:pt x="25" y="51"/>
                        </a:cubicBezTo>
                        <a:cubicBezTo>
                          <a:pt x="26" y="51"/>
                          <a:pt x="27" y="51"/>
                          <a:pt x="28" y="51"/>
                        </a:cubicBezTo>
                        <a:cubicBezTo>
                          <a:pt x="29" y="51"/>
                          <a:pt x="29" y="51"/>
                          <a:pt x="29" y="51"/>
                        </a:cubicBezTo>
                        <a:cubicBezTo>
                          <a:pt x="31" y="48"/>
                          <a:pt x="35" y="40"/>
                          <a:pt x="34" y="31"/>
                        </a:cubicBezTo>
                        <a:cubicBezTo>
                          <a:pt x="34" y="25"/>
                          <a:pt x="32" y="23"/>
                          <a:pt x="28" y="21"/>
                        </a:cubicBezTo>
                        <a:cubicBezTo>
                          <a:pt x="25" y="20"/>
                          <a:pt x="22" y="18"/>
                          <a:pt x="19" y="15"/>
                        </a:cubicBezTo>
                        <a:cubicBezTo>
                          <a:pt x="12" y="8"/>
                          <a:pt x="12" y="5"/>
                          <a:pt x="12" y="2"/>
                        </a:cubicBezTo>
                        <a:cubicBezTo>
                          <a:pt x="12" y="1"/>
                          <a:pt x="12" y="1"/>
                          <a:pt x="12" y="0"/>
                        </a:cubicBezTo>
                        <a:cubicBezTo>
                          <a:pt x="9" y="1"/>
                          <a:pt x="5" y="1"/>
                          <a:pt x="4" y="7"/>
                        </a:cubicBezTo>
                        <a:cubicBezTo>
                          <a:pt x="0" y="19"/>
                          <a:pt x="1" y="23"/>
                          <a:pt x="3" y="31"/>
                        </a:cubicBezTo>
                        <a:cubicBezTo>
                          <a:pt x="3" y="31"/>
                          <a:pt x="3" y="31"/>
                          <a:pt x="3" y="31"/>
                        </a:cubicBezTo>
                        <a:cubicBezTo>
                          <a:pt x="3" y="31"/>
                          <a:pt x="3" y="31"/>
                          <a:pt x="3" y="31"/>
                        </a:cubicBezTo>
                        <a:cubicBezTo>
                          <a:pt x="3" y="31"/>
                          <a:pt x="3" y="31"/>
                          <a:pt x="3" y="31"/>
                        </a:cubicBezTo>
                        <a:cubicBezTo>
                          <a:pt x="5" y="38"/>
                          <a:pt x="4" y="44"/>
                          <a:pt x="3" y="48"/>
                        </a:cubicBezTo>
                        <a:cubicBezTo>
                          <a:pt x="4" y="48"/>
                          <a:pt x="4" y="49"/>
                          <a:pt x="4" y="49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20" name="Freeform 242"/>
                  <p:cNvSpPr>
                    <a:spLocks/>
                  </p:cNvSpPr>
                  <p:nvPr/>
                </p:nvSpPr>
                <p:spPr bwMode="auto">
                  <a:xfrm>
                    <a:off x="5155519" y="3903557"/>
                    <a:ext cx="23812" cy="19050"/>
                  </a:xfrm>
                  <a:custGeom>
                    <a:avLst/>
                    <a:gdLst>
                      <a:gd name="T0" fmla="*/ 63 w 84"/>
                      <a:gd name="T1" fmla="*/ 26 h 65"/>
                      <a:gd name="T2" fmla="*/ 52 w 84"/>
                      <a:gd name="T3" fmla="*/ 23 h 65"/>
                      <a:gd name="T4" fmla="*/ 36 w 84"/>
                      <a:gd name="T5" fmla="*/ 16 h 65"/>
                      <a:gd name="T6" fmla="*/ 23 w 84"/>
                      <a:gd name="T7" fmla="*/ 5 h 65"/>
                      <a:gd name="T8" fmla="*/ 10 w 84"/>
                      <a:gd name="T9" fmla="*/ 0 h 65"/>
                      <a:gd name="T10" fmla="*/ 0 w 84"/>
                      <a:gd name="T11" fmla="*/ 1 h 65"/>
                      <a:gd name="T12" fmla="*/ 5 w 84"/>
                      <a:gd name="T13" fmla="*/ 4 h 65"/>
                      <a:gd name="T14" fmla="*/ 24 w 84"/>
                      <a:gd name="T15" fmla="*/ 22 h 65"/>
                      <a:gd name="T16" fmla="*/ 28 w 84"/>
                      <a:gd name="T17" fmla="*/ 28 h 65"/>
                      <a:gd name="T18" fmla="*/ 54 w 84"/>
                      <a:gd name="T19" fmla="*/ 55 h 65"/>
                      <a:gd name="T20" fmla="*/ 58 w 84"/>
                      <a:gd name="T21" fmla="*/ 57 h 65"/>
                      <a:gd name="T22" fmla="*/ 84 w 84"/>
                      <a:gd name="T23" fmla="*/ 65 h 65"/>
                      <a:gd name="T24" fmla="*/ 80 w 84"/>
                      <a:gd name="T25" fmla="*/ 49 h 65"/>
                      <a:gd name="T26" fmla="*/ 80 w 84"/>
                      <a:gd name="T27" fmla="*/ 48 h 65"/>
                      <a:gd name="T28" fmla="*/ 63 w 84"/>
                      <a:gd name="T29" fmla="*/ 26 h 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84" h="65">
                        <a:moveTo>
                          <a:pt x="63" y="26"/>
                        </a:moveTo>
                        <a:cubicBezTo>
                          <a:pt x="59" y="24"/>
                          <a:pt x="55" y="23"/>
                          <a:pt x="52" y="23"/>
                        </a:cubicBezTo>
                        <a:cubicBezTo>
                          <a:pt x="46" y="23"/>
                          <a:pt x="41" y="22"/>
                          <a:pt x="36" y="16"/>
                        </a:cubicBezTo>
                        <a:cubicBezTo>
                          <a:pt x="32" y="12"/>
                          <a:pt x="28" y="8"/>
                          <a:pt x="23" y="5"/>
                        </a:cubicBezTo>
                        <a:cubicBezTo>
                          <a:pt x="19" y="2"/>
                          <a:pt x="14" y="1"/>
                          <a:pt x="10" y="0"/>
                        </a:cubicBezTo>
                        <a:cubicBezTo>
                          <a:pt x="5" y="0"/>
                          <a:pt x="2" y="0"/>
                          <a:pt x="0" y="1"/>
                        </a:cubicBezTo>
                        <a:cubicBezTo>
                          <a:pt x="2" y="2"/>
                          <a:pt x="4" y="3"/>
                          <a:pt x="5" y="4"/>
                        </a:cubicBezTo>
                        <a:cubicBezTo>
                          <a:pt x="12" y="9"/>
                          <a:pt x="19" y="16"/>
                          <a:pt x="24" y="22"/>
                        </a:cubicBezTo>
                        <a:cubicBezTo>
                          <a:pt x="25" y="24"/>
                          <a:pt x="27" y="26"/>
                          <a:pt x="28" y="28"/>
                        </a:cubicBezTo>
                        <a:cubicBezTo>
                          <a:pt x="36" y="39"/>
                          <a:pt x="45" y="52"/>
                          <a:pt x="54" y="55"/>
                        </a:cubicBezTo>
                        <a:cubicBezTo>
                          <a:pt x="55" y="56"/>
                          <a:pt x="57" y="56"/>
                          <a:pt x="58" y="57"/>
                        </a:cubicBezTo>
                        <a:cubicBezTo>
                          <a:pt x="65" y="59"/>
                          <a:pt x="74" y="63"/>
                          <a:pt x="84" y="65"/>
                        </a:cubicBezTo>
                        <a:cubicBezTo>
                          <a:pt x="83" y="59"/>
                          <a:pt x="83" y="55"/>
                          <a:pt x="80" y="49"/>
                        </a:cubicBezTo>
                        <a:cubicBezTo>
                          <a:pt x="80" y="48"/>
                          <a:pt x="80" y="48"/>
                          <a:pt x="80" y="48"/>
                        </a:cubicBezTo>
                        <a:cubicBezTo>
                          <a:pt x="76" y="40"/>
                          <a:pt x="72" y="30"/>
                          <a:pt x="63" y="26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21" name="Freeform 401"/>
                  <p:cNvSpPr>
                    <a:spLocks/>
                  </p:cNvSpPr>
                  <p:nvPr/>
                </p:nvSpPr>
                <p:spPr bwMode="auto">
                  <a:xfrm>
                    <a:off x="4878103" y="4669129"/>
                    <a:ext cx="30956" cy="28575"/>
                  </a:xfrm>
                  <a:custGeom>
                    <a:avLst/>
                    <a:gdLst>
                      <a:gd name="T0" fmla="*/ 104 w 108"/>
                      <a:gd name="T1" fmla="*/ 68 h 98"/>
                      <a:gd name="T2" fmla="*/ 106 w 108"/>
                      <a:gd name="T3" fmla="*/ 60 h 98"/>
                      <a:gd name="T4" fmla="*/ 107 w 108"/>
                      <a:gd name="T5" fmla="*/ 37 h 98"/>
                      <a:gd name="T6" fmla="*/ 102 w 108"/>
                      <a:gd name="T7" fmla="*/ 23 h 98"/>
                      <a:gd name="T8" fmla="*/ 99 w 108"/>
                      <a:gd name="T9" fmla="*/ 18 h 98"/>
                      <a:gd name="T10" fmla="*/ 86 w 108"/>
                      <a:gd name="T11" fmla="*/ 0 h 98"/>
                      <a:gd name="T12" fmla="*/ 84 w 108"/>
                      <a:gd name="T13" fmla="*/ 3 h 98"/>
                      <a:gd name="T14" fmla="*/ 81 w 108"/>
                      <a:gd name="T15" fmla="*/ 5 h 98"/>
                      <a:gd name="T16" fmla="*/ 63 w 108"/>
                      <a:gd name="T17" fmla="*/ 19 h 98"/>
                      <a:gd name="T18" fmla="*/ 53 w 108"/>
                      <a:gd name="T19" fmla="*/ 18 h 98"/>
                      <a:gd name="T20" fmla="*/ 47 w 108"/>
                      <a:gd name="T21" fmla="*/ 15 h 98"/>
                      <a:gd name="T22" fmla="*/ 34 w 108"/>
                      <a:gd name="T23" fmla="*/ 14 h 98"/>
                      <a:gd name="T24" fmla="*/ 25 w 108"/>
                      <a:gd name="T25" fmla="*/ 26 h 98"/>
                      <a:gd name="T26" fmla="*/ 18 w 108"/>
                      <a:gd name="T27" fmla="*/ 34 h 98"/>
                      <a:gd name="T28" fmla="*/ 18 w 108"/>
                      <a:gd name="T29" fmla="*/ 34 h 98"/>
                      <a:gd name="T30" fmla="*/ 13 w 108"/>
                      <a:gd name="T31" fmla="*/ 61 h 98"/>
                      <a:gd name="T32" fmla="*/ 13 w 108"/>
                      <a:gd name="T33" fmla="*/ 61 h 98"/>
                      <a:gd name="T34" fmla="*/ 13 w 108"/>
                      <a:gd name="T35" fmla="*/ 62 h 98"/>
                      <a:gd name="T36" fmla="*/ 13 w 108"/>
                      <a:gd name="T37" fmla="*/ 62 h 98"/>
                      <a:gd name="T38" fmla="*/ 7 w 108"/>
                      <a:gd name="T39" fmla="*/ 71 h 98"/>
                      <a:gd name="T40" fmla="*/ 0 w 108"/>
                      <a:gd name="T41" fmla="*/ 78 h 98"/>
                      <a:gd name="T42" fmla="*/ 1 w 108"/>
                      <a:gd name="T43" fmla="*/ 79 h 98"/>
                      <a:gd name="T44" fmla="*/ 16 w 108"/>
                      <a:gd name="T45" fmla="*/ 87 h 98"/>
                      <a:gd name="T46" fmla="*/ 23 w 108"/>
                      <a:gd name="T47" fmla="*/ 93 h 98"/>
                      <a:gd name="T48" fmla="*/ 36 w 108"/>
                      <a:gd name="T49" fmla="*/ 95 h 98"/>
                      <a:gd name="T50" fmla="*/ 43 w 108"/>
                      <a:gd name="T51" fmla="*/ 88 h 98"/>
                      <a:gd name="T52" fmla="*/ 53 w 108"/>
                      <a:gd name="T53" fmla="*/ 76 h 98"/>
                      <a:gd name="T54" fmla="*/ 68 w 108"/>
                      <a:gd name="T55" fmla="*/ 69 h 98"/>
                      <a:gd name="T56" fmla="*/ 81 w 108"/>
                      <a:gd name="T57" fmla="*/ 68 h 98"/>
                      <a:gd name="T58" fmla="*/ 98 w 108"/>
                      <a:gd name="T59" fmla="*/ 74 h 98"/>
                      <a:gd name="T60" fmla="*/ 104 w 108"/>
                      <a:gd name="T61" fmla="*/ 68 h 9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</a:cxnLst>
                    <a:rect l="0" t="0" r="r" b="b"/>
                    <a:pathLst>
                      <a:path w="108" h="98">
                        <a:moveTo>
                          <a:pt x="104" y="68"/>
                        </a:moveTo>
                        <a:cubicBezTo>
                          <a:pt x="105" y="68"/>
                          <a:pt x="106" y="64"/>
                          <a:pt x="106" y="60"/>
                        </a:cubicBezTo>
                        <a:cubicBezTo>
                          <a:pt x="107" y="52"/>
                          <a:pt x="108" y="44"/>
                          <a:pt x="107" y="37"/>
                        </a:cubicBezTo>
                        <a:cubicBezTo>
                          <a:pt x="106" y="29"/>
                          <a:pt x="105" y="27"/>
                          <a:pt x="102" y="23"/>
                        </a:cubicBezTo>
                        <a:cubicBezTo>
                          <a:pt x="101" y="21"/>
                          <a:pt x="100" y="20"/>
                          <a:pt x="99" y="18"/>
                        </a:cubicBezTo>
                        <a:cubicBezTo>
                          <a:pt x="96" y="12"/>
                          <a:pt x="89" y="4"/>
                          <a:pt x="86" y="0"/>
                        </a:cubicBezTo>
                        <a:cubicBezTo>
                          <a:pt x="85" y="1"/>
                          <a:pt x="85" y="2"/>
                          <a:pt x="84" y="3"/>
                        </a:cubicBezTo>
                        <a:cubicBezTo>
                          <a:pt x="83" y="4"/>
                          <a:pt x="82" y="4"/>
                          <a:pt x="81" y="5"/>
                        </a:cubicBezTo>
                        <a:cubicBezTo>
                          <a:pt x="75" y="12"/>
                          <a:pt x="68" y="18"/>
                          <a:pt x="63" y="19"/>
                        </a:cubicBezTo>
                        <a:cubicBezTo>
                          <a:pt x="58" y="21"/>
                          <a:pt x="56" y="20"/>
                          <a:pt x="53" y="18"/>
                        </a:cubicBezTo>
                        <a:cubicBezTo>
                          <a:pt x="51" y="17"/>
                          <a:pt x="49" y="16"/>
                          <a:pt x="47" y="15"/>
                        </a:cubicBezTo>
                        <a:cubicBezTo>
                          <a:pt x="41" y="13"/>
                          <a:pt x="36" y="13"/>
                          <a:pt x="34" y="14"/>
                        </a:cubicBezTo>
                        <a:cubicBezTo>
                          <a:pt x="32" y="18"/>
                          <a:pt x="29" y="22"/>
                          <a:pt x="25" y="26"/>
                        </a:cubicBezTo>
                        <a:cubicBezTo>
                          <a:pt x="22" y="28"/>
                          <a:pt x="20" y="31"/>
                          <a:pt x="18" y="34"/>
                        </a:cubicBezTo>
                        <a:cubicBezTo>
                          <a:pt x="18" y="34"/>
                          <a:pt x="18" y="34"/>
                          <a:pt x="18" y="34"/>
                        </a:cubicBezTo>
                        <a:cubicBezTo>
                          <a:pt x="14" y="40"/>
                          <a:pt x="14" y="55"/>
                          <a:pt x="13" y="61"/>
                        </a:cubicBezTo>
                        <a:cubicBezTo>
                          <a:pt x="13" y="61"/>
                          <a:pt x="13" y="61"/>
                          <a:pt x="13" y="61"/>
                        </a:cubicBezTo>
                        <a:cubicBezTo>
                          <a:pt x="13" y="62"/>
                          <a:pt x="13" y="62"/>
                          <a:pt x="13" y="62"/>
                        </a:cubicBezTo>
                        <a:cubicBezTo>
                          <a:pt x="13" y="62"/>
                          <a:pt x="13" y="62"/>
                          <a:pt x="13" y="62"/>
                        </a:cubicBezTo>
                        <a:cubicBezTo>
                          <a:pt x="13" y="65"/>
                          <a:pt x="10" y="68"/>
                          <a:pt x="7" y="71"/>
                        </a:cubicBezTo>
                        <a:cubicBezTo>
                          <a:pt x="4" y="73"/>
                          <a:pt x="2" y="76"/>
                          <a:pt x="0" y="78"/>
                        </a:cubicBezTo>
                        <a:cubicBezTo>
                          <a:pt x="1" y="79"/>
                          <a:pt x="1" y="79"/>
                          <a:pt x="1" y="79"/>
                        </a:cubicBezTo>
                        <a:cubicBezTo>
                          <a:pt x="4" y="80"/>
                          <a:pt x="6" y="80"/>
                          <a:pt x="16" y="87"/>
                        </a:cubicBezTo>
                        <a:cubicBezTo>
                          <a:pt x="19" y="89"/>
                          <a:pt x="21" y="91"/>
                          <a:pt x="23" y="93"/>
                        </a:cubicBezTo>
                        <a:cubicBezTo>
                          <a:pt x="29" y="97"/>
                          <a:pt x="31" y="98"/>
                          <a:pt x="36" y="95"/>
                        </a:cubicBezTo>
                        <a:cubicBezTo>
                          <a:pt x="40" y="93"/>
                          <a:pt x="41" y="91"/>
                          <a:pt x="43" y="88"/>
                        </a:cubicBezTo>
                        <a:cubicBezTo>
                          <a:pt x="45" y="84"/>
                          <a:pt x="47" y="80"/>
                          <a:pt x="53" y="76"/>
                        </a:cubicBezTo>
                        <a:cubicBezTo>
                          <a:pt x="58" y="72"/>
                          <a:pt x="63" y="70"/>
                          <a:pt x="68" y="69"/>
                        </a:cubicBezTo>
                        <a:cubicBezTo>
                          <a:pt x="72" y="67"/>
                          <a:pt x="77" y="67"/>
                          <a:pt x="81" y="68"/>
                        </a:cubicBezTo>
                        <a:cubicBezTo>
                          <a:pt x="87" y="69"/>
                          <a:pt x="94" y="72"/>
                          <a:pt x="98" y="74"/>
                        </a:cubicBezTo>
                        <a:cubicBezTo>
                          <a:pt x="100" y="71"/>
                          <a:pt x="102" y="69"/>
                          <a:pt x="104" y="68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22" name="Freeform 402"/>
                  <p:cNvSpPr>
                    <a:spLocks/>
                  </p:cNvSpPr>
                  <p:nvPr/>
                </p:nvSpPr>
                <p:spPr bwMode="auto">
                  <a:xfrm>
                    <a:off x="4662600" y="3691626"/>
                    <a:ext cx="100012" cy="38100"/>
                  </a:xfrm>
                  <a:custGeom>
                    <a:avLst/>
                    <a:gdLst>
                      <a:gd name="T0" fmla="*/ 335 w 349"/>
                      <a:gd name="T1" fmla="*/ 50 h 133"/>
                      <a:gd name="T2" fmla="*/ 349 w 349"/>
                      <a:gd name="T3" fmla="*/ 35 h 133"/>
                      <a:gd name="T4" fmla="*/ 349 w 349"/>
                      <a:gd name="T5" fmla="*/ 35 h 133"/>
                      <a:gd name="T6" fmla="*/ 349 w 349"/>
                      <a:gd name="T7" fmla="*/ 35 h 133"/>
                      <a:gd name="T8" fmla="*/ 330 w 349"/>
                      <a:gd name="T9" fmla="*/ 28 h 133"/>
                      <a:gd name="T10" fmla="*/ 312 w 349"/>
                      <a:gd name="T11" fmla="*/ 18 h 133"/>
                      <a:gd name="T12" fmla="*/ 294 w 349"/>
                      <a:gd name="T13" fmla="*/ 10 h 133"/>
                      <a:gd name="T14" fmla="*/ 272 w 349"/>
                      <a:gd name="T15" fmla="*/ 13 h 133"/>
                      <a:gd name="T16" fmla="*/ 265 w 349"/>
                      <a:gd name="T17" fmla="*/ 16 h 133"/>
                      <a:gd name="T18" fmla="*/ 246 w 349"/>
                      <a:gd name="T19" fmla="*/ 18 h 133"/>
                      <a:gd name="T20" fmla="*/ 227 w 349"/>
                      <a:gd name="T21" fmla="*/ 16 h 133"/>
                      <a:gd name="T22" fmla="*/ 213 w 349"/>
                      <a:gd name="T23" fmla="*/ 15 h 133"/>
                      <a:gd name="T24" fmla="*/ 198 w 349"/>
                      <a:gd name="T25" fmla="*/ 20 h 133"/>
                      <a:gd name="T26" fmla="*/ 177 w 349"/>
                      <a:gd name="T27" fmla="*/ 16 h 133"/>
                      <a:gd name="T28" fmla="*/ 164 w 349"/>
                      <a:gd name="T29" fmla="*/ 3 h 133"/>
                      <a:gd name="T30" fmla="*/ 157 w 349"/>
                      <a:gd name="T31" fmla="*/ 0 h 133"/>
                      <a:gd name="T32" fmla="*/ 157 w 349"/>
                      <a:gd name="T33" fmla="*/ 0 h 133"/>
                      <a:gd name="T34" fmla="*/ 145 w 349"/>
                      <a:gd name="T35" fmla="*/ 4 h 133"/>
                      <a:gd name="T36" fmla="*/ 125 w 349"/>
                      <a:gd name="T37" fmla="*/ 7 h 133"/>
                      <a:gd name="T38" fmla="*/ 113 w 349"/>
                      <a:gd name="T39" fmla="*/ 0 h 133"/>
                      <a:gd name="T40" fmla="*/ 99 w 349"/>
                      <a:gd name="T41" fmla="*/ 6 h 133"/>
                      <a:gd name="T42" fmla="*/ 88 w 349"/>
                      <a:gd name="T43" fmla="*/ 14 h 133"/>
                      <a:gd name="T44" fmla="*/ 81 w 349"/>
                      <a:gd name="T45" fmla="*/ 24 h 133"/>
                      <a:gd name="T46" fmla="*/ 52 w 349"/>
                      <a:gd name="T47" fmla="*/ 48 h 133"/>
                      <a:gd name="T48" fmla="*/ 52 w 349"/>
                      <a:gd name="T49" fmla="*/ 48 h 133"/>
                      <a:gd name="T50" fmla="*/ 49 w 349"/>
                      <a:gd name="T51" fmla="*/ 49 h 133"/>
                      <a:gd name="T52" fmla="*/ 29 w 349"/>
                      <a:gd name="T53" fmla="*/ 55 h 133"/>
                      <a:gd name="T54" fmla="*/ 22 w 349"/>
                      <a:gd name="T55" fmla="*/ 55 h 133"/>
                      <a:gd name="T56" fmla="*/ 10 w 349"/>
                      <a:gd name="T57" fmla="*/ 62 h 133"/>
                      <a:gd name="T58" fmla="*/ 8 w 349"/>
                      <a:gd name="T59" fmla="*/ 65 h 133"/>
                      <a:gd name="T60" fmla="*/ 3 w 349"/>
                      <a:gd name="T61" fmla="*/ 72 h 133"/>
                      <a:gd name="T62" fmla="*/ 1 w 349"/>
                      <a:gd name="T63" fmla="*/ 82 h 133"/>
                      <a:gd name="T64" fmla="*/ 9 w 349"/>
                      <a:gd name="T65" fmla="*/ 98 h 133"/>
                      <a:gd name="T66" fmla="*/ 11 w 349"/>
                      <a:gd name="T67" fmla="*/ 102 h 133"/>
                      <a:gd name="T68" fmla="*/ 19 w 349"/>
                      <a:gd name="T69" fmla="*/ 110 h 133"/>
                      <a:gd name="T70" fmla="*/ 32 w 349"/>
                      <a:gd name="T71" fmla="*/ 119 h 133"/>
                      <a:gd name="T72" fmla="*/ 44 w 349"/>
                      <a:gd name="T73" fmla="*/ 127 h 133"/>
                      <a:gd name="T74" fmla="*/ 53 w 349"/>
                      <a:gd name="T75" fmla="*/ 132 h 133"/>
                      <a:gd name="T76" fmla="*/ 73 w 349"/>
                      <a:gd name="T77" fmla="*/ 132 h 133"/>
                      <a:gd name="T78" fmla="*/ 100 w 349"/>
                      <a:gd name="T79" fmla="*/ 129 h 133"/>
                      <a:gd name="T80" fmla="*/ 110 w 349"/>
                      <a:gd name="T81" fmla="*/ 124 h 133"/>
                      <a:gd name="T82" fmla="*/ 112 w 349"/>
                      <a:gd name="T83" fmla="*/ 117 h 133"/>
                      <a:gd name="T84" fmla="*/ 133 w 349"/>
                      <a:gd name="T85" fmla="*/ 104 h 133"/>
                      <a:gd name="T86" fmla="*/ 137 w 349"/>
                      <a:gd name="T87" fmla="*/ 102 h 133"/>
                      <a:gd name="T88" fmla="*/ 151 w 349"/>
                      <a:gd name="T89" fmla="*/ 97 h 133"/>
                      <a:gd name="T90" fmla="*/ 167 w 349"/>
                      <a:gd name="T91" fmla="*/ 96 h 133"/>
                      <a:gd name="T92" fmla="*/ 179 w 349"/>
                      <a:gd name="T93" fmla="*/ 97 h 133"/>
                      <a:gd name="T94" fmla="*/ 196 w 349"/>
                      <a:gd name="T95" fmla="*/ 97 h 133"/>
                      <a:gd name="T96" fmla="*/ 212 w 349"/>
                      <a:gd name="T97" fmla="*/ 84 h 133"/>
                      <a:gd name="T98" fmla="*/ 227 w 349"/>
                      <a:gd name="T99" fmla="*/ 71 h 133"/>
                      <a:gd name="T100" fmla="*/ 241 w 349"/>
                      <a:gd name="T101" fmla="*/ 69 h 133"/>
                      <a:gd name="T102" fmla="*/ 261 w 349"/>
                      <a:gd name="T103" fmla="*/ 69 h 133"/>
                      <a:gd name="T104" fmla="*/ 279 w 349"/>
                      <a:gd name="T105" fmla="*/ 70 h 133"/>
                      <a:gd name="T106" fmla="*/ 291 w 349"/>
                      <a:gd name="T107" fmla="*/ 76 h 133"/>
                      <a:gd name="T108" fmla="*/ 300 w 349"/>
                      <a:gd name="T109" fmla="*/ 82 h 133"/>
                      <a:gd name="T110" fmla="*/ 310 w 349"/>
                      <a:gd name="T111" fmla="*/ 84 h 133"/>
                      <a:gd name="T112" fmla="*/ 323 w 349"/>
                      <a:gd name="T113" fmla="*/ 81 h 133"/>
                      <a:gd name="T114" fmla="*/ 324 w 349"/>
                      <a:gd name="T115" fmla="*/ 80 h 133"/>
                      <a:gd name="T116" fmla="*/ 324 w 349"/>
                      <a:gd name="T117" fmla="*/ 75 h 133"/>
                      <a:gd name="T118" fmla="*/ 327 w 349"/>
                      <a:gd name="T119" fmla="*/ 65 h 133"/>
                      <a:gd name="T120" fmla="*/ 333 w 349"/>
                      <a:gd name="T121" fmla="*/ 54 h 133"/>
                      <a:gd name="T122" fmla="*/ 335 w 349"/>
                      <a:gd name="T123" fmla="*/ 50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349" h="133">
                        <a:moveTo>
                          <a:pt x="335" y="50"/>
                        </a:moveTo>
                        <a:cubicBezTo>
                          <a:pt x="339" y="44"/>
                          <a:pt x="343" y="38"/>
                          <a:pt x="349" y="35"/>
                        </a:cubicBezTo>
                        <a:cubicBezTo>
                          <a:pt x="349" y="35"/>
                          <a:pt x="349" y="35"/>
                          <a:pt x="349" y="35"/>
                        </a:cubicBezTo>
                        <a:cubicBezTo>
                          <a:pt x="349" y="35"/>
                          <a:pt x="349" y="35"/>
                          <a:pt x="349" y="35"/>
                        </a:cubicBezTo>
                        <a:cubicBezTo>
                          <a:pt x="345" y="34"/>
                          <a:pt x="340" y="32"/>
                          <a:pt x="330" y="28"/>
                        </a:cubicBezTo>
                        <a:cubicBezTo>
                          <a:pt x="321" y="25"/>
                          <a:pt x="317" y="22"/>
                          <a:pt x="312" y="18"/>
                        </a:cubicBezTo>
                        <a:cubicBezTo>
                          <a:pt x="307" y="15"/>
                          <a:pt x="303" y="11"/>
                          <a:pt x="294" y="10"/>
                        </a:cubicBezTo>
                        <a:cubicBezTo>
                          <a:pt x="283" y="9"/>
                          <a:pt x="278" y="11"/>
                          <a:pt x="272" y="13"/>
                        </a:cubicBezTo>
                        <a:cubicBezTo>
                          <a:pt x="270" y="14"/>
                          <a:pt x="267" y="15"/>
                          <a:pt x="265" y="16"/>
                        </a:cubicBezTo>
                        <a:cubicBezTo>
                          <a:pt x="259" y="17"/>
                          <a:pt x="253" y="18"/>
                          <a:pt x="246" y="18"/>
                        </a:cubicBezTo>
                        <a:cubicBezTo>
                          <a:pt x="240" y="18"/>
                          <a:pt x="233" y="17"/>
                          <a:pt x="227" y="16"/>
                        </a:cubicBezTo>
                        <a:cubicBezTo>
                          <a:pt x="222" y="14"/>
                          <a:pt x="218" y="14"/>
                          <a:pt x="213" y="15"/>
                        </a:cubicBezTo>
                        <a:cubicBezTo>
                          <a:pt x="209" y="16"/>
                          <a:pt x="204" y="17"/>
                          <a:pt x="198" y="20"/>
                        </a:cubicBezTo>
                        <a:cubicBezTo>
                          <a:pt x="190" y="23"/>
                          <a:pt x="183" y="20"/>
                          <a:pt x="177" y="16"/>
                        </a:cubicBezTo>
                        <a:cubicBezTo>
                          <a:pt x="171" y="12"/>
                          <a:pt x="167" y="7"/>
                          <a:pt x="164" y="3"/>
                        </a:cubicBezTo>
                        <a:cubicBezTo>
                          <a:pt x="163" y="1"/>
                          <a:pt x="160" y="0"/>
                          <a:pt x="157" y="0"/>
                        </a:cubicBezTo>
                        <a:cubicBezTo>
                          <a:pt x="157" y="0"/>
                          <a:pt x="157" y="0"/>
                          <a:pt x="157" y="0"/>
                        </a:cubicBezTo>
                        <a:cubicBezTo>
                          <a:pt x="154" y="0"/>
                          <a:pt x="150" y="1"/>
                          <a:pt x="145" y="4"/>
                        </a:cubicBezTo>
                        <a:cubicBezTo>
                          <a:pt x="139" y="7"/>
                          <a:pt x="132" y="9"/>
                          <a:pt x="125" y="7"/>
                        </a:cubicBezTo>
                        <a:cubicBezTo>
                          <a:pt x="120" y="7"/>
                          <a:pt x="116" y="4"/>
                          <a:pt x="113" y="0"/>
                        </a:cubicBezTo>
                        <a:cubicBezTo>
                          <a:pt x="110" y="1"/>
                          <a:pt x="101" y="6"/>
                          <a:pt x="99" y="6"/>
                        </a:cubicBezTo>
                        <a:cubicBezTo>
                          <a:pt x="98" y="7"/>
                          <a:pt x="93" y="10"/>
                          <a:pt x="88" y="14"/>
                        </a:cubicBezTo>
                        <a:cubicBezTo>
                          <a:pt x="85" y="17"/>
                          <a:pt x="83" y="20"/>
                          <a:pt x="81" y="24"/>
                        </a:cubicBezTo>
                        <a:cubicBezTo>
                          <a:pt x="77" y="35"/>
                          <a:pt x="65" y="41"/>
                          <a:pt x="52" y="48"/>
                        </a:cubicBezTo>
                        <a:cubicBezTo>
                          <a:pt x="52" y="48"/>
                          <a:pt x="52" y="48"/>
                          <a:pt x="52" y="48"/>
                        </a:cubicBezTo>
                        <a:cubicBezTo>
                          <a:pt x="49" y="49"/>
                          <a:pt x="49" y="49"/>
                          <a:pt x="49" y="49"/>
                        </a:cubicBezTo>
                        <a:cubicBezTo>
                          <a:pt x="38" y="55"/>
                          <a:pt x="34" y="55"/>
                          <a:pt x="29" y="55"/>
                        </a:cubicBezTo>
                        <a:cubicBezTo>
                          <a:pt x="27" y="55"/>
                          <a:pt x="25" y="55"/>
                          <a:pt x="22" y="55"/>
                        </a:cubicBezTo>
                        <a:cubicBezTo>
                          <a:pt x="14" y="56"/>
                          <a:pt x="13" y="59"/>
                          <a:pt x="10" y="62"/>
                        </a:cubicBezTo>
                        <a:cubicBezTo>
                          <a:pt x="10" y="63"/>
                          <a:pt x="9" y="64"/>
                          <a:pt x="8" y="65"/>
                        </a:cubicBezTo>
                        <a:cubicBezTo>
                          <a:pt x="6" y="68"/>
                          <a:pt x="4" y="70"/>
                          <a:pt x="3" y="72"/>
                        </a:cubicBezTo>
                        <a:cubicBezTo>
                          <a:pt x="2" y="75"/>
                          <a:pt x="2" y="78"/>
                          <a:pt x="1" y="82"/>
                        </a:cubicBezTo>
                        <a:cubicBezTo>
                          <a:pt x="0" y="87"/>
                          <a:pt x="5" y="93"/>
                          <a:pt x="9" y="98"/>
                        </a:cubicBezTo>
                        <a:cubicBezTo>
                          <a:pt x="10" y="100"/>
                          <a:pt x="10" y="101"/>
                          <a:pt x="11" y="102"/>
                        </a:cubicBezTo>
                        <a:cubicBezTo>
                          <a:pt x="14" y="105"/>
                          <a:pt x="16" y="108"/>
                          <a:pt x="19" y="110"/>
                        </a:cubicBezTo>
                        <a:cubicBezTo>
                          <a:pt x="22" y="112"/>
                          <a:pt x="26" y="115"/>
                          <a:pt x="32" y="119"/>
                        </a:cubicBezTo>
                        <a:cubicBezTo>
                          <a:pt x="38" y="122"/>
                          <a:pt x="41" y="125"/>
                          <a:pt x="44" y="127"/>
                        </a:cubicBezTo>
                        <a:cubicBezTo>
                          <a:pt x="46" y="129"/>
                          <a:pt x="48" y="130"/>
                          <a:pt x="53" y="132"/>
                        </a:cubicBezTo>
                        <a:cubicBezTo>
                          <a:pt x="58" y="133"/>
                          <a:pt x="65" y="133"/>
                          <a:pt x="73" y="132"/>
                        </a:cubicBezTo>
                        <a:cubicBezTo>
                          <a:pt x="82" y="132"/>
                          <a:pt x="91" y="131"/>
                          <a:pt x="100" y="129"/>
                        </a:cubicBezTo>
                        <a:cubicBezTo>
                          <a:pt x="110" y="128"/>
                          <a:pt x="110" y="127"/>
                          <a:pt x="110" y="124"/>
                        </a:cubicBezTo>
                        <a:cubicBezTo>
                          <a:pt x="111" y="122"/>
                          <a:pt x="111" y="120"/>
                          <a:pt x="112" y="117"/>
                        </a:cubicBezTo>
                        <a:cubicBezTo>
                          <a:pt x="116" y="111"/>
                          <a:pt x="126" y="107"/>
                          <a:pt x="133" y="104"/>
                        </a:cubicBezTo>
                        <a:cubicBezTo>
                          <a:pt x="135" y="103"/>
                          <a:pt x="136" y="102"/>
                          <a:pt x="137" y="102"/>
                        </a:cubicBezTo>
                        <a:cubicBezTo>
                          <a:pt x="141" y="100"/>
                          <a:pt x="146" y="98"/>
                          <a:pt x="151" y="97"/>
                        </a:cubicBezTo>
                        <a:cubicBezTo>
                          <a:pt x="155" y="96"/>
                          <a:pt x="161" y="96"/>
                          <a:pt x="167" y="96"/>
                        </a:cubicBezTo>
                        <a:cubicBezTo>
                          <a:pt x="171" y="96"/>
                          <a:pt x="175" y="97"/>
                          <a:pt x="179" y="97"/>
                        </a:cubicBezTo>
                        <a:cubicBezTo>
                          <a:pt x="185" y="99"/>
                          <a:pt x="191" y="100"/>
                          <a:pt x="196" y="97"/>
                        </a:cubicBezTo>
                        <a:cubicBezTo>
                          <a:pt x="201" y="95"/>
                          <a:pt x="206" y="89"/>
                          <a:pt x="212" y="84"/>
                        </a:cubicBezTo>
                        <a:cubicBezTo>
                          <a:pt x="218" y="78"/>
                          <a:pt x="223" y="73"/>
                          <a:pt x="227" y="71"/>
                        </a:cubicBezTo>
                        <a:cubicBezTo>
                          <a:pt x="231" y="70"/>
                          <a:pt x="235" y="69"/>
                          <a:pt x="241" y="69"/>
                        </a:cubicBezTo>
                        <a:cubicBezTo>
                          <a:pt x="246" y="69"/>
                          <a:pt x="253" y="69"/>
                          <a:pt x="261" y="69"/>
                        </a:cubicBezTo>
                        <a:cubicBezTo>
                          <a:pt x="269" y="69"/>
                          <a:pt x="275" y="69"/>
                          <a:pt x="279" y="70"/>
                        </a:cubicBezTo>
                        <a:cubicBezTo>
                          <a:pt x="284" y="71"/>
                          <a:pt x="287" y="73"/>
                          <a:pt x="291" y="76"/>
                        </a:cubicBezTo>
                        <a:cubicBezTo>
                          <a:pt x="295" y="79"/>
                          <a:pt x="297" y="81"/>
                          <a:pt x="300" y="82"/>
                        </a:cubicBezTo>
                        <a:cubicBezTo>
                          <a:pt x="303" y="83"/>
                          <a:pt x="306" y="84"/>
                          <a:pt x="310" y="84"/>
                        </a:cubicBezTo>
                        <a:cubicBezTo>
                          <a:pt x="317" y="84"/>
                          <a:pt x="320" y="83"/>
                          <a:pt x="323" y="81"/>
                        </a:cubicBezTo>
                        <a:cubicBezTo>
                          <a:pt x="324" y="80"/>
                          <a:pt x="324" y="80"/>
                          <a:pt x="324" y="80"/>
                        </a:cubicBezTo>
                        <a:cubicBezTo>
                          <a:pt x="324" y="78"/>
                          <a:pt x="324" y="77"/>
                          <a:pt x="324" y="75"/>
                        </a:cubicBezTo>
                        <a:cubicBezTo>
                          <a:pt x="324" y="71"/>
                          <a:pt x="325" y="68"/>
                          <a:pt x="327" y="65"/>
                        </a:cubicBezTo>
                        <a:cubicBezTo>
                          <a:pt x="328" y="61"/>
                          <a:pt x="330" y="58"/>
                          <a:pt x="333" y="54"/>
                        </a:cubicBezTo>
                        <a:cubicBezTo>
                          <a:pt x="334" y="53"/>
                          <a:pt x="334" y="52"/>
                          <a:pt x="335" y="50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23" name="Freeform 413"/>
                  <p:cNvSpPr>
                    <a:spLocks/>
                  </p:cNvSpPr>
                  <p:nvPr/>
                </p:nvSpPr>
                <p:spPr bwMode="auto">
                  <a:xfrm>
                    <a:off x="4972163" y="4039288"/>
                    <a:ext cx="20241" cy="70247"/>
                  </a:xfrm>
                  <a:custGeom>
                    <a:avLst/>
                    <a:gdLst>
                      <a:gd name="T0" fmla="*/ 14 w 73"/>
                      <a:gd name="T1" fmla="*/ 96 h 247"/>
                      <a:gd name="T2" fmla="*/ 0 w 73"/>
                      <a:gd name="T3" fmla="*/ 113 h 247"/>
                      <a:gd name="T4" fmla="*/ 35 w 73"/>
                      <a:gd name="T5" fmla="*/ 247 h 247"/>
                      <a:gd name="T6" fmla="*/ 51 w 73"/>
                      <a:gd name="T7" fmla="*/ 185 h 247"/>
                      <a:gd name="T8" fmla="*/ 58 w 73"/>
                      <a:gd name="T9" fmla="*/ 153 h 247"/>
                      <a:gd name="T10" fmla="*/ 64 w 73"/>
                      <a:gd name="T11" fmla="*/ 124 h 247"/>
                      <a:gd name="T12" fmla="*/ 53 w 73"/>
                      <a:gd name="T13" fmla="*/ 123 h 247"/>
                      <a:gd name="T14" fmla="*/ 39 w 73"/>
                      <a:gd name="T15" fmla="*/ 116 h 247"/>
                      <a:gd name="T16" fmla="*/ 37 w 73"/>
                      <a:gd name="T17" fmla="*/ 106 h 247"/>
                      <a:gd name="T18" fmla="*/ 43 w 73"/>
                      <a:gd name="T19" fmla="*/ 95 h 247"/>
                      <a:gd name="T20" fmla="*/ 42 w 73"/>
                      <a:gd name="T21" fmla="*/ 84 h 247"/>
                      <a:gd name="T22" fmla="*/ 37 w 73"/>
                      <a:gd name="T23" fmla="*/ 67 h 247"/>
                      <a:gd name="T24" fmla="*/ 52 w 73"/>
                      <a:gd name="T25" fmla="*/ 42 h 247"/>
                      <a:gd name="T26" fmla="*/ 55 w 73"/>
                      <a:gd name="T27" fmla="*/ 41 h 247"/>
                      <a:gd name="T28" fmla="*/ 66 w 73"/>
                      <a:gd name="T29" fmla="*/ 39 h 247"/>
                      <a:gd name="T30" fmla="*/ 73 w 73"/>
                      <a:gd name="T31" fmla="*/ 41 h 247"/>
                      <a:gd name="T32" fmla="*/ 73 w 73"/>
                      <a:gd name="T33" fmla="*/ 0 h 247"/>
                      <a:gd name="T34" fmla="*/ 50 w 73"/>
                      <a:gd name="T35" fmla="*/ 3 h 247"/>
                      <a:gd name="T36" fmla="*/ 37 w 73"/>
                      <a:gd name="T37" fmla="*/ 44 h 247"/>
                      <a:gd name="T38" fmla="*/ 14 w 73"/>
                      <a:gd name="T39" fmla="*/ 96 h 2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73" h="247">
                        <a:moveTo>
                          <a:pt x="14" y="96"/>
                        </a:moveTo>
                        <a:cubicBezTo>
                          <a:pt x="8" y="107"/>
                          <a:pt x="5" y="109"/>
                          <a:pt x="0" y="113"/>
                        </a:cubicBezTo>
                        <a:cubicBezTo>
                          <a:pt x="7" y="140"/>
                          <a:pt x="27" y="214"/>
                          <a:pt x="35" y="247"/>
                        </a:cubicBezTo>
                        <a:cubicBezTo>
                          <a:pt x="40" y="227"/>
                          <a:pt x="48" y="194"/>
                          <a:pt x="51" y="185"/>
                        </a:cubicBezTo>
                        <a:cubicBezTo>
                          <a:pt x="53" y="179"/>
                          <a:pt x="55" y="166"/>
                          <a:pt x="58" y="153"/>
                        </a:cubicBezTo>
                        <a:cubicBezTo>
                          <a:pt x="60" y="143"/>
                          <a:pt x="62" y="133"/>
                          <a:pt x="64" y="124"/>
                        </a:cubicBezTo>
                        <a:cubicBezTo>
                          <a:pt x="60" y="124"/>
                          <a:pt x="57" y="124"/>
                          <a:pt x="53" y="123"/>
                        </a:cubicBezTo>
                        <a:cubicBezTo>
                          <a:pt x="46" y="122"/>
                          <a:pt x="41" y="118"/>
                          <a:pt x="39" y="116"/>
                        </a:cubicBezTo>
                        <a:cubicBezTo>
                          <a:pt x="36" y="113"/>
                          <a:pt x="35" y="110"/>
                          <a:pt x="37" y="106"/>
                        </a:cubicBezTo>
                        <a:cubicBezTo>
                          <a:pt x="38" y="102"/>
                          <a:pt x="40" y="98"/>
                          <a:pt x="43" y="95"/>
                        </a:cubicBezTo>
                        <a:cubicBezTo>
                          <a:pt x="45" y="93"/>
                          <a:pt x="43" y="89"/>
                          <a:pt x="42" y="84"/>
                        </a:cubicBezTo>
                        <a:cubicBezTo>
                          <a:pt x="40" y="79"/>
                          <a:pt x="38" y="74"/>
                          <a:pt x="37" y="67"/>
                        </a:cubicBezTo>
                        <a:cubicBezTo>
                          <a:pt x="35" y="50"/>
                          <a:pt x="46" y="45"/>
                          <a:pt x="52" y="42"/>
                        </a:cubicBezTo>
                        <a:cubicBezTo>
                          <a:pt x="53" y="42"/>
                          <a:pt x="54" y="41"/>
                          <a:pt x="55" y="41"/>
                        </a:cubicBezTo>
                        <a:cubicBezTo>
                          <a:pt x="58" y="39"/>
                          <a:pt x="61" y="39"/>
                          <a:pt x="66" y="39"/>
                        </a:cubicBezTo>
                        <a:cubicBezTo>
                          <a:pt x="68" y="40"/>
                          <a:pt x="71" y="40"/>
                          <a:pt x="73" y="41"/>
                        </a:cubicBezTo>
                        <a:cubicBezTo>
                          <a:pt x="73" y="27"/>
                          <a:pt x="73" y="9"/>
                          <a:pt x="73" y="0"/>
                        </a:cubicBezTo>
                        <a:cubicBezTo>
                          <a:pt x="66" y="2"/>
                          <a:pt x="57" y="3"/>
                          <a:pt x="50" y="3"/>
                        </a:cubicBezTo>
                        <a:cubicBezTo>
                          <a:pt x="47" y="17"/>
                          <a:pt x="40" y="30"/>
                          <a:pt x="37" y="44"/>
                        </a:cubicBezTo>
                        <a:cubicBezTo>
                          <a:pt x="33" y="60"/>
                          <a:pt x="22" y="82"/>
                          <a:pt x="14" y="96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24" name="Freeform 431"/>
                  <p:cNvSpPr>
                    <a:spLocks noEditPoints="1"/>
                  </p:cNvSpPr>
                  <p:nvPr/>
                </p:nvSpPr>
                <p:spPr bwMode="auto">
                  <a:xfrm>
                    <a:off x="4601878" y="3758300"/>
                    <a:ext cx="100012" cy="86916"/>
                  </a:xfrm>
                  <a:custGeom>
                    <a:avLst/>
                    <a:gdLst>
                      <a:gd name="T0" fmla="*/ 280 w 348"/>
                      <a:gd name="T1" fmla="*/ 294 h 303"/>
                      <a:gd name="T2" fmla="*/ 305 w 348"/>
                      <a:gd name="T3" fmla="*/ 290 h 303"/>
                      <a:gd name="T4" fmla="*/ 278 w 348"/>
                      <a:gd name="T5" fmla="*/ 274 h 303"/>
                      <a:gd name="T6" fmla="*/ 241 w 348"/>
                      <a:gd name="T7" fmla="*/ 233 h 303"/>
                      <a:gd name="T8" fmla="*/ 198 w 348"/>
                      <a:gd name="T9" fmla="*/ 203 h 303"/>
                      <a:gd name="T10" fmla="*/ 163 w 348"/>
                      <a:gd name="T11" fmla="*/ 158 h 303"/>
                      <a:gd name="T12" fmla="*/ 136 w 348"/>
                      <a:gd name="T13" fmla="*/ 125 h 303"/>
                      <a:gd name="T14" fmla="*/ 171 w 348"/>
                      <a:gd name="T15" fmla="*/ 114 h 303"/>
                      <a:gd name="T16" fmla="*/ 184 w 348"/>
                      <a:gd name="T17" fmla="*/ 102 h 303"/>
                      <a:gd name="T18" fmla="*/ 217 w 348"/>
                      <a:gd name="T19" fmla="*/ 100 h 303"/>
                      <a:gd name="T20" fmla="*/ 245 w 348"/>
                      <a:gd name="T21" fmla="*/ 106 h 303"/>
                      <a:gd name="T22" fmla="*/ 298 w 348"/>
                      <a:gd name="T23" fmla="*/ 104 h 303"/>
                      <a:gd name="T24" fmla="*/ 329 w 348"/>
                      <a:gd name="T25" fmla="*/ 125 h 303"/>
                      <a:gd name="T26" fmla="*/ 347 w 348"/>
                      <a:gd name="T27" fmla="*/ 103 h 303"/>
                      <a:gd name="T28" fmla="*/ 336 w 348"/>
                      <a:gd name="T29" fmla="*/ 78 h 303"/>
                      <a:gd name="T30" fmla="*/ 306 w 348"/>
                      <a:gd name="T31" fmla="*/ 59 h 303"/>
                      <a:gd name="T32" fmla="*/ 214 w 348"/>
                      <a:gd name="T33" fmla="*/ 27 h 303"/>
                      <a:gd name="T34" fmla="*/ 156 w 348"/>
                      <a:gd name="T35" fmla="*/ 17 h 303"/>
                      <a:gd name="T36" fmla="*/ 134 w 348"/>
                      <a:gd name="T37" fmla="*/ 35 h 303"/>
                      <a:gd name="T38" fmla="*/ 115 w 348"/>
                      <a:gd name="T39" fmla="*/ 66 h 303"/>
                      <a:gd name="T40" fmla="*/ 76 w 348"/>
                      <a:gd name="T41" fmla="*/ 77 h 303"/>
                      <a:gd name="T42" fmla="*/ 47 w 348"/>
                      <a:gd name="T43" fmla="*/ 80 h 303"/>
                      <a:gd name="T44" fmla="*/ 4 w 348"/>
                      <a:gd name="T45" fmla="*/ 83 h 303"/>
                      <a:gd name="T46" fmla="*/ 2 w 348"/>
                      <a:gd name="T47" fmla="*/ 94 h 303"/>
                      <a:gd name="T48" fmla="*/ 26 w 348"/>
                      <a:gd name="T49" fmla="*/ 129 h 303"/>
                      <a:gd name="T50" fmla="*/ 47 w 348"/>
                      <a:gd name="T51" fmla="*/ 94 h 303"/>
                      <a:gd name="T52" fmla="*/ 89 w 348"/>
                      <a:gd name="T53" fmla="*/ 118 h 303"/>
                      <a:gd name="T54" fmla="*/ 100 w 348"/>
                      <a:gd name="T55" fmla="*/ 154 h 303"/>
                      <a:gd name="T56" fmla="*/ 127 w 348"/>
                      <a:gd name="T57" fmla="*/ 180 h 303"/>
                      <a:gd name="T58" fmla="*/ 104 w 348"/>
                      <a:gd name="T59" fmla="*/ 185 h 303"/>
                      <a:gd name="T60" fmla="*/ 148 w 348"/>
                      <a:gd name="T61" fmla="*/ 215 h 303"/>
                      <a:gd name="T62" fmla="*/ 191 w 348"/>
                      <a:gd name="T63" fmla="*/ 231 h 303"/>
                      <a:gd name="T64" fmla="*/ 245 w 348"/>
                      <a:gd name="T65" fmla="*/ 266 h 303"/>
                      <a:gd name="T66" fmla="*/ 53 w 348"/>
                      <a:gd name="T67" fmla="*/ 127 h 303"/>
                      <a:gd name="T68" fmla="*/ 58 w 348"/>
                      <a:gd name="T69" fmla="*/ 127 h 303"/>
                      <a:gd name="T70" fmla="*/ 181 w 348"/>
                      <a:gd name="T71" fmla="*/ 253 h 303"/>
                      <a:gd name="T72" fmla="*/ 200 w 348"/>
                      <a:gd name="T73" fmla="*/ 256 h 303"/>
                      <a:gd name="T74" fmla="*/ 202 w 348"/>
                      <a:gd name="T75" fmla="*/ 273 h 303"/>
                      <a:gd name="T76" fmla="*/ 228 w 348"/>
                      <a:gd name="T77" fmla="*/ 277 h 303"/>
                      <a:gd name="T78" fmla="*/ 216 w 348"/>
                      <a:gd name="T79" fmla="*/ 271 h 303"/>
                      <a:gd name="T80" fmla="*/ 70 w 348"/>
                      <a:gd name="T81" fmla="*/ 114 h 303"/>
                      <a:gd name="T82" fmla="*/ 94 w 348"/>
                      <a:gd name="T83" fmla="*/ 164 h 303"/>
                      <a:gd name="T84" fmla="*/ 76 w 348"/>
                      <a:gd name="T85" fmla="*/ 143 h 303"/>
                      <a:gd name="T86" fmla="*/ 159 w 348"/>
                      <a:gd name="T87" fmla="*/ 263 h 303"/>
                      <a:gd name="T88" fmla="*/ 166 w 348"/>
                      <a:gd name="T89" fmla="*/ 265 h 303"/>
                      <a:gd name="T90" fmla="*/ 92 w 348"/>
                      <a:gd name="T91" fmla="*/ 193 h 303"/>
                      <a:gd name="T92" fmla="*/ 96 w 348"/>
                      <a:gd name="T93" fmla="*/ 192 h 303"/>
                      <a:gd name="T94" fmla="*/ 85 w 348"/>
                      <a:gd name="T95" fmla="*/ 187 h 3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348" h="303">
                        <a:moveTo>
                          <a:pt x="245" y="266"/>
                        </a:moveTo>
                        <a:cubicBezTo>
                          <a:pt x="250" y="273"/>
                          <a:pt x="248" y="277"/>
                          <a:pt x="257" y="282"/>
                        </a:cubicBezTo>
                        <a:cubicBezTo>
                          <a:pt x="266" y="287"/>
                          <a:pt x="276" y="289"/>
                          <a:pt x="280" y="294"/>
                        </a:cubicBezTo>
                        <a:cubicBezTo>
                          <a:pt x="284" y="299"/>
                          <a:pt x="288" y="302"/>
                          <a:pt x="294" y="302"/>
                        </a:cubicBezTo>
                        <a:cubicBezTo>
                          <a:pt x="297" y="302"/>
                          <a:pt x="298" y="302"/>
                          <a:pt x="300" y="303"/>
                        </a:cubicBezTo>
                        <a:cubicBezTo>
                          <a:pt x="302" y="298"/>
                          <a:pt x="304" y="294"/>
                          <a:pt x="305" y="290"/>
                        </a:cubicBezTo>
                        <a:cubicBezTo>
                          <a:pt x="303" y="289"/>
                          <a:pt x="303" y="289"/>
                          <a:pt x="303" y="289"/>
                        </a:cubicBezTo>
                        <a:cubicBezTo>
                          <a:pt x="298" y="286"/>
                          <a:pt x="291" y="282"/>
                          <a:pt x="287" y="278"/>
                        </a:cubicBezTo>
                        <a:cubicBezTo>
                          <a:pt x="285" y="276"/>
                          <a:pt x="282" y="275"/>
                          <a:pt x="278" y="274"/>
                        </a:cubicBezTo>
                        <a:cubicBezTo>
                          <a:pt x="271" y="271"/>
                          <a:pt x="263" y="267"/>
                          <a:pt x="260" y="258"/>
                        </a:cubicBezTo>
                        <a:cubicBezTo>
                          <a:pt x="258" y="253"/>
                          <a:pt x="255" y="248"/>
                          <a:pt x="253" y="244"/>
                        </a:cubicBezTo>
                        <a:cubicBezTo>
                          <a:pt x="250" y="239"/>
                          <a:pt x="246" y="236"/>
                          <a:pt x="241" y="233"/>
                        </a:cubicBezTo>
                        <a:cubicBezTo>
                          <a:pt x="238" y="230"/>
                          <a:pt x="235" y="228"/>
                          <a:pt x="232" y="227"/>
                        </a:cubicBezTo>
                        <a:cubicBezTo>
                          <a:pt x="226" y="225"/>
                          <a:pt x="221" y="222"/>
                          <a:pt x="213" y="215"/>
                        </a:cubicBezTo>
                        <a:cubicBezTo>
                          <a:pt x="208" y="211"/>
                          <a:pt x="203" y="207"/>
                          <a:pt x="198" y="203"/>
                        </a:cubicBezTo>
                        <a:cubicBezTo>
                          <a:pt x="188" y="196"/>
                          <a:pt x="178" y="189"/>
                          <a:pt x="174" y="181"/>
                        </a:cubicBezTo>
                        <a:cubicBezTo>
                          <a:pt x="173" y="177"/>
                          <a:pt x="172" y="175"/>
                          <a:pt x="171" y="172"/>
                        </a:cubicBezTo>
                        <a:cubicBezTo>
                          <a:pt x="170" y="167"/>
                          <a:pt x="169" y="164"/>
                          <a:pt x="163" y="158"/>
                        </a:cubicBezTo>
                        <a:cubicBezTo>
                          <a:pt x="160" y="156"/>
                          <a:pt x="157" y="153"/>
                          <a:pt x="153" y="151"/>
                        </a:cubicBezTo>
                        <a:cubicBezTo>
                          <a:pt x="145" y="145"/>
                          <a:pt x="138" y="140"/>
                          <a:pt x="137" y="131"/>
                        </a:cubicBezTo>
                        <a:cubicBezTo>
                          <a:pt x="137" y="129"/>
                          <a:pt x="137" y="127"/>
                          <a:pt x="136" y="125"/>
                        </a:cubicBezTo>
                        <a:cubicBezTo>
                          <a:pt x="135" y="113"/>
                          <a:pt x="133" y="100"/>
                          <a:pt x="146" y="98"/>
                        </a:cubicBezTo>
                        <a:cubicBezTo>
                          <a:pt x="155" y="97"/>
                          <a:pt x="159" y="103"/>
                          <a:pt x="163" y="108"/>
                        </a:cubicBezTo>
                        <a:cubicBezTo>
                          <a:pt x="166" y="111"/>
                          <a:pt x="168" y="114"/>
                          <a:pt x="171" y="114"/>
                        </a:cubicBezTo>
                        <a:cubicBezTo>
                          <a:pt x="174" y="114"/>
                          <a:pt x="175" y="113"/>
                          <a:pt x="176" y="111"/>
                        </a:cubicBezTo>
                        <a:cubicBezTo>
                          <a:pt x="176" y="111"/>
                          <a:pt x="176" y="111"/>
                          <a:pt x="176" y="111"/>
                        </a:cubicBezTo>
                        <a:cubicBezTo>
                          <a:pt x="177" y="108"/>
                          <a:pt x="179" y="104"/>
                          <a:pt x="184" y="102"/>
                        </a:cubicBezTo>
                        <a:cubicBezTo>
                          <a:pt x="185" y="101"/>
                          <a:pt x="187" y="100"/>
                          <a:pt x="188" y="99"/>
                        </a:cubicBezTo>
                        <a:cubicBezTo>
                          <a:pt x="195" y="94"/>
                          <a:pt x="202" y="90"/>
                          <a:pt x="216" y="99"/>
                        </a:cubicBezTo>
                        <a:cubicBezTo>
                          <a:pt x="217" y="100"/>
                          <a:pt x="217" y="100"/>
                          <a:pt x="217" y="100"/>
                        </a:cubicBezTo>
                        <a:cubicBezTo>
                          <a:pt x="223" y="104"/>
                          <a:pt x="226" y="106"/>
                          <a:pt x="228" y="107"/>
                        </a:cubicBezTo>
                        <a:cubicBezTo>
                          <a:pt x="231" y="107"/>
                          <a:pt x="233" y="107"/>
                          <a:pt x="239" y="106"/>
                        </a:cubicBezTo>
                        <a:cubicBezTo>
                          <a:pt x="240" y="106"/>
                          <a:pt x="242" y="106"/>
                          <a:pt x="245" y="106"/>
                        </a:cubicBezTo>
                        <a:cubicBezTo>
                          <a:pt x="248" y="105"/>
                          <a:pt x="251" y="105"/>
                          <a:pt x="254" y="105"/>
                        </a:cubicBezTo>
                        <a:cubicBezTo>
                          <a:pt x="266" y="104"/>
                          <a:pt x="272" y="103"/>
                          <a:pt x="286" y="104"/>
                        </a:cubicBezTo>
                        <a:cubicBezTo>
                          <a:pt x="291" y="104"/>
                          <a:pt x="295" y="104"/>
                          <a:pt x="298" y="104"/>
                        </a:cubicBezTo>
                        <a:cubicBezTo>
                          <a:pt x="307" y="104"/>
                          <a:pt x="313" y="104"/>
                          <a:pt x="319" y="110"/>
                        </a:cubicBezTo>
                        <a:cubicBezTo>
                          <a:pt x="323" y="114"/>
                          <a:pt x="324" y="118"/>
                          <a:pt x="325" y="121"/>
                        </a:cubicBezTo>
                        <a:cubicBezTo>
                          <a:pt x="326" y="123"/>
                          <a:pt x="326" y="125"/>
                          <a:pt x="329" y="125"/>
                        </a:cubicBezTo>
                        <a:cubicBezTo>
                          <a:pt x="334" y="125"/>
                          <a:pt x="339" y="125"/>
                          <a:pt x="343" y="124"/>
                        </a:cubicBezTo>
                        <a:cubicBezTo>
                          <a:pt x="343" y="121"/>
                          <a:pt x="344" y="117"/>
                          <a:pt x="345" y="112"/>
                        </a:cubicBezTo>
                        <a:cubicBezTo>
                          <a:pt x="346" y="109"/>
                          <a:pt x="347" y="106"/>
                          <a:pt x="347" y="103"/>
                        </a:cubicBezTo>
                        <a:cubicBezTo>
                          <a:pt x="348" y="99"/>
                          <a:pt x="347" y="96"/>
                          <a:pt x="346" y="93"/>
                        </a:cubicBezTo>
                        <a:cubicBezTo>
                          <a:pt x="345" y="90"/>
                          <a:pt x="343" y="88"/>
                          <a:pt x="342" y="86"/>
                        </a:cubicBezTo>
                        <a:cubicBezTo>
                          <a:pt x="339" y="84"/>
                          <a:pt x="337" y="81"/>
                          <a:pt x="336" y="78"/>
                        </a:cubicBezTo>
                        <a:cubicBezTo>
                          <a:pt x="334" y="75"/>
                          <a:pt x="332" y="72"/>
                          <a:pt x="332" y="68"/>
                        </a:cubicBezTo>
                        <a:cubicBezTo>
                          <a:pt x="332" y="65"/>
                          <a:pt x="332" y="57"/>
                          <a:pt x="332" y="52"/>
                        </a:cubicBezTo>
                        <a:cubicBezTo>
                          <a:pt x="324" y="55"/>
                          <a:pt x="316" y="57"/>
                          <a:pt x="306" y="59"/>
                        </a:cubicBezTo>
                        <a:cubicBezTo>
                          <a:pt x="294" y="61"/>
                          <a:pt x="283" y="62"/>
                          <a:pt x="273" y="60"/>
                        </a:cubicBezTo>
                        <a:cubicBezTo>
                          <a:pt x="263" y="58"/>
                          <a:pt x="254" y="55"/>
                          <a:pt x="245" y="49"/>
                        </a:cubicBezTo>
                        <a:cubicBezTo>
                          <a:pt x="236" y="43"/>
                          <a:pt x="224" y="35"/>
                          <a:pt x="214" y="27"/>
                        </a:cubicBezTo>
                        <a:cubicBezTo>
                          <a:pt x="206" y="21"/>
                          <a:pt x="198" y="15"/>
                          <a:pt x="194" y="11"/>
                        </a:cubicBezTo>
                        <a:cubicBezTo>
                          <a:pt x="192" y="8"/>
                          <a:pt x="189" y="5"/>
                          <a:pt x="185" y="0"/>
                        </a:cubicBezTo>
                        <a:cubicBezTo>
                          <a:pt x="180" y="4"/>
                          <a:pt x="166" y="15"/>
                          <a:pt x="156" y="17"/>
                        </a:cubicBezTo>
                        <a:cubicBezTo>
                          <a:pt x="150" y="18"/>
                          <a:pt x="147" y="19"/>
                          <a:pt x="144" y="21"/>
                        </a:cubicBezTo>
                        <a:cubicBezTo>
                          <a:pt x="141" y="22"/>
                          <a:pt x="139" y="25"/>
                          <a:pt x="136" y="28"/>
                        </a:cubicBezTo>
                        <a:cubicBezTo>
                          <a:pt x="134" y="31"/>
                          <a:pt x="134" y="33"/>
                          <a:pt x="134" y="35"/>
                        </a:cubicBezTo>
                        <a:cubicBezTo>
                          <a:pt x="134" y="39"/>
                          <a:pt x="135" y="43"/>
                          <a:pt x="130" y="48"/>
                        </a:cubicBezTo>
                        <a:cubicBezTo>
                          <a:pt x="128" y="51"/>
                          <a:pt x="126" y="52"/>
                          <a:pt x="124" y="54"/>
                        </a:cubicBezTo>
                        <a:cubicBezTo>
                          <a:pt x="121" y="57"/>
                          <a:pt x="119" y="59"/>
                          <a:pt x="115" y="66"/>
                        </a:cubicBezTo>
                        <a:cubicBezTo>
                          <a:pt x="114" y="68"/>
                          <a:pt x="114" y="70"/>
                          <a:pt x="113" y="71"/>
                        </a:cubicBezTo>
                        <a:cubicBezTo>
                          <a:pt x="109" y="80"/>
                          <a:pt x="109" y="82"/>
                          <a:pt x="96" y="83"/>
                        </a:cubicBezTo>
                        <a:cubicBezTo>
                          <a:pt x="86" y="84"/>
                          <a:pt x="82" y="81"/>
                          <a:pt x="76" y="77"/>
                        </a:cubicBezTo>
                        <a:cubicBezTo>
                          <a:pt x="73" y="74"/>
                          <a:pt x="70" y="72"/>
                          <a:pt x="65" y="70"/>
                        </a:cubicBezTo>
                        <a:cubicBezTo>
                          <a:pt x="60" y="68"/>
                          <a:pt x="59" y="69"/>
                          <a:pt x="57" y="71"/>
                        </a:cubicBezTo>
                        <a:cubicBezTo>
                          <a:pt x="55" y="74"/>
                          <a:pt x="52" y="77"/>
                          <a:pt x="47" y="80"/>
                        </a:cubicBezTo>
                        <a:cubicBezTo>
                          <a:pt x="36" y="86"/>
                          <a:pt x="30" y="84"/>
                          <a:pt x="23" y="81"/>
                        </a:cubicBezTo>
                        <a:cubicBezTo>
                          <a:pt x="21" y="80"/>
                          <a:pt x="19" y="79"/>
                          <a:pt x="16" y="79"/>
                        </a:cubicBezTo>
                        <a:cubicBezTo>
                          <a:pt x="11" y="78"/>
                          <a:pt x="8" y="80"/>
                          <a:pt x="4" y="83"/>
                        </a:cubicBezTo>
                        <a:cubicBezTo>
                          <a:pt x="4" y="83"/>
                          <a:pt x="4" y="83"/>
                          <a:pt x="4" y="83"/>
                        </a:cubicBezTo>
                        <a:cubicBezTo>
                          <a:pt x="3" y="84"/>
                          <a:pt x="2" y="85"/>
                          <a:pt x="1" y="86"/>
                        </a:cubicBezTo>
                        <a:cubicBezTo>
                          <a:pt x="0" y="88"/>
                          <a:pt x="1" y="91"/>
                          <a:pt x="2" y="94"/>
                        </a:cubicBezTo>
                        <a:cubicBezTo>
                          <a:pt x="5" y="100"/>
                          <a:pt x="7" y="104"/>
                          <a:pt x="9" y="111"/>
                        </a:cubicBezTo>
                        <a:cubicBezTo>
                          <a:pt x="11" y="118"/>
                          <a:pt x="13" y="118"/>
                          <a:pt x="16" y="124"/>
                        </a:cubicBezTo>
                        <a:cubicBezTo>
                          <a:pt x="20" y="131"/>
                          <a:pt x="23" y="134"/>
                          <a:pt x="26" y="129"/>
                        </a:cubicBezTo>
                        <a:cubicBezTo>
                          <a:pt x="29" y="125"/>
                          <a:pt x="28" y="118"/>
                          <a:pt x="33" y="115"/>
                        </a:cubicBezTo>
                        <a:cubicBezTo>
                          <a:pt x="39" y="111"/>
                          <a:pt x="42" y="113"/>
                          <a:pt x="43" y="106"/>
                        </a:cubicBezTo>
                        <a:cubicBezTo>
                          <a:pt x="44" y="99"/>
                          <a:pt x="41" y="95"/>
                          <a:pt x="47" y="94"/>
                        </a:cubicBezTo>
                        <a:cubicBezTo>
                          <a:pt x="54" y="94"/>
                          <a:pt x="57" y="93"/>
                          <a:pt x="61" y="99"/>
                        </a:cubicBezTo>
                        <a:cubicBezTo>
                          <a:pt x="66" y="104"/>
                          <a:pt x="66" y="102"/>
                          <a:pt x="74" y="107"/>
                        </a:cubicBezTo>
                        <a:cubicBezTo>
                          <a:pt x="82" y="112"/>
                          <a:pt x="87" y="109"/>
                          <a:pt x="89" y="118"/>
                        </a:cubicBezTo>
                        <a:cubicBezTo>
                          <a:pt x="91" y="127"/>
                          <a:pt x="89" y="128"/>
                          <a:pt x="89" y="135"/>
                        </a:cubicBezTo>
                        <a:cubicBezTo>
                          <a:pt x="89" y="141"/>
                          <a:pt x="87" y="144"/>
                          <a:pt x="91" y="148"/>
                        </a:cubicBezTo>
                        <a:cubicBezTo>
                          <a:pt x="96" y="152"/>
                          <a:pt x="95" y="146"/>
                          <a:pt x="100" y="154"/>
                        </a:cubicBezTo>
                        <a:cubicBezTo>
                          <a:pt x="106" y="161"/>
                          <a:pt x="107" y="161"/>
                          <a:pt x="113" y="165"/>
                        </a:cubicBezTo>
                        <a:cubicBezTo>
                          <a:pt x="119" y="168"/>
                          <a:pt x="125" y="169"/>
                          <a:pt x="127" y="173"/>
                        </a:cubicBezTo>
                        <a:cubicBezTo>
                          <a:pt x="128" y="177"/>
                          <a:pt x="129" y="180"/>
                          <a:pt x="127" y="180"/>
                        </a:cubicBezTo>
                        <a:cubicBezTo>
                          <a:pt x="124" y="180"/>
                          <a:pt x="121" y="177"/>
                          <a:pt x="116" y="175"/>
                        </a:cubicBezTo>
                        <a:cubicBezTo>
                          <a:pt x="111" y="172"/>
                          <a:pt x="105" y="169"/>
                          <a:pt x="103" y="173"/>
                        </a:cubicBezTo>
                        <a:cubicBezTo>
                          <a:pt x="102" y="177"/>
                          <a:pt x="98" y="182"/>
                          <a:pt x="104" y="185"/>
                        </a:cubicBezTo>
                        <a:cubicBezTo>
                          <a:pt x="110" y="187"/>
                          <a:pt x="117" y="189"/>
                          <a:pt x="120" y="194"/>
                        </a:cubicBezTo>
                        <a:cubicBezTo>
                          <a:pt x="123" y="199"/>
                          <a:pt x="123" y="202"/>
                          <a:pt x="128" y="205"/>
                        </a:cubicBezTo>
                        <a:cubicBezTo>
                          <a:pt x="133" y="209"/>
                          <a:pt x="146" y="212"/>
                          <a:pt x="148" y="215"/>
                        </a:cubicBezTo>
                        <a:cubicBezTo>
                          <a:pt x="149" y="217"/>
                          <a:pt x="152" y="224"/>
                          <a:pt x="155" y="226"/>
                        </a:cubicBezTo>
                        <a:cubicBezTo>
                          <a:pt x="158" y="228"/>
                          <a:pt x="162" y="228"/>
                          <a:pt x="170" y="228"/>
                        </a:cubicBezTo>
                        <a:cubicBezTo>
                          <a:pt x="178" y="228"/>
                          <a:pt x="184" y="224"/>
                          <a:pt x="191" y="231"/>
                        </a:cubicBezTo>
                        <a:cubicBezTo>
                          <a:pt x="198" y="239"/>
                          <a:pt x="198" y="243"/>
                          <a:pt x="206" y="245"/>
                        </a:cubicBezTo>
                        <a:cubicBezTo>
                          <a:pt x="215" y="248"/>
                          <a:pt x="215" y="245"/>
                          <a:pt x="222" y="250"/>
                        </a:cubicBezTo>
                        <a:cubicBezTo>
                          <a:pt x="228" y="255"/>
                          <a:pt x="240" y="258"/>
                          <a:pt x="245" y="266"/>
                        </a:cubicBezTo>
                        <a:close/>
                        <a:moveTo>
                          <a:pt x="58" y="118"/>
                        </a:moveTo>
                        <a:cubicBezTo>
                          <a:pt x="58" y="115"/>
                          <a:pt x="55" y="110"/>
                          <a:pt x="52" y="114"/>
                        </a:cubicBezTo>
                        <a:cubicBezTo>
                          <a:pt x="51" y="118"/>
                          <a:pt x="53" y="121"/>
                          <a:pt x="53" y="127"/>
                        </a:cubicBezTo>
                        <a:cubicBezTo>
                          <a:pt x="54" y="132"/>
                          <a:pt x="51" y="140"/>
                          <a:pt x="54" y="141"/>
                        </a:cubicBezTo>
                        <a:cubicBezTo>
                          <a:pt x="58" y="143"/>
                          <a:pt x="59" y="146"/>
                          <a:pt x="58" y="140"/>
                        </a:cubicBezTo>
                        <a:cubicBezTo>
                          <a:pt x="58" y="134"/>
                          <a:pt x="58" y="134"/>
                          <a:pt x="58" y="127"/>
                        </a:cubicBezTo>
                        <a:cubicBezTo>
                          <a:pt x="58" y="120"/>
                          <a:pt x="59" y="121"/>
                          <a:pt x="58" y="118"/>
                        </a:cubicBezTo>
                        <a:close/>
                        <a:moveTo>
                          <a:pt x="194" y="254"/>
                        </a:moveTo>
                        <a:cubicBezTo>
                          <a:pt x="191" y="253"/>
                          <a:pt x="183" y="251"/>
                          <a:pt x="181" y="253"/>
                        </a:cubicBezTo>
                        <a:cubicBezTo>
                          <a:pt x="178" y="255"/>
                          <a:pt x="179" y="257"/>
                          <a:pt x="184" y="257"/>
                        </a:cubicBezTo>
                        <a:cubicBezTo>
                          <a:pt x="188" y="258"/>
                          <a:pt x="191" y="257"/>
                          <a:pt x="195" y="258"/>
                        </a:cubicBezTo>
                        <a:cubicBezTo>
                          <a:pt x="199" y="260"/>
                          <a:pt x="202" y="257"/>
                          <a:pt x="200" y="256"/>
                        </a:cubicBezTo>
                        <a:cubicBezTo>
                          <a:pt x="198" y="255"/>
                          <a:pt x="197" y="254"/>
                          <a:pt x="194" y="254"/>
                        </a:cubicBezTo>
                        <a:close/>
                        <a:moveTo>
                          <a:pt x="216" y="271"/>
                        </a:moveTo>
                        <a:cubicBezTo>
                          <a:pt x="213" y="272"/>
                          <a:pt x="202" y="271"/>
                          <a:pt x="202" y="273"/>
                        </a:cubicBezTo>
                        <a:cubicBezTo>
                          <a:pt x="201" y="276"/>
                          <a:pt x="204" y="276"/>
                          <a:pt x="205" y="277"/>
                        </a:cubicBezTo>
                        <a:cubicBezTo>
                          <a:pt x="206" y="277"/>
                          <a:pt x="213" y="278"/>
                          <a:pt x="217" y="276"/>
                        </a:cubicBezTo>
                        <a:cubicBezTo>
                          <a:pt x="220" y="275"/>
                          <a:pt x="225" y="277"/>
                          <a:pt x="228" y="277"/>
                        </a:cubicBezTo>
                        <a:cubicBezTo>
                          <a:pt x="231" y="277"/>
                          <a:pt x="232" y="276"/>
                          <a:pt x="232" y="275"/>
                        </a:cubicBezTo>
                        <a:cubicBezTo>
                          <a:pt x="232" y="273"/>
                          <a:pt x="231" y="273"/>
                          <a:pt x="227" y="271"/>
                        </a:cubicBezTo>
                        <a:cubicBezTo>
                          <a:pt x="224" y="270"/>
                          <a:pt x="220" y="270"/>
                          <a:pt x="216" y="271"/>
                        </a:cubicBezTo>
                        <a:close/>
                        <a:moveTo>
                          <a:pt x="64" y="108"/>
                        </a:moveTo>
                        <a:cubicBezTo>
                          <a:pt x="63" y="110"/>
                          <a:pt x="61" y="110"/>
                          <a:pt x="64" y="113"/>
                        </a:cubicBezTo>
                        <a:cubicBezTo>
                          <a:pt x="67" y="115"/>
                          <a:pt x="70" y="116"/>
                          <a:pt x="70" y="114"/>
                        </a:cubicBezTo>
                        <a:cubicBezTo>
                          <a:pt x="71" y="113"/>
                          <a:pt x="65" y="105"/>
                          <a:pt x="64" y="108"/>
                        </a:cubicBezTo>
                        <a:close/>
                        <a:moveTo>
                          <a:pt x="86" y="158"/>
                        </a:moveTo>
                        <a:cubicBezTo>
                          <a:pt x="88" y="162"/>
                          <a:pt x="92" y="166"/>
                          <a:pt x="94" y="164"/>
                        </a:cubicBezTo>
                        <a:cubicBezTo>
                          <a:pt x="95" y="163"/>
                          <a:pt x="96" y="161"/>
                          <a:pt x="92" y="158"/>
                        </a:cubicBezTo>
                        <a:cubicBezTo>
                          <a:pt x="88" y="155"/>
                          <a:pt x="87" y="154"/>
                          <a:pt x="85" y="150"/>
                        </a:cubicBezTo>
                        <a:cubicBezTo>
                          <a:pt x="83" y="146"/>
                          <a:pt x="78" y="137"/>
                          <a:pt x="76" y="143"/>
                        </a:cubicBezTo>
                        <a:cubicBezTo>
                          <a:pt x="76" y="145"/>
                          <a:pt x="74" y="148"/>
                          <a:pt x="78" y="151"/>
                        </a:cubicBezTo>
                        <a:cubicBezTo>
                          <a:pt x="82" y="153"/>
                          <a:pt x="84" y="154"/>
                          <a:pt x="86" y="158"/>
                        </a:cubicBezTo>
                        <a:close/>
                        <a:moveTo>
                          <a:pt x="159" y="263"/>
                        </a:moveTo>
                        <a:cubicBezTo>
                          <a:pt x="159" y="265"/>
                          <a:pt x="156" y="263"/>
                          <a:pt x="157" y="265"/>
                        </a:cubicBezTo>
                        <a:cubicBezTo>
                          <a:pt x="157" y="268"/>
                          <a:pt x="158" y="268"/>
                          <a:pt x="160" y="268"/>
                        </a:cubicBezTo>
                        <a:cubicBezTo>
                          <a:pt x="161" y="268"/>
                          <a:pt x="165" y="266"/>
                          <a:pt x="166" y="265"/>
                        </a:cubicBezTo>
                        <a:cubicBezTo>
                          <a:pt x="168" y="263"/>
                          <a:pt x="162" y="260"/>
                          <a:pt x="159" y="263"/>
                        </a:cubicBezTo>
                        <a:close/>
                        <a:moveTo>
                          <a:pt x="85" y="187"/>
                        </a:moveTo>
                        <a:cubicBezTo>
                          <a:pt x="91" y="191"/>
                          <a:pt x="90" y="187"/>
                          <a:pt x="92" y="193"/>
                        </a:cubicBezTo>
                        <a:cubicBezTo>
                          <a:pt x="95" y="198"/>
                          <a:pt x="99" y="203"/>
                          <a:pt x="101" y="203"/>
                        </a:cubicBezTo>
                        <a:cubicBezTo>
                          <a:pt x="103" y="202"/>
                          <a:pt x="104" y="200"/>
                          <a:pt x="101" y="197"/>
                        </a:cubicBezTo>
                        <a:cubicBezTo>
                          <a:pt x="98" y="195"/>
                          <a:pt x="97" y="196"/>
                          <a:pt x="96" y="192"/>
                        </a:cubicBezTo>
                        <a:cubicBezTo>
                          <a:pt x="96" y="188"/>
                          <a:pt x="93" y="186"/>
                          <a:pt x="91" y="184"/>
                        </a:cubicBezTo>
                        <a:cubicBezTo>
                          <a:pt x="90" y="183"/>
                          <a:pt x="85" y="181"/>
                          <a:pt x="82" y="182"/>
                        </a:cubicBezTo>
                        <a:cubicBezTo>
                          <a:pt x="81" y="184"/>
                          <a:pt x="79" y="183"/>
                          <a:pt x="85" y="187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25" name="Freeform 450"/>
                  <p:cNvSpPr>
                    <a:spLocks/>
                  </p:cNvSpPr>
                  <p:nvPr/>
                </p:nvSpPr>
                <p:spPr bwMode="auto">
                  <a:xfrm>
                    <a:off x="4738800" y="3933322"/>
                    <a:ext cx="39291" cy="39291"/>
                  </a:xfrm>
                  <a:custGeom>
                    <a:avLst/>
                    <a:gdLst>
                      <a:gd name="T0" fmla="*/ 105 w 139"/>
                      <a:gd name="T1" fmla="*/ 62 h 137"/>
                      <a:gd name="T2" fmla="*/ 118 w 139"/>
                      <a:gd name="T3" fmla="*/ 74 h 137"/>
                      <a:gd name="T4" fmla="*/ 132 w 139"/>
                      <a:gd name="T5" fmla="*/ 71 h 137"/>
                      <a:gd name="T6" fmla="*/ 138 w 139"/>
                      <a:gd name="T7" fmla="*/ 61 h 137"/>
                      <a:gd name="T8" fmla="*/ 124 w 139"/>
                      <a:gd name="T9" fmla="*/ 54 h 137"/>
                      <a:gd name="T10" fmla="*/ 116 w 139"/>
                      <a:gd name="T11" fmla="*/ 40 h 137"/>
                      <a:gd name="T12" fmla="*/ 102 w 139"/>
                      <a:gd name="T13" fmla="*/ 33 h 137"/>
                      <a:gd name="T14" fmla="*/ 89 w 139"/>
                      <a:gd name="T15" fmla="*/ 24 h 137"/>
                      <a:gd name="T16" fmla="*/ 73 w 139"/>
                      <a:gd name="T17" fmla="*/ 13 h 137"/>
                      <a:gd name="T18" fmla="*/ 58 w 139"/>
                      <a:gd name="T19" fmla="*/ 6 h 137"/>
                      <a:gd name="T20" fmla="*/ 42 w 139"/>
                      <a:gd name="T21" fmla="*/ 4 h 137"/>
                      <a:gd name="T22" fmla="*/ 18 w 139"/>
                      <a:gd name="T23" fmla="*/ 16 h 137"/>
                      <a:gd name="T24" fmla="*/ 1 w 139"/>
                      <a:gd name="T25" fmla="*/ 33 h 137"/>
                      <a:gd name="T26" fmla="*/ 11 w 139"/>
                      <a:gd name="T27" fmla="*/ 45 h 137"/>
                      <a:gd name="T28" fmla="*/ 22 w 139"/>
                      <a:gd name="T29" fmla="*/ 56 h 137"/>
                      <a:gd name="T30" fmla="*/ 28 w 139"/>
                      <a:gd name="T31" fmla="*/ 67 h 137"/>
                      <a:gd name="T32" fmla="*/ 25 w 139"/>
                      <a:gd name="T33" fmla="*/ 78 h 137"/>
                      <a:gd name="T34" fmla="*/ 26 w 139"/>
                      <a:gd name="T35" fmla="*/ 94 h 137"/>
                      <a:gd name="T36" fmla="*/ 30 w 139"/>
                      <a:gd name="T37" fmla="*/ 106 h 137"/>
                      <a:gd name="T38" fmla="*/ 51 w 139"/>
                      <a:gd name="T39" fmla="*/ 93 h 137"/>
                      <a:gd name="T40" fmla="*/ 61 w 139"/>
                      <a:gd name="T41" fmla="*/ 96 h 137"/>
                      <a:gd name="T42" fmla="*/ 62 w 139"/>
                      <a:gd name="T43" fmla="*/ 105 h 137"/>
                      <a:gd name="T44" fmla="*/ 70 w 139"/>
                      <a:gd name="T45" fmla="*/ 113 h 137"/>
                      <a:gd name="T46" fmla="*/ 74 w 139"/>
                      <a:gd name="T47" fmla="*/ 128 h 137"/>
                      <a:gd name="T48" fmla="*/ 81 w 139"/>
                      <a:gd name="T49" fmla="*/ 121 h 137"/>
                      <a:gd name="T50" fmla="*/ 87 w 139"/>
                      <a:gd name="T51" fmla="*/ 112 h 137"/>
                      <a:gd name="T52" fmla="*/ 98 w 139"/>
                      <a:gd name="T53" fmla="*/ 119 h 137"/>
                      <a:gd name="T54" fmla="*/ 109 w 139"/>
                      <a:gd name="T55" fmla="*/ 127 h 137"/>
                      <a:gd name="T56" fmla="*/ 118 w 139"/>
                      <a:gd name="T57" fmla="*/ 134 h 137"/>
                      <a:gd name="T58" fmla="*/ 117 w 139"/>
                      <a:gd name="T59" fmla="*/ 122 h 137"/>
                      <a:gd name="T60" fmla="*/ 116 w 139"/>
                      <a:gd name="T61" fmla="*/ 106 h 137"/>
                      <a:gd name="T62" fmla="*/ 108 w 139"/>
                      <a:gd name="T63" fmla="*/ 89 h 137"/>
                      <a:gd name="T64" fmla="*/ 103 w 139"/>
                      <a:gd name="T65" fmla="*/ 77 h 137"/>
                      <a:gd name="T66" fmla="*/ 94 w 139"/>
                      <a:gd name="T67" fmla="*/ 63 h 137"/>
                      <a:gd name="T68" fmla="*/ 105 w 139"/>
                      <a:gd name="T69" fmla="*/ 62 h 1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</a:cxnLst>
                    <a:rect l="0" t="0" r="r" b="b"/>
                    <a:pathLst>
                      <a:path w="139" h="137">
                        <a:moveTo>
                          <a:pt x="105" y="62"/>
                        </a:moveTo>
                        <a:cubicBezTo>
                          <a:pt x="110" y="70"/>
                          <a:pt x="111" y="73"/>
                          <a:pt x="118" y="74"/>
                        </a:cubicBezTo>
                        <a:cubicBezTo>
                          <a:pt x="125" y="74"/>
                          <a:pt x="127" y="75"/>
                          <a:pt x="132" y="71"/>
                        </a:cubicBezTo>
                        <a:cubicBezTo>
                          <a:pt x="137" y="66"/>
                          <a:pt x="139" y="65"/>
                          <a:pt x="138" y="61"/>
                        </a:cubicBezTo>
                        <a:cubicBezTo>
                          <a:pt x="137" y="56"/>
                          <a:pt x="128" y="56"/>
                          <a:pt x="124" y="54"/>
                        </a:cubicBezTo>
                        <a:cubicBezTo>
                          <a:pt x="120" y="52"/>
                          <a:pt x="119" y="45"/>
                          <a:pt x="116" y="40"/>
                        </a:cubicBezTo>
                        <a:cubicBezTo>
                          <a:pt x="113" y="35"/>
                          <a:pt x="107" y="37"/>
                          <a:pt x="102" y="33"/>
                        </a:cubicBezTo>
                        <a:cubicBezTo>
                          <a:pt x="97" y="29"/>
                          <a:pt x="97" y="28"/>
                          <a:pt x="89" y="24"/>
                        </a:cubicBezTo>
                        <a:cubicBezTo>
                          <a:pt x="81" y="20"/>
                          <a:pt x="76" y="19"/>
                          <a:pt x="73" y="13"/>
                        </a:cubicBezTo>
                        <a:cubicBezTo>
                          <a:pt x="69" y="8"/>
                          <a:pt x="64" y="8"/>
                          <a:pt x="58" y="6"/>
                        </a:cubicBezTo>
                        <a:cubicBezTo>
                          <a:pt x="51" y="5"/>
                          <a:pt x="51" y="0"/>
                          <a:pt x="42" y="4"/>
                        </a:cubicBezTo>
                        <a:cubicBezTo>
                          <a:pt x="33" y="7"/>
                          <a:pt x="28" y="10"/>
                          <a:pt x="18" y="16"/>
                        </a:cubicBezTo>
                        <a:cubicBezTo>
                          <a:pt x="6" y="27"/>
                          <a:pt x="0" y="25"/>
                          <a:pt x="1" y="33"/>
                        </a:cubicBezTo>
                        <a:cubicBezTo>
                          <a:pt x="3" y="40"/>
                          <a:pt x="4" y="42"/>
                          <a:pt x="11" y="45"/>
                        </a:cubicBezTo>
                        <a:cubicBezTo>
                          <a:pt x="17" y="48"/>
                          <a:pt x="19" y="49"/>
                          <a:pt x="22" y="56"/>
                        </a:cubicBezTo>
                        <a:cubicBezTo>
                          <a:pt x="25" y="63"/>
                          <a:pt x="26" y="61"/>
                          <a:pt x="28" y="67"/>
                        </a:cubicBezTo>
                        <a:cubicBezTo>
                          <a:pt x="29" y="73"/>
                          <a:pt x="26" y="71"/>
                          <a:pt x="25" y="78"/>
                        </a:cubicBezTo>
                        <a:cubicBezTo>
                          <a:pt x="24" y="85"/>
                          <a:pt x="22" y="86"/>
                          <a:pt x="26" y="94"/>
                        </a:cubicBezTo>
                        <a:cubicBezTo>
                          <a:pt x="31" y="102"/>
                          <a:pt x="28" y="103"/>
                          <a:pt x="30" y="106"/>
                        </a:cubicBezTo>
                        <a:cubicBezTo>
                          <a:pt x="32" y="108"/>
                          <a:pt x="45" y="93"/>
                          <a:pt x="51" y="93"/>
                        </a:cubicBezTo>
                        <a:cubicBezTo>
                          <a:pt x="57" y="93"/>
                          <a:pt x="59" y="90"/>
                          <a:pt x="61" y="96"/>
                        </a:cubicBezTo>
                        <a:cubicBezTo>
                          <a:pt x="62" y="101"/>
                          <a:pt x="58" y="99"/>
                          <a:pt x="62" y="105"/>
                        </a:cubicBezTo>
                        <a:cubicBezTo>
                          <a:pt x="66" y="111"/>
                          <a:pt x="66" y="104"/>
                          <a:pt x="70" y="113"/>
                        </a:cubicBezTo>
                        <a:cubicBezTo>
                          <a:pt x="73" y="123"/>
                          <a:pt x="70" y="127"/>
                          <a:pt x="74" y="128"/>
                        </a:cubicBezTo>
                        <a:cubicBezTo>
                          <a:pt x="79" y="130"/>
                          <a:pt x="79" y="126"/>
                          <a:pt x="81" y="121"/>
                        </a:cubicBezTo>
                        <a:cubicBezTo>
                          <a:pt x="83" y="116"/>
                          <a:pt x="83" y="111"/>
                          <a:pt x="87" y="112"/>
                        </a:cubicBezTo>
                        <a:cubicBezTo>
                          <a:pt x="92" y="113"/>
                          <a:pt x="93" y="113"/>
                          <a:pt x="98" y="119"/>
                        </a:cubicBezTo>
                        <a:cubicBezTo>
                          <a:pt x="103" y="125"/>
                          <a:pt x="105" y="121"/>
                          <a:pt x="109" y="127"/>
                        </a:cubicBezTo>
                        <a:cubicBezTo>
                          <a:pt x="114" y="133"/>
                          <a:pt x="118" y="137"/>
                          <a:pt x="118" y="134"/>
                        </a:cubicBezTo>
                        <a:cubicBezTo>
                          <a:pt x="119" y="131"/>
                          <a:pt x="117" y="131"/>
                          <a:pt x="117" y="122"/>
                        </a:cubicBezTo>
                        <a:cubicBezTo>
                          <a:pt x="116" y="114"/>
                          <a:pt x="120" y="112"/>
                          <a:pt x="116" y="106"/>
                        </a:cubicBezTo>
                        <a:cubicBezTo>
                          <a:pt x="111" y="99"/>
                          <a:pt x="109" y="96"/>
                          <a:pt x="108" y="89"/>
                        </a:cubicBezTo>
                        <a:cubicBezTo>
                          <a:pt x="107" y="83"/>
                          <a:pt x="108" y="81"/>
                          <a:pt x="103" y="77"/>
                        </a:cubicBezTo>
                        <a:cubicBezTo>
                          <a:pt x="99" y="72"/>
                          <a:pt x="92" y="68"/>
                          <a:pt x="94" y="63"/>
                        </a:cubicBezTo>
                        <a:cubicBezTo>
                          <a:pt x="97" y="59"/>
                          <a:pt x="100" y="55"/>
                          <a:pt x="105" y="62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grpSp>
                <p:nvGrpSpPr>
                  <p:cNvPr id="426" name="Gruppieren 425"/>
                  <p:cNvGrpSpPr/>
                  <p:nvPr/>
                </p:nvGrpSpPr>
                <p:grpSpPr>
                  <a:xfrm>
                    <a:off x="3927985" y="2709360"/>
                    <a:ext cx="3830240" cy="2583656"/>
                    <a:chOff x="3927985" y="2709360"/>
                    <a:chExt cx="3830240" cy="2583656"/>
                  </a:xfrm>
                  <a:grpFill/>
                </p:grpSpPr>
                <p:sp>
                  <p:nvSpPr>
                    <p:cNvPr id="427" name="Freeform 198"/>
                    <p:cNvSpPr>
                      <a:spLocks/>
                    </p:cNvSpPr>
                    <p:nvPr/>
                  </p:nvSpPr>
                  <p:spPr bwMode="auto">
                    <a:xfrm>
                      <a:off x="4825716" y="3855932"/>
                      <a:ext cx="50006" cy="36909"/>
                    </a:xfrm>
                    <a:custGeom>
                      <a:avLst/>
                      <a:gdLst>
                        <a:gd name="T0" fmla="*/ 36 w 176"/>
                        <a:gd name="T1" fmla="*/ 103 h 128"/>
                        <a:gd name="T2" fmla="*/ 24 w 176"/>
                        <a:gd name="T3" fmla="*/ 109 h 128"/>
                        <a:gd name="T4" fmla="*/ 13 w 176"/>
                        <a:gd name="T5" fmla="*/ 119 h 128"/>
                        <a:gd name="T6" fmla="*/ 11 w 176"/>
                        <a:gd name="T7" fmla="*/ 126 h 128"/>
                        <a:gd name="T8" fmla="*/ 24 w 176"/>
                        <a:gd name="T9" fmla="*/ 120 h 128"/>
                        <a:gd name="T10" fmla="*/ 43 w 176"/>
                        <a:gd name="T11" fmla="*/ 107 h 128"/>
                        <a:gd name="T12" fmla="*/ 57 w 176"/>
                        <a:gd name="T13" fmla="*/ 101 h 128"/>
                        <a:gd name="T14" fmla="*/ 71 w 176"/>
                        <a:gd name="T15" fmla="*/ 89 h 128"/>
                        <a:gd name="T16" fmla="*/ 90 w 176"/>
                        <a:gd name="T17" fmla="*/ 77 h 128"/>
                        <a:gd name="T18" fmla="*/ 108 w 176"/>
                        <a:gd name="T19" fmla="*/ 70 h 128"/>
                        <a:gd name="T20" fmla="*/ 128 w 176"/>
                        <a:gd name="T21" fmla="*/ 70 h 128"/>
                        <a:gd name="T22" fmla="*/ 145 w 176"/>
                        <a:gd name="T23" fmla="*/ 70 h 128"/>
                        <a:gd name="T24" fmla="*/ 163 w 176"/>
                        <a:gd name="T25" fmla="*/ 72 h 128"/>
                        <a:gd name="T26" fmla="*/ 174 w 176"/>
                        <a:gd name="T27" fmla="*/ 64 h 128"/>
                        <a:gd name="T28" fmla="*/ 162 w 176"/>
                        <a:gd name="T29" fmla="*/ 52 h 128"/>
                        <a:gd name="T30" fmla="*/ 140 w 176"/>
                        <a:gd name="T31" fmla="*/ 37 h 128"/>
                        <a:gd name="T32" fmla="*/ 123 w 176"/>
                        <a:gd name="T33" fmla="*/ 27 h 128"/>
                        <a:gd name="T34" fmla="*/ 119 w 176"/>
                        <a:gd name="T35" fmla="*/ 6 h 128"/>
                        <a:gd name="T36" fmla="*/ 111 w 176"/>
                        <a:gd name="T37" fmla="*/ 8 h 128"/>
                        <a:gd name="T38" fmla="*/ 92 w 176"/>
                        <a:gd name="T39" fmla="*/ 9 h 128"/>
                        <a:gd name="T40" fmla="*/ 80 w 176"/>
                        <a:gd name="T41" fmla="*/ 4 h 128"/>
                        <a:gd name="T42" fmla="*/ 69 w 176"/>
                        <a:gd name="T43" fmla="*/ 0 h 128"/>
                        <a:gd name="T44" fmla="*/ 59 w 176"/>
                        <a:gd name="T45" fmla="*/ 2 h 128"/>
                        <a:gd name="T46" fmla="*/ 46 w 176"/>
                        <a:gd name="T47" fmla="*/ 7 h 128"/>
                        <a:gd name="T48" fmla="*/ 33 w 176"/>
                        <a:gd name="T49" fmla="*/ 16 h 128"/>
                        <a:gd name="T50" fmla="*/ 29 w 176"/>
                        <a:gd name="T51" fmla="*/ 19 h 128"/>
                        <a:gd name="T52" fmla="*/ 39 w 176"/>
                        <a:gd name="T53" fmla="*/ 40 h 128"/>
                        <a:gd name="T54" fmla="*/ 33 w 176"/>
                        <a:gd name="T55" fmla="*/ 54 h 128"/>
                        <a:gd name="T56" fmla="*/ 33 w 176"/>
                        <a:gd name="T57" fmla="*/ 54 h 128"/>
                        <a:gd name="T58" fmla="*/ 32 w 176"/>
                        <a:gd name="T59" fmla="*/ 54 h 128"/>
                        <a:gd name="T60" fmla="*/ 30 w 176"/>
                        <a:gd name="T61" fmla="*/ 56 h 128"/>
                        <a:gd name="T62" fmla="*/ 19 w 176"/>
                        <a:gd name="T63" fmla="*/ 66 h 128"/>
                        <a:gd name="T64" fmla="*/ 11 w 176"/>
                        <a:gd name="T65" fmla="*/ 87 h 128"/>
                        <a:gd name="T66" fmla="*/ 2 w 176"/>
                        <a:gd name="T67" fmla="*/ 97 h 128"/>
                        <a:gd name="T68" fmla="*/ 0 w 176"/>
                        <a:gd name="T69" fmla="*/ 99 h 128"/>
                        <a:gd name="T70" fmla="*/ 5 w 176"/>
                        <a:gd name="T71" fmla="*/ 100 h 128"/>
                        <a:gd name="T72" fmla="*/ 18 w 176"/>
                        <a:gd name="T73" fmla="*/ 98 h 128"/>
                        <a:gd name="T74" fmla="*/ 37 w 176"/>
                        <a:gd name="T75" fmla="*/ 97 h 128"/>
                        <a:gd name="T76" fmla="*/ 36 w 176"/>
                        <a:gd name="T77" fmla="*/ 103 h 1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76" h="128">
                          <a:moveTo>
                            <a:pt x="36" y="103"/>
                          </a:moveTo>
                          <a:cubicBezTo>
                            <a:pt x="32" y="106"/>
                            <a:pt x="28" y="106"/>
                            <a:pt x="24" y="109"/>
                          </a:cubicBezTo>
                          <a:cubicBezTo>
                            <a:pt x="19" y="113"/>
                            <a:pt x="13" y="116"/>
                            <a:pt x="13" y="119"/>
                          </a:cubicBezTo>
                          <a:cubicBezTo>
                            <a:pt x="13" y="121"/>
                            <a:pt x="6" y="125"/>
                            <a:pt x="11" y="126"/>
                          </a:cubicBezTo>
                          <a:cubicBezTo>
                            <a:pt x="16" y="128"/>
                            <a:pt x="20" y="124"/>
                            <a:pt x="24" y="120"/>
                          </a:cubicBezTo>
                          <a:cubicBezTo>
                            <a:pt x="27" y="115"/>
                            <a:pt x="39" y="109"/>
                            <a:pt x="43" y="107"/>
                          </a:cubicBezTo>
                          <a:cubicBezTo>
                            <a:pt x="47" y="105"/>
                            <a:pt x="53" y="103"/>
                            <a:pt x="57" y="101"/>
                          </a:cubicBezTo>
                          <a:cubicBezTo>
                            <a:pt x="60" y="100"/>
                            <a:pt x="65" y="95"/>
                            <a:pt x="71" y="89"/>
                          </a:cubicBezTo>
                          <a:cubicBezTo>
                            <a:pt x="77" y="83"/>
                            <a:pt x="82" y="83"/>
                            <a:pt x="90" y="77"/>
                          </a:cubicBezTo>
                          <a:cubicBezTo>
                            <a:pt x="99" y="71"/>
                            <a:pt x="98" y="70"/>
                            <a:pt x="108" y="70"/>
                          </a:cubicBezTo>
                          <a:cubicBezTo>
                            <a:pt x="119" y="70"/>
                            <a:pt x="116" y="70"/>
                            <a:pt x="128" y="70"/>
                          </a:cubicBezTo>
                          <a:cubicBezTo>
                            <a:pt x="139" y="70"/>
                            <a:pt x="138" y="68"/>
                            <a:pt x="145" y="70"/>
                          </a:cubicBezTo>
                          <a:cubicBezTo>
                            <a:pt x="152" y="73"/>
                            <a:pt x="158" y="75"/>
                            <a:pt x="163" y="72"/>
                          </a:cubicBezTo>
                          <a:cubicBezTo>
                            <a:pt x="169" y="70"/>
                            <a:pt x="172" y="69"/>
                            <a:pt x="174" y="64"/>
                          </a:cubicBezTo>
                          <a:cubicBezTo>
                            <a:pt x="176" y="59"/>
                            <a:pt x="170" y="54"/>
                            <a:pt x="162" y="52"/>
                          </a:cubicBezTo>
                          <a:cubicBezTo>
                            <a:pt x="155" y="49"/>
                            <a:pt x="144" y="38"/>
                            <a:pt x="140" y="37"/>
                          </a:cubicBezTo>
                          <a:cubicBezTo>
                            <a:pt x="136" y="36"/>
                            <a:pt x="125" y="36"/>
                            <a:pt x="123" y="27"/>
                          </a:cubicBezTo>
                          <a:cubicBezTo>
                            <a:pt x="122" y="20"/>
                            <a:pt x="120" y="13"/>
                            <a:pt x="119" y="6"/>
                          </a:cubicBezTo>
                          <a:cubicBezTo>
                            <a:pt x="117" y="7"/>
                            <a:pt x="113" y="7"/>
                            <a:pt x="111" y="8"/>
                          </a:cubicBezTo>
                          <a:cubicBezTo>
                            <a:pt x="103" y="9"/>
                            <a:pt x="96" y="9"/>
                            <a:pt x="92" y="9"/>
                          </a:cubicBezTo>
                          <a:cubicBezTo>
                            <a:pt x="88" y="9"/>
                            <a:pt x="84" y="7"/>
                            <a:pt x="80" y="4"/>
                          </a:cubicBezTo>
                          <a:cubicBezTo>
                            <a:pt x="76" y="2"/>
                            <a:pt x="72" y="0"/>
                            <a:pt x="69" y="0"/>
                          </a:cubicBezTo>
                          <a:cubicBezTo>
                            <a:pt x="66" y="0"/>
                            <a:pt x="63" y="1"/>
                            <a:pt x="59" y="2"/>
                          </a:cubicBezTo>
                          <a:cubicBezTo>
                            <a:pt x="55" y="3"/>
                            <a:pt x="50" y="4"/>
                            <a:pt x="46" y="7"/>
                          </a:cubicBezTo>
                          <a:cubicBezTo>
                            <a:pt x="41" y="9"/>
                            <a:pt x="37" y="12"/>
                            <a:pt x="33" y="16"/>
                          </a:cubicBezTo>
                          <a:cubicBezTo>
                            <a:pt x="32" y="17"/>
                            <a:pt x="31" y="18"/>
                            <a:pt x="29" y="19"/>
                          </a:cubicBezTo>
                          <a:cubicBezTo>
                            <a:pt x="31" y="23"/>
                            <a:pt x="37" y="36"/>
                            <a:pt x="39" y="40"/>
                          </a:cubicBezTo>
                          <a:cubicBezTo>
                            <a:pt x="42" y="48"/>
                            <a:pt x="39" y="50"/>
                            <a:pt x="33" y="54"/>
                          </a:cubicBezTo>
                          <a:cubicBezTo>
                            <a:pt x="33" y="54"/>
                            <a:pt x="33" y="54"/>
                            <a:pt x="33" y="54"/>
                          </a:cubicBezTo>
                          <a:cubicBezTo>
                            <a:pt x="32" y="54"/>
                            <a:pt x="32" y="54"/>
                            <a:pt x="32" y="54"/>
                          </a:cubicBezTo>
                          <a:cubicBezTo>
                            <a:pt x="31" y="55"/>
                            <a:pt x="30" y="56"/>
                            <a:pt x="30" y="56"/>
                          </a:cubicBezTo>
                          <a:cubicBezTo>
                            <a:pt x="25" y="59"/>
                            <a:pt x="19" y="63"/>
                            <a:pt x="19" y="66"/>
                          </a:cubicBezTo>
                          <a:cubicBezTo>
                            <a:pt x="18" y="73"/>
                            <a:pt x="16" y="80"/>
                            <a:pt x="11" y="87"/>
                          </a:cubicBezTo>
                          <a:cubicBezTo>
                            <a:pt x="9" y="90"/>
                            <a:pt x="5" y="94"/>
                            <a:pt x="2" y="97"/>
                          </a:cubicBezTo>
                          <a:cubicBezTo>
                            <a:pt x="0" y="99"/>
                            <a:pt x="0" y="99"/>
                            <a:pt x="0" y="99"/>
                          </a:cubicBezTo>
                          <a:cubicBezTo>
                            <a:pt x="1" y="100"/>
                            <a:pt x="3" y="100"/>
                            <a:pt x="5" y="100"/>
                          </a:cubicBezTo>
                          <a:cubicBezTo>
                            <a:pt x="11" y="100"/>
                            <a:pt x="10" y="98"/>
                            <a:pt x="18" y="98"/>
                          </a:cubicBezTo>
                          <a:cubicBezTo>
                            <a:pt x="26" y="98"/>
                            <a:pt x="35" y="96"/>
                            <a:pt x="37" y="97"/>
                          </a:cubicBezTo>
                          <a:cubicBezTo>
                            <a:pt x="39" y="98"/>
                            <a:pt x="39" y="100"/>
                            <a:pt x="36" y="103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28" name="Freeform 210"/>
                    <p:cNvSpPr>
                      <a:spLocks/>
                    </p:cNvSpPr>
                    <p:nvPr/>
                  </p:nvSpPr>
                  <p:spPr bwMode="auto">
                    <a:xfrm>
                      <a:off x="4509010" y="3490410"/>
                      <a:ext cx="41672" cy="27384"/>
                    </a:xfrm>
                    <a:custGeom>
                      <a:avLst/>
                      <a:gdLst>
                        <a:gd name="T0" fmla="*/ 146 w 147"/>
                        <a:gd name="T1" fmla="*/ 5 h 96"/>
                        <a:gd name="T2" fmla="*/ 139 w 147"/>
                        <a:gd name="T3" fmla="*/ 4 h 96"/>
                        <a:gd name="T4" fmla="*/ 130 w 147"/>
                        <a:gd name="T5" fmla="*/ 10 h 96"/>
                        <a:gd name="T6" fmla="*/ 110 w 147"/>
                        <a:gd name="T7" fmla="*/ 17 h 96"/>
                        <a:gd name="T8" fmla="*/ 92 w 147"/>
                        <a:gd name="T9" fmla="*/ 32 h 96"/>
                        <a:gd name="T10" fmla="*/ 78 w 147"/>
                        <a:gd name="T11" fmla="*/ 49 h 96"/>
                        <a:gd name="T12" fmla="*/ 66 w 147"/>
                        <a:gd name="T13" fmla="*/ 53 h 96"/>
                        <a:gd name="T14" fmla="*/ 39 w 147"/>
                        <a:gd name="T15" fmla="*/ 52 h 96"/>
                        <a:gd name="T16" fmla="*/ 21 w 147"/>
                        <a:gd name="T17" fmla="*/ 61 h 96"/>
                        <a:gd name="T18" fmla="*/ 8 w 147"/>
                        <a:gd name="T19" fmla="*/ 75 h 96"/>
                        <a:gd name="T20" fmla="*/ 3 w 147"/>
                        <a:gd name="T21" fmla="*/ 91 h 96"/>
                        <a:gd name="T22" fmla="*/ 14 w 147"/>
                        <a:gd name="T23" fmla="*/ 91 h 96"/>
                        <a:gd name="T24" fmla="*/ 22 w 147"/>
                        <a:gd name="T25" fmla="*/ 79 h 96"/>
                        <a:gd name="T26" fmla="*/ 36 w 147"/>
                        <a:gd name="T27" fmla="*/ 70 h 96"/>
                        <a:gd name="T28" fmla="*/ 50 w 147"/>
                        <a:gd name="T29" fmla="*/ 64 h 96"/>
                        <a:gd name="T30" fmla="*/ 62 w 147"/>
                        <a:gd name="T31" fmla="*/ 60 h 96"/>
                        <a:gd name="T32" fmla="*/ 75 w 147"/>
                        <a:gd name="T33" fmla="*/ 60 h 96"/>
                        <a:gd name="T34" fmla="*/ 86 w 147"/>
                        <a:gd name="T35" fmla="*/ 58 h 96"/>
                        <a:gd name="T36" fmla="*/ 100 w 147"/>
                        <a:gd name="T37" fmla="*/ 58 h 96"/>
                        <a:gd name="T38" fmla="*/ 109 w 147"/>
                        <a:gd name="T39" fmla="*/ 60 h 96"/>
                        <a:gd name="T40" fmla="*/ 121 w 147"/>
                        <a:gd name="T41" fmla="*/ 58 h 96"/>
                        <a:gd name="T42" fmla="*/ 134 w 147"/>
                        <a:gd name="T43" fmla="*/ 51 h 96"/>
                        <a:gd name="T44" fmla="*/ 137 w 147"/>
                        <a:gd name="T45" fmla="*/ 37 h 96"/>
                        <a:gd name="T46" fmla="*/ 134 w 147"/>
                        <a:gd name="T47" fmla="*/ 24 h 96"/>
                        <a:gd name="T48" fmla="*/ 146 w 147"/>
                        <a:gd name="T49" fmla="*/ 5 h 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147" h="96">
                          <a:moveTo>
                            <a:pt x="146" y="5"/>
                          </a:moveTo>
                          <a:cubicBezTo>
                            <a:pt x="147" y="2"/>
                            <a:pt x="141" y="0"/>
                            <a:pt x="139" y="4"/>
                          </a:cubicBezTo>
                          <a:cubicBezTo>
                            <a:pt x="138" y="8"/>
                            <a:pt x="136" y="10"/>
                            <a:pt x="130" y="10"/>
                          </a:cubicBezTo>
                          <a:cubicBezTo>
                            <a:pt x="123" y="11"/>
                            <a:pt x="120" y="12"/>
                            <a:pt x="110" y="17"/>
                          </a:cubicBezTo>
                          <a:cubicBezTo>
                            <a:pt x="102" y="23"/>
                            <a:pt x="101" y="24"/>
                            <a:pt x="92" y="32"/>
                          </a:cubicBezTo>
                          <a:cubicBezTo>
                            <a:pt x="83" y="41"/>
                            <a:pt x="81" y="45"/>
                            <a:pt x="78" y="49"/>
                          </a:cubicBezTo>
                          <a:cubicBezTo>
                            <a:pt x="74" y="53"/>
                            <a:pt x="72" y="54"/>
                            <a:pt x="66" y="53"/>
                          </a:cubicBezTo>
                          <a:cubicBezTo>
                            <a:pt x="60" y="52"/>
                            <a:pt x="45" y="50"/>
                            <a:pt x="39" y="52"/>
                          </a:cubicBezTo>
                          <a:cubicBezTo>
                            <a:pt x="33" y="55"/>
                            <a:pt x="27" y="54"/>
                            <a:pt x="21" y="61"/>
                          </a:cubicBezTo>
                          <a:cubicBezTo>
                            <a:pt x="15" y="67"/>
                            <a:pt x="8" y="68"/>
                            <a:pt x="8" y="75"/>
                          </a:cubicBezTo>
                          <a:cubicBezTo>
                            <a:pt x="7" y="83"/>
                            <a:pt x="0" y="87"/>
                            <a:pt x="3" y="91"/>
                          </a:cubicBezTo>
                          <a:cubicBezTo>
                            <a:pt x="6" y="94"/>
                            <a:pt x="12" y="96"/>
                            <a:pt x="14" y="91"/>
                          </a:cubicBezTo>
                          <a:cubicBezTo>
                            <a:pt x="16" y="86"/>
                            <a:pt x="16" y="84"/>
                            <a:pt x="22" y="79"/>
                          </a:cubicBezTo>
                          <a:cubicBezTo>
                            <a:pt x="29" y="74"/>
                            <a:pt x="30" y="71"/>
                            <a:pt x="36" y="70"/>
                          </a:cubicBezTo>
                          <a:cubicBezTo>
                            <a:pt x="43" y="68"/>
                            <a:pt x="45" y="67"/>
                            <a:pt x="50" y="64"/>
                          </a:cubicBezTo>
                          <a:cubicBezTo>
                            <a:pt x="54" y="61"/>
                            <a:pt x="57" y="60"/>
                            <a:pt x="62" y="60"/>
                          </a:cubicBezTo>
                          <a:cubicBezTo>
                            <a:pt x="68" y="61"/>
                            <a:pt x="70" y="62"/>
                            <a:pt x="75" y="60"/>
                          </a:cubicBezTo>
                          <a:cubicBezTo>
                            <a:pt x="80" y="58"/>
                            <a:pt x="78" y="57"/>
                            <a:pt x="86" y="58"/>
                          </a:cubicBezTo>
                          <a:cubicBezTo>
                            <a:pt x="93" y="60"/>
                            <a:pt x="94" y="59"/>
                            <a:pt x="100" y="58"/>
                          </a:cubicBezTo>
                          <a:cubicBezTo>
                            <a:pt x="106" y="58"/>
                            <a:pt x="104" y="58"/>
                            <a:pt x="109" y="60"/>
                          </a:cubicBezTo>
                          <a:cubicBezTo>
                            <a:pt x="114" y="62"/>
                            <a:pt x="116" y="61"/>
                            <a:pt x="121" y="58"/>
                          </a:cubicBezTo>
                          <a:cubicBezTo>
                            <a:pt x="127" y="56"/>
                            <a:pt x="131" y="57"/>
                            <a:pt x="134" y="51"/>
                          </a:cubicBezTo>
                          <a:cubicBezTo>
                            <a:pt x="136" y="45"/>
                            <a:pt x="138" y="43"/>
                            <a:pt x="137" y="37"/>
                          </a:cubicBezTo>
                          <a:cubicBezTo>
                            <a:pt x="135" y="32"/>
                            <a:pt x="132" y="29"/>
                            <a:pt x="134" y="24"/>
                          </a:cubicBezTo>
                          <a:cubicBezTo>
                            <a:pt x="136" y="19"/>
                            <a:pt x="146" y="9"/>
                            <a:pt x="146" y="5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29" name="Freeform 239"/>
                    <p:cNvSpPr>
                      <a:spLocks/>
                    </p:cNvSpPr>
                    <p:nvPr/>
                  </p:nvSpPr>
                  <p:spPr bwMode="auto">
                    <a:xfrm>
                      <a:off x="5263866" y="4176210"/>
                      <a:ext cx="14287" cy="26194"/>
                    </a:xfrm>
                    <a:custGeom>
                      <a:avLst/>
                      <a:gdLst>
                        <a:gd name="T0" fmla="*/ 8 w 49"/>
                        <a:gd name="T1" fmla="*/ 77 h 91"/>
                        <a:gd name="T2" fmla="*/ 26 w 49"/>
                        <a:gd name="T3" fmla="*/ 87 h 91"/>
                        <a:gd name="T4" fmla="*/ 38 w 49"/>
                        <a:gd name="T5" fmla="*/ 91 h 91"/>
                        <a:gd name="T6" fmla="*/ 47 w 49"/>
                        <a:gd name="T7" fmla="*/ 80 h 91"/>
                        <a:gd name="T8" fmla="*/ 47 w 49"/>
                        <a:gd name="T9" fmla="*/ 44 h 91"/>
                        <a:gd name="T10" fmla="*/ 47 w 49"/>
                        <a:gd name="T11" fmla="*/ 25 h 91"/>
                        <a:gd name="T12" fmla="*/ 38 w 49"/>
                        <a:gd name="T13" fmla="*/ 7 h 91"/>
                        <a:gd name="T14" fmla="*/ 22 w 49"/>
                        <a:gd name="T15" fmla="*/ 1 h 91"/>
                        <a:gd name="T16" fmla="*/ 12 w 49"/>
                        <a:gd name="T17" fmla="*/ 9 h 91"/>
                        <a:gd name="T18" fmla="*/ 4 w 49"/>
                        <a:gd name="T19" fmla="*/ 32 h 91"/>
                        <a:gd name="T20" fmla="*/ 3 w 49"/>
                        <a:gd name="T21" fmla="*/ 58 h 91"/>
                        <a:gd name="T22" fmla="*/ 2 w 49"/>
                        <a:gd name="T23" fmla="*/ 68 h 91"/>
                        <a:gd name="T24" fmla="*/ 8 w 49"/>
                        <a:gd name="T25" fmla="*/ 77 h 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9" h="91">
                          <a:moveTo>
                            <a:pt x="8" y="77"/>
                          </a:moveTo>
                          <a:cubicBezTo>
                            <a:pt x="12" y="81"/>
                            <a:pt x="18" y="84"/>
                            <a:pt x="26" y="87"/>
                          </a:cubicBezTo>
                          <a:cubicBezTo>
                            <a:pt x="30" y="89"/>
                            <a:pt x="34" y="90"/>
                            <a:pt x="38" y="91"/>
                          </a:cubicBezTo>
                          <a:cubicBezTo>
                            <a:pt x="39" y="84"/>
                            <a:pt x="46" y="86"/>
                            <a:pt x="47" y="80"/>
                          </a:cubicBezTo>
                          <a:cubicBezTo>
                            <a:pt x="48" y="73"/>
                            <a:pt x="49" y="51"/>
                            <a:pt x="47" y="44"/>
                          </a:cubicBezTo>
                          <a:cubicBezTo>
                            <a:pt x="46" y="37"/>
                            <a:pt x="47" y="33"/>
                            <a:pt x="47" y="25"/>
                          </a:cubicBezTo>
                          <a:cubicBezTo>
                            <a:pt x="47" y="17"/>
                            <a:pt x="43" y="13"/>
                            <a:pt x="38" y="7"/>
                          </a:cubicBezTo>
                          <a:cubicBezTo>
                            <a:pt x="33" y="2"/>
                            <a:pt x="32" y="2"/>
                            <a:pt x="22" y="1"/>
                          </a:cubicBezTo>
                          <a:cubicBezTo>
                            <a:pt x="13" y="0"/>
                            <a:pt x="17" y="5"/>
                            <a:pt x="12" y="9"/>
                          </a:cubicBezTo>
                          <a:cubicBezTo>
                            <a:pt x="7" y="14"/>
                            <a:pt x="7" y="20"/>
                            <a:pt x="4" y="32"/>
                          </a:cubicBezTo>
                          <a:cubicBezTo>
                            <a:pt x="0" y="45"/>
                            <a:pt x="2" y="44"/>
                            <a:pt x="3" y="58"/>
                          </a:cubicBezTo>
                          <a:cubicBezTo>
                            <a:pt x="3" y="63"/>
                            <a:pt x="2" y="66"/>
                            <a:pt x="2" y="68"/>
                          </a:cubicBezTo>
                          <a:cubicBezTo>
                            <a:pt x="4" y="72"/>
                            <a:pt x="6" y="75"/>
                            <a:pt x="8" y="77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30" name="Freeform 243"/>
                    <p:cNvSpPr>
                      <a:spLocks/>
                    </p:cNvSpPr>
                    <p:nvPr/>
                  </p:nvSpPr>
                  <p:spPr bwMode="auto">
                    <a:xfrm>
                      <a:off x="5136469" y="3873791"/>
                      <a:ext cx="53578" cy="48816"/>
                    </a:xfrm>
                    <a:custGeom>
                      <a:avLst/>
                      <a:gdLst>
                        <a:gd name="T0" fmla="*/ 154 w 187"/>
                        <a:gd name="T1" fmla="*/ 150 h 170"/>
                        <a:gd name="T2" fmla="*/ 159 w 187"/>
                        <a:gd name="T3" fmla="*/ 170 h 170"/>
                        <a:gd name="T4" fmla="*/ 176 w 187"/>
                        <a:gd name="T5" fmla="*/ 168 h 170"/>
                        <a:gd name="T6" fmla="*/ 187 w 187"/>
                        <a:gd name="T7" fmla="*/ 161 h 170"/>
                        <a:gd name="T8" fmla="*/ 184 w 187"/>
                        <a:gd name="T9" fmla="*/ 157 h 170"/>
                        <a:gd name="T10" fmla="*/ 177 w 187"/>
                        <a:gd name="T11" fmla="*/ 140 h 170"/>
                        <a:gd name="T12" fmla="*/ 177 w 187"/>
                        <a:gd name="T13" fmla="*/ 133 h 170"/>
                        <a:gd name="T14" fmla="*/ 167 w 187"/>
                        <a:gd name="T15" fmla="*/ 120 h 170"/>
                        <a:gd name="T16" fmla="*/ 151 w 187"/>
                        <a:gd name="T17" fmla="*/ 111 h 170"/>
                        <a:gd name="T18" fmla="*/ 131 w 187"/>
                        <a:gd name="T19" fmla="*/ 93 h 170"/>
                        <a:gd name="T20" fmla="*/ 134 w 187"/>
                        <a:gd name="T21" fmla="*/ 83 h 170"/>
                        <a:gd name="T22" fmla="*/ 135 w 187"/>
                        <a:gd name="T23" fmla="*/ 73 h 170"/>
                        <a:gd name="T24" fmla="*/ 128 w 187"/>
                        <a:gd name="T25" fmla="*/ 62 h 170"/>
                        <a:gd name="T26" fmla="*/ 118 w 187"/>
                        <a:gd name="T27" fmla="*/ 46 h 170"/>
                        <a:gd name="T28" fmla="*/ 116 w 187"/>
                        <a:gd name="T29" fmla="*/ 31 h 170"/>
                        <a:gd name="T30" fmla="*/ 114 w 187"/>
                        <a:gd name="T31" fmla="*/ 23 h 170"/>
                        <a:gd name="T32" fmla="*/ 86 w 187"/>
                        <a:gd name="T33" fmla="*/ 0 h 170"/>
                        <a:gd name="T34" fmla="*/ 77 w 187"/>
                        <a:gd name="T35" fmla="*/ 2 h 170"/>
                        <a:gd name="T36" fmla="*/ 58 w 187"/>
                        <a:gd name="T37" fmla="*/ 2 h 170"/>
                        <a:gd name="T38" fmla="*/ 28 w 187"/>
                        <a:gd name="T39" fmla="*/ 3 h 170"/>
                        <a:gd name="T40" fmla="*/ 20 w 187"/>
                        <a:gd name="T41" fmla="*/ 3 h 170"/>
                        <a:gd name="T42" fmla="*/ 0 w 187"/>
                        <a:gd name="T43" fmla="*/ 6 h 170"/>
                        <a:gd name="T44" fmla="*/ 4 w 187"/>
                        <a:gd name="T45" fmla="*/ 12 h 170"/>
                        <a:gd name="T46" fmla="*/ 8 w 187"/>
                        <a:gd name="T47" fmla="*/ 28 h 170"/>
                        <a:gd name="T48" fmla="*/ 7 w 187"/>
                        <a:gd name="T49" fmla="*/ 43 h 170"/>
                        <a:gd name="T50" fmla="*/ 7 w 187"/>
                        <a:gd name="T51" fmla="*/ 58 h 170"/>
                        <a:gd name="T52" fmla="*/ 7 w 187"/>
                        <a:gd name="T53" fmla="*/ 66 h 170"/>
                        <a:gd name="T54" fmla="*/ 11 w 187"/>
                        <a:gd name="T55" fmla="*/ 72 h 170"/>
                        <a:gd name="T56" fmla="*/ 11 w 187"/>
                        <a:gd name="T57" fmla="*/ 72 h 170"/>
                        <a:gd name="T58" fmla="*/ 39 w 187"/>
                        <a:gd name="T59" fmla="*/ 81 h 170"/>
                        <a:gd name="T60" fmla="*/ 54 w 187"/>
                        <a:gd name="T61" fmla="*/ 84 h 170"/>
                        <a:gd name="T62" fmla="*/ 62 w 187"/>
                        <a:gd name="T63" fmla="*/ 89 h 170"/>
                        <a:gd name="T64" fmla="*/ 66 w 187"/>
                        <a:gd name="T65" fmla="*/ 97 h 170"/>
                        <a:gd name="T66" fmla="*/ 66 w 187"/>
                        <a:gd name="T67" fmla="*/ 97 h 170"/>
                        <a:gd name="T68" fmla="*/ 77 w 187"/>
                        <a:gd name="T69" fmla="*/ 96 h 170"/>
                        <a:gd name="T70" fmla="*/ 94 w 187"/>
                        <a:gd name="T71" fmla="*/ 102 h 170"/>
                        <a:gd name="T72" fmla="*/ 109 w 187"/>
                        <a:gd name="T73" fmla="*/ 115 h 170"/>
                        <a:gd name="T74" fmla="*/ 120 w 187"/>
                        <a:gd name="T75" fmla="*/ 119 h 170"/>
                        <a:gd name="T76" fmla="*/ 134 w 187"/>
                        <a:gd name="T77" fmla="*/ 122 h 170"/>
                        <a:gd name="T78" fmla="*/ 154 w 187"/>
                        <a:gd name="T79" fmla="*/ 149 h 170"/>
                        <a:gd name="T80" fmla="*/ 154 w 187"/>
                        <a:gd name="T81" fmla="*/ 150 h 1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187" h="170">
                          <a:moveTo>
                            <a:pt x="154" y="150"/>
                          </a:moveTo>
                          <a:cubicBezTo>
                            <a:pt x="158" y="158"/>
                            <a:pt x="158" y="163"/>
                            <a:pt x="159" y="170"/>
                          </a:cubicBezTo>
                          <a:cubicBezTo>
                            <a:pt x="165" y="170"/>
                            <a:pt x="171" y="170"/>
                            <a:pt x="176" y="168"/>
                          </a:cubicBezTo>
                          <a:cubicBezTo>
                            <a:pt x="179" y="166"/>
                            <a:pt x="183" y="164"/>
                            <a:pt x="187" y="161"/>
                          </a:cubicBezTo>
                          <a:cubicBezTo>
                            <a:pt x="186" y="160"/>
                            <a:pt x="185" y="158"/>
                            <a:pt x="184" y="157"/>
                          </a:cubicBezTo>
                          <a:cubicBezTo>
                            <a:pt x="181" y="152"/>
                            <a:pt x="177" y="147"/>
                            <a:pt x="177" y="140"/>
                          </a:cubicBezTo>
                          <a:cubicBezTo>
                            <a:pt x="176" y="137"/>
                            <a:pt x="176" y="135"/>
                            <a:pt x="177" y="133"/>
                          </a:cubicBezTo>
                          <a:cubicBezTo>
                            <a:pt x="177" y="129"/>
                            <a:pt x="177" y="127"/>
                            <a:pt x="167" y="120"/>
                          </a:cubicBezTo>
                          <a:cubicBezTo>
                            <a:pt x="162" y="117"/>
                            <a:pt x="157" y="114"/>
                            <a:pt x="151" y="111"/>
                          </a:cubicBezTo>
                          <a:cubicBezTo>
                            <a:pt x="140" y="105"/>
                            <a:pt x="131" y="101"/>
                            <a:pt x="131" y="93"/>
                          </a:cubicBezTo>
                          <a:cubicBezTo>
                            <a:pt x="131" y="88"/>
                            <a:pt x="132" y="86"/>
                            <a:pt x="134" y="83"/>
                          </a:cubicBezTo>
                          <a:cubicBezTo>
                            <a:pt x="135" y="80"/>
                            <a:pt x="136" y="78"/>
                            <a:pt x="135" y="73"/>
                          </a:cubicBezTo>
                          <a:cubicBezTo>
                            <a:pt x="134" y="68"/>
                            <a:pt x="131" y="65"/>
                            <a:pt x="128" y="62"/>
                          </a:cubicBezTo>
                          <a:cubicBezTo>
                            <a:pt x="124" y="58"/>
                            <a:pt x="120" y="54"/>
                            <a:pt x="118" y="46"/>
                          </a:cubicBezTo>
                          <a:cubicBezTo>
                            <a:pt x="115" y="39"/>
                            <a:pt x="116" y="35"/>
                            <a:pt x="116" y="31"/>
                          </a:cubicBezTo>
                          <a:cubicBezTo>
                            <a:pt x="117" y="29"/>
                            <a:pt x="117" y="27"/>
                            <a:pt x="114" y="23"/>
                          </a:cubicBezTo>
                          <a:cubicBezTo>
                            <a:pt x="108" y="15"/>
                            <a:pt x="89" y="2"/>
                            <a:pt x="86" y="0"/>
                          </a:cubicBezTo>
                          <a:cubicBezTo>
                            <a:pt x="84" y="1"/>
                            <a:pt x="81" y="2"/>
                            <a:pt x="77" y="2"/>
                          </a:cubicBezTo>
                          <a:cubicBezTo>
                            <a:pt x="72" y="2"/>
                            <a:pt x="65" y="2"/>
                            <a:pt x="58" y="2"/>
                          </a:cubicBezTo>
                          <a:cubicBezTo>
                            <a:pt x="49" y="2"/>
                            <a:pt x="38" y="2"/>
                            <a:pt x="28" y="3"/>
                          </a:cubicBezTo>
                          <a:cubicBezTo>
                            <a:pt x="26" y="3"/>
                            <a:pt x="23" y="3"/>
                            <a:pt x="20" y="3"/>
                          </a:cubicBezTo>
                          <a:cubicBezTo>
                            <a:pt x="11" y="4"/>
                            <a:pt x="4" y="4"/>
                            <a:pt x="0" y="6"/>
                          </a:cubicBezTo>
                          <a:cubicBezTo>
                            <a:pt x="2" y="8"/>
                            <a:pt x="3" y="10"/>
                            <a:pt x="4" y="12"/>
                          </a:cubicBezTo>
                          <a:cubicBezTo>
                            <a:pt x="6" y="17"/>
                            <a:pt x="8" y="22"/>
                            <a:pt x="8" y="28"/>
                          </a:cubicBezTo>
                          <a:cubicBezTo>
                            <a:pt x="8" y="33"/>
                            <a:pt x="8" y="38"/>
                            <a:pt x="7" y="43"/>
                          </a:cubicBezTo>
                          <a:cubicBezTo>
                            <a:pt x="7" y="48"/>
                            <a:pt x="7" y="53"/>
                            <a:pt x="7" y="58"/>
                          </a:cubicBezTo>
                          <a:cubicBezTo>
                            <a:pt x="8" y="61"/>
                            <a:pt x="7" y="64"/>
                            <a:pt x="7" y="66"/>
                          </a:cubicBezTo>
                          <a:cubicBezTo>
                            <a:pt x="7" y="69"/>
                            <a:pt x="6" y="70"/>
                            <a:pt x="11" y="72"/>
                          </a:cubicBezTo>
                          <a:cubicBezTo>
                            <a:pt x="11" y="72"/>
                            <a:pt x="11" y="72"/>
                            <a:pt x="11" y="72"/>
                          </a:cubicBezTo>
                          <a:cubicBezTo>
                            <a:pt x="21" y="77"/>
                            <a:pt x="26" y="80"/>
                            <a:pt x="39" y="81"/>
                          </a:cubicBezTo>
                          <a:cubicBezTo>
                            <a:pt x="46" y="82"/>
                            <a:pt x="51" y="83"/>
                            <a:pt x="54" y="84"/>
                          </a:cubicBezTo>
                          <a:cubicBezTo>
                            <a:pt x="58" y="85"/>
                            <a:pt x="60" y="87"/>
                            <a:pt x="62" y="89"/>
                          </a:cubicBezTo>
                          <a:cubicBezTo>
                            <a:pt x="63" y="90"/>
                            <a:pt x="65" y="93"/>
                            <a:pt x="66" y="97"/>
                          </a:cubicBezTo>
                          <a:cubicBezTo>
                            <a:pt x="66" y="97"/>
                            <a:pt x="66" y="97"/>
                            <a:pt x="66" y="97"/>
                          </a:cubicBezTo>
                          <a:cubicBezTo>
                            <a:pt x="69" y="96"/>
                            <a:pt x="72" y="96"/>
                            <a:pt x="77" y="96"/>
                          </a:cubicBezTo>
                          <a:cubicBezTo>
                            <a:pt x="83" y="97"/>
                            <a:pt x="89" y="99"/>
                            <a:pt x="94" y="102"/>
                          </a:cubicBezTo>
                          <a:cubicBezTo>
                            <a:pt x="100" y="105"/>
                            <a:pt x="105" y="110"/>
                            <a:pt x="109" y="115"/>
                          </a:cubicBezTo>
                          <a:cubicBezTo>
                            <a:pt x="112" y="119"/>
                            <a:pt x="116" y="119"/>
                            <a:pt x="120" y="119"/>
                          </a:cubicBezTo>
                          <a:cubicBezTo>
                            <a:pt x="124" y="119"/>
                            <a:pt x="128" y="120"/>
                            <a:pt x="134" y="122"/>
                          </a:cubicBezTo>
                          <a:cubicBezTo>
                            <a:pt x="145" y="128"/>
                            <a:pt x="150" y="140"/>
                            <a:pt x="154" y="149"/>
                          </a:cubicBezTo>
                          <a:cubicBezTo>
                            <a:pt x="154" y="150"/>
                            <a:pt x="154" y="150"/>
                            <a:pt x="154" y="150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31" name="Freeform 409"/>
                    <p:cNvSpPr>
                      <a:spLocks/>
                    </p:cNvSpPr>
                    <p:nvPr/>
                  </p:nvSpPr>
                  <p:spPr bwMode="auto">
                    <a:xfrm>
                      <a:off x="4712606" y="3553513"/>
                      <a:ext cx="53578" cy="21431"/>
                    </a:xfrm>
                    <a:custGeom>
                      <a:avLst/>
                      <a:gdLst>
                        <a:gd name="T0" fmla="*/ 58 w 187"/>
                        <a:gd name="T1" fmla="*/ 19 h 73"/>
                        <a:gd name="T2" fmla="*/ 63 w 187"/>
                        <a:gd name="T3" fmla="*/ 10 h 73"/>
                        <a:gd name="T4" fmla="*/ 70 w 187"/>
                        <a:gd name="T5" fmla="*/ 3 h 73"/>
                        <a:gd name="T6" fmla="*/ 60 w 187"/>
                        <a:gd name="T7" fmla="*/ 6 h 73"/>
                        <a:gd name="T8" fmla="*/ 44 w 187"/>
                        <a:gd name="T9" fmla="*/ 16 h 73"/>
                        <a:gd name="T10" fmla="*/ 24 w 187"/>
                        <a:gd name="T11" fmla="*/ 26 h 73"/>
                        <a:gd name="T12" fmla="*/ 7 w 187"/>
                        <a:gd name="T13" fmla="*/ 34 h 73"/>
                        <a:gd name="T14" fmla="*/ 20 w 187"/>
                        <a:gd name="T15" fmla="*/ 49 h 73"/>
                        <a:gd name="T16" fmla="*/ 33 w 187"/>
                        <a:gd name="T17" fmla="*/ 48 h 73"/>
                        <a:gd name="T18" fmla="*/ 34 w 187"/>
                        <a:gd name="T19" fmla="*/ 56 h 73"/>
                        <a:gd name="T20" fmla="*/ 17 w 187"/>
                        <a:gd name="T21" fmla="*/ 63 h 73"/>
                        <a:gd name="T22" fmla="*/ 3 w 187"/>
                        <a:gd name="T23" fmla="*/ 59 h 73"/>
                        <a:gd name="T24" fmla="*/ 0 w 187"/>
                        <a:gd name="T25" fmla="*/ 62 h 73"/>
                        <a:gd name="T26" fmla="*/ 7 w 187"/>
                        <a:gd name="T27" fmla="*/ 64 h 73"/>
                        <a:gd name="T28" fmla="*/ 19 w 187"/>
                        <a:gd name="T29" fmla="*/ 66 h 73"/>
                        <a:gd name="T30" fmla="*/ 64 w 187"/>
                        <a:gd name="T31" fmla="*/ 72 h 73"/>
                        <a:gd name="T32" fmla="*/ 111 w 187"/>
                        <a:gd name="T33" fmla="*/ 73 h 73"/>
                        <a:gd name="T34" fmla="*/ 140 w 187"/>
                        <a:gd name="T35" fmla="*/ 73 h 73"/>
                        <a:gd name="T36" fmla="*/ 181 w 187"/>
                        <a:gd name="T37" fmla="*/ 73 h 73"/>
                        <a:gd name="T38" fmla="*/ 182 w 187"/>
                        <a:gd name="T39" fmla="*/ 57 h 73"/>
                        <a:gd name="T40" fmla="*/ 184 w 187"/>
                        <a:gd name="T41" fmla="*/ 50 h 73"/>
                        <a:gd name="T42" fmla="*/ 185 w 187"/>
                        <a:gd name="T43" fmla="*/ 38 h 73"/>
                        <a:gd name="T44" fmla="*/ 185 w 187"/>
                        <a:gd name="T45" fmla="*/ 38 h 73"/>
                        <a:gd name="T46" fmla="*/ 184 w 187"/>
                        <a:gd name="T47" fmla="*/ 33 h 73"/>
                        <a:gd name="T48" fmla="*/ 178 w 187"/>
                        <a:gd name="T49" fmla="*/ 21 h 73"/>
                        <a:gd name="T50" fmla="*/ 161 w 187"/>
                        <a:gd name="T51" fmla="*/ 20 h 73"/>
                        <a:gd name="T52" fmla="*/ 151 w 187"/>
                        <a:gd name="T53" fmla="*/ 22 h 73"/>
                        <a:gd name="T54" fmla="*/ 125 w 187"/>
                        <a:gd name="T55" fmla="*/ 15 h 73"/>
                        <a:gd name="T56" fmla="*/ 116 w 187"/>
                        <a:gd name="T57" fmla="*/ 10 h 73"/>
                        <a:gd name="T58" fmla="*/ 94 w 187"/>
                        <a:gd name="T59" fmla="*/ 2 h 73"/>
                        <a:gd name="T60" fmla="*/ 93 w 187"/>
                        <a:gd name="T61" fmla="*/ 3 h 73"/>
                        <a:gd name="T62" fmla="*/ 89 w 187"/>
                        <a:gd name="T63" fmla="*/ 16 h 73"/>
                        <a:gd name="T64" fmla="*/ 74 w 187"/>
                        <a:gd name="T65" fmla="*/ 26 h 73"/>
                        <a:gd name="T66" fmla="*/ 58 w 187"/>
                        <a:gd name="T67" fmla="*/ 19 h 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187" h="73">
                          <a:moveTo>
                            <a:pt x="58" y="19"/>
                          </a:moveTo>
                          <a:cubicBezTo>
                            <a:pt x="58" y="14"/>
                            <a:pt x="58" y="12"/>
                            <a:pt x="63" y="10"/>
                          </a:cubicBezTo>
                          <a:cubicBezTo>
                            <a:pt x="68" y="8"/>
                            <a:pt x="71" y="4"/>
                            <a:pt x="70" y="3"/>
                          </a:cubicBezTo>
                          <a:cubicBezTo>
                            <a:pt x="69" y="1"/>
                            <a:pt x="66" y="0"/>
                            <a:pt x="60" y="6"/>
                          </a:cubicBezTo>
                          <a:cubicBezTo>
                            <a:pt x="53" y="11"/>
                            <a:pt x="51" y="9"/>
                            <a:pt x="44" y="16"/>
                          </a:cubicBezTo>
                          <a:cubicBezTo>
                            <a:pt x="36" y="23"/>
                            <a:pt x="35" y="25"/>
                            <a:pt x="24" y="26"/>
                          </a:cubicBezTo>
                          <a:cubicBezTo>
                            <a:pt x="14" y="27"/>
                            <a:pt x="7" y="27"/>
                            <a:pt x="7" y="34"/>
                          </a:cubicBezTo>
                          <a:cubicBezTo>
                            <a:pt x="7" y="41"/>
                            <a:pt x="12" y="50"/>
                            <a:pt x="20" y="49"/>
                          </a:cubicBezTo>
                          <a:cubicBezTo>
                            <a:pt x="28" y="49"/>
                            <a:pt x="30" y="46"/>
                            <a:pt x="33" y="48"/>
                          </a:cubicBezTo>
                          <a:cubicBezTo>
                            <a:pt x="36" y="50"/>
                            <a:pt x="38" y="54"/>
                            <a:pt x="34" y="56"/>
                          </a:cubicBezTo>
                          <a:cubicBezTo>
                            <a:pt x="30" y="59"/>
                            <a:pt x="22" y="62"/>
                            <a:pt x="17" y="63"/>
                          </a:cubicBezTo>
                          <a:cubicBezTo>
                            <a:pt x="13" y="65"/>
                            <a:pt x="8" y="57"/>
                            <a:pt x="3" y="59"/>
                          </a:cubicBezTo>
                          <a:cubicBezTo>
                            <a:pt x="2" y="60"/>
                            <a:pt x="1" y="61"/>
                            <a:pt x="0" y="62"/>
                          </a:cubicBezTo>
                          <a:cubicBezTo>
                            <a:pt x="2" y="63"/>
                            <a:pt x="4" y="63"/>
                            <a:pt x="7" y="64"/>
                          </a:cubicBezTo>
                          <a:cubicBezTo>
                            <a:pt x="11" y="65"/>
                            <a:pt x="15" y="66"/>
                            <a:pt x="19" y="66"/>
                          </a:cubicBezTo>
                          <a:cubicBezTo>
                            <a:pt x="31" y="69"/>
                            <a:pt x="48" y="71"/>
                            <a:pt x="64" y="72"/>
                          </a:cubicBezTo>
                          <a:cubicBezTo>
                            <a:pt x="80" y="73"/>
                            <a:pt x="97" y="73"/>
                            <a:pt x="111" y="73"/>
                          </a:cubicBezTo>
                          <a:cubicBezTo>
                            <a:pt x="118" y="73"/>
                            <a:pt x="129" y="73"/>
                            <a:pt x="140" y="73"/>
                          </a:cubicBezTo>
                          <a:cubicBezTo>
                            <a:pt x="155" y="73"/>
                            <a:pt x="170" y="73"/>
                            <a:pt x="181" y="73"/>
                          </a:cubicBezTo>
                          <a:cubicBezTo>
                            <a:pt x="181" y="68"/>
                            <a:pt x="181" y="61"/>
                            <a:pt x="182" y="57"/>
                          </a:cubicBezTo>
                          <a:cubicBezTo>
                            <a:pt x="182" y="54"/>
                            <a:pt x="183" y="52"/>
                            <a:pt x="184" y="50"/>
                          </a:cubicBezTo>
                          <a:cubicBezTo>
                            <a:pt x="185" y="47"/>
                            <a:pt x="187" y="45"/>
                            <a:pt x="185" y="38"/>
                          </a:cubicBezTo>
                          <a:cubicBezTo>
                            <a:pt x="185" y="38"/>
                            <a:pt x="185" y="38"/>
                            <a:pt x="185" y="38"/>
                          </a:cubicBezTo>
                          <a:cubicBezTo>
                            <a:pt x="185" y="37"/>
                            <a:pt x="185" y="35"/>
                            <a:pt x="184" y="33"/>
                          </a:cubicBezTo>
                          <a:cubicBezTo>
                            <a:pt x="183" y="26"/>
                            <a:pt x="183" y="25"/>
                            <a:pt x="178" y="21"/>
                          </a:cubicBezTo>
                          <a:cubicBezTo>
                            <a:pt x="174" y="18"/>
                            <a:pt x="169" y="19"/>
                            <a:pt x="161" y="20"/>
                          </a:cubicBezTo>
                          <a:cubicBezTo>
                            <a:pt x="158" y="21"/>
                            <a:pt x="155" y="21"/>
                            <a:pt x="151" y="22"/>
                          </a:cubicBezTo>
                          <a:cubicBezTo>
                            <a:pt x="139" y="23"/>
                            <a:pt x="136" y="21"/>
                            <a:pt x="125" y="15"/>
                          </a:cubicBezTo>
                          <a:cubicBezTo>
                            <a:pt x="123" y="14"/>
                            <a:pt x="120" y="13"/>
                            <a:pt x="116" y="10"/>
                          </a:cubicBezTo>
                          <a:cubicBezTo>
                            <a:pt x="105" y="5"/>
                            <a:pt x="99" y="3"/>
                            <a:pt x="94" y="2"/>
                          </a:cubicBezTo>
                          <a:cubicBezTo>
                            <a:pt x="93" y="3"/>
                            <a:pt x="93" y="3"/>
                            <a:pt x="93" y="3"/>
                          </a:cubicBezTo>
                          <a:cubicBezTo>
                            <a:pt x="93" y="10"/>
                            <a:pt x="93" y="10"/>
                            <a:pt x="89" y="16"/>
                          </a:cubicBezTo>
                          <a:cubicBezTo>
                            <a:pt x="85" y="22"/>
                            <a:pt x="82" y="27"/>
                            <a:pt x="74" y="26"/>
                          </a:cubicBezTo>
                          <a:cubicBezTo>
                            <a:pt x="65" y="24"/>
                            <a:pt x="58" y="23"/>
                            <a:pt x="58" y="19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32" name="Freeform 414"/>
                    <p:cNvSpPr>
                      <a:spLocks/>
                    </p:cNvSpPr>
                    <p:nvPr/>
                  </p:nvSpPr>
                  <p:spPr bwMode="auto">
                    <a:xfrm>
                      <a:off x="4643550" y="3786875"/>
                      <a:ext cx="61912" cy="51197"/>
                    </a:xfrm>
                    <a:custGeom>
                      <a:avLst/>
                      <a:gdLst>
                        <a:gd name="T0" fmla="*/ 176 w 219"/>
                        <a:gd name="T1" fmla="*/ 147 h 181"/>
                        <a:gd name="T2" fmla="*/ 190 w 219"/>
                        <a:gd name="T3" fmla="*/ 136 h 181"/>
                        <a:gd name="T4" fmla="*/ 196 w 219"/>
                        <a:gd name="T5" fmla="*/ 133 h 181"/>
                        <a:gd name="T6" fmla="*/ 207 w 219"/>
                        <a:gd name="T7" fmla="*/ 126 h 181"/>
                        <a:gd name="T8" fmla="*/ 217 w 219"/>
                        <a:gd name="T9" fmla="*/ 120 h 181"/>
                        <a:gd name="T10" fmla="*/ 218 w 219"/>
                        <a:gd name="T11" fmla="*/ 117 h 181"/>
                        <a:gd name="T12" fmla="*/ 216 w 219"/>
                        <a:gd name="T13" fmla="*/ 110 h 181"/>
                        <a:gd name="T14" fmla="*/ 213 w 219"/>
                        <a:gd name="T15" fmla="*/ 99 h 181"/>
                        <a:gd name="T16" fmla="*/ 217 w 219"/>
                        <a:gd name="T17" fmla="*/ 92 h 181"/>
                        <a:gd name="T18" fmla="*/ 219 w 219"/>
                        <a:gd name="T19" fmla="*/ 87 h 181"/>
                        <a:gd name="T20" fmla="*/ 214 w 219"/>
                        <a:gd name="T21" fmla="*/ 81 h 181"/>
                        <a:gd name="T22" fmla="*/ 207 w 219"/>
                        <a:gd name="T23" fmla="*/ 70 h 181"/>
                        <a:gd name="T24" fmla="*/ 206 w 219"/>
                        <a:gd name="T25" fmla="*/ 67 h 181"/>
                        <a:gd name="T26" fmla="*/ 206 w 219"/>
                        <a:gd name="T27" fmla="*/ 67 h 181"/>
                        <a:gd name="T28" fmla="*/ 209 w 219"/>
                        <a:gd name="T29" fmla="*/ 45 h 181"/>
                        <a:gd name="T30" fmla="*/ 206 w 219"/>
                        <a:gd name="T31" fmla="*/ 32 h 181"/>
                        <a:gd name="T32" fmla="*/ 187 w 219"/>
                        <a:gd name="T33" fmla="*/ 34 h 181"/>
                        <a:gd name="T34" fmla="*/ 176 w 219"/>
                        <a:gd name="T35" fmla="*/ 24 h 181"/>
                        <a:gd name="T36" fmla="*/ 172 w 219"/>
                        <a:gd name="T37" fmla="*/ 17 h 181"/>
                        <a:gd name="T38" fmla="*/ 157 w 219"/>
                        <a:gd name="T39" fmla="*/ 13 h 181"/>
                        <a:gd name="T40" fmla="*/ 143 w 219"/>
                        <a:gd name="T41" fmla="*/ 13 h 181"/>
                        <a:gd name="T42" fmla="*/ 113 w 219"/>
                        <a:gd name="T43" fmla="*/ 14 h 181"/>
                        <a:gd name="T44" fmla="*/ 104 w 219"/>
                        <a:gd name="T45" fmla="*/ 15 h 181"/>
                        <a:gd name="T46" fmla="*/ 98 w 219"/>
                        <a:gd name="T47" fmla="*/ 15 h 181"/>
                        <a:gd name="T48" fmla="*/ 85 w 219"/>
                        <a:gd name="T49" fmla="*/ 15 h 181"/>
                        <a:gd name="T50" fmla="*/ 71 w 219"/>
                        <a:gd name="T51" fmla="*/ 8 h 181"/>
                        <a:gd name="T52" fmla="*/ 70 w 219"/>
                        <a:gd name="T53" fmla="*/ 7 h 181"/>
                        <a:gd name="T54" fmla="*/ 50 w 219"/>
                        <a:gd name="T55" fmla="*/ 7 h 181"/>
                        <a:gd name="T56" fmla="*/ 46 w 219"/>
                        <a:gd name="T57" fmla="*/ 10 h 181"/>
                        <a:gd name="T58" fmla="*/ 41 w 219"/>
                        <a:gd name="T59" fmla="*/ 15 h 181"/>
                        <a:gd name="T60" fmla="*/ 41 w 219"/>
                        <a:gd name="T61" fmla="*/ 15 h 181"/>
                        <a:gd name="T62" fmla="*/ 29 w 219"/>
                        <a:gd name="T63" fmla="*/ 23 h 181"/>
                        <a:gd name="T64" fmla="*/ 15 w 219"/>
                        <a:gd name="T65" fmla="*/ 14 h 181"/>
                        <a:gd name="T66" fmla="*/ 6 w 219"/>
                        <a:gd name="T67" fmla="*/ 7 h 181"/>
                        <a:gd name="T68" fmla="*/ 2 w 219"/>
                        <a:gd name="T69" fmla="*/ 25 h 181"/>
                        <a:gd name="T70" fmla="*/ 3 w 219"/>
                        <a:gd name="T71" fmla="*/ 31 h 181"/>
                        <a:gd name="T72" fmla="*/ 16 w 219"/>
                        <a:gd name="T73" fmla="*/ 45 h 181"/>
                        <a:gd name="T74" fmla="*/ 27 w 219"/>
                        <a:gd name="T75" fmla="*/ 54 h 181"/>
                        <a:gd name="T76" fmla="*/ 37 w 219"/>
                        <a:gd name="T77" fmla="*/ 71 h 181"/>
                        <a:gd name="T78" fmla="*/ 40 w 219"/>
                        <a:gd name="T79" fmla="*/ 79 h 181"/>
                        <a:gd name="T80" fmla="*/ 61 w 219"/>
                        <a:gd name="T81" fmla="*/ 98 h 181"/>
                        <a:gd name="T82" fmla="*/ 76 w 219"/>
                        <a:gd name="T83" fmla="*/ 110 h 181"/>
                        <a:gd name="T84" fmla="*/ 93 w 219"/>
                        <a:gd name="T85" fmla="*/ 121 h 181"/>
                        <a:gd name="T86" fmla="*/ 104 w 219"/>
                        <a:gd name="T87" fmla="*/ 127 h 181"/>
                        <a:gd name="T88" fmla="*/ 117 w 219"/>
                        <a:gd name="T89" fmla="*/ 140 h 181"/>
                        <a:gd name="T90" fmla="*/ 125 w 219"/>
                        <a:gd name="T91" fmla="*/ 157 h 181"/>
                        <a:gd name="T92" fmla="*/ 139 w 219"/>
                        <a:gd name="T93" fmla="*/ 167 h 181"/>
                        <a:gd name="T94" fmla="*/ 150 w 219"/>
                        <a:gd name="T95" fmla="*/ 173 h 181"/>
                        <a:gd name="T96" fmla="*/ 162 w 219"/>
                        <a:gd name="T97" fmla="*/ 181 h 181"/>
                        <a:gd name="T98" fmla="*/ 165 w 219"/>
                        <a:gd name="T99" fmla="*/ 161 h 181"/>
                        <a:gd name="T100" fmla="*/ 176 w 219"/>
                        <a:gd name="T101" fmla="*/ 147 h 1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</a:cxnLst>
                      <a:rect l="0" t="0" r="r" b="b"/>
                      <a:pathLst>
                        <a:path w="219" h="181">
                          <a:moveTo>
                            <a:pt x="176" y="147"/>
                          </a:moveTo>
                          <a:cubicBezTo>
                            <a:pt x="181" y="142"/>
                            <a:pt x="185" y="138"/>
                            <a:pt x="190" y="136"/>
                          </a:cubicBezTo>
                          <a:cubicBezTo>
                            <a:pt x="193" y="135"/>
                            <a:pt x="194" y="134"/>
                            <a:pt x="196" y="133"/>
                          </a:cubicBezTo>
                          <a:cubicBezTo>
                            <a:pt x="198" y="131"/>
                            <a:pt x="201" y="129"/>
                            <a:pt x="207" y="126"/>
                          </a:cubicBezTo>
                          <a:cubicBezTo>
                            <a:pt x="213" y="123"/>
                            <a:pt x="216" y="122"/>
                            <a:pt x="217" y="120"/>
                          </a:cubicBezTo>
                          <a:cubicBezTo>
                            <a:pt x="218" y="119"/>
                            <a:pt x="219" y="118"/>
                            <a:pt x="218" y="117"/>
                          </a:cubicBezTo>
                          <a:cubicBezTo>
                            <a:pt x="218" y="115"/>
                            <a:pt x="217" y="112"/>
                            <a:pt x="216" y="110"/>
                          </a:cubicBezTo>
                          <a:cubicBezTo>
                            <a:pt x="214" y="106"/>
                            <a:pt x="212" y="103"/>
                            <a:pt x="213" y="99"/>
                          </a:cubicBezTo>
                          <a:cubicBezTo>
                            <a:pt x="213" y="95"/>
                            <a:pt x="215" y="94"/>
                            <a:pt x="217" y="92"/>
                          </a:cubicBezTo>
                          <a:cubicBezTo>
                            <a:pt x="218" y="91"/>
                            <a:pt x="219" y="89"/>
                            <a:pt x="219" y="87"/>
                          </a:cubicBezTo>
                          <a:cubicBezTo>
                            <a:pt x="219" y="85"/>
                            <a:pt x="217" y="83"/>
                            <a:pt x="214" y="81"/>
                          </a:cubicBezTo>
                          <a:cubicBezTo>
                            <a:pt x="211" y="78"/>
                            <a:pt x="208" y="75"/>
                            <a:pt x="207" y="70"/>
                          </a:cubicBezTo>
                          <a:cubicBezTo>
                            <a:pt x="206" y="69"/>
                            <a:pt x="206" y="68"/>
                            <a:pt x="206" y="67"/>
                          </a:cubicBezTo>
                          <a:cubicBezTo>
                            <a:pt x="206" y="67"/>
                            <a:pt x="206" y="67"/>
                            <a:pt x="206" y="67"/>
                          </a:cubicBezTo>
                          <a:cubicBezTo>
                            <a:pt x="203" y="60"/>
                            <a:pt x="202" y="57"/>
                            <a:pt x="209" y="45"/>
                          </a:cubicBezTo>
                          <a:cubicBezTo>
                            <a:pt x="213" y="39"/>
                            <a:pt x="209" y="35"/>
                            <a:pt x="206" y="32"/>
                          </a:cubicBezTo>
                          <a:cubicBezTo>
                            <a:pt x="201" y="33"/>
                            <a:pt x="193" y="35"/>
                            <a:pt x="187" y="34"/>
                          </a:cubicBezTo>
                          <a:cubicBezTo>
                            <a:pt x="178" y="33"/>
                            <a:pt x="177" y="29"/>
                            <a:pt x="176" y="24"/>
                          </a:cubicBezTo>
                          <a:cubicBezTo>
                            <a:pt x="175" y="22"/>
                            <a:pt x="174" y="19"/>
                            <a:pt x="172" y="17"/>
                          </a:cubicBezTo>
                          <a:cubicBezTo>
                            <a:pt x="167" y="13"/>
                            <a:pt x="163" y="13"/>
                            <a:pt x="157" y="13"/>
                          </a:cubicBezTo>
                          <a:cubicBezTo>
                            <a:pt x="153" y="13"/>
                            <a:pt x="149" y="13"/>
                            <a:pt x="143" y="13"/>
                          </a:cubicBezTo>
                          <a:cubicBezTo>
                            <a:pt x="130" y="12"/>
                            <a:pt x="125" y="13"/>
                            <a:pt x="113" y="14"/>
                          </a:cubicBezTo>
                          <a:cubicBezTo>
                            <a:pt x="110" y="14"/>
                            <a:pt x="107" y="14"/>
                            <a:pt x="104" y="15"/>
                          </a:cubicBezTo>
                          <a:cubicBezTo>
                            <a:pt x="102" y="15"/>
                            <a:pt x="100" y="15"/>
                            <a:pt x="98" y="15"/>
                          </a:cubicBezTo>
                          <a:cubicBezTo>
                            <a:pt x="91" y="16"/>
                            <a:pt x="88" y="16"/>
                            <a:pt x="85" y="15"/>
                          </a:cubicBezTo>
                          <a:cubicBezTo>
                            <a:pt x="81" y="15"/>
                            <a:pt x="78" y="12"/>
                            <a:pt x="71" y="8"/>
                          </a:cubicBezTo>
                          <a:cubicBezTo>
                            <a:pt x="70" y="7"/>
                            <a:pt x="70" y="7"/>
                            <a:pt x="70" y="7"/>
                          </a:cubicBezTo>
                          <a:cubicBezTo>
                            <a:pt x="60" y="0"/>
                            <a:pt x="56" y="3"/>
                            <a:pt x="50" y="7"/>
                          </a:cubicBezTo>
                          <a:cubicBezTo>
                            <a:pt x="49" y="8"/>
                            <a:pt x="47" y="9"/>
                            <a:pt x="46" y="10"/>
                          </a:cubicBezTo>
                          <a:cubicBezTo>
                            <a:pt x="43" y="11"/>
                            <a:pt x="42" y="13"/>
                            <a:pt x="41" y="15"/>
                          </a:cubicBezTo>
                          <a:cubicBezTo>
                            <a:pt x="41" y="15"/>
                            <a:pt x="41" y="15"/>
                            <a:pt x="41" y="15"/>
                          </a:cubicBezTo>
                          <a:cubicBezTo>
                            <a:pt x="38" y="19"/>
                            <a:pt x="37" y="23"/>
                            <a:pt x="29" y="23"/>
                          </a:cubicBezTo>
                          <a:cubicBezTo>
                            <a:pt x="23" y="23"/>
                            <a:pt x="19" y="19"/>
                            <a:pt x="15" y="14"/>
                          </a:cubicBezTo>
                          <a:cubicBezTo>
                            <a:pt x="12" y="10"/>
                            <a:pt x="9" y="7"/>
                            <a:pt x="6" y="7"/>
                          </a:cubicBezTo>
                          <a:cubicBezTo>
                            <a:pt x="0" y="8"/>
                            <a:pt x="1" y="17"/>
                            <a:pt x="2" y="25"/>
                          </a:cubicBezTo>
                          <a:cubicBezTo>
                            <a:pt x="2" y="27"/>
                            <a:pt x="3" y="29"/>
                            <a:pt x="3" y="31"/>
                          </a:cubicBezTo>
                          <a:cubicBezTo>
                            <a:pt x="3" y="37"/>
                            <a:pt x="9" y="41"/>
                            <a:pt x="16" y="45"/>
                          </a:cubicBezTo>
                          <a:cubicBezTo>
                            <a:pt x="19" y="48"/>
                            <a:pt x="23" y="50"/>
                            <a:pt x="27" y="54"/>
                          </a:cubicBezTo>
                          <a:cubicBezTo>
                            <a:pt x="34" y="61"/>
                            <a:pt x="35" y="65"/>
                            <a:pt x="37" y="71"/>
                          </a:cubicBezTo>
                          <a:cubicBezTo>
                            <a:pt x="38" y="73"/>
                            <a:pt x="38" y="76"/>
                            <a:pt x="40" y="79"/>
                          </a:cubicBezTo>
                          <a:cubicBezTo>
                            <a:pt x="42" y="85"/>
                            <a:pt x="51" y="91"/>
                            <a:pt x="61" y="98"/>
                          </a:cubicBezTo>
                          <a:cubicBezTo>
                            <a:pt x="66" y="102"/>
                            <a:pt x="71" y="106"/>
                            <a:pt x="76" y="110"/>
                          </a:cubicBezTo>
                          <a:cubicBezTo>
                            <a:pt x="84" y="116"/>
                            <a:pt x="88" y="119"/>
                            <a:pt x="93" y="121"/>
                          </a:cubicBezTo>
                          <a:cubicBezTo>
                            <a:pt x="96" y="122"/>
                            <a:pt x="100" y="124"/>
                            <a:pt x="104" y="127"/>
                          </a:cubicBezTo>
                          <a:cubicBezTo>
                            <a:pt x="109" y="131"/>
                            <a:pt x="114" y="135"/>
                            <a:pt x="117" y="140"/>
                          </a:cubicBezTo>
                          <a:cubicBezTo>
                            <a:pt x="120" y="145"/>
                            <a:pt x="123" y="151"/>
                            <a:pt x="125" y="157"/>
                          </a:cubicBezTo>
                          <a:cubicBezTo>
                            <a:pt x="127" y="162"/>
                            <a:pt x="133" y="165"/>
                            <a:pt x="139" y="167"/>
                          </a:cubicBezTo>
                          <a:cubicBezTo>
                            <a:pt x="143" y="169"/>
                            <a:pt x="147" y="171"/>
                            <a:pt x="150" y="173"/>
                          </a:cubicBezTo>
                          <a:cubicBezTo>
                            <a:pt x="153" y="176"/>
                            <a:pt x="158" y="179"/>
                            <a:pt x="162" y="181"/>
                          </a:cubicBezTo>
                          <a:cubicBezTo>
                            <a:pt x="161" y="175"/>
                            <a:pt x="159" y="168"/>
                            <a:pt x="165" y="161"/>
                          </a:cubicBezTo>
                          <a:cubicBezTo>
                            <a:pt x="169" y="156"/>
                            <a:pt x="172" y="151"/>
                            <a:pt x="176" y="147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33" name="Freeform 430"/>
                    <p:cNvSpPr>
                      <a:spLocks/>
                    </p:cNvSpPr>
                    <p:nvPr/>
                  </p:nvSpPr>
                  <p:spPr bwMode="auto">
                    <a:xfrm>
                      <a:off x="4699509" y="3766635"/>
                      <a:ext cx="69056" cy="84534"/>
                    </a:xfrm>
                    <a:custGeom>
                      <a:avLst/>
                      <a:gdLst>
                        <a:gd name="T0" fmla="*/ 61 w 239"/>
                        <a:gd name="T1" fmla="*/ 0 h 295"/>
                        <a:gd name="T2" fmla="*/ 23 w 239"/>
                        <a:gd name="T3" fmla="*/ 10 h 295"/>
                        <a:gd name="T4" fmla="*/ 0 w 239"/>
                        <a:gd name="T5" fmla="*/ 18 h 295"/>
                        <a:gd name="T6" fmla="*/ 2 w 239"/>
                        <a:gd name="T7" fmla="*/ 43 h 295"/>
                        <a:gd name="T8" fmla="*/ 14 w 239"/>
                        <a:gd name="T9" fmla="*/ 59 h 295"/>
                        <a:gd name="T10" fmla="*/ 13 w 239"/>
                        <a:gd name="T11" fmla="*/ 83 h 295"/>
                        <a:gd name="T12" fmla="*/ 11 w 239"/>
                        <a:gd name="T13" fmla="*/ 92 h 295"/>
                        <a:gd name="T14" fmla="*/ 18 w 239"/>
                        <a:gd name="T15" fmla="*/ 117 h 295"/>
                        <a:gd name="T16" fmla="*/ 15 w 239"/>
                        <a:gd name="T17" fmla="*/ 132 h 295"/>
                        <a:gd name="T18" fmla="*/ 22 w 239"/>
                        <a:gd name="T19" fmla="*/ 143 h 295"/>
                        <a:gd name="T20" fmla="*/ 25 w 239"/>
                        <a:gd name="T21" fmla="*/ 165 h 295"/>
                        <a:gd name="T22" fmla="*/ 25 w 239"/>
                        <a:gd name="T23" fmla="*/ 174 h 295"/>
                        <a:gd name="T24" fmla="*/ 25 w 239"/>
                        <a:gd name="T25" fmla="*/ 194 h 295"/>
                        <a:gd name="T26" fmla="*/ 35 w 239"/>
                        <a:gd name="T27" fmla="*/ 205 h 295"/>
                        <a:gd name="T28" fmla="*/ 41 w 239"/>
                        <a:gd name="T29" fmla="*/ 209 h 295"/>
                        <a:gd name="T30" fmla="*/ 55 w 239"/>
                        <a:gd name="T31" fmla="*/ 215 h 295"/>
                        <a:gd name="T32" fmla="*/ 63 w 239"/>
                        <a:gd name="T33" fmla="*/ 225 h 295"/>
                        <a:gd name="T34" fmla="*/ 64 w 239"/>
                        <a:gd name="T35" fmla="*/ 227 h 295"/>
                        <a:gd name="T36" fmla="*/ 85 w 239"/>
                        <a:gd name="T37" fmla="*/ 241 h 295"/>
                        <a:gd name="T38" fmla="*/ 94 w 239"/>
                        <a:gd name="T39" fmla="*/ 228 h 295"/>
                        <a:gd name="T40" fmla="*/ 97 w 239"/>
                        <a:gd name="T41" fmla="*/ 222 h 295"/>
                        <a:gd name="T42" fmla="*/ 123 w 239"/>
                        <a:gd name="T43" fmla="*/ 220 h 295"/>
                        <a:gd name="T44" fmla="*/ 145 w 239"/>
                        <a:gd name="T45" fmla="*/ 234 h 295"/>
                        <a:gd name="T46" fmla="*/ 150 w 239"/>
                        <a:gd name="T47" fmla="*/ 250 h 295"/>
                        <a:gd name="T48" fmla="*/ 171 w 239"/>
                        <a:gd name="T49" fmla="*/ 263 h 295"/>
                        <a:gd name="T50" fmla="*/ 157 w 239"/>
                        <a:gd name="T51" fmla="*/ 288 h 295"/>
                        <a:gd name="T52" fmla="*/ 160 w 239"/>
                        <a:gd name="T53" fmla="*/ 294 h 295"/>
                        <a:gd name="T54" fmla="*/ 162 w 239"/>
                        <a:gd name="T55" fmla="*/ 293 h 295"/>
                        <a:gd name="T56" fmla="*/ 190 w 239"/>
                        <a:gd name="T57" fmla="*/ 286 h 295"/>
                        <a:gd name="T58" fmla="*/ 206 w 239"/>
                        <a:gd name="T59" fmla="*/ 287 h 295"/>
                        <a:gd name="T60" fmla="*/ 211 w 239"/>
                        <a:gd name="T61" fmla="*/ 281 h 295"/>
                        <a:gd name="T62" fmla="*/ 214 w 239"/>
                        <a:gd name="T63" fmla="*/ 276 h 295"/>
                        <a:gd name="T64" fmla="*/ 208 w 239"/>
                        <a:gd name="T65" fmla="*/ 262 h 295"/>
                        <a:gd name="T66" fmla="*/ 214 w 239"/>
                        <a:gd name="T67" fmla="*/ 245 h 295"/>
                        <a:gd name="T68" fmla="*/ 231 w 239"/>
                        <a:gd name="T69" fmla="*/ 231 h 295"/>
                        <a:gd name="T70" fmla="*/ 233 w 239"/>
                        <a:gd name="T71" fmla="*/ 229 h 295"/>
                        <a:gd name="T72" fmla="*/ 238 w 239"/>
                        <a:gd name="T73" fmla="*/ 222 h 295"/>
                        <a:gd name="T74" fmla="*/ 215 w 239"/>
                        <a:gd name="T75" fmla="*/ 203 h 295"/>
                        <a:gd name="T76" fmla="*/ 207 w 239"/>
                        <a:gd name="T77" fmla="*/ 174 h 295"/>
                        <a:gd name="T78" fmla="*/ 220 w 239"/>
                        <a:gd name="T79" fmla="*/ 149 h 295"/>
                        <a:gd name="T80" fmla="*/ 217 w 239"/>
                        <a:gd name="T81" fmla="*/ 144 h 295"/>
                        <a:gd name="T82" fmla="*/ 216 w 239"/>
                        <a:gd name="T83" fmla="*/ 126 h 295"/>
                        <a:gd name="T84" fmla="*/ 219 w 239"/>
                        <a:gd name="T85" fmla="*/ 122 h 295"/>
                        <a:gd name="T86" fmla="*/ 222 w 239"/>
                        <a:gd name="T87" fmla="*/ 121 h 295"/>
                        <a:gd name="T88" fmla="*/ 210 w 239"/>
                        <a:gd name="T89" fmla="*/ 115 h 295"/>
                        <a:gd name="T90" fmla="*/ 193 w 239"/>
                        <a:gd name="T91" fmla="*/ 127 h 295"/>
                        <a:gd name="T92" fmla="*/ 180 w 239"/>
                        <a:gd name="T93" fmla="*/ 119 h 295"/>
                        <a:gd name="T94" fmla="*/ 146 w 239"/>
                        <a:gd name="T95" fmla="*/ 98 h 295"/>
                        <a:gd name="T96" fmla="*/ 149 w 239"/>
                        <a:gd name="T97" fmla="*/ 88 h 295"/>
                        <a:gd name="T98" fmla="*/ 148 w 239"/>
                        <a:gd name="T99" fmla="*/ 75 h 295"/>
                        <a:gd name="T100" fmla="*/ 146 w 239"/>
                        <a:gd name="T101" fmla="*/ 74 h 295"/>
                        <a:gd name="T102" fmla="*/ 131 w 239"/>
                        <a:gd name="T103" fmla="*/ 66 h 295"/>
                        <a:gd name="T104" fmla="*/ 109 w 239"/>
                        <a:gd name="T105" fmla="*/ 49 h 295"/>
                        <a:gd name="T106" fmla="*/ 98 w 239"/>
                        <a:gd name="T107" fmla="*/ 34 h 295"/>
                        <a:gd name="T108" fmla="*/ 82 w 239"/>
                        <a:gd name="T109" fmla="*/ 15 h 295"/>
                        <a:gd name="T110" fmla="*/ 76 w 239"/>
                        <a:gd name="T111" fmla="*/ 4 h 2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239" h="295">
                          <a:moveTo>
                            <a:pt x="76" y="4"/>
                          </a:moveTo>
                          <a:cubicBezTo>
                            <a:pt x="74" y="2"/>
                            <a:pt x="72" y="0"/>
                            <a:pt x="61" y="0"/>
                          </a:cubicBezTo>
                          <a:cubicBezTo>
                            <a:pt x="50" y="0"/>
                            <a:pt x="46" y="2"/>
                            <a:pt x="38" y="5"/>
                          </a:cubicBezTo>
                          <a:cubicBezTo>
                            <a:pt x="34" y="6"/>
                            <a:pt x="29" y="8"/>
                            <a:pt x="23" y="10"/>
                          </a:cubicBezTo>
                          <a:cubicBezTo>
                            <a:pt x="16" y="12"/>
                            <a:pt x="10" y="14"/>
                            <a:pt x="4" y="17"/>
                          </a:cubicBezTo>
                          <a:cubicBezTo>
                            <a:pt x="2" y="17"/>
                            <a:pt x="1" y="18"/>
                            <a:pt x="0" y="18"/>
                          </a:cubicBezTo>
                          <a:cubicBezTo>
                            <a:pt x="0" y="23"/>
                            <a:pt x="0" y="33"/>
                            <a:pt x="0" y="37"/>
                          </a:cubicBezTo>
                          <a:cubicBezTo>
                            <a:pt x="0" y="39"/>
                            <a:pt x="1" y="41"/>
                            <a:pt x="2" y="43"/>
                          </a:cubicBezTo>
                          <a:cubicBezTo>
                            <a:pt x="4" y="45"/>
                            <a:pt x="5" y="48"/>
                            <a:pt x="7" y="50"/>
                          </a:cubicBezTo>
                          <a:cubicBezTo>
                            <a:pt x="10" y="52"/>
                            <a:pt x="12" y="55"/>
                            <a:pt x="14" y="59"/>
                          </a:cubicBezTo>
                          <a:cubicBezTo>
                            <a:pt x="15" y="63"/>
                            <a:pt x="16" y="68"/>
                            <a:pt x="15" y="73"/>
                          </a:cubicBezTo>
                          <a:cubicBezTo>
                            <a:pt x="14" y="77"/>
                            <a:pt x="14" y="80"/>
                            <a:pt x="13" y="83"/>
                          </a:cubicBezTo>
                          <a:cubicBezTo>
                            <a:pt x="12" y="87"/>
                            <a:pt x="11" y="91"/>
                            <a:pt x="11" y="92"/>
                          </a:cubicBezTo>
                          <a:cubicBezTo>
                            <a:pt x="11" y="92"/>
                            <a:pt x="11" y="92"/>
                            <a:pt x="11" y="92"/>
                          </a:cubicBezTo>
                          <a:cubicBezTo>
                            <a:pt x="11" y="92"/>
                            <a:pt x="12" y="93"/>
                            <a:pt x="13" y="94"/>
                          </a:cubicBezTo>
                          <a:cubicBezTo>
                            <a:pt x="18" y="98"/>
                            <a:pt x="25" y="105"/>
                            <a:pt x="18" y="117"/>
                          </a:cubicBezTo>
                          <a:cubicBezTo>
                            <a:pt x="13" y="126"/>
                            <a:pt x="14" y="128"/>
                            <a:pt x="15" y="132"/>
                          </a:cubicBezTo>
                          <a:cubicBezTo>
                            <a:pt x="15" y="132"/>
                            <a:pt x="15" y="132"/>
                            <a:pt x="15" y="132"/>
                          </a:cubicBezTo>
                          <a:cubicBezTo>
                            <a:pt x="15" y="133"/>
                            <a:pt x="16" y="134"/>
                            <a:pt x="16" y="135"/>
                          </a:cubicBezTo>
                          <a:cubicBezTo>
                            <a:pt x="17" y="138"/>
                            <a:pt x="20" y="141"/>
                            <a:pt x="22" y="143"/>
                          </a:cubicBezTo>
                          <a:cubicBezTo>
                            <a:pt x="25" y="146"/>
                            <a:pt x="28" y="149"/>
                            <a:pt x="29" y="154"/>
                          </a:cubicBezTo>
                          <a:cubicBezTo>
                            <a:pt x="30" y="160"/>
                            <a:pt x="27" y="163"/>
                            <a:pt x="25" y="165"/>
                          </a:cubicBezTo>
                          <a:cubicBezTo>
                            <a:pt x="24" y="166"/>
                            <a:pt x="23" y="167"/>
                            <a:pt x="23" y="168"/>
                          </a:cubicBezTo>
                          <a:cubicBezTo>
                            <a:pt x="23" y="170"/>
                            <a:pt x="24" y="172"/>
                            <a:pt x="25" y="174"/>
                          </a:cubicBezTo>
                          <a:cubicBezTo>
                            <a:pt x="27" y="177"/>
                            <a:pt x="28" y="180"/>
                            <a:pt x="28" y="184"/>
                          </a:cubicBezTo>
                          <a:cubicBezTo>
                            <a:pt x="29" y="188"/>
                            <a:pt x="28" y="191"/>
                            <a:pt x="25" y="194"/>
                          </a:cubicBezTo>
                          <a:cubicBezTo>
                            <a:pt x="24" y="195"/>
                            <a:pt x="24" y="195"/>
                            <a:pt x="23" y="196"/>
                          </a:cubicBezTo>
                          <a:cubicBezTo>
                            <a:pt x="26" y="198"/>
                            <a:pt x="30" y="201"/>
                            <a:pt x="35" y="205"/>
                          </a:cubicBezTo>
                          <a:cubicBezTo>
                            <a:pt x="37" y="207"/>
                            <a:pt x="39" y="208"/>
                            <a:pt x="41" y="209"/>
                          </a:cubicBezTo>
                          <a:cubicBezTo>
                            <a:pt x="41" y="209"/>
                            <a:pt x="41" y="209"/>
                            <a:pt x="41" y="209"/>
                          </a:cubicBezTo>
                          <a:cubicBezTo>
                            <a:pt x="44" y="209"/>
                            <a:pt x="47" y="210"/>
                            <a:pt x="51" y="213"/>
                          </a:cubicBezTo>
                          <a:cubicBezTo>
                            <a:pt x="53" y="214"/>
                            <a:pt x="54" y="215"/>
                            <a:pt x="55" y="215"/>
                          </a:cubicBezTo>
                          <a:cubicBezTo>
                            <a:pt x="56" y="216"/>
                            <a:pt x="57" y="217"/>
                            <a:pt x="58" y="218"/>
                          </a:cubicBezTo>
                          <a:cubicBezTo>
                            <a:pt x="59" y="219"/>
                            <a:pt x="60" y="221"/>
                            <a:pt x="63" y="225"/>
                          </a:cubicBezTo>
                          <a:cubicBezTo>
                            <a:pt x="64" y="227"/>
                            <a:pt x="64" y="227"/>
                            <a:pt x="64" y="227"/>
                          </a:cubicBezTo>
                          <a:cubicBezTo>
                            <a:pt x="64" y="227"/>
                            <a:pt x="64" y="227"/>
                            <a:pt x="64" y="227"/>
                          </a:cubicBezTo>
                          <a:cubicBezTo>
                            <a:pt x="69" y="235"/>
                            <a:pt x="75" y="242"/>
                            <a:pt x="79" y="244"/>
                          </a:cubicBezTo>
                          <a:cubicBezTo>
                            <a:pt x="80" y="243"/>
                            <a:pt x="82" y="242"/>
                            <a:pt x="85" y="241"/>
                          </a:cubicBezTo>
                          <a:cubicBezTo>
                            <a:pt x="91" y="237"/>
                            <a:pt x="93" y="233"/>
                            <a:pt x="94" y="228"/>
                          </a:cubicBezTo>
                          <a:cubicBezTo>
                            <a:pt x="94" y="228"/>
                            <a:pt x="94" y="228"/>
                            <a:pt x="94" y="228"/>
                          </a:cubicBezTo>
                          <a:cubicBezTo>
                            <a:pt x="95" y="226"/>
                            <a:pt x="96" y="224"/>
                            <a:pt x="97" y="222"/>
                          </a:cubicBezTo>
                          <a:cubicBezTo>
                            <a:pt x="97" y="222"/>
                            <a:pt x="97" y="222"/>
                            <a:pt x="97" y="222"/>
                          </a:cubicBezTo>
                          <a:cubicBezTo>
                            <a:pt x="100" y="218"/>
                            <a:pt x="103" y="217"/>
                            <a:pt x="108" y="217"/>
                          </a:cubicBezTo>
                          <a:cubicBezTo>
                            <a:pt x="112" y="217"/>
                            <a:pt x="117" y="218"/>
                            <a:pt x="123" y="220"/>
                          </a:cubicBezTo>
                          <a:cubicBezTo>
                            <a:pt x="127" y="222"/>
                            <a:pt x="130" y="222"/>
                            <a:pt x="132" y="222"/>
                          </a:cubicBezTo>
                          <a:cubicBezTo>
                            <a:pt x="139" y="224"/>
                            <a:pt x="143" y="224"/>
                            <a:pt x="145" y="234"/>
                          </a:cubicBezTo>
                          <a:cubicBezTo>
                            <a:pt x="146" y="239"/>
                            <a:pt x="145" y="242"/>
                            <a:pt x="145" y="244"/>
                          </a:cubicBezTo>
                          <a:cubicBezTo>
                            <a:pt x="145" y="246"/>
                            <a:pt x="145" y="247"/>
                            <a:pt x="150" y="250"/>
                          </a:cubicBezTo>
                          <a:cubicBezTo>
                            <a:pt x="154" y="252"/>
                            <a:pt x="158" y="254"/>
                            <a:pt x="160" y="254"/>
                          </a:cubicBezTo>
                          <a:cubicBezTo>
                            <a:pt x="165" y="256"/>
                            <a:pt x="168" y="257"/>
                            <a:pt x="171" y="263"/>
                          </a:cubicBezTo>
                          <a:cubicBezTo>
                            <a:pt x="173" y="270"/>
                            <a:pt x="167" y="276"/>
                            <a:pt x="162" y="282"/>
                          </a:cubicBezTo>
                          <a:cubicBezTo>
                            <a:pt x="159" y="284"/>
                            <a:pt x="157" y="287"/>
                            <a:pt x="157" y="288"/>
                          </a:cubicBezTo>
                          <a:cubicBezTo>
                            <a:pt x="156" y="290"/>
                            <a:pt x="156" y="293"/>
                            <a:pt x="156" y="295"/>
                          </a:cubicBezTo>
                          <a:cubicBezTo>
                            <a:pt x="158" y="295"/>
                            <a:pt x="158" y="295"/>
                            <a:pt x="160" y="294"/>
                          </a:cubicBezTo>
                          <a:cubicBezTo>
                            <a:pt x="160" y="294"/>
                            <a:pt x="161" y="293"/>
                            <a:pt x="162" y="293"/>
                          </a:cubicBezTo>
                          <a:cubicBezTo>
                            <a:pt x="162" y="293"/>
                            <a:pt x="162" y="293"/>
                            <a:pt x="162" y="293"/>
                          </a:cubicBezTo>
                          <a:cubicBezTo>
                            <a:pt x="165" y="292"/>
                            <a:pt x="169" y="290"/>
                            <a:pt x="173" y="289"/>
                          </a:cubicBezTo>
                          <a:cubicBezTo>
                            <a:pt x="178" y="287"/>
                            <a:pt x="184" y="286"/>
                            <a:pt x="190" y="286"/>
                          </a:cubicBezTo>
                          <a:cubicBezTo>
                            <a:pt x="199" y="286"/>
                            <a:pt x="202" y="287"/>
                            <a:pt x="206" y="287"/>
                          </a:cubicBezTo>
                          <a:cubicBezTo>
                            <a:pt x="206" y="287"/>
                            <a:pt x="206" y="287"/>
                            <a:pt x="206" y="287"/>
                          </a:cubicBezTo>
                          <a:cubicBezTo>
                            <a:pt x="206" y="287"/>
                            <a:pt x="206" y="287"/>
                            <a:pt x="206" y="287"/>
                          </a:cubicBezTo>
                          <a:cubicBezTo>
                            <a:pt x="207" y="284"/>
                            <a:pt x="209" y="283"/>
                            <a:pt x="211" y="281"/>
                          </a:cubicBezTo>
                          <a:cubicBezTo>
                            <a:pt x="212" y="280"/>
                            <a:pt x="214" y="278"/>
                            <a:pt x="214" y="276"/>
                          </a:cubicBezTo>
                          <a:cubicBezTo>
                            <a:pt x="214" y="276"/>
                            <a:pt x="214" y="276"/>
                            <a:pt x="214" y="276"/>
                          </a:cubicBezTo>
                          <a:cubicBezTo>
                            <a:pt x="215" y="275"/>
                            <a:pt x="213" y="273"/>
                            <a:pt x="212" y="270"/>
                          </a:cubicBezTo>
                          <a:cubicBezTo>
                            <a:pt x="211" y="268"/>
                            <a:pt x="209" y="265"/>
                            <a:pt x="208" y="262"/>
                          </a:cubicBezTo>
                          <a:cubicBezTo>
                            <a:pt x="208" y="258"/>
                            <a:pt x="208" y="255"/>
                            <a:pt x="209" y="252"/>
                          </a:cubicBezTo>
                          <a:cubicBezTo>
                            <a:pt x="210" y="249"/>
                            <a:pt x="212" y="247"/>
                            <a:pt x="214" y="245"/>
                          </a:cubicBezTo>
                          <a:cubicBezTo>
                            <a:pt x="215" y="243"/>
                            <a:pt x="218" y="240"/>
                            <a:pt x="222" y="238"/>
                          </a:cubicBezTo>
                          <a:cubicBezTo>
                            <a:pt x="225" y="236"/>
                            <a:pt x="229" y="233"/>
                            <a:pt x="231" y="231"/>
                          </a:cubicBezTo>
                          <a:cubicBezTo>
                            <a:pt x="231" y="231"/>
                            <a:pt x="231" y="231"/>
                            <a:pt x="231" y="231"/>
                          </a:cubicBezTo>
                          <a:cubicBezTo>
                            <a:pt x="232" y="230"/>
                            <a:pt x="233" y="229"/>
                            <a:pt x="233" y="229"/>
                          </a:cubicBezTo>
                          <a:cubicBezTo>
                            <a:pt x="234" y="227"/>
                            <a:pt x="236" y="226"/>
                            <a:pt x="237" y="225"/>
                          </a:cubicBezTo>
                          <a:cubicBezTo>
                            <a:pt x="238" y="223"/>
                            <a:pt x="239" y="222"/>
                            <a:pt x="238" y="222"/>
                          </a:cubicBezTo>
                          <a:cubicBezTo>
                            <a:pt x="237" y="221"/>
                            <a:pt x="235" y="219"/>
                            <a:pt x="233" y="218"/>
                          </a:cubicBezTo>
                          <a:cubicBezTo>
                            <a:pt x="228" y="214"/>
                            <a:pt x="221" y="210"/>
                            <a:pt x="215" y="203"/>
                          </a:cubicBezTo>
                          <a:cubicBezTo>
                            <a:pt x="210" y="198"/>
                            <a:pt x="208" y="193"/>
                            <a:pt x="207" y="188"/>
                          </a:cubicBezTo>
                          <a:cubicBezTo>
                            <a:pt x="206" y="183"/>
                            <a:pt x="206" y="178"/>
                            <a:pt x="207" y="174"/>
                          </a:cubicBezTo>
                          <a:cubicBezTo>
                            <a:pt x="207" y="168"/>
                            <a:pt x="212" y="162"/>
                            <a:pt x="215" y="156"/>
                          </a:cubicBezTo>
                          <a:cubicBezTo>
                            <a:pt x="218" y="153"/>
                            <a:pt x="219" y="151"/>
                            <a:pt x="220" y="149"/>
                          </a:cubicBezTo>
                          <a:cubicBezTo>
                            <a:pt x="220" y="148"/>
                            <a:pt x="220" y="147"/>
                            <a:pt x="220" y="147"/>
                          </a:cubicBezTo>
                          <a:cubicBezTo>
                            <a:pt x="219" y="146"/>
                            <a:pt x="218" y="145"/>
                            <a:pt x="217" y="144"/>
                          </a:cubicBezTo>
                          <a:cubicBezTo>
                            <a:pt x="215" y="141"/>
                            <a:pt x="214" y="138"/>
                            <a:pt x="213" y="135"/>
                          </a:cubicBezTo>
                          <a:cubicBezTo>
                            <a:pt x="213" y="132"/>
                            <a:pt x="214" y="129"/>
                            <a:pt x="216" y="126"/>
                          </a:cubicBezTo>
                          <a:cubicBezTo>
                            <a:pt x="217" y="125"/>
                            <a:pt x="218" y="124"/>
                            <a:pt x="219" y="122"/>
                          </a:cubicBezTo>
                          <a:cubicBezTo>
                            <a:pt x="219" y="122"/>
                            <a:pt x="219" y="122"/>
                            <a:pt x="219" y="122"/>
                          </a:cubicBezTo>
                          <a:cubicBezTo>
                            <a:pt x="220" y="122"/>
                            <a:pt x="221" y="121"/>
                            <a:pt x="221" y="120"/>
                          </a:cubicBezTo>
                          <a:cubicBezTo>
                            <a:pt x="222" y="120"/>
                            <a:pt x="223" y="121"/>
                            <a:pt x="222" y="121"/>
                          </a:cubicBezTo>
                          <a:cubicBezTo>
                            <a:pt x="220" y="119"/>
                            <a:pt x="216" y="116"/>
                            <a:pt x="213" y="115"/>
                          </a:cubicBezTo>
                          <a:cubicBezTo>
                            <a:pt x="211" y="115"/>
                            <a:pt x="210" y="114"/>
                            <a:pt x="210" y="115"/>
                          </a:cubicBezTo>
                          <a:cubicBezTo>
                            <a:pt x="209" y="115"/>
                            <a:pt x="209" y="115"/>
                            <a:pt x="209" y="115"/>
                          </a:cubicBezTo>
                          <a:cubicBezTo>
                            <a:pt x="205" y="120"/>
                            <a:pt x="199" y="126"/>
                            <a:pt x="193" y="127"/>
                          </a:cubicBezTo>
                          <a:cubicBezTo>
                            <a:pt x="188" y="127"/>
                            <a:pt x="187" y="126"/>
                            <a:pt x="184" y="123"/>
                          </a:cubicBezTo>
                          <a:cubicBezTo>
                            <a:pt x="184" y="122"/>
                            <a:pt x="182" y="121"/>
                            <a:pt x="180" y="119"/>
                          </a:cubicBezTo>
                          <a:cubicBezTo>
                            <a:pt x="178" y="118"/>
                            <a:pt x="173" y="116"/>
                            <a:pt x="169" y="114"/>
                          </a:cubicBezTo>
                          <a:cubicBezTo>
                            <a:pt x="159" y="109"/>
                            <a:pt x="147" y="104"/>
                            <a:pt x="146" y="98"/>
                          </a:cubicBezTo>
                          <a:cubicBezTo>
                            <a:pt x="145" y="94"/>
                            <a:pt x="147" y="91"/>
                            <a:pt x="149" y="88"/>
                          </a:cubicBezTo>
                          <a:cubicBezTo>
                            <a:pt x="149" y="88"/>
                            <a:pt x="149" y="88"/>
                            <a:pt x="149" y="88"/>
                          </a:cubicBezTo>
                          <a:cubicBezTo>
                            <a:pt x="150" y="86"/>
                            <a:pt x="152" y="84"/>
                            <a:pt x="152" y="82"/>
                          </a:cubicBezTo>
                          <a:cubicBezTo>
                            <a:pt x="152" y="78"/>
                            <a:pt x="151" y="77"/>
                            <a:pt x="148" y="75"/>
                          </a:cubicBezTo>
                          <a:cubicBezTo>
                            <a:pt x="148" y="75"/>
                            <a:pt x="148" y="75"/>
                            <a:pt x="148" y="75"/>
                          </a:cubicBezTo>
                          <a:cubicBezTo>
                            <a:pt x="146" y="74"/>
                            <a:pt x="146" y="74"/>
                            <a:pt x="146" y="74"/>
                          </a:cubicBezTo>
                          <a:cubicBezTo>
                            <a:pt x="146" y="74"/>
                            <a:pt x="146" y="74"/>
                            <a:pt x="146" y="74"/>
                          </a:cubicBezTo>
                          <a:cubicBezTo>
                            <a:pt x="144" y="72"/>
                            <a:pt x="138" y="69"/>
                            <a:pt x="131" y="66"/>
                          </a:cubicBezTo>
                          <a:cubicBezTo>
                            <a:pt x="126" y="64"/>
                            <a:pt x="121" y="62"/>
                            <a:pt x="118" y="60"/>
                          </a:cubicBezTo>
                          <a:cubicBezTo>
                            <a:pt x="112" y="56"/>
                            <a:pt x="111" y="53"/>
                            <a:pt x="109" y="49"/>
                          </a:cubicBezTo>
                          <a:cubicBezTo>
                            <a:pt x="109" y="48"/>
                            <a:pt x="109" y="47"/>
                            <a:pt x="108" y="46"/>
                          </a:cubicBezTo>
                          <a:cubicBezTo>
                            <a:pt x="107" y="43"/>
                            <a:pt x="102" y="39"/>
                            <a:pt x="98" y="34"/>
                          </a:cubicBezTo>
                          <a:cubicBezTo>
                            <a:pt x="93" y="29"/>
                            <a:pt x="89" y="24"/>
                            <a:pt x="86" y="20"/>
                          </a:cubicBezTo>
                          <a:cubicBezTo>
                            <a:pt x="84" y="17"/>
                            <a:pt x="83" y="16"/>
                            <a:pt x="82" y="15"/>
                          </a:cubicBezTo>
                          <a:cubicBezTo>
                            <a:pt x="78" y="10"/>
                            <a:pt x="77" y="8"/>
                            <a:pt x="77" y="5"/>
                          </a:cubicBezTo>
                          <a:cubicBezTo>
                            <a:pt x="77" y="4"/>
                            <a:pt x="76" y="4"/>
                            <a:pt x="76" y="4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34" name="Freeform 432"/>
                    <p:cNvSpPr>
                      <a:spLocks/>
                    </p:cNvSpPr>
                    <p:nvPr/>
                  </p:nvSpPr>
                  <p:spPr bwMode="auto">
                    <a:xfrm>
                      <a:off x="4598306" y="3751157"/>
                      <a:ext cx="55959" cy="28575"/>
                    </a:xfrm>
                    <a:custGeom>
                      <a:avLst/>
                      <a:gdLst>
                        <a:gd name="T0" fmla="*/ 8 w 194"/>
                        <a:gd name="T1" fmla="*/ 48 h 103"/>
                        <a:gd name="T2" fmla="*/ 2 w 194"/>
                        <a:gd name="T3" fmla="*/ 58 h 103"/>
                        <a:gd name="T4" fmla="*/ 1 w 194"/>
                        <a:gd name="T5" fmla="*/ 65 h 103"/>
                        <a:gd name="T6" fmla="*/ 1 w 194"/>
                        <a:gd name="T7" fmla="*/ 73 h 103"/>
                        <a:gd name="T8" fmla="*/ 2 w 194"/>
                        <a:gd name="T9" fmla="*/ 85 h 103"/>
                        <a:gd name="T10" fmla="*/ 7 w 194"/>
                        <a:gd name="T11" fmla="*/ 86 h 103"/>
                        <a:gd name="T12" fmla="*/ 16 w 194"/>
                        <a:gd name="T13" fmla="*/ 86 h 103"/>
                        <a:gd name="T14" fmla="*/ 20 w 194"/>
                        <a:gd name="T15" fmla="*/ 98 h 103"/>
                        <a:gd name="T16" fmla="*/ 32 w 194"/>
                        <a:gd name="T17" fmla="*/ 97 h 103"/>
                        <a:gd name="T18" fmla="*/ 40 w 194"/>
                        <a:gd name="T19" fmla="*/ 100 h 103"/>
                        <a:gd name="T20" fmla="*/ 57 w 194"/>
                        <a:gd name="T21" fmla="*/ 99 h 103"/>
                        <a:gd name="T22" fmla="*/ 65 w 194"/>
                        <a:gd name="T23" fmla="*/ 92 h 103"/>
                        <a:gd name="T24" fmla="*/ 82 w 194"/>
                        <a:gd name="T25" fmla="*/ 89 h 103"/>
                        <a:gd name="T26" fmla="*/ 95 w 194"/>
                        <a:gd name="T27" fmla="*/ 96 h 103"/>
                        <a:gd name="T28" fmla="*/ 109 w 194"/>
                        <a:gd name="T29" fmla="*/ 101 h 103"/>
                        <a:gd name="T30" fmla="*/ 120 w 194"/>
                        <a:gd name="T31" fmla="*/ 94 h 103"/>
                        <a:gd name="T32" fmla="*/ 122 w 194"/>
                        <a:gd name="T33" fmla="*/ 89 h 103"/>
                        <a:gd name="T34" fmla="*/ 133 w 194"/>
                        <a:gd name="T35" fmla="*/ 74 h 103"/>
                        <a:gd name="T36" fmla="*/ 138 w 194"/>
                        <a:gd name="T37" fmla="*/ 69 h 103"/>
                        <a:gd name="T38" fmla="*/ 140 w 194"/>
                        <a:gd name="T39" fmla="*/ 62 h 103"/>
                        <a:gd name="T40" fmla="*/ 144 w 194"/>
                        <a:gd name="T41" fmla="*/ 49 h 103"/>
                        <a:gd name="T42" fmla="*/ 154 w 194"/>
                        <a:gd name="T43" fmla="*/ 40 h 103"/>
                        <a:gd name="T44" fmla="*/ 168 w 194"/>
                        <a:gd name="T45" fmla="*/ 35 h 103"/>
                        <a:gd name="T46" fmla="*/ 194 w 194"/>
                        <a:gd name="T47" fmla="*/ 20 h 103"/>
                        <a:gd name="T48" fmla="*/ 178 w 194"/>
                        <a:gd name="T49" fmla="*/ 0 h 103"/>
                        <a:gd name="T50" fmla="*/ 177 w 194"/>
                        <a:gd name="T51" fmla="*/ 1 h 103"/>
                        <a:gd name="T52" fmla="*/ 173 w 194"/>
                        <a:gd name="T53" fmla="*/ 5 h 103"/>
                        <a:gd name="T54" fmla="*/ 166 w 194"/>
                        <a:gd name="T55" fmla="*/ 11 h 103"/>
                        <a:gd name="T56" fmla="*/ 148 w 194"/>
                        <a:gd name="T57" fmla="*/ 16 h 103"/>
                        <a:gd name="T58" fmla="*/ 142 w 194"/>
                        <a:gd name="T59" fmla="*/ 17 h 103"/>
                        <a:gd name="T60" fmla="*/ 132 w 194"/>
                        <a:gd name="T61" fmla="*/ 18 h 103"/>
                        <a:gd name="T62" fmla="*/ 104 w 194"/>
                        <a:gd name="T63" fmla="*/ 22 h 103"/>
                        <a:gd name="T64" fmla="*/ 102 w 194"/>
                        <a:gd name="T65" fmla="*/ 23 h 103"/>
                        <a:gd name="T66" fmla="*/ 86 w 194"/>
                        <a:gd name="T67" fmla="*/ 37 h 103"/>
                        <a:gd name="T68" fmla="*/ 63 w 194"/>
                        <a:gd name="T69" fmla="*/ 35 h 103"/>
                        <a:gd name="T70" fmla="*/ 62 w 194"/>
                        <a:gd name="T71" fmla="*/ 34 h 103"/>
                        <a:gd name="T72" fmla="*/ 62 w 194"/>
                        <a:gd name="T73" fmla="*/ 34 h 103"/>
                        <a:gd name="T74" fmla="*/ 45 w 194"/>
                        <a:gd name="T75" fmla="*/ 30 h 103"/>
                        <a:gd name="T76" fmla="*/ 28 w 194"/>
                        <a:gd name="T77" fmla="*/ 28 h 103"/>
                        <a:gd name="T78" fmla="*/ 8 w 194"/>
                        <a:gd name="T79" fmla="*/ 48 h 1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</a:cxnLst>
                      <a:rect l="0" t="0" r="r" b="b"/>
                      <a:pathLst>
                        <a:path w="194" h="103">
                          <a:moveTo>
                            <a:pt x="8" y="48"/>
                          </a:moveTo>
                          <a:cubicBezTo>
                            <a:pt x="2" y="52"/>
                            <a:pt x="2" y="55"/>
                            <a:pt x="2" y="58"/>
                          </a:cubicBezTo>
                          <a:cubicBezTo>
                            <a:pt x="2" y="60"/>
                            <a:pt x="2" y="62"/>
                            <a:pt x="1" y="65"/>
                          </a:cubicBezTo>
                          <a:cubicBezTo>
                            <a:pt x="0" y="66"/>
                            <a:pt x="0" y="70"/>
                            <a:pt x="1" y="73"/>
                          </a:cubicBezTo>
                          <a:cubicBezTo>
                            <a:pt x="1" y="77"/>
                            <a:pt x="2" y="82"/>
                            <a:pt x="2" y="85"/>
                          </a:cubicBezTo>
                          <a:cubicBezTo>
                            <a:pt x="4" y="85"/>
                            <a:pt x="5" y="86"/>
                            <a:pt x="7" y="86"/>
                          </a:cubicBezTo>
                          <a:cubicBezTo>
                            <a:pt x="12" y="87"/>
                            <a:pt x="12" y="84"/>
                            <a:pt x="16" y="86"/>
                          </a:cubicBezTo>
                          <a:cubicBezTo>
                            <a:pt x="21" y="88"/>
                            <a:pt x="23" y="93"/>
                            <a:pt x="20" y="98"/>
                          </a:cubicBezTo>
                          <a:cubicBezTo>
                            <a:pt x="24" y="97"/>
                            <a:pt x="27" y="96"/>
                            <a:pt x="32" y="97"/>
                          </a:cubicBezTo>
                          <a:cubicBezTo>
                            <a:pt x="35" y="98"/>
                            <a:pt x="37" y="99"/>
                            <a:pt x="40" y="100"/>
                          </a:cubicBezTo>
                          <a:cubicBezTo>
                            <a:pt x="45" y="101"/>
                            <a:pt x="49" y="103"/>
                            <a:pt x="57" y="99"/>
                          </a:cubicBezTo>
                          <a:cubicBezTo>
                            <a:pt x="61" y="96"/>
                            <a:pt x="63" y="94"/>
                            <a:pt x="65" y="92"/>
                          </a:cubicBezTo>
                          <a:cubicBezTo>
                            <a:pt x="69" y="87"/>
                            <a:pt x="72" y="85"/>
                            <a:pt x="82" y="89"/>
                          </a:cubicBezTo>
                          <a:cubicBezTo>
                            <a:pt x="88" y="91"/>
                            <a:pt x="92" y="94"/>
                            <a:pt x="95" y="96"/>
                          </a:cubicBezTo>
                          <a:cubicBezTo>
                            <a:pt x="99" y="99"/>
                            <a:pt x="102" y="102"/>
                            <a:pt x="109" y="101"/>
                          </a:cubicBezTo>
                          <a:cubicBezTo>
                            <a:pt x="117" y="100"/>
                            <a:pt x="118" y="100"/>
                            <a:pt x="120" y="94"/>
                          </a:cubicBezTo>
                          <a:cubicBezTo>
                            <a:pt x="120" y="93"/>
                            <a:pt x="121" y="91"/>
                            <a:pt x="122" y="89"/>
                          </a:cubicBezTo>
                          <a:cubicBezTo>
                            <a:pt x="126" y="80"/>
                            <a:pt x="129" y="77"/>
                            <a:pt x="133" y="74"/>
                          </a:cubicBezTo>
                          <a:cubicBezTo>
                            <a:pt x="134" y="73"/>
                            <a:pt x="136" y="71"/>
                            <a:pt x="138" y="69"/>
                          </a:cubicBezTo>
                          <a:cubicBezTo>
                            <a:pt x="140" y="66"/>
                            <a:pt x="140" y="64"/>
                            <a:pt x="140" y="62"/>
                          </a:cubicBezTo>
                          <a:cubicBezTo>
                            <a:pt x="140" y="58"/>
                            <a:pt x="139" y="54"/>
                            <a:pt x="144" y="49"/>
                          </a:cubicBezTo>
                          <a:cubicBezTo>
                            <a:pt x="147" y="45"/>
                            <a:pt x="150" y="42"/>
                            <a:pt x="154" y="40"/>
                          </a:cubicBezTo>
                          <a:cubicBezTo>
                            <a:pt x="158" y="38"/>
                            <a:pt x="162" y="36"/>
                            <a:pt x="168" y="35"/>
                          </a:cubicBezTo>
                          <a:cubicBezTo>
                            <a:pt x="177" y="34"/>
                            <a:pt x="189" y="24"/>
                            <a:pt x="194" y="20"/>
                          </a:cubicBezTo>
                          <a:cubicBezTo>
                            <a:pt x="187" y="12"/>
                            <a:pt x="181" y="3"/>
                            <a:pt x="178" y="0"/>
                          </a:cubicBezTo>
                          <a:cubicBezTo>
                            <a:pt x="178" y="1"/>
                            <a:pt x="178" y="1"/>
                            <a:pt x="177" y="1"/>
                          </a:cubicBezTo>
                          <a:cubicBezTo>
                            <a:pt x="175" y="3"/>
                            <a:pt x="174" y="4"/>
                            <a:pt x="173" y="5"/>
                          </a:cubicBezTo>
                          <a:cubicBezTo>
                            <a:pt x="171" y="7"/>
                            <a:pt x="170" y="9"/>
                            <a:pt x="166" y="11"/>
                          </a:cubicBezTo>
                          <a:cubicBezTo>
                            <a:pt x="161" y="15"/>
                            <a:pt x="154" y="16"/>
                            <a:pt x="148" y="16"/>
                          </a:cubicBezTo>
                          <a:cubicBezTo>
                            <a:pt x="146" y="17"/>
                            <a:pt x="144" y="17"/>
                            <a:pt x="142" y="17"/>
                          </a:cubicBezTo>
                          <a:cubicBezTo>
                            <a:pt x="140" y="17"/>
                            <a:pt x="136" y="18"/>
                            <a:pt x="132" y="18"/>
                          </a:cubicBezTo>
                          <a:cubicBezTo>
                            <a:pt x="121" y="18"/>
                            <a:pt x="107" y="19"/>
                            <a:pt x="104" y="22"/>
                          </a:cubicBezTo>
                          <a:cubicBezTo>
                            <a:pt x="102" y="23"/>
                            <a:pt x="102" y="23"/>
                            <a:pt x="102" y="23"/>
                          </a:cubicBezTo>
                          <a:cubicBezTo>
                            <a:pt x="97" y="29"/>
                            <a:pt x="92" y="34"/>
                            <a:pt x="86" y="37"/>
                          </a:cubicBezTo>
                          <a:cubicBezTo>
                            <a:pt x="79" y="40"/>
                            <a:pt x="72" y="38"/>
                            <a:pt x="63" y="35"/>
                          </a:cubicBezTo>
                          <a:cubicBezTo>
                            <a:pt x="62" y="34"/>
                            <a:pt x="62" y="34"/>
                            <a:pt x="62" y="34"/>
                          </a:cubicBezTo>
                          <a:cubicBezTo>
                            <a:pt x="62" y="34"/>
                            <a:pt x="62" y="34"/>
                            <a:pt x="62" y="34"/>
                          </a:cubicBezTo>
                          <a:cubicBezTo>
                            <a:pt x="58" y="33"/>
                            <a:pt x="52" y="32"/>
                            <a:pt x="45" y="30"/>
                          </a:cubicBezTo>
                          <a:cubicBezTo>
                            <a:pt x="39" y="29"/>
                            <a:pt x="33" y="28"/>
                            <a:pt x="28" y="28"/>
                          </a:cubicBezTo>
                          <a:cubicBezTo>
                            <a:pt x="25" y="32"/>
                            <a:pt x="17" y="42"/>
                            <a:pt x="8" y="48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35" name="Freeform 438"/>
                    <p:cNvSpPr>
                      <a:spLocks/>
                    </p:cNvSpPr>
                    <p:nvPr/>
                  </p:nvSpPr>
                  <p:spPr bwMode="auto">
                    <a:xfrm>
                      <a:off x="4513772" y="3835691"/>
                      <a:ext cx="17859" cy="34528"/>
                    </a:xfrm>
                    <a:custGeom>
                      <a:avLst/>
                      <a:gdLst>
                        <a:gd name="T0" fmla="*/ 42 w 61"/>
                        <a:gd name="T1" fmla="*/ 24 h 123"/>
                        <a:gd name="T2" fmla="*/ 26 w 61"/>
                        <a:gd name="T3" fmla="*/ 25 h 123"/>
                        <a:gd name="T4" fmla="*/ 17 w 61"/>
                        <a:gd name="T5" fmla="*/ 34 h 123"/>
                        <a:gd name="T6" fmla="*/ 5 w 61"/>
                        <a:gd name="T7" fmla="*/ 44 h 123"/>
                        <a:gd name="T8" fmla="*/ 0 w 61"/>
                        <a:gd name="T9" fmla="*/ 60 h 123"/>
                        <a:gd name="T10" fmla="*/ 5 w 61"/>
                        <a:gd name="T11" fmla="*/ 76 h 123"/>
                        <a:gd name="T12" fmla="*/ 12 w 61"/>
                        <a:gd name="T13" fmla="*/ 81 h 123"/>
                        <a:gd name="T14" fmla="*/ 9 w 61"/>
                        <a:gd name="T15" fmla="*/ 89 h 123"/>
                        <a:gd name="T16" fmla="*/ 8 w 61"/>
                        <a:gd name="T17" fmla="*/ 95 h 123"/>
                        <a:gd name="T18" fmla="*/ 16 w 61"/>
                        <a:gd name="T19" fmla="*/ 105 h 123"/>
                        <a:gd name="T20" fmla="*/ 19 w 61"/>
                        <a:gd name="T21" fmla="*/ 113 h 123"/>
                        <a:gd name="T22" fmla="*/ 31 w 61"/>
                        <a:gd name="T23" fmla="*/ 117 h 123"/>
                        <a:gd name="T24" fmla="*/ 39 w 61"/>
                        <a:gd name="T25" fmla="*/ 120 h 123"/>
                        <a:gd name="T26" fmla="*/ 40 w 61"/>
                        <a:gd name="T27" fmla="*/ 107 h 123"/>
                        <a:gd name="T28" fmla="*/ 46 w 61"/>
                        <a:gd name="T29" fmla="*/ 89 h 123"/>
                        <a:gd name="T30" fmla="*/ 58 w 61"/>
                        <a:gd name="T31" fmla="*/ 69 h 123"/>
                        <a:gd name="T32" fmla="*/ 60 w 61"/>
                        <a:gd name="T33" fmla="*/ 47 h 123"/>
                        <a:gd name="T34" fmla="*/ 59 w 61"/>
                        <a:gd name="T35" fmla="*/ 24 h 123"/>
                        <a:gd name="T36" fmla="*/ 55 w 61"/>
                        <a:gd name="T37" fmla="*/ 1 h 123"/>
                        <a:gd name="T38" fmla="*/ 49 w 61"/>
                        <a:gd name="T39" fmla="*/ 8 h 123"/>
                        <a:gd name="T40" fmla="*/ 49 w 61"/>
                        <a:gd name="T41" fmla="*/ 18 h 123"/>
                        <a:gd name="T42" fmla="*/ 42 w 61"/>
                        <a:gd name="T43" fmla="*/ 24 h 1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61" h="123">
                          <a:moveTo>
                            <a:pt x="42" y="24"/>
                          </a:moveTo>
                          <a:cubicBezTo>
                            <a:pt x="35" y="23"/>
                            <a:pt x="30" y="19"/>
                            <a:pt x="26" y="25"/>
                          </a:cubicBezTo>
                          <a:cubicBezTo>
                            <a:pt x="23" y="29"/>
                            <a:pt x="22" y="31"/>
                            <a:pt x="17" y="34"/>
                          </a:cubicBezTo>
                          <a:cubicBezTo>
                            <a:pt x="12" y="38"/>
                            <a:pt x="9" y="38"/>
                            <a:pt x="5" y="44"/>
                          </a:cubicBezTo>
                          <a:cubicBezTo>
                            <a:pt x="1" y="49"/>
                            <a:pt x="0" y="51"/>
                            <a:pt x="0" y="60"/>
                          </a:cubicBezTo>
                          <a:cubicBezTo>
                            <a:pt x="0" y="68"/>
                            <a:pt x="2" y="74"/>
                            <a:pt x="5" y="76"/>
                          </a:cubicBezTo>
                          <a:cubicBezTo>
                            <a:pt x="8" y="77"/>
                            <a:pt x="11" y="77"/>
                            <a:pt x="12" y="81"/>
                          </a:cubicBezTo>
                          <a:cubicBezTo>
                            <a:pt x="12" y="85"/>
                            <a:pt x="11" y="87"/>
                            <a:pt x="9" y="89"/>
                          </a:cubicBezTo>
                          <a:cubicBezTo>
                            <a:pt x="7" y="92"/>
                            <a:pt x="7" y="94"/>
                            <a:pt x="8" y="95"/>
                          </a:cubicBezTo>
                          <a:cubicBezTo>
                            <a:pt x="9" y="97"/>
                            <a:pt x="16" y="101"/>
                            <a:pt x="16" y="105"/>
                          </a:cubicBezTo>
                          <a:cubicBezTo>
                            <a:pt x="16" y="109"/>
                            <a:pt x="14" y="111"/>
                            <a:pt x="19" y="113"/>
                          </a:cubicBezTo>
                          <a:cubicBezTo>
                            <a:pt x="24" y="115"/>
                            <a:pt x="27" y="114"/>
                            <a:pt x="31" y="117"/>
                          </a:cubicBezTo>
                          <a:cubicBezTo>
                            <a:pt x="35" y="120"/>
                            <a:pt x="37" y="123"/>
                            <a:pt x="39" y="120"/>
                          </a:cubicBezTo>
                          <a:cubicBezTo>
                            <a:pt x="41" y="117"/>
                            <a:pt x="40" y="113"/>
                            <a:pt x="40" y="107"/>
                          </a:cubicBezTo>
                          <a:cubicBezTo>
                            <a:pt x="40" y="101"/>
                            <a:pt x="43" y="94"/>
                            <a:pt x="46" y="89"/>
                          </a:cubicBezTo>
                          <a:cubicBezTo>
                            <a:pt x="49" y="83"/>
                            <a:pt x="55" y="77"/>
                            <a:pt x="58" y="69"/>
                          </a:cubicBezTo>
                          <a:cubicBezTo>
                            <a:pt x="60" y="61"/>
                            <a:pt x="61" y="56"/>
                            <a:pt x="60" y="47"/>
                          </a:cubicBezTo>
                          <a:cubicBezTo>
                            <a:pt x="58" y="39"/>
                            <a:pt x="57" y="30"/>
                            <a:pt x="59" y="24"/>
                          </a:cubicBezTo>
                          <a:cubicBezTo>
                            <a:pt x="60" y="18"/>
                            <a:pt x="59" y="2"/>
                            <a:pt x="55" y="1"/>
                          </a:cubicBezTo>
                          <a:cubicBezTo>
                            <a:pt x="52" y="0"/>
                            <a:pt x="48" y="4"/>
                            <a:pt x="49" y="8"/>
                          </a:cubicBezTo>
                          <a:cubicBezTo>
                            <a:pt x="49" y="11"/>
                            <a:pt x="50" y="14"/>
                            <a:pt x="49" y="18"/>
                          </a:cubicBezTo>
                          <a:cubicBezTo>
                            <a:pt x="48" y="22"/>
                            <a:pt x="48" y="25"/>
                            <a:pt x="42" y="24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36" name="Freeform 440"/>
                    <p:cNvSpPr>
                      <a:spLocks/>
                    </p:cNvSpPr>
                    <p:nvPr/>
                  </p:nvSpPr>
                  <p:spPr bwMode="auto">
                    <a:xfrm>
                      <a:off x="4935253" y="3988091"/>
                      <a:ext cx="41672" cy="20241"/>
                    </a:xfrm>
                    <a:custGeom>
                      <a:avLst/>
                      <a:gdLst>
                        <a:gd name="T0" fmla="*/ 140 w 145"/>
                        <a:gd name="T1" fmla="*/ 0 h 71"/>
                        <a:gd name="T2" fmla="*/ 112 w 145"/>
                        <a:gd name="T3" fmla="*/ 10 h 71"/>
                        <a:gd name="T4" fmla="*/ 96 w 145"/>
                        <a:gd name="T5" fmla="*/ 18 h 71"/>
                        <a:gd name="T6" fmla="*/ 79 w 145"/>
                        <a:gd name="T7" fmla="*/ 24 h 71"/>
                        <a:gd name="T8" fmla="*/ 58 w 145"/>
                        <a:gd name="T9" fmla="*/ 22 h 71"/>
                        <a:gd name="T10" fmla="*/ 41 w 145"/>
                        <a:gd name="T11" fmla="*/ 26 h 71"/>
                        <a:gd name="T12" fmla="*/ 31 w 145"/>
                        <a:gd name="T13" fmla="*/ 33 h 71"/>
                        <a:gd name="T14" fmla="*/ 19 w 145"/>
                        <a:gd name="T15" fmla="*/ 41 h 71"/>
                        <a:gd name="T16" fmla="*/ 5 w 145"/>
                        <a:gd name="T17" fmla="*/ 45 h 71"/>
                        <a:gd name="T18" fmla="*/ 6 w 145"/>
                        <a:gd name="T19" fmla="*/ 54 h 71"/>
                        <a:gd name="T20" fmla="*/ 13 w 145"/>
                        <a:gd name="T21" fmla="*/ 66 h 71"/>
                        <a:gd name="T22" fmla="*/ 32 w 145"/>
                        <a:gd name="T23" fmla="*/ 71 h 71"/>
                        <a:gd name="T24" fmla="*/ 55 w 145"/>
                        <a:gd name="T25" fmla="*/ 67 h 71"/>
                        <a:gd name="T26" fmla="*/ 73 w 145"/>
                        <a:gd name="T27" fmla="*/ 60 h 71"/>
                        <a:gd name="T28" fmla="*/ 83 w 145"/>
                        <a:gd name="T29" fmla="*/ 53 h 71"/>
                        <a:gd name="T30" fmla="*/ 85 w 145"/>
                        <a:gd name="T31" fmla="*/ 47 h 71"/>
                        <a:gd name="T32" fmla="*/ 95 w 145"/>
                        <a:gd name="T33" fmla="*/ 46 h 71"/>
                        <a:gd name="T34" fmla="*/ 108 w 145"/>
                        <a:gd name="T35" fmla="*/ 42 h 71"/>
                        <a:gd name="T36" fmla="*/ 104 w 145"/>
                        <a:gd name="T37" fmla="*/ 37 h 71"/>
                        <a:gd name="T38" fmla="*/ 101 w 145"/>
                        <a:gd name="T39" fmla="*/ 30 h 71"/>
                        <a:gd name="T40" fmla="*/ 105 w 145"/>
                        <a:gd name="T41" fmla="*/ 22 h 71"/>
                        <a:gd name="T42" fmla="*/ 131 w 145"/>
                        <a:gd name="T43" fmla="*/ 8 h 71"/>
                        <a:gd name="T44" fmla="*/ 140 w 145"/>
                        <a:gd name="T45" fmla="*/ 0 h 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145" h="71">
                          <a:moveTo>
                            <a:pt x="140" y="0"/>
                          </a:moveTo>
                          <a:cubicBezTo>
                            <a:pt x="135" y="0"/>
                            <a:pt x="119" y="7"/>
                            <a:pt x="112" y="10"/>
                          </a:cubicBezTo>
                          <a:cubicBezTo>
                            <a:pt x="104" y="12"/>
                            <a:pt x="101" y="15"/>
                            <a:pt x="96" y="18"/>
                          </a:cubicBezTo>
                          <a:cubicBezTo>
                            <a:pt x="91" y="21"/>
                            <a:pt x="88" y="23"/>
                            <a:pt x="79" y="24"/>
                          </a:cubicBezTo>
                          <a:cubicBezTo>
                            <a:pt x="70" y="24"/>
                            <a:pt x="65" y="23"/>
                            <a:pt x="58" y="22"/>
                          </a:cubicBezTo>
                          <a:cubicBezTo>
                            <a:pt x="51" y="20"/>
                            <a:pt x="43" y="22"/>
                            <a:pt x="41" y="26"/>
                          </a:cubicBezTo>
                          <a:cubicBezTo>
                            <a:pt x="39" y="29"/>
                            <a:pt x="38" y="32"/>
                            <a:pt x="31" y="33"/>
                          </a:cubicBezTo>
                          <a:cubicBezTo>
                            <a:pt x="24" y="33"/>
                            <a:pt x="23" y="38"/>
                            <a:pt x="19" y="41"/>
                          </a:cubicBezTo>
                          <a:cubicBezTo>
                            <a:pt x="14" y="45"/>
                            <a:pt x="11" y="44"/>
                            <a:pt x="5" y="45"/>
                          </a:cubicBezTo>
                          <a:cubicBezTo>
                            <a:pt x="0" y="46"/>
                            <a:pt x="3" y="50"/>
                            <a:pt x="6" y="54"/>
                          </a:cubicBezTo>
                          <a:cubicBezTo>
                            <a:pt x="9" y="58"/>
                            <a:pt x="10" y="61"/>
                            <a:pt x="13" y="66"/>
                          </a:cubicBezTo>
                          <a:cubicBezTo>
                            <a:pt x="16" y="70"/>
                            <a:pt x="25" y="71"/>
                            <a:pt x="32" y="71"/>
                          </a:cubicBezTo>
                          <a:cubicBezTo>
                            <a:pt x="39" y="71"/>
                            <a:pt x="47" y="71"/>
                            <a:pt x="55" y="67"/>
                          </a:cubicBezTo>
                          <a:cubicBezTo>
                            <a:pt x="63" y="63"/>
                            <a:pt x="65" y="65"/>
                            <a:pt x="73" y="60"/>
                          </a:cubicBezTo>
                          <a:cubicBezTo>
                            <a:pt x="79" y="57"/>
                            <a:pt x="79" y="56"/>
                            <a:pt x="83" y="53"/>
                          </a:cubicBezTo>
                          <a:cubicBezTo>
                            <a:pt x="87" y="51"/>
                            <a:pt x="85" y="51"/>
                            <a:pt x="85" y="47"/>
                          </a:cubicBezTo>
                          <a:cubicBezTo>
                            <a:pt x="86" y="42"/>
                            <a:pt x="91" y="46"/>
                            <a:pt x="95" y="46"/>
                          </a:cubicBezTo>
                          <a:cubicBezTo>
                            <a:pt x="100" y="46"/>
                            <a:pt x="108" y="44"/>
                            <a:pt x="108" y="42"/>
                          </a:cubicBezTo>
                          <a:cubicBezTo>
                            <a:pt x="109" y="40"/>
                            <a:pt x="106" y="38"/>
                            <a:pt x="104" y="37"/>
                          </a:cubicBezTo>
                          <a:cubicBezTo>
                            <a:pt x="103" y="35"/>
                            <a:pt x="103" y="34"/>
                            <a:pt x="101" y="30"/>
                          </a:cubicBezTo>
                          <a:cubicBezTo>
                            <a:pt x="99" y="27"/>
                            <a:pt x="101" y="26"/>
                            <a:pt x="105" y="22"/>
                          </a:cubicBezTo>
                          <a:cubicBezTo>
                            <a:pt x="108" y="19"/>
                            <a:pt x="124" y="12"/>
                            <a:pt x="131" y="8"/>
                          </a:cubicBezTo>
                          <a:cubicBezTo>
                            <a:pt x="138" y="5"/>
                            <a:pt x="145" y="0"/>
                            <a:pt x="140" y="0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37" name="Freeform 471"/>
                    <p:cNvSpPr>
                      <a:spLocks/>
                    </p:cNvSpPr>
                    <p:nvPr/>
                  </p:nvSpPr>
                  <p:spPr bwMode="auto">
                    <a:xfrm>
                      <a:off x="4878103" y="4690560"/>
                      <a:ext cx="30956" cy="35719"/>
                    </a:xfrm>
                    <a:custGeom>
                      <a:avLst/>
                      <a:gdLst>
                        <a:gd name="T0" fmla="*/ 92 w 108"/>
                        <a:gd name="T1" fmla="*/ 5 h 121"/>
                        <a:gd name="T2" fmla="*/ 79 w 108"/>
                        <a:gd name="T3" fmla="*/ 1 h 121"/>
                        <a:gd name="T4" fmla="*/ 69 w 108"/>
                        <a:gd name="T5" fmla="*/ 1 h 121"/>
                        <a:gd name="T6" fmla="*/ 56 w 108"/>
                        <a:gd name="T7" fmla="*/ 8 h 121"/>
                        <a:gd name="T8" fmla="*/ 49 w 108"/>
                        <a:gd name="T9" fmla="*/ 16 h 121"/>
                        <a:gd name="T10" fmla="*/ 39 w 108"/>
                        <a:gd name="T11" fmla="*/ 27 h 121"/>
                        <a:gd name="T12" fmla="*/ 17 w 108"/>
                        <a:gd name="T13" fmla="*/ 24 h 121"/>
                        <a:gd name="T14" fmla="*/ 11 w 108"/>
                        <a:gd name="T15" fmla="*/ 19 h 121"/>
                        <a:gd name="T16" fmla="*/ 0 w 108"/>
                        <a:gd name="T17" fmla="*/ 12 h 121"/>
                        <a:gd name="T18" fmla="*/ 2 w 108"/>
                        <a:gd name="T19" fmla="*/ 17 h 121"/>
                        <a:gd name="T20" fmla="*/ 10 w 108"/>
                        <a:gd name="T21" fmla="*/ 36 h 121"/>
                        <a:gd name="T22" fmla="*/ 13 w 108"/>
                        <a:gd name="T23" fmla="*/ 47 h 121"/>
                        <a:gd name="T24" fmla="*/ 16 w 108"/>
                        <a:gd name="T25" fmla="*/ 79 h 121"/>
                        <a:gd name="T26" fmla="*/ 18 w 108"/>
                        <a:gd name="T27" fmla="*/ 90 h 121"/>
                        <a:gd name="T28" fmla="*/ 38 w 108"/>
                        <a:gd name="T29" fmla="*/ 117 h 121"/>
                        <a:gd name="T30" fmla="*/ 39 w 108"/>
                        <a:gd name="T31" fmla="*/ 121 h 121"/>
                        <a:gd name="T32" fmla="*/ 43 w 108"/>
                        <a:gd name="T33" fmla="*/ 119 h 121"/>
                        <a:gd name="T34" fmla="*/ 48 w 108"/>
                        <a:gd name="T35" fmla="*/ 115 h 121"/>
                        <a:gd name="T36" fmla="*/ 71 w 108"/>
                        <a:gd name="T37" fmla="*/ 95 h 121"/>
                        <a:gd name="T38" fmla="*/ 76 w 108"/>
                        <a:gd name="T39" fmla="*/ 87 h 121"/>
                        <a:gd name="T40" fmla="*/ 88 w 108"/>
                        <a:gd name="T41" fmla="*/ 67 h 121"/>
                        <a:gd name="T42" fmla="*/ 100 w 108"/>
                        <a:gd name="T43" fmla="*/ 55 h 121"/>
                        <a:gd name="T44" fmla="*/ 108 w 108"/>
                        <a:gd name="T45" fmla="*/ 47 h 121"/>
                        <a:gd name="T46" fmla="*/ 99 w 108"/>
                        <a:gd name="T47" fmla="*/ 41 h 121"/>
                        <a:gd name="T48" fmla="*/ 92 w 108"/>
                        <a:gd name="T49" fmla="*/ 37 h 121"/>
                        <a:gd name="T50" fmla="*/ 86 w 108"/>
                        <a:gd name="T51" fmla="*/ 27 h 121"/>
                        <a:gd name="T52" fmla="*/ 88 w 108"/>
                        <a:gd name="T53" fmla="*/ 14 h 121"/>
                        <a:gd name="T54" fmla="*/ 92 w 108"/>
                        <a:gd name="T55" fmla="*/ 5 h 1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</a:cxnLst>
                      <a:rect l="0" t="0" r="r" b="b"/>
                      <a:pathLst>
                        <a:path w="108" h="121">
                          <a:moveTo>
                            <a:pt x="92" y="5"/>
                          </a:moveTo>
                          <a:cubicBezTo>
                            <a:pt x="89" y="4"/>
                            <a:pt x="83" y="2"/>
                            <a:pt x="79" y="1"/>
                          </a:cubicBezTo>
                          <a:cubicBezTo>
                            <a:pt x="75" y="0"/>
                            <a:pt x="72" y="0"/>
                            <a:pt x="69" y="1"/>
                          </a:cubicBezTo>
                          <a:cubicBezTo>
                            <a:pt x="65" y="2"/>
                            <a:pt x="61" y="5"/>
                            <a:pt x="56" y="8"/>
                          </a:cubicBezTo>
                          <a:cubicBezTo>
                            <a:pt x="52" y="10"/>
                            <a:pt x="50" y="14"/>
                            <a:pt x="49" y="16"/>
                          </a:cubicBezTo>
                          <a:cubicBezTo>
                            <a:pt x="47" y="20"/>
                            <a:pt x="45" y="24"/>
                            <a:pt x="39" y="27"/>
                          </a:cubicBezTo>
                          <a:cubicBezTo>
                            <a:pt x="29" y="33"/>
                            <a:pt x="26" y="30"/>
                            <a:pt x="17" y="24"/>
                          </a:cubicBezTo>
                          <a:cubicBezTo>
                            <a:pt x="16" y="22"/>
                            <a:pt x="13" y="21"/>
                            <a:pt x="11" y="19"/>
                          </a:cubicBezTo>
                          <a:cubicBezTo>
                            <a:pt x="4" y="14"/>
                            <a:pt x="2" y="13"/>
                            <a:pt x="0" y="12"/>
                          </a:cubicBezTo>
                          <a:cubicBezTo>
                            <a:pt x="0" y="14"/>
                            <a:pt x="1" y="15"/>
                            <a:pt x="2" y="17"/>
                          </a:cubicBezTo>
                          <a:cubicBezTo>
                            <a:pt x="4" y="25"/>
                            <a:pt x="8" y="33"/>
                            <a:pt x="10" y="36"/>
                          </a:cubicBezTo>
                          <a:cubicBezTo>
                            <a:pt x="13" y="39"/>
                            <a:pt x="13" y="42"/>
                            <a:pt x="13" y="47"/>
                          </a:cubicBezTo>
                          <a:cubicBezTo>
                            <a:pt x="13" y="53"/>
                            <a:pt x="13" y="62"/>
                            <a:pt x="16" y="79"/>
                          </a:cubicBezTo>
                          <a:cubicBezTo>
                            <a:pt x="17" y="82"/>
                            <a:pt x="18" y="86"/>
                            <a:pt x="18" y="90"/>
                          </a:cubicBezTo>
                          <a:cubicBezTo>
                            <a:pt x="29" y="92"/>
                            <a:pt x="35" y="105"/>
                            <a:pt x="38" y="117"/>
                          </a:cubicBezTo>
                          <a:cubicBezTo>
                            <a:pt x="38" y="119"/>
                            <a:pt x="38" y="120"/>
                            <a:pt x="39" y="121"/>
                          </a:cubicBezTo>
                          <a:cubicBezTo>
                            <a:pt x="40" y="121"/>
                            <a:pt x="42" y="120"/>
                            <a:pt x="43" y="119"/>
                          </a:cubicBezTo>
                          <a:cubicBezTo>
                            <a:pt x="45" y="118"/>
                            <a:pt x="46" y="116"/>
                            <a:pt x="48" y="115"/>
                          </a:cubicBezTo>
                          <a:cubicBezTo>
                            <a:pt x="56" y="110"/>
                            <a:pt x="67" y="102"/>
                            <a:pt x="71" y="95"/>
                          </a:cubicBezTo>
                          <a:cubicBezTo>
                            <a:pt x="73" y="92"/>
                            <a:pt x="74" y="89"/>
                            <a:pt x="76" y="87"/>
                          </a:cubicBezTo>
                          <a:cubicBezTo>
                            <a:pt x="78" y="81"/>
                            <a:pt x="81" y="75"/>
                            <a:pt x="88" y="67"/>
                          </a:cubicBezTo>
                          <a:cubicBezTo>
                            <a:pt x="93" y="62"/>
                            <a:pt x="97" y="58"/>
                            <a:pt x="100" y="55"/>
                          </a:cubicBezTo>
                          <a:cubicBezTo>
                            <a:pt x="105" y="52"/>
                            <a:pt x="108" y="49"/>
                            <a:pt x="108" y="47"/>
                          </a:cubicBezTo>
                          <a:cubicBezTo>
                            <a:pt x="108" y="44"/>
                            <a:pt x="103" y="42"/>
                            <a:pt x="99" y="41"/>
                          </a:cubicBezTo>
                          <a:cubicBezTo>
                            <a:pt x="96" y="39"/>
                            <a:pt x="94" y="38"/>
                            <a:pt x="92" y="37"/>
                          </a:cubicBezTo>
                          <a:cubicBezTo>
                            <a:pt x="88" y="34"/>
                            <a:pt x="86" y="31"/>
                            <a:pt x="86" y="27"/>
                          </a:cubicBezTo>
                          <a:cubicBezTo>
                            <a:pt x="85" y="23"/>
                            <a:pt x="86" y="19"/>
                            <a:pt x="88" y="14"/>
                          </a:cubicBezTo>
                          <a:cubicBezTo>
                            <a:pt x="89" y="11"/>
                            <a:pt x="90" y="8"/>
                            <a:pt x="92" y="5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grpSp>
                  <p:nvGrpSpPr>
                    <p:cNvPr id="438" name="Gruppieren 437"/>
                    <p:cNvGrpSpPr/>
                    <p:nvPr/>
                  </p:nvGrpSpPr>
                  <p:grpSpPr>
                    <a:xfrm>
                      <a:off x="3927985" y="2709360"/>
                      <a:ext cx="3830240" cy="2583656"/>
                      <a:chOff x="3927985" y="2709360"/>
                      <a:chExt cx="3830240" cy="2583656"/>
                    </a:xfrm>
                    <a:grpFill/>
                  </p:grpSpPr>
                  <p:sp>
                    <p:nvSpPr>
                      <p:cNvPr id="439" name="Freeform 20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13810" y="4929875"/>
                        <a:ext cx="134541" cy="122634"/>
                      </a:xfrm>
                      <a:custGeom>
                        <a:avLst/>
                        <a:gdLst>
                          <a:gd name="T0" fmla="*/ 373 w 468"/>
                          <a:gd name="T1" fmla="*/ 32 h 425"/>
                          <a:gd name="T2" fmla="*/ 336 w 468"/>
                          <a:gd name="T3" fmla="*/ 23 h 425"/>
                          <a:gd name="T4" fmla="*/ 329 w 468"/>
                          <a:gd name="T5" fmla="*/ 23 h 425"/>
                          <a:gd name="T6" fmla="*/ 304 w 468"/>
                          <a:gd name="T7" fmla="*/ 0 h 425"/>
                          <a:gd name="T8" fmla="*/ 245 w 468"/>
                          <a:gd name="T9" fmla="*/ 8 h 425"/>
                          <a:gd name="T10" fmla="*/ 232 w 468"/>
                          <a:gd name="T11" fmla="*/ 14 h 425"/>
                          <a:gd name="T12" fmla="*/ 213 w 468"/>
                          <a:gd name="T13" fmla="*/ 43 h 425"/>
                          <a:gd name="T14" fmla="*/ 207 w 468"/>
                          <a:gd name="T15" fmla="*/ 57 h 425"/>
                          <a:gd name="T16" fmla="*/ 175 w 468"/>
                          <a:gd name="T17" fmla="*/ 70 h 425"/>
                          <a:gd name="T18" fmla="*/ 140 w 468"/>
                          <a:gd name="T19" fmla="*/ 96 h 425"/>
                          <a:gd name="T20" fmla="*/ 96 w 468"/>
                          <a:gd name="T21" fmla="*/ 145 h 425"/>
                          <a:gd name="T22" fmla="*/ 62 w 468"/>
                          <a:gd name="T23" fmla="*/ 150 h 425"/>
                          <a:gd name="T24" fmla="*/ 9 w 468"/>
                          <a:gd name="T25" fmla="*/ 137 h 425"/>
                          <a:gd name="T26" fmla="*/ 2 w 468"/>
                          <a:gd name="T27" fmla="*/ 141 h 425"/>
                          <a:gd name="T28" fmla="*/ 20 w 468"/>
                          <a:gd name="T29" fmla="*/ 172 h 425"/>
                          <a:gd name="T30" fmla="*/ 46 w 468"/>
                          <a:gd name="T31" fmla="*/ 229 h 425"/>
                          <a:gd name="T32" fmla="*/ 49 w 468"/>
                          <a:gd name="T33" fmla="*/ 238 h 425"/>
                          <a:gd name="T34" fmla="*/ 100 w 468"/>
                          <a:gd name="T35" fmla="*/ 269 h 425"/>
                          <a:gd name="T36" fmla="*/ 116 w 468"/>
                          <a:gd name="T37" fmla="*/ 286 h 425"/>
                          <a:gd name="T38" fmla="*/ 116 w 468"/>
                          <a:gd name="T39" fmla="*/ 291 h 425"/>
                          <a:gd name="T40" fmla="*/ 125 w 468"/>
                          <a:gd name="T41" fmla="*/ 300 h 425"/>
                          <a:gd name="T42" fmla="*/ 144 w 468"/>
                          <a:gd name="T43" fmla="*/ 321 h 425"/>
                          <a:gd name="T44" fmla="*/ 148 w 468"/>
                          <a:gd name="T45" fmla="*/ 341 h 425"/>
                          <a:gd name="T46" fmla="*/ 188 w 468"/>
                          <a:gd name="T47" fmla="*/ 373 h 425"/>
                          <a:gd name="T48" fmla="*/ 237 w 468"/>
                          <a:gd name="T49" fmla="*/ 402 h 425"/>
                          <a:gd name="T50" fmla="*/ 238 w 468"/>
                          <a:gd name="T51" fmla="*/ 403 h 425"/>
                          <a:gd name="T52" fmla="*/ 285 w 468"/>
                          <a:gd name="T53" fmla="*/ 413 h 425"/>
                          <a:gd name="T54" fmla="*/ 345 w 468"/>
                          <a:gd name="T55" fmla="*/ 419 h 425"/>
                          <a:gd name="T56" fmla="*/ 390 w 468"/>
                          <a:gd name="T57" fmla="*/ 394 h 425"/>
                          <a:gd name="T58" fmla="*/ 423 w 468"/>
                          <a:gd name="T59" fmla="*/ 361 h 425"/>
                          <a:gd name="T60" fmla="*/ 427 w 468"/>
                          <a:gd name="T61" fmla="*/ 346 h 425"/>
                          <a:gd name="T62" fmla="*/ 437 w 468"/>
                          <a:gd name="T63" fmla="*/ 307 h 425"/>
                          <a:gd name="T64" fmla="*/ 458 w 468"/>
                          <a:gd name="T65" fmla="*/ 272 h 425"/>
                          <a:gd name="T66" fmla="*/ 460 w 468"/>
                          <a:gd name="T67" fmla="*/ 255 h 425"/>
                          <a:gd name="T68" fmla="*/ 457 w 468"/>
                          <a:gd name="T69" fmla="*/ 220 h 425"/>
                          <a:gd name="T70" fmla="*/ 448 w 468"/>
                          <a:gd name="T71" fmla="*/ 199 h 425"/>
                          <a:gd name="T72" fmla="*/ 464 w 468"/>
                          <a:gd name="T73" fmla="*/ 168 h 425"/>
                          <a:gd name="T74" fmla="*/ 466 w 468"/>
                          <a:gd name="T75" fmla="*/ 121 h 425"/>
                          <a:gd name="T76" fmla="*/ 464 w 468"/>
                          <a:gd name="T77" fmla="*/ 77 h 425"/>
                          <a:gd name="T78" fmla="*/ 451 w 468"/>
                          <a:gd name="T79" fmla="*/ 64 h 425"/>
                          <a:gd name="T80" fmla="*/ 444 w 468"/>
                          <a:gd name="T81" fmla="*/ 62 h 42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</a:cxnLst>
                        <a:rect l="0" t="0" r="r" b="b"/>
                        <a:pathLst>
                          <a:path w="468" h="425">
                            <a:moveTo>
                              <a:pt x="419" y="53"/>
                            </a:moveTo>
                            <a:cubicBezTo>
                              <a:pt x="413" y="49"/>
                              <a:pt x="389" y="39"/>
                              <a:pt x="373" y="32"/>
                            </a:cubicBezTo>
                            <a:cubicBezTo>
                              <a:pt x="365" y="29"/>
                              <a:pt x="359" y="26"/>
                              <a:pt x="357" y="25"/>
                            </a:cubicBezTo>
                            <a:cubicBezTo>
                              <a:pt x="351" y="22"/>
                              <a:pt x="345" y="22"/>
                              <a:pt x="336" y="23"/>
                            </a:cubicBezTo>
                            <a:cubicBezTo>
                              <a:pt x="335" y="23"/>
                              <a:pt x="335" y="23"/>
                              <a:pt x="335" y="23"/>
                            </a:cubicBezTo>
                            <a:cubicBezTo>
                              <a:pt x="333" y="23"/>
                              <a:pt x="331" y="23"/>
                              <a:pt x="329" y="23"/>
                            </a:cubicBezTo>
                            <a:cubicBezTo>
                              <a:pt x="320" y="24"/>
                              <a:pt x="314" y="24"/>
                              <a:pt x="309" y="16"/>
                            </a:cubicBezTo>
                            <a:cubicBezTo>
                              <a:pt x="308" y="13"/>
                              <a:pt x="306" y="7"/>
                              <a:pt x="304" y="0"/>
                            </a:cubicBezTo>
                            <a:cubicBezTo>
                              <a:pt x="297" y="1"/>
                              <a:pt x="277" y="3"/>
                              <a:pt x="264" y="3"/>
                            </a:cubicBezTo>
                            <a:cubicBezTo>
                              <a:pt x="253" y="4"/>
                              <a:pt x="251" y="5"/>
                              <a:pt x="245" y="8"/>
                            </a:cubicBezTo>
                            <a:cubicBezTo>
                              <a:pt x="243" y="9"/>
                              <a:pt x="241" y="10"/>
                              <a:pt x="239" y="11"/>
                            </a:cubicBezTo>
                            <a:cubicBezTo>
                              <a:pt x="236" y="12"/>
                              <a:pt x="234" y="13"/>
                              <a:pt x="232" y="14"/>
                            </a:cubicBezTo>
                            <a:cubicBezTo>
                              <a:pt x="226" y="16"/>
                              <a:pt x="224" y="17"/>
                              <a:pt x="219" y="25"/>
                            </a:cubicBezTo>
                            <a:cubicBezTo>
                              <a:pt x="215" y="30"/>
                              <a:pt x="214" y="37"/>
                              <a:pt x="213" y="43"/>
                            </a:cubicBezTo>
                            <a:cubicBezTo>
                              <a:pt x="213" y="43"/>
                              <a:pt x="213" y="43"/>
                              <a:pt x="213" y="43"/>
                            </a:cubicBezTo>
                            <a:cubicBezTo>
                              <a:pt x="212" y="49"/>
                              <a:pt x="211" y="54"/>
                              <a:pt x="207" y="57"/>
                            </a:cubicBezTo>
                            <a:cubicBezTo>
                              <a:pt x="204" y="61"/>
                              <a:pt x="200" y="62"/>
                              <a:pt x="193" y="64"/>
                            </a:cubicBezTo>
                            <a:cubicBezTo>
                              <a:pt x="189" y="65"/>
                              <a:pt x="183" y="67"/>
                              <a:pt x="175" y="70"/>
                            </a:cubicBezTo>
                            <a:cubicBezTo>
                              <a:pt x="162" y="75"/>
                              <a:pt x="157" y="79"/>
                              <a:pt x="148" y="89"/>
                            </a:cubicBezTo>
                            <a:cubicBezTo>
                              <a:pt x="146" y="91"/>
                              <a:pt x="143" y="94"/>
                              <a:pt x="140" y="96"/>
                            </a:cubicBezTo>
                            <a:cubicBezTo>
                              <a:pt x="133" y="103"/>
                              <a:pt x="126" y="111"/>
                              <a:pt x="120" y="119"/>
                            </a:cubicBezTo>
                            <a:cubicBezTo>
                              <a:pt x="113" y="129"/>
                              <a:pt x="105" y="138"/>
                              <a:pt x="96" y="145"/>
                            </a:cubicBezTo>
                            <a:cubicBezTo>
                              <a:pt x="83" y="154"/>
                              <a:pt x="78" y="153"/>
                              <a:pt x="69" y="151"/>
                            </a:cubicBezTo>
                            <a:cubicBezTo>
                              <a:pt x="67" y="150"/>
                              <a:pt x="65" y="150"/>
                              <a:pt x="62" y="150"/>
                            </a:cubicBezTo>
                            <a:cubicBezTo>
                              <a:pt x="55" y="149"/>
                              <a:pt x="47" y="146"/>
                              <a:pt x="39" y="144"/>
                            </a:cubicBezTo>
                            <a:cubicBezTo>
                              <a:pt x="28" y="140"/>
                              <a:pt x="17" y="137"/>
                              <a:pt x="9" y="137"/>
                            </a:cubicBezTo>
                            <a:cubicBezTo>
                              <a:pt x="6" y="137"/>
                              <a:pt x="3" y="137"/>
                              <a:pt x="0" y="137"/>
                            </a:cubicBezTo>
                            <a:cubicBezTo>
                              <a:pt x="1" y="138"/>
                              <a:pt x="2" y="139"/>
                              <a:pt x="2" y="141"/>
                            </a:cubicBezTo>
                            <a:cubicBezTo>
                              <a:pt x="6" y="146"/>
                              <a:pt x="10" y="152"/>
                              <a:pt x="13" y="158"/>
                            </a:cubicBezTo>
                            <a:cubicBezTo>
                              <a:pt x="15" y="161"/>
                              <a:pt x="17" y="166"/>
                              <a:pt x="20" y="172"/>
                            </a:cubicBezTo>
                            <a:cubicBezTo>
                              <a:pt x="28" y="185"/>
                              <a:pt x="37" y="201"/>
                              <a:pt x="41" y="212"/>
                            </a:cubicBezTo>
                            <a:cubicBezTo>
                              <a:pt x="44" y="220"/>
                              <a:pt x="45" y="225"/>
                              <a:pt x="46" y="229"/>
                            </a:cubicBezTo>
                            <a:cubicBezTo>
                              <a:pt x="46" y="233"/>
                              <a:pt x="47" y="235"/>
                              <a:pt x="49" y="238"/>
                            </a:cubicBezTo>
                            <a:cubicBezTo>
                              <a:pt x="49" y="238"/>
                              <a:pt x="49" y="238"/>
                              <a:pt x="49" y="238"/>
                            </a:cubicBezTo>
                            <a:cubicBezTo>
                              <a:pt x="53" y="242"/>
                              <a:pt x="73" y="253"/>
                              <a:pt x="87" y="261"/>
                            </a:cubicBezTo>
                            <a:cubicBezTo>
                              <a:pt x="93" y="264"/>
                              <a:pt x="98" y="267"/>
                              <a:pt x="100" y="269"/>
                            </a:cubicBezTo>
                            <a:cubicBezTo>
                              <a:pt x="102" y="270"/>
                              <a:pt x="104" y="271"/>
                              <a:pt x="105" y="271"/>
                            </a:cubicBezTo>
                            <a:cubicBezTo>
                              <a:pt x="111" y="274"/>
                              <a:pt x="115" y="275"/>
                              <a:pt x="116" y="286"/>
                            </a:cubicBezTo>
                            <a:cubicBezTo>
                              <a:pt x="116" y="288"/>
                              <a:pt x="116" y="290"/>
                              <a:pt x="116" y="291"/>
                            </a:cubicBezTo>
                            <a:cubicBezTo>
                              <a:pt x="116" y="291"/>
                              <a:pt x="116" y="291"/>
                              <a:pt x="116" y="291"/>
                            </a:cubicBezTo>
                            <a:cubicBezTo>
                              <a:pt x="116" y="296"/>
                              <a:pt x="116" y="299"/>
                              <a:pt x="118" y="299"/>
                            </a:cubicBezTo>
                            <a:cubicBezTo>
                              <a:pt x="120" y="300"/>
                              <a:pt x="122" y="300"/>
                              <a:pt x="125" y="300"/>
                            </a:cubicBezTo>
                            <a:cubicBezTo>
                              <a:pt x="131" y="300"/>
                              <a:pt x="137" y="300"/>
                              <a:pt x="141" y="305"/>
                            </a:cubicBezTo>
                            <a:cubicBezTo>
                              <a:pt x="144" y="309"/>
                              <a:pt x="144" y="314"/>
                              <a:pt x="144" y="321"/>
                            </a:cubicBezTo>
                            <a:cubicBezTo>
                              <a:pt x="145" y="326"/>
                              <a:pt x="145" y="331"/>
                              <a:pt x="146" y="336"/>
                            </a:cubicBezTo>
                            <a:cubicBezTo>
                              <a:pt x="147" y="337"/>
                              <a:pt x="147" y="339"/>
                              <a:pt x="148" y="341"/>
                            </a:cubicBezTo>
                            <a:cubicBezTo>
                              <a:pt x="151" y="351"/>
                              <a:pt x="154" y="362"/>
                              <a:pt x="162" y="367"/>
                            </a:cubicBezTo>
                            <a:cubicBezTo>
                              <a:pt x="166" y="370"/>
                              <a:pt x="177" y="371"/>
                              <a:pt x="188" y="373"/>
                            </a:cubicBezTo>
                            <a:cubicBezTo>
                              <a:pt x="199" y="375"/>
                              <a:pt x="209" y="376"/>
                              <a:pt x="214" y="379"/>
                            </a:cubicBezTo>
                            <a:cubicBezTo>
                              <a:pt x="226" y="384"/>
                              <a:pt x="233" y="395"/>
                              <a:pt x="237" y="402"/>
                            </a:cubicBezTo>
                            <a:cubicBezTo>
                              <a:pt x="238" y="403"/>
                              <a:pt x="238" y="403"/>
                              <a:pt x="238" y="403"/>
                            </a:cubicBezTo>
                            <a:cubicBezTo>
                              <a:pt x="238" y="403"/>
                              <a:pt x="238" y="403"/>
                              <a:pt x="238" y="403"/>
                            </a:cubicBezTo>
                            <a:cubicBezTo>
                              <a:pt x="239" y="405"/>
                              <a:pt x="245" y="408"/>
                              <a:pt x="253" y="410"/>
                            </a:cubicBezTo>
                            <a:cubicBezTo>
                              <a:pt x="262" y="412"/>
                              <a:pt x="273" y="413"/>
                              <a:pt x="285" y="413"/>
                            </a:cubicBezTo>
                            <a:cubicBezTo>
                              <a:pt x="297" y="413"/>
                              <a:pt x="308" y="413"/>
                              <a:pt x="317" y="414"/>
                            </a:cubicBezTo>
                            <a:cubicBezTo>
                              <a:pt x="327" y="415"/>
                              <a:pt x="336" y="416"/>
                              <a:pt x="345" y="419"/>
                            </a:cubicBezTo>
                            <a:cubicBezTo>
                              <a:pt x="351" y="420"/>
                              <a:pt x="356" y="422"/>
                              <a:pt x="360" y="425"/>
                            </a:cubicBezTo>
                            <a:cubicBezTo>
                              <a:pt x="366" y="419"/>
                              <a:pt x="378" y="406"/>
                              <a:pt x="390" y="394"/>
                            </a:cubicBezTo>
                            <a:cubicBezTo>
                              <a:pt x="403" y="381"/>
                              <a:pt x="416" y="369"/>
                              <a:pt x="419" y="365"/>
                            </a:cubicBezTo>
                            <a:cubicBezTo>
                              <a:pt x="420" y="363"/>
                              <a:pt x="422" y="362"/>
                              <a:pt x="423" y="361"/>
                            </a:cubicBezTo>
                            <a:cubicBezTo>
                              <a:pt x="423" y="361"/>
                              <a:pt x="423" y="361"/>
                              <a:pt x="423" y="361"/>
                            </a:cubicBezTo>
                            <a:cubicBezTo>
                              <a:pt x="426" y="358"/>
                              <a:pt x="428" y="356"/>
                              <a:pt x="427" y="346"/>
                            </a:cubicBezTo>
                            <a:cubicBezTo>
                              <a:pt x="426" y="340"/>
                              <a:pt x="427" y="333"/>
                              <a:pt x="429" y="327"/>
                            </a:cubicBezTo>
                            <a:cubicBezTo>
                              <a:pt x="431" y="319"/>
                              <a:pt x="434" y="311"/>
                              <a:pt x="437" y="307"/>
                            </a:cubicBezTo>
                            <a:cubicBezTo>
                              <a:pt x="438" y="305"/>
                              <a:pt x="440" y="302"/>
                              <a:pt x="441" y="300"/>
                            </a:cubicBezTo>
                            <a:cubicBezTo>
                              <a:pt x="447" y="291"/>
                              <a:pt x="455" y="279"/>
                              <a:pt x="458" y="272"/>
                            </a:cubicBezTo>
                            <a:cubicBezTo>
                              <a:pt x="461" y="268"/>
                              <a:pt x="462" y="265"/>
                              <a:pt x="462" y="263"/>
                            </a:cubicBezTo>
                            <a:cubicBezTo>
                              <a:pt x="462" y="261"/>
                              <a:pt x="461" y="258"/>
                              <a:pt x="460" y="255"/>
                            </a:cubicBezTo>
                            <a:cubicBezTo>
                              <a:pt x="456" y="247"/>
                              <a:pt x="456" y="236"/>
                              <a:pt x="457" y="227"/>
                            </a:cubicBezTo>
                            <a:cubicBezTo>
                              <a:pt x="457" y="225"/>
                              <a:pt x="457" y="222"/>
                              <a:pt x="457" y="220"/>
                            </a:cubicBezTo>
                            <a:cubicBezTo>
                              <a:pt x="457" y="217"/>
                              <a:pt x="455" y="214"/>
                              <a:pt x="453" y="212"/>
                            </a:cubicBezTo>
                            <a:cubicBezTo>
                              <a:pt x="450" y="209"/>
                              <a:pt x="447" y="205"/>
                              <a:pt x="448" y="199"/>
                            </a:cubicBezTo>
                            <a:cubicBezTo>
                              <a:pt x="448" y="191"/>
                              <a:pt x="453" y="184"/>
                              <a:pt x="458" y="177"/>
                            </a:cubicBezTo>
                            <a:cubicBezTo>
                              <a:pt x="461" y="174"/>
                              <a:pt x="463" y="171"/>
                              <a:pt x="464" y="168"/>
                            </a:cubicBezTo>
                            <a:cubicBezTo>
                              <a:pt x="468" y="162"/>
                              <a:pt x="467" y="146"/>
                              <a:pt x="467" y="133"/>
                            </a:cubicBezTo>
                            <a:cubicBezTo>
                              <a:pt x="466" y="129"/>
                              <a:pt x="466" y="124"/>
                              <a:pt x="466" y="121"/>
                            </a:cubicBezTo>
                            <a:cubicBezTo>
                              <a:pt x="466" y="114"/>
                              <a:pt x="466" y="105"/>
                              <a:pt x="466" y="97"/>
                            </a:cubicBezTo>
                            <a:cubicBezTo>
                              <a:pt x="465" y="90"/>
                              <a:pt x="465" y="82"/>
                              <a:pt x="464" y="77"/>
                            </a:cubicBezTo>
                            <a:cubicBezTo>
                              <a:pt x="463" y="73"/>
                              <a:pt x="462" y="70"/>
                              <a:pt x="460" y="68"/>
                            </a:cubicBezTo>
                            <a:cubicBezTo>
                              <a:pt x="458" y="67"/>
                              <a:pt x="455" y="66"/>
                              <a:pt x="451" y="64"/>
                            </a:cubicBezTo>
                            <a:cubicBezTo>
                              <a:pt x="449" y="64"/>
                              <a:pt x="447" y="63"/>
                              <a:pt x="444" y="62"/>
                            </a:cubicBezTo>
                            <a:cubicBezTo>
                              <a:pt x="444" y="62"/>
                              <a:pt x="444" y="62"/>
                              <a:pt x="444" y="62"/>
                            </a:cubicBezTo>
                            <a:cubicBezTo>
                              <a:pt x="436" y="60"/>
                              <a:pt x="427" y="58"/>
                              <a:pt x="419" y="53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440" name="Freeform 23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54278" y="4796525"/>
                        <a:ext cx="204787" cy="175022"/>
                      </a:xfrm>
                      <a:custGeom>
                        <a:avLst/>
                        <a:gdLst>
                          <a:gd name="T0" fmla="*/ 661 w 715"/>
                          <a:gd name="T1" fmla="*/ 348 h 612"/>
                          <a:gd name="T2" fmla="*/ 670 w 715"/>
                          <a:gd name="T3" fmla="*/ 308 h 612"/>
                          <a:gd name="T4" fmla="*/ 683 w 715"/>
                          <a:gd name="T5" fmla="*/ 265 h 612"/>
                          <a:gd name="T6" fmla="*/ 698 w 715"/>
                          <a:gd name="T7" fmla="*/ 258 h 612"/>
                          <a:gd name="T8" fmla="*/ 689 w 715"/>
                          <a:gd name="T9" fmla="*/ 229 h 612"/>
                          <a:gd name="T10" fmla="*/ 688 w 715"/>
                          <a:gd name="T11" fmla="*/ 177 h 612"/>
                          <a:gd name="T12" fmla="*/ 714 w 715"/>
                          <a:gd name="T13" fmla="*/ 137 h 612"/>
                          <a:gd name="T14" fmla="*/ 686 w 715"/>
                          <a:gd name="T15" fmla="*/ 77 h 612"/>
                          <a:gd name="T16" fmla="*/ 647 w 715"/>
                          <a:gd name="T17" fmla="*/ 61 h 612"/>
                          <a:gd name="T18" fmla="*/ 593 w 715"/>
                          <a:gd name="T19" fmla="*/ 34 h 612"/>
                          <a:gd name="T20" fmla="*/ 563 w 715"/>
                          <a:gd name="T21" fmla="*/ 22 h 612"/>
                          <a:gd name="T22" fmla="*/ 512 w 715"/>
                          <a:gd name="T23" fmla="*/ 0 h 612"/>
                          <a:gd name="T24" fmla="*/ 431 w 715"/>
                          <a:gd name="T25" fmla="*/ 18 h 612"/>
                          <a:gd name="T26" fmla="*/ 401 w 715"/>
                          <a:gd name="T27" fmla="*/ 58 h 612"/>
                          <a:gd name="T28" fmla="*/ 407 w 715"/>
                          <a:gd name="T29" fmla="*/ 105 h 612"/>
                          <a:gd name="T30" fmla="*/ 410 w 715"/>
                          <a:gd name="T31" fmla="*/ 139 h 612"/>
                          <a:gd name="T32" fmla="*/ 395 w 715"/>
                          <a:gd name="T33" fmla="*/ 208 h 612"/>
                          <a:gd name="T34" fmla="*/ 420 w 715"/>
                          <a:gd name="T35" fmla="*/ 233 h 612"/>
                          <a:gd name="T36" fmla="*/ 434 w 715"/>
                          <a:gd name="T37" fmla="*/ 253 h 612"/>
                          <a:gd name="T38" fmla="*/ 459 w 715"/>
                          <a:gd name="T39" fmla="*/ 241 h 612"/>
                          <a:gd name="T40" fmla="*/ 480 w 715"/>
                          <a:gd name="T41" fmla="*/ 242 h 612"/>
                          <a:gd name="T42" fmla="*/ 483 w 715"/>
                          <a:gd name="T43" fmla="*/ 306 h 612"/>
                          <a:gd name="T44" fmla="*/ 430 w 715"/>
                          <a:gd name="T45" fmla="*/ 316 h 612"/>
                          <a:gd name="T46" fmla="*/ 392 w 715"/>
                          <a:gd name="T47" fmla="*/ 267 h 612"/>
                          <a:gd name="T48" fmla="*/ 339 w 715"/>
                          <a:gd name="T49" fmla="*/ 244 h 612"/>
                          <a:gd name="T50" fmla="*/ 313 w 715"/>
                          <a:gd name="T51" fmla="*/ 211 h 612"/>
                          <a:gd name="T52" fmla="*/ 290 w 715"/>
                          <a:gd name="T53" fmla="*/ 232 h 612"/>
                          <a:gd name="T54" fmla="*/ 215 w 715"/>
                          <a:gd name="T55" fmla="*/ 220 h 612"/>
                          <a:gd name="T56" fmla="*/ 199 w 715"/>
                          <a:gd name="T57" fmla="*/ 194 h 612"/>
                          <a:gd name="T58" fmla="*/ 176 w 715"/>
                          <a:gd name="T59" fmla="*/ 193 h 612"/>
                          <a:gd name="T60" fmla="*/ 143 w 715"/>
                          <a:gd name="T61" fmla="*/ 186 h 612"/>
                          <a:gd name="T62" fmla="*/ 122 w 715"/>
                          <a:gd name="T63" fmla="*/ 169 h 612"/>
                          <a:gd name="T64" fmla="*/ 125 w 715"/>
                          <a:gd name="T65" fmla="*/ 239 h 612"/>
                          <a:gd name="T66" fmla="*/ 117 w 715"/>
                          <a:gd name="T67" fmla="*/ 278 h 612"/>
                          <a:gd name="T68" fmla="*/ 109 w 715"/>
                          <a:gd name="T69" fmla="*/ 300 h 612"/>
                          <a:gd name="T70" fmla="*/ 5 w 715"/>
                          <a:gd name="T71" fmla="*/ 299 h 612"/>
                          <a:gd name="T72" fmla="*/ 1 w 715"/>
                          <a:gd name="T73" fmla="*/ 354 h 612"/>
                          <a:gd name="T74" fmla="*/ 0 w 715"/>
                          <a:gd name="T75" fmla="*/ 486 h 612"/>
                          <a:gd name="T76" fmla="*/ 40 w 715"/>
                          <a:gd name="T77" fmla="*/ 540 h 612"/>
                          <a:gd name="T78" fmla="*/ 88 w 715"/>
                          <a:gd name="T79" fmla="*/ 579 h 612"/>
                          <a:gd name="T80" fmla="*/ 129 w 715"/>
                          <a:gd name="T81" fmla="*/ 575 h 612"/>
                          <a:gd name="T82" fmla="*/ 184 w 715"/>
                          <a:gd name="T83" fmla="*/ 581 h 612"/>
                          <a:gd name="T84" fmla="*/ 216 w 715"/>
                          <a:gd name="T85" fmla="*/ 596 h 612"/>
                          <a:gd name="T86" fmla="*/ 278 w 715"/>
                          <a:gd name="T87" fmla="*/ 610 h 612"/>
                          <a:gd name="T88" fmla="*/ 341 w 715"/>
                          <a:gd name="T89" fmla="*/ 558 h 612"/>
                          <a:gd name="T90" fmla="*/ 398 w 715"/>
                          <a:gd name="T91" fmla="*/ 523 h 612"/>
                          <a:gd name="T92" fmla="*/ 412 w 715"/>
                          <a:gd name="T93" fmla="*/ 508 h 612"/>
                          <a:gd name="T94" fmla="*/ 443 w 715"/>
                          <a:gd name="T95" fmla="*/ 470 h 612"/>
                          <a:gd name="T96" fmla="*/ 509 w 715"/>
                          <a:gd name="T97" fmla="*/ 460 h 612"/>
                          <a:gd name="T98" fmla="*/ 516 w 715"/>
                          <a:gd name="T99" fmla="*/ 412 h 61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  <a:cxn ang="0">
                            <a:pos x="T94" y="T95"/>
                          </a:cxn>
                          <a:cxn ang="0">
                            <a:pos x="T96" y="T97"/>
                          </a:cxn>
                          <a:cxn ang="0">
                            <a:pos x="T98" y="T99"/>
                          </a:cxn>
                        </a:cxnLst>
                        <a:rect l="0" t="0" r="r" b="b"/>
                        <a:pathLst>
                          <a:path w="715" h="612">
                            <a:moveTo>
                              <a:pt x="516" y="412"/>
                            </a:moveTo>
                            <a:cubicBezTo>
                              <a:pt x="525" y="408"/>
                              <a:pt x="640" y="368"/>
                              <a:pt x="668" y="358"/>
                            </a:cubicBezTo>
                            <a:cubicBezTo>
                              <a:pt x="666" y="355"/>
                              <a:pt x="663" y="352"/>
                              <a:pt x="661" y="348"/>
                            </a:cubicBezTo>
                            <a:cubicBezTo>
                              <a:pt x="656" y="340"/>
                              <a:pt x="652" y="330"/>
                              <a:pt x="653" y="328"/>
                            </a:cubicBezTo>
                            <a:cubicBezTo>
                              <a:pt x="654" y="326"/>
                              <a:pt x="657" y="322"/>
                              <a:pt x="661" y="318"/>
                            </a:cubicBezTo>
                            <a:cubicBezTo>
                              <a:pt x="665" y="314"/>
                              <a:pt x="668" y="310"/>
                              <a:pt x="670" y="308"/>
                            </a:cubicBezTo>
                            <a:cubicBezTo>
                              <a:pt x="673" y="304"/>
                              <a:pt x="673" y="301"/>
                              <a:pt x="672" y="295"/>
                            </a:cubicBezTo>
                            <a:cubicBezTo>
                              <a:pt x="672" y="292"/>
                              <a:pt x="672" y="289"/>
                              <a:pt x="672" y="285"/>
                            </a:cubicBezTo>
                            <a:cubicBezTo>
                              <a:pt x="673" y="271"/>
                              <a:pt x="676" y="269"/>
                              <a:pt x="683" y="265"/>
                            </a:cubicBezTo>
                            <a:cubicBezTo>
                              <a:pt x="684" y="264"/>
                              <a:pt x="685" y="264"/>
                              <a:pt x="686" y="263"/>
                            </a:cubicBezTo>
                            <a:cubicBezTo>
                              <a:pt x="689" y="262"/>
                              <a:pt x="692" y="260"/>
                              <a:pt x="694" y="259"/>
                            </a:cubicBezTo>
                            <a:cubicBezTo>
                              <a:pt x="696" y="259"/>
                              <a:pt x="697" y="258"/>
                              <a:pt x="698" y="258"/>
                            </a:cubicBezTo>
                            <a:cubicBezTo>
                              <a:pt x="700" y="256"/>
                              <a:pt x="702" y="255"/>
                              <a:pt x="702" y="254"/>
                            </a:cubicBezTo>
                            <a:cubicBezTo>
                              <a:pt x="701" y="252"/>
                              <a:pt x="699" y="250"/>
                              <a:pt x="697" y="247"/>
                            </a:cubicBezTo>
                            <a:cubicBezTo>
                              <a:pt x="694" y="241"/>
                              <a:pt x="689" y="235"/>
                              <a:pt x="689" y="229"/>
                            </a:cubicBezTo>
                            <a:cubicBezTo>
                              <a:pt x="689" y="222"/>
                              <a:pt x="689" y="211"/>
                              <a:pt x="688" y="198"/>
                            </a:cubicBezTo>
                            <a:cubicBezTo>
                              <a:pt x="688" y="197"/>
                              <a:pt x="688" y="197"/>
                              <a:pt x="688" y="197"/>
                            </a:cubicBezTo>
                            <a:cubicBezTo>
                              <a:pt x="688" y="190"/>
                              <a:pt x="687" y="183"/>
                              <a:pt x="688" y="177"/>
                            </a:cubicBezTo>
                            <a:cubicBezTo>
                              <a:pt x="688" y="171"/>
                              <a:pt x="690" y="165"/>
                              <a:pt x="692" y="159"/>
                            </a:cubicBezTo>
                            <a:cubicBezTo>
                              <a:pt x="695" y="154"/>
                              <a:pt x="700" y="150"/>
                              <a:pt x="706" y="146"/>
                            </a:cubicBezTo>
                            <a:cubicBezTo>
                              <a:pt x="710" y="142"/>
                              <a:pt x="715" y="139"/>
                              <a:pt x="714" y="137"/>
                            </a:cubicBezTo>
                            <a:cubicBezTo>
                              <a:pt x="714" y="135"/>
                              <a:pt x="709" y="130"/>
                              <a:pt x="704" y="125"/>
                            </a:cubicBezTo>
                            <a:cubicBezTo>
                              <a:pt x="698" y="117"/>
                              <a:pt x="690" y="109"/>
                              <a:pt x="689" y="101"/>
                            </a:cubicBezTo>
                            <a:cubicBezTo>
                              <a:pt x="687" y="92"/>
                              <a:pt x="686" y="84"/>
                              <a:pt x="686" y="77"/>
                            </a:cubicBezTo>
                            <a:cubicBezTo>
                              <a:pt x="686" y="76"/>
                              <a:pt x="686" y="76"/>
                              <a:pt x="686" y="76"/>
                            </a:cubicBezTo>
                            <a:cubicBezTo>
                              <a:pt x="673" y="72"/>
                              <a:pt x="669" y="71"/>
                              <a:pt x="658" y="66"/>
                            </a:cubicBezTo>
                            <a:cubicBezTo>
                              <a:pt x="656" y="65"/>
                              <a:pt x="652" y="63"/>
                              <a:pt x="647" y="61"/>
                            </a:cubicBezTo>
                            <a:cubicBezTo>
                              <a:pt x="635" y="56"/>
                              <a:pt x="628" y="53"/>
                              <a:pt x="622" y="50"/>
                            </a:cubicBezTo>
                            <a:cubicBezTo>
                              <a:pt x="616" y="47"/>
                              <a:pt x="611" y="44"/>
                              <a:pt x="603" y="40"/>
                            </a:cubicBezTo>
                            <a:cubicBezTo>
                              <a:pt x="599" y="38"/>
                              <a:pt x="596" y="36"/>
                              <a:pt x="593" y="34"/>
                            </a:cubicBezTo>
                            <a:cubicBezTo>
                              <a:pt x="584" y="29"/>
                              <a:pt x="580" y="27"/>
                              <a:pt x="570" y="24"/>
                            </a:cubicBezTo>
                            <a:cubicBezTo>
                              <a:pt x="568" y="23"/>
                              <a:pt x="566" y="22"/>
                              <a:pt x="564" y="22"/>
                            </a:cubicBezTo>
                            <a:cubicBezTo>
                              <a:pt x="563" y="22"/>
                              <a:pt x="563" y="22"/>
                              <a:pt x="563" y="22"/>
                            </a:cubicBezTo>
                            <a:cubicBezTo>
                              <a:pt x="557" y="25"/>
                              <a:pt x="550" y="27"/>
                              <a:pt x="546" y="25"/>
                            </a:cubicBezTo>
                            <a:cubicBezTo>
                              <a:pt x="537" y="21"/>
                              <a:pt x="520" y="14"/>
                              <a:pt x="515" y="12"/>
                            </a:cubicBezTo>
                            <a:cubicBezTo>
                              <a:pt x="512" y="11"/>
                              <a:pt x="512" y="6"/>
                              <a:pt x="512" y="0"/>
                            </a:cubicBezTo>
                            <a:cubicBezTo>
                              <a:pt x="507" y="1"/>
                              <a:pt x="502" y="2"/>
                              <a:pt x="496" y="3"/>
                            </a:cubicBezTo>
                            <a:cubicBezTo>
                              <a:pt x="469" y="7"/>
                              <a:pt x="437" y="12"/>
                              <a:pt x="433" y="13"/>
                            </a:cubicBezTo>
                            <a:cubicBezTo>
                              <a:pt x="431" y="14"/>
                              <a:pt x="431" y="16"/>
                              <a:pt x="431" y="18"/>
                            </a:cubicBezTo>
                            <a:cubicBezTo>
                              <a:pt x="431" y="21"/>
                              <a:pt x="430" y="24"/>
                              <a:pt x="429" y="28"/>
                            </a:cubicBezTo>
                            <a:cubicBezTo>
                              <a:pt x="427" y="33"/>
                              <a:pt x="419" y="40"/>
                              <a:pt x="413" y="46"/>
                            </a:cubicBezTo>
                            <a:cubicBezTo>
                              <a:pt x="407" y="51"/>
                              <a:pt x="401" y="56"/>
                              <a:pt x="401" y="58"/>
                            </a:cubicBezTo>
                            <a:cubicBezTo>
                              <a:pt x="400" y="60"/>
                              <a:pt x="402" y="63"/>
                              <a:pt x="404" y="67"/>
                            </a:cubicBezTo>
                            <a:cubicBezTo>
                              <a:pt x="407" y="72"/>
                              <a:pt x="410" y="78"/>
                              <a:pt x="411" y="84"/>
                            </a:cubicBezTo>
                            <a:cubicBezTo>
                              <a:pt x="412" y="92"/>
                              <a:pt x="410" y="99"/>
                              <a:pt x="407" y="105"/>
                            </a:cubicBezTo>
                            <a:cubicBezTo>
                              <a:pt x="406" y="108"/>
                              <a:pt x="405" y="111"/>
                              <a:pt x="405" y="113"/>
                            </a:cubicBezTo>
                            <a:cubicBezTo>
                              <a:pt x="405" y="115"/>
                              <a:pt x="406" y="117"/>
                              <a:pt x="407" y="119"/>
                            </a:cubicBezTo>
                            <a:cubicBezTo>
                              <a:pt x="409" y="123"/>
                              <a:pt x="411" y="128"/>
                              <a:pt x="410" y="139"/>
                            </a:cubicBezTo>
                            <a:cubicBezTo>
                              <a:pt x="409" y="147"/>
                              <a:pt x="404" y="160"/>
                              <a:pt x="400" y="172"/>
                            </a:cubicBezTo>
                            <a:cubicBezTo>
                              <a:pt x="397" y="182"/>
                              <a:pt x="394" y="192"/>
                              <a:pt x="394" y="195"/>
                            </a:cubicBezTo>
                            <a:cubicBezTo>
                              <a:pt x="394" y="199"/>
                              <a:pt x="394" y="203"/>
                              <a:pt x="395" y="208"/>
                            </a:cubicBezTo>
                            <a:cubicBezTo>
                              <a:pt x="397" y="211"/>
                              <a:pt x="398" y="215"/>
                              <a:pt x="401" y="218"/>
                            </a:cubicBezTo>
                            <a:cubicBezTo>
                              <a:pt x="403" y="221"/>
                              <a:pt x="406" y="222"/>
                              <a:pt x="408" y="223"/>
                            </a:cubicBezTo>
                            <a:cubicBezTo>
                              <a:pt x="412" y="225"/>
                              <a:pt x="416" y="226"/>
                              <a:pt x="420" y="233"/>
                            </a:cubicBezTo>
                            <a:cubicBezTo>
                              <a:pt x="423" y="238"/>
                              <a:pt x="425" y="241"/>
                              <a:pt x="427" y="245"/>
                            </a:cubicBezTo>
                            <a:cubicBezTo>
                              <a:pt x="429" y="249"/>
                              <a:pt x="431" y="252"/>
                              <a:pt x="434" y="253"/>
                            </a:cubicBezTo>
                            <a:cubicBezTo>
                              <a:pt x="434" y="253"/>
                              <a:pt x="434" y="253"/>
                              <a:pt x="434" y="253"/>
                            </a:cubicBezTo>
                            <a:cubicBezTo>
                              <a:pt x="435" y="254"/>
                              <a:pt x="436" y="254"/>
                              <a:pt x="438" y="255"/>
                            </a:cubicBezTo>
                            <a:cubicBezTo>
                              <a:pt x="443" y="256"/>
                              <a:pt x="448" y="258"/>
                              <a:pt x="450" y="255"/>
                            </a:cubicBezTo>
                            <a:cubicBezTo>
                              <a:pt x="452" y="250"/>
                              <a:pt x="455" y="244"/>
                              <a:pt x="459" y="241"/>
                            </a:cubicBezTo>
                            <a:cubicBezTo>
                              <a:pt x="459" y="241"/>
                              <a:pt x="459" y="241"/>
                              <a:pt x="459" y="241"/>
                            </a:cubicBezTo>
                            <a:cubicBezTo>
                              <a:pt x="463" y="237"/>
                              <a:pt x="467" y="235"/>
                              <a:pt x="471" y="236"/>
                            </a:cubicBezTo>
                            <a:cubicBezTo>
                              <a:pt x="475" y="236"/>
                              <a:pt x="478" y="238"/>
                              <a:pt x="480" y="242"/>
                            </a:cubicBezTo>
                            <a:cubicBezTo>
                              <a:pt x="482" y="245"/>
                              <a:pt x="483" y="250"/>
                              <a:pt x="484" y="257"/>
                            </a:cubicBezTo>
                            <a:cubicBezTo>
                              <a:pt x="484" y="264"/>
                              <a:pt x="484" y="276"/>
                              <a:pt x="484" y="287"/>
                            </a:cubicBezTo>
                            <a:cubicBezTo>
                              <a:pt x="483" y="295"/>
                              <a:pt x="483" y="302"/>
                              <a:pt x="483" y="306"/>
                            </a:cubicBezTo>
                            <a:cubicBezTo>
                              <a:pt x="484" y="315"/>
                              <a:pt x="462" y="323"/>
                              <a:pt x="452" y="327"/>
                            </a:cubicBezTo>
                            <a:cubicBezTo>
                              <a:pt x="451" y="327"/>
                              <a:pt x="450" y="328"/>
                              <a:pt x="449" y="328"/>
                            </a:cubicBezTo>
                            <a:cubicBezTo>
                              <a:pt x="440" y="331"/>
                              <a:pt x="434" y="323"/>
                              <a:pt x="430" y="316"/>
                            </a:cubicBezTo>
                            <a:cubicBezTo>
                              <a:pt x="429" y="315"/>
                              <a:pt x="429" y="314"/>
                              <a:pt x="428" y="313"/>
                            </a:cubicBezTo>
                            <a:cubicBezTo>
                              <a:pt x="426" y="310"/>
                              <a:pt x="416" y="298"/>
                              <a:pt x="407" y="286"/>
                            </a:cubicBezTo>
                            <a:cubicBezTo>
                              <a:pt x="400" y="278"/>
                              <a:pt x="394" y="270"/>
                              <a:pt x="392" y="267"/>
                            </a:cubicBezTo>
                            <a:cubicBezTo>
                              <a:pt x="388" y="264"/>
                              <a:pt x="381" y="262"/>
                              <a:pt x="373" y="261"/>
                            </a:cubicBezTo>
                            <a:cubicBezTo>
                              <a:pt x="367" y="259"/>
                              <a:pt x="361" y="258"/>
                              <a:pt x="355" y="256"/>
                            </a:cubicBezTo>
                            <a:cubicBezTo>
                              <a:pt x="348" y="253"/>
                              <a:pt x="343" y="249"/>
                              <a:pt x="339" y="244"/>
                            </a:cubicBezTo>
                            <a:cubicBezTo>
                              <a:pt x="335" y="240"/>
                              <a:pt x="332" y="234"/>
                              <a:pt x="329" y="229"/>
                            </a:cubicBezTo>
                            <a:cubicBezTo>
                              <a:pt x="327" y="223"/>
                              <a:pt x="323" y="219"/>
                              <a:pt x="320" y="215"/>
                            </a:cubicBezTo>
                            <a:cubicBezTo>
                              <a:pt x="317" y="212"/>
                              <a:pt x="314" y="211"/>
                              <a:pt x="313" y="211"/>
                            </a:cubicBezTo>
                            <a:cubicBezTo>
                              <a:pt x="311" y="211"/>
                              <a:pt x="310" y="213"/>
                              <a:pt x="309" y="217"/>
                            </a:cubicBezTo>
                            <a:cubicBezTo>
                              <a:pt x="307" y="219"/>
                              <a:pt x="306" y="222"/>
                              <a:pt x="305" y="224"/>
                            </a:cubicBezTo>
                            <a:cubicBezTo>
                              <a:pt x="301" y="229"/>
                              <a:pt x="296" y="231"/>
                              <a:pt x="290" y="232"/>
                            </a:cubicBezTo>
                            <a:cubicBezTo>
                              <a:pt x="285" y="233"/>
                              <a:pt x="279" y="232"/>
                              <a:pt x="273" y="231"/>
                            </a:cubicBezTo>
                            <a:cubicBezTo>
                              <a:pt x="267" y="230"/>
                              <a:pt x="251" y="228"/>
                              <a:pt x="237" y="225"/>
                            </a:cubicBezTo>
                            <a:cubicBezTo>
                              <a:pt x="226" y="223"/>
                              <a:pt x="217" y="221"/>
                              <a:pt x="215" y="220"/>
                            </a:cubicBezTo>
                            <a:cubicBezTo>
                              <a:pt x="211" y="218"/>
                              <a:pt x="207" y="215"/>
                              <a:pt x="204" y="211"/>
                            </a:cubicBezTo>
                            <a:cubicBezTo>
                              <a:pt x="202" y="207"/>
                              <a:pt x="200" y="203"/>
                              <a:pt x="199" y="198"/>
                            </a:cubicBezTo>
                            <a:cubicBezTo>
                              <a:pt x="199" y="197"/>
                              <a:pt x="199" y="196"/>
                              <a:pt x="199" y="194"/>
                            </a:cubicBezTo>
                            <a:cubicBezTo>
                              <a:pt x="198" y="190"/>
                              <a:pt x="198" y="186"/>
                              <a:pt x="196" y="186"/>
                            </a:cubicBezTo>
                            <a:cubicBezTo>
                              <a:pt x="194" y="186"/>
                              <a:pt x="192" y="187"/>
                              <a:pt x="190" y="188"/>
                            </a:cubicBezTo>
                            <a:cubicBezTo>
                              <a:pt x="187" y="189"/>
                              <a:pt x="183" y="191"/>
                              <a:pt x="176" y="193"/>
                            </a:cubicBezTo>
                            <a:cubicBezTo>
                              <a:pt x="175" y="193"/>
                              <a:pt x="173" y="194"/>
                              <a:pt x="171" y="194"/>
                            </a:cubicBezTo>
                            <a:cubicBezTo>
                              <a:pt x="158" y="198"/>
                              <a:pt x="147" y="201"/>
                              <a:pt x="143" y="194"/>
                            </a:cubicBezTo>
                            <a:cubicBezTo>
                              <a:pt x="141" y="190"/>
                              <a:pt x="142" y="188"/>
                              <a:pt x="143" y="186"/>
                            </a:cubicBezTo>
                            <a:cubicBezTo>
                              <a:pt x="144" y="185"/>
                              <a:pt x="144" y="184"/>
                              <a:pt x="141" y="180"/>
                            </a:cubicBezTo>
                            <a:cubicBezTo>
                              <a:pt x="138" y="177"/>
                              <a:pt x="135" y="174"/>
                              <a:pt x="131" y="173"/>
                            </a:cubicBezTo>
                            <a:cubicBezTo>
                              <a:pt x="128" y="171"/>
                              <a:pt x="125" y="170"/>
                              <a:pt x="122" y="169"/>
                            </a:cubicBezTo>
                            <a:cubicBezTo>
                              <a:pt x="122" y="175"/>
                              <a:pt x="122" y="183"/>
                              <a:pt x="123" y="192"/>
                            </a:cubicBezTo>
                            <a:cubicBezTo>
                              <a:pt x="123" y="205"/>
                              <a:pt x="123" y="221"/>
                              <a:pt x="124" y="228"/>
                            </a:cubicBezTo>
                            <a:cubicBezTo>
                              <a:pt x="124" y="232"/>
                              <a:pt x="124" y="236"/>
                              <a:pt x="125" y="239"/>
                            </a:cubicBezTo>
                            <a:cubicBezTo>
                              <a:pt x="126" y="246"/>
                              <a:pt x="127" y="251"/>
                              <a:pt x="122" y="260"/>
                            </a:cubicBezTo>
                            <a:cubicBezTo>
                              <a:pt x="121" y="263"/>
                              <a:pt x="120" y="264"/>
                              <a:pt x="120" y="264"/>
                            </a:cubicBezTo>
                            <a:cubicBezTo>
                              <a:pt x="117" y="272"/>
                              <a:pt x="116" y="274"/>
                              <a:pt x="117" y="278"/>
                            </a:cubicBezTo>
                            <a:cubicBezTo>
                              <a:pt x="117" y="279"/>
                              <a:pt x="117" y="280"/>
                              <a:pt x="118" y="281"/>
                            </a:cubicBezTo>
                            <a:cubicBezTo>
                              <a:pt x="119" y="286"/>
                              <a:pt x="121" y="290"/>
                              <a:pt x="120" y="294"/>
                            </a:cubicBezTo>
                            <a:cubicBezTo>
                              <a:pt x="119" y="297"/>
                              <a:pt x="115" y="299"/>
                              <a:pt x="109" y="300"/>
                            </a:cubicBezTo>
                            <a:cubicBezTo>
                              <a:pt x="104" y="301"/>
                              <a:pt x="98" y="301"/>
                              <a:pt x="89" y="300"/>
                            </a:cubicBezTo>
                            <a:cubicBezTo>
                              <a:pt x="83" y="300"/>
                              <a:pt x="72" y="299"/>
                              <a:pt x="59" y="299"/>
                            </a:cubicBezTo>
                            <a:cubicBezTo>
                              <a:pt x="36" y="299"/>
                              <a:pt x="7" y="299"/>
                              <a:pt x="5" y="299"/>
                            </a:cubicBezTo>
                            <a:cubicBezTo>
                              <a:pt x="4" y="299"/>
                              <a:pt x="2" y="299"/>
                              <a:pt x="2" y="299"/>
                            </a:cubicBezTo>
                            <a:cubicBezTo>
                              <a:pt x="1" y="300"/>
                              <a:pt x="1" y="302"/>
                              <a:pt x="1" y="305"/>
                            </a:cubicBezTo>
                            <a:cubicBezTo>
                              <a:pt x="1" y="309"/>
                              <a:pt x="1" y="331"/>
                              <a:pt x="1" y="354"/>
                            </a:cubicBezTo>
                            <a:cubicBezTo>
                              <a:pt x="1" y="376"/>
                              <a:pt x="1" y="398"/>
                              <a:pt x="1" y="403"/>
                            </a:cubicBezTo>
                            <a:cubicBezTo>
                              <a:pt x="1" y="407"/>
                              <a:pt x="1" y="420"/>
                              <a:pt x="1" y="434"/>
                            </a:cubicBezTo>
                            <a:cubicBezTo>
                              <a:pt x="1" y="456"/>
                              <a:pt x="0" y="483"/>
                              <a:pt x="0" y="486"/>
                            </a:cubicBezTo>
                            <a:cubicBezTo>
                              <a:pt x="0" y="489"/>
                              <a:pt x="1" y="495"/>
                              <a:pt x="3" y="500"/>
                            </a:cubicBezTo>
                            <a:cubicBezTo>
                              <a:pt x="5" y="504"/>
                              <a:pt x="7" y="509"/>
                              <a:pt x="9" y="511"/>
                            </a:cubicBezTo>
                            <a:cubicBezTo>
                              <a:pt x="11" y="514"/>
                              <a:pt x="25" y="526"/>
                              <a:pt x="40" y="540"/>
                            </a:cubicBezTo>
                            <a:cubicBezTo>
                              <a:pt x="58" y="556"/>
                              <a:pt x="77" y="573"/>
                              <a:pt x="80" y="575"/>
                            </a:cubicBezTo>
                            <a:cubicBezTo>
                              <a:pt x="83" y="577"/>
                              <a:pt x="86" y="579"/>
                              <a:pt x="88" y="579"/>
                            </a:cubicBezTo>
                            <a:cubicBezTo>
                              <a:pt x="88" y="579"/>
                              <a:pt x="88" y="579"/>
                              <a:pt x="88" y="579"/>
                            </a:cubicBezTo>
                            <a:cubicBezTo>
                              <a:pt x="91" y="580"/>
                              <a:pt x="94" y="580"/>
                              <a:pt x="96" y="580"/>
                            </a:cubicBezTo>
                            <a:cubicBezTo>
                              <a:pt x="99" y="580"/>
                              <a:pt x="103" y="579"/>
                              <a:pt x="108" y="578"/>
                            </a:cubicBezTo>
                            <a:cubicBezTo>
                              <a:pt x="115" y="577"/>
                              <a:pt x="123" y="576"/>
                              <a:pt x="129" y="575"/>
                            </a:cubicBezTo>
                            <a:cubicBezTo>
                              <a:pt x="134" y="575"/>
                              <a:pt x="140" y="575"/>
                              <a:pt x="146" y="574"/>
                            </a:cubicBezTo>
                            <a:cubicBezTo>
                              <a:pt x="152" y="574"/>
                              <a:pt x="158" y="575"/>
                              <a:pt x="163" y="575"/>
                            </a:cubicBezTo>
                            <a:cubicBezTo>
                              <a:pt x="168" y="576"/>
                              <a:pt x="177" y="578"/>
                              <a:pt x="184" y="581"/>
                            </a:cubicBezTo>
                            <a:cubicBezTo>
                              <a:pt x="189" y="583"/>
                              <a:pt x="194" y="586"/>
                              <a:pt x="196" y="589"/>
                            </a:cubicBezTo>
                            <a:cubicBezTo>
                              <a:pt x="198" y="591"/>
                              <a:pt x="200" y="593"/>
                              <a:pt x="202" y="596"/>
                            </a:cubicBezTo>
                            <a:cubicBezTo>
                              <a:pt x="207" y="596"/>
                              <a:pt x="212" y="596"/>
                              <a:pt x="216" y="596"/>
                            </a:cubicBezTo>
                            <a:cubicBezTo>
                              <a:pt x="225" y="596"/>
                              <a:pt x="237" y="599"/>
                              <a:pt x="248" y="603"/>
                            </a:cubicBezTo>
                            <a:cubicBezTo>
                              <a:pt x="256" y="605"/>
                              <a:pt x="264" y="608"/>
                              <a:pt x="270" y="609"/>
                            </a:cubicBezTo>
                            <a:cubicBezTo>
                              <a:pt x="273" y="609"/>
                              <a:pt x="276" y="610"/>
                              <a:pt x="278" y="610"/>
                            </a:cubicBezTo>
                            <a:cubicBezTo>
                              <a:pt x="285" y="612"/>
                              <a:pt x="289" y="612"/>
                              <a:pt x="299" y="605"/>
                            </a:cubicBezTo>
                            <a:cubicBezTo>
                              <a:pt x="307" y="599"/>
                              <a:pt x="314" y="590"/>
                              <a:pt x="321" y="581"/>
                            </a:cubicBezTo>
                            <a:cubicBezTo>
                              <a:pt x="327" y="573"/>
                              <a:pt x="334" y="565"/>
                              <a:pt x="341" y="558"/>
                            </a:cubicBezTo>
                            <a:cubicBezTo>
                              <a:pt x="344" y="555"/>
                              <a:pt x="347" y="552"/>
                              <a:pt x="349" y="550"/>
                            </a:cubicBezTo>
                            <a:cubicBezTo>
                              <a:pt x="360" y="540"/>
                              <a:pt x="364" y="535"/>
                              <a:pt x="380" y="529"/>
                            </a:cubicBezTo>
                            <a:cubicBezTo>
                              <a:pt x="388" y="526"/>
                              <a:pt x="393" y="524"/>
                              <a:pt x="398" y="523"/>
                            </a:cubicBezTo>
                            <a:cubicBezTo>
                              <a:pt x="403" y="522"/>
                              <a:pt x="406" y="521"/>
                              <a:pt x="409" y="519"/>
                            </a:cubicBezTo>
                            <a:cubicBezTo>
                              <a:pt x="410" y="517"/>
                              <a:pt x="411" y="513"/>
                              <a:pt x="412" y="508"/>
                            </a:cubicBezTo>
                            <a:cubicBezTo>
                              <a:pt x="412" y="508"/>
                              <a:pt x="412" y="508"/>
                              <a:pt x="412" y="508"/>
                            </a:cubicBezTo>
                            <a:cubicBezTo>
                              <a:pt x="413" y="502"/>
                              <a:pt x="415" y="494"/>
                              <a:pt x="419" y="487"/>
                            </a:cubicBezTo>
                            <a:cubicBezTo>
                              <a:pt x="426" y="477"/>
                              <a:pt x="429" y="476"/>
                              <a:pt x="436" y="473"/>
                            </a:cubicBezTo>
                            <a:cubicBezTo>
                              <a:pt x="438" y="473"/>
                              <a:pt x="440" y="472"/>
                              <a:pt x="443" y="470"/>
                            </a:cubicBezTo>
                            <a:cubicBezTo>
                              <a:pt x="445" y="469"/>
                              <a:pt x="447" y="468"/>
                              <a:pt x="448" y="468"/>
                            </a:cubicBezTo>
                            <a:cubicBezTo>
                              <a:pt x="456" y="464"/>
                              <a:pt x="458" y="463"/>
                              <a:pt x="471" y="462"/>
                            </a:cubicBezTo>
                            <a:cubicBezTo>
                              <a:pt x="482" y="462"/>
                              <a:pt x="501" y="460"/>
                              <a:pt x="509" y="460"/>
                            </a:cubicBezTo>
                            <a:cubicBezTo>
                              <a:pt x="505" y="446"/>
                              <a:pt x="502" y="431"/>
                              <a:pt x="501" y="428"/>
                            </a:cubicBezTo>
                            <a:cubicBezTo>
                              <a:pt x="501" y="425"/>
                              <a:pt x="501" y="422"/>
                              <a:pt x="504" y="419"/>
                            </a:cubicBezTo>
                            <a:cubicBezTo>
                              <a:pt x="506" y="417"/>
                              <a:pt x="510" y="415"/>
                              <a:pt x="516" y="412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441" name="Freeform 40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51885" y="3713057"/>
                        <a:ext cx="113109" cy="60722"/>
                      </a:xfrm>
                      <a:custGeom>
                        <a:avLst/>
                        <a:gdLst>
                          <a:gd name="T0" fmla="*/ 394 w 397"/>
                          <a:gd name="T1" fmla="*/ 39 h 209"/>
                          <a:gd name="T2" fmla="*/ 393 w 397"/>
                          <a:gd name="T3" fmla="*/ 38 h 209"/>
                          <a:gd name="T4" fmla="*/ 390 w 397"/>
                          <a:gd name="T5" fmla="*/ 35 h 209"/>
                          <a:gd name="T6" fmla="*/ 367 w 397"/>
                          <a:gd name="T7" fmla="*/ 13 h 209"/>
                          <a:gd name="T8" fmla="*/ 366 w 397"/>
                          <a:gd name="T9" fmla="*/ 10 h 209"/>
                          <a:gd name="T10" fmla="*/ 336 w 397"/>
                          <a:gd name="T11" fmla="*/ 12 h 209"/>
                          <a:gd name="T12" fmla="*/ 317 w 397"/>
                          <a:gd name="T13" fmla="*/ 0 h 209"/>
                          <a:gd name="T14" fmla="*/ 280 w 397"/>
                          <a:gd name="T15" fmla="*/ 0 h 209"/>
                          <a:gd name="T16" fmla="*/ 256 w 397"/>
                          <a:gd name="T17" fmla="*/ 12 h 209"/>
                          <a:gd name="T18" fmla="*/ 216 w 397"/>
                          <a:gd name="T19" fmla="*/ 28 h 209"/>
                          <a:gd name="T20" fmla="*/ 191 w 397"/>
                          <a:gd name="T21" fmla="*/ 28 h 209"/>
                          <a:gd name="T22" fmla="*/ 175 w 397"/>
                          <a:gd name="T23" fmla="*/ 34 h 209"/>
                          <a:gd name="T24" fmla="*/ 157 w 397"/>
                          <a:gd name="T25" fmla="*/ 48 h 209"/>
                          <a:gd name="T26" fmla="*/ 113 w 397"/>
                          <a:gd name="T27" fmla="*/ 63 h 209"/>
                          <a:gd name="T28" fmla="*/ 77 w 397"/>
                          <a:gd name="T29" fmla="*/ 56 h 209"/>
                          <a:gd name="T30" fmla="*/ 57 w 397"/>
                          <a:gd name="T31" fmla="*/ 42 h 209"/>
                          <a:gd name="T32" fmla="*/ 56 w 397"/>
                          <a:gd name="T33" fmla="*/ 54 h 209"/>
                          <a:gd name="T34" fmla="*/ 48 w 397"/>
                          <a:gd name="T35" fmla="*/ 66 h 209"/>
                          <a:gd name="T36" fmla="*/ 27 w 397"/>
                          <a:gd name="T37" fmla="*/ 64 h 209"/>
                          <a:gd name="T38" fmla="*/ 22 w 397"/>
                          <a:gd name="T39" fmla="*/ 62 h 209"/>
                          <a:gd name="T40" fmla="*/ 21 w 397"/>
                          <a:gd name="T41" fmla="*/ 69 h 209"/>
                          <a:gd name="T42" fmla="*/ 21 w 397"/>
                          <a:gd name="T43" fmla="*/ 84 h 209"/>
                          <a:gd name="T44" fmla="*/ 10 w 397"/>
                          <a:gd name="T45" fmla="*/ 100 h 209"/>
                          <a:gd name="T46" fmla="*/ 7 w 397"/>
                          <a:gd name="T47" fmla="*/ 121 h 209"/>
                          <a:gd name="T48" fmla="*/ 28 w 397"/>
                          <a:gd name="T49" fmla="*/ 160 h 209"/>
                          <a:gd name="T50" fmla="*/ 77 w 397"/>
                          <a:gd name="T51" fmla="*/ 197 h 209"/>
                          <a:gd name="T52" fmla="*/ 133 w 397"/>
                          <a:gd name="T53" fmla="*/ 206 h 209"/>
                          <a:gd name="T54" fmla="*/ 189 w 397"/>
                          <a:gd name="T55" fmla="*/ 188 h 209"/>
                          <a:gd name="T56" fmla="*/ 229 w 397"/>
                          <a:gd name="T57" fmla="*/ 178 h 209"/>
                          <a:gd name="T58" fmla="*/ 252 w 397"/>
                          <a:gd name="T59" fmla="*/ 182 h 209"/>
                          <a:gd name="T60" fmla="*/ 269 w 397"/>
                          <a:gd name="T61" fmla="*/ 180 h 209"/>
                          <a:gd name="T62" fmla="*/ 273 w 397"/>
                          <a:gd name="T63" fmla="*/ 178 h 209"/>
                          <a:gd name="T64" fmla="*/ 291 w 397"/>
                          <a:gd name="T65" fmla="*/ 169 h 209"/>
                          <a:gd name="T66" fmla="*/ 302 w 397"/>
                          <a:gd name="T67" fmla="*/ 160 h 209"/>
                          <a:gd name="T68" fmla="*/ 322 w 397"/>
                          <a:gd name="T69" fmla="*/ 123 h 209"/>
                          <a:gd name="T70" fmla="*/ 343 w 397"/>
                          <a:gd name="T71" fmla="*/ 89 h 209"/>
                          <a:gd name="T72" fmla="*/ 392 w 397"/>
                          <a:gd name="T73" fmla="*/ 47 h 209"/>
                          <a:gd name="T74" fmla="*/ 396 w 397"/>
                          <a:gd name="T75" fmla="*/ 42 h 20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</a:cxnLst>
                        <a:rect l="0" t="0" r="r" b="b"/>
                        <a:pathLst>
                          <a:path w="397" h="209">
                            <a:moveTo>
                              <a:pt x="396" y="42"/>
                            </a:moveTo>
                            <a:cubicBezTo>
                              <a:pt x="395" y="41"/>
                              <a:pt x="395" y="40"/>
                              <a:pt x="394" y="39"/>
                            </a:cubicBezTo>
                            <a:cubicBezTo>
                              <a:pt x="394" y="39"/>
                              <a:pt x="394" y="39"/>
                              <a:pt x="394" y="39"/>
                            </a:cubicBezTo>
                            <a:cubicBezTo>
                              <a:pt x="393" y="38"/>
                              <a:pt x="393" y="38"/>
                              <a:pt x="393" y="38"/>
                            </a:cubicBezTo>
                            <a:cubicBezTo>
                              <a:pt x="393" y="38"/>
                              <a:pt x="393" y="38"/>
                              <a:pt x="393" y="38"/>
                            </a:cubicBezTo>
                            <a:cubicBezTo>
                              <a:pt x="392" y="36"/>
                              <a:pt x="391" y="36"/>
                              <a:pt x="390" y="35"/>
                            </a:cubicBezTo>
                            <a:cubicBezTo>
                              <a:pt x="388" y="34"/>
                              <a:pt x="385" y="32"/>
                              <a:pt x="381" y="29"/>
                            </a:cubicBezTo>
                            <a:cubicBezTo>
                              <a:pt x="376" y="25"/>
                              <a:pt x="371" y="19"/>
                              <a:pt x="367" y="13"/>
                            </a:cubicBezTo>
                            <a:cubicBezTo>
                              <a:pt x="367" y="13"/>
                              <a:pt x="367" y="13"/>
                              <a:pt x="367" y="13"/>
                            </a:cubicBezTo>
                            <a:cubicBezTo>
                              <a:pt x="367" y="12"/>
                              <a:pt x="366" y="11"/>
                              <a:pt x="366" y="10"/>
                            </a:cubicBezTo>
                            <a:cubicBezTo>
                              <a:pt x="362" y="13"/>
                              <a:pt x="358" y="15"/>
                              <a:pt x="349" y="15"/>
                            </a:cubicBezTo>
                            <a:cubicBezTo>
                              <a:pt x="344" y="15"/>
                              <a:pt x="340" y="14"/>
                              <a:pt x="336" y="12"/>
                            </a:cubicBezTo>
                            <a:cubicBezTo>
                              <a:pt x="332" y="11"/>
                              <a:pt x="329" y="9"/>
                              <a:pt x="325" y="5"/>
                            </a:cubicBezTo>
                            <a:cubicBezTo>
                              <a:pt x="322" y="3"/>
                              <a:pt x="320" y="1"/>
                              <a:pt x="317" y="0"/>
                            </a:cubicBezTo>
                            <a:cubicBezTo>
                              <a:pt x="313" y="0"/>
                              <a:pt x="308" y="0"/>
                              <a:pt x="300" y="0"/>
                            </a:cubicBezTo>
                            <a:cubicBezTo>
                              <a:pt x="292" y="0"/>
                              <a:pt x="286" y="0"/>
                              <a:pt x="280" y="0"/>
                            </a:cubicBezTo>
                            <a:cubicBezTo>
                              <a:pt x="276" y="0"/>
                              <a:pt x="272" y="1"/>
                              <a:pt x="269" y="2"/>
                            </a:cubicBezTo>
                            <a:cubicBezTo>
                              <a:pt x="267" y="3"/>
                              <a:pt x="262" y="7"/>
                              <a:pt x="256" y="12"/>
                            </a:cubicBezTo>
                            <a:cubicBezTo>
                              <a:pt x="251" y="18"/>
                              <a:pt x="244" y="24"/>
                              <a:pt x="239" y="27"/>
                            </a:cubicBezTo>
                            <a:cubicBezTo>
                              <a:pt x="231" y="31"/>
                              <a:pt x="224" y="30"/>
                              <a:pt x="216" y="28"/>
                            </a:cubicBezTo>
                            <a:cubicBezTo>
                              <a:pt x="212" y="28"/>
                              <a:pt x="209" y="27"/>
                              <a:pt x="206" y="27"/>
                            </a:cubicBezTo>
                            <a:cubicBezTo>
                              <a:pt x="200" y="27"/>
                              <a:pt x="196" y="27"/>
                              <a:pt x="191" y="28"/>
                            </a:cubicBezTo>
                            <a:cubicBezTo>
                              <a:pt x="187" y="29"/>
                              <a:pt x="183" y="31"/>
                              <a:pt x="180" y="32"/>
                            </a:cubicBezTo>
                            <a:cubicBezTo>
                              <a:pt x="178" y="33"/>
                              <a:pt x="177" y="33"/>
                              <a:pt x="175" y="34"/>
                            </a:cubicBezTo>
                            <a:cubicBezTo>
                              <a:pt x="169" y="37"/>
                              <a:pt x="161" y="40"/>
                              <a:pt x="158" y="44"/>
                            </a:cubicBezTo>
                            <a:cubicBezTo>
                              <a:pt x="158" y="45"/>
                              <a:pt x="157" y="47"/>
                              <a:pt x="157" y="48"/>
                            </a:cubicBezTo>
                            <a:cubicBezTo>
                              <a:pt x="157" y="54"/>
                              <a:pt x="156" y="58"/>
                              <a:pt x="140" y="60"/>
                            </a:cubicBezTo>
                            <a:cubicBezTo>
                              <a:pt x="131" y="62"/>
                              <a:pt x="121" y="63"/>
                              <a:pt x="113" y="63"/>
                            </a:cubicBezTo>
                            <a:cubicBezTo>
                              <a:pt x="104" y="64"/>
                              <a:pt x="96" y="64"/>
                              <a:pt x="91" y="62"/>
                            </a:cubicBezTo>
                            <a:cubicBezTo>
                              <a:pt x="83" y="61"/>
                              <a:pt x="81" y="59"/>
                              <a:pt x="77" y="56"/>
                            </a:cubicBezTo>
                            <a:cubicBezTo>
                              <a:pt x="75" y="54"/>
                              <a:pt x="72" y="52"/>
                              <a:pt x="67" y="49"/>
                            </a:cubicBezTo>
                            <a:cubicBezTo>
                              <a:pt x="63" y="46"/>
                              <a:pt x="60" y="44"/>
                              <a:pt x="57" y="42"/>
                            </a:cubicBezTo>
                            <a:cubicBezTo>
                              <a:pt x="57" y="43"/>
                              <a:pt x="57" y="44"/>
                              <a:pt x="56" y="45"/>
                            </a:cubicBezTo>
                            <a:cubicBezTo>
                              <a:pt x="56" y="47"/>
                              <a:pt x="56" y="50"/>
                              <a:pt x="56" y="54"/>
                            </a:cubicBezTo>
                            <a:cubicBezTo>
                              <a:pt x="55" y="60"/>
                              <a:pt x="52" y="64"/>
                              <a:pt x="48" y="66"/>
                            </a:cubicBezTo>
                            <a:cubicBezTo>
                              <a:pt x="48" y="66"/>
                              <a:pt x="48" y="66"/>
                              <a:pt x="48" y="66"/>
                            </a:cubicBezTo>
                            <a:cubicBezTo>
                              <a:pt x="45" y="68"/>
                              <a:pt x="41" y="68"/>
                              <a:pt x="36" y="67"/>
                            </a:cubicBezTo>
                            <a:cubicBezTo>
                              <a:pt x="33" y="67"/>
                              <a:pt x="30" y="65"/>
                              <a:pt x="27" y="64"/>
                            </a:cubicBezTo>
                            <a:cubicBezTo>
                              <a:pt x="25" y="63"/>
                              <a:pt x="24" y="62"/>
                              <a:pt x="22" y="62"/>
                            </a:cubicBezTo>
                            <a:cubicBezTo>
                              <a:pt x="22" y="62"/>
                              <a:pt x="22" y="62"/>
                              <a:pt x="22" y="62"/>
                            </a:cubicBezTo>
                            <a:cubicBezTo>
                              <a:pt x="22" y="61"/>
                              <a:pt x="21" y="62"/>
                              <a:pt x="21" y="63"/>
                            </a:cubicBezTo>
                            <a:cubicBezTo>
                              <a:pt x="20" y="66"/>
                              <a:pt x="20" y="67"/>
                              <a:pt x="21" y="69"/>
                            </a:cubicBezTo>
                            <a:cubicBezTo>
                              <a:pt x="21" y="69"/>
                              <a:pt x="21" y="69"/>
                              <a:pt x="21" y="69"/>
                            </a:cubicBezTo>
                            <a:cubicBezTo>
                              <a:pt x="22" y="73"/>
                              <a:pt x="24" y="76"/>
                              <a:pt x="21" y="84"/>
                            </a:cubicBezTo>
                            <a:cubicBezTo>
                              <a:pt x="19" y="90"/>
                              <a:pt x="15" y="92"/>
                              <a:pt x="13" y="94"/>
                            </a:cubicBezTo>
                            <a:cubicBezTo>
                              <a:pt x="11" y="96"/>
                              <a:pt x="10" y="97"/>
                              <a:pt x="10" y="100"/>
                            </a:cubicBezTo>
                            <a:cubicBezTo>
                              <a:pt x="10" y="103"/>
                              <a:pt x="11" y="105"/>
                              <a:pt x="11" y="107"/>
                            </a:cubicBezTo>
                            <a:cubicBezTo>
                              <a:pt x="12" y="114"/>
                              <a:pt x="13" y="116"/>
                              <a:pt x="7" y="121"/>
                            </a:cubicBezTo>
                            <a:cubicBezTo>
                              <a:pt x="4" y="123"/>
                              <a:pt x="2" y="124"/>
                              <a:pt x="0" y="126"/>
                            </a:cubicBezTo>
                            <a:cubicBezTo>
                              <a:pt x="5" y="132"/>
                              <a:pt x="21" y="153"/>
                              <a:pt x="28" y="160"/>
                            </a:cubicBezTo>
                            <a:cubicBezTo>
                              <a:pt x="32" y="164"/>
                              <a:pt x="39" y="170"/>
                              <a:pt x="46" y="175"/>
                            </a:cubicBezTo>
                            <a:cubicBezTo>
                              <a:pt x="57" y="183"/>
                              <a:pt x="68" y="191"/>
                              <a:pt x="77" y="197"/>
                            </a:cubicBezTo>
                            <a:cubicBezTo>
                              <a:pt x="85" y="202"/>
                              <a:pt x="93" y="206"/>
                              <a:pt x="102" y="207"/>
                            </a:cubicBezTo>
                            <a:cubicBezTo>
                              <a:pt x="111" y="209"/>
                              <a:pt x="121" y="208"/>
                              <a:pt x="133" y="206"/>
                            </a:cubicBezTo>
                            <a:cubicBezTo>
                              <a:pt x="147" y="203"/>
                              <a:pt x="158" y="199"/>
                              <a:pt x="169" y="195"/>
                            </a:cubicBezTo>
                            <a:cubicBezTo>
                              <a:pt x="175" y="193"/>
                              <a:pt x="182" y="190"/>
                              <a:pt x="189" y="188"/>
                            </a:cubicBezTo>
                            <a:cubicBezTo>
                              <a:pt x="195" y="186"/>
                              <a:pt x="200" y="185"/>
                              <a:pt x="203" y="183"/>
                            </a:cubicBezTo>
                            <a:cubicBezTo>
                              <a:pt x="212" y="180"/>
                              <a:pt x="217" y="178"/>
                              <a:pt x="229" y="178"/>
                            </a:cubicBezTo>
                            <a:cubicBezTo>
                              <a:pt x="243" y="178"/>
                              <a:pt x="246" y="181"/>
                              <a:pt x="249" y="183"/>
                            </a:cubicBezTo>
                            <a:cubicBezTo>
                              <a:pt x="250" y="183"/>
                              <a:pt x="251" y="182"/>
                              <a:pt x="252" y="182"/>
                            </a:cubicBezTo>
                            <a:cubicBezTo>
                              <a:pt x="254" y="181"/>
                              <a:pt x="257" y="180"/>
                              <a:pt x="261" y="180"/>
                            </a:cubicBezTo>
                            <a:cubicBezTo>
                              <a:pt x="265" y="181"/>
                              <a:pt x="267" y="180"/>
                              <a:pt x="269" y="180"/>
                            </a:cubicBezTo>
                            <a:cubicBezTo>
                              <a:pt x="270" y="180"/>
                              <a:pt x="272" y="179"/>
                              <a:pt x="273" y="178"/>
                            </a:cubicBezTo>
                            <a:cubicBezTo>
                              <a:pt x="273" y="178"/>
                              <a:pt x="273" y="178"/>
                              <a:pt x="273" y="178"/>
                            </a:cubicBezTo>
                            <a:cubicBezTo>
                              <a:pt x="273" y="177"/>
                              <a:pt x="274" y="177"/>
                              <a:pt x="274" y="176"/>
                            </a:cubicBezTo>
                            <a:cubicBezTo>
                              <a:pt x="278" y="173"/>
                              <a:pt x="282" y="169"/>
                              <a:pt x="291" y="169"/>
                            </a:cubicBezTo>
                            <a:cubicBezTo>
                              <a:pt x="296" y="168"/>
                              <a:pt x="298" y="166"/>
                              <a:pt x="302" y="161"/>
                            </a:cubicBezTo>
                            <a:cubicBezTo>
                              <a:pt x="302" y="160"/>
                              <a:pt x="302" y="160"/>
                              <a:pt x="302" y="160"/>
                            </a:cubicBezTo>
                            <a:cubicBezTo>
                              <a:pt x="304" y="158"/>
                              <a:pt x="307" y="153"/>
                              <a:pt x="310" y="147"/>
                            </a:cubicBezTo>
                            <a:cubicBezTo>
                              <a:pt x="315" y="137"/>
                              <a:pt x="320" y="127"/>
                              <a:pt x="322" y="123"/>
                            </a:cubicBezTo>
                            <a:cubicBezTo>
                              <a:pt x="323" y="120"/>
                              <a:pt x="327" y="114"/>
                              <a:pt x="331" y="108"/>
                            </a:cubicBezTo>
                            <a:cubicBezTo>
                              <a:pt x="335" y="101"/>
                              <a:pt x="340" y="93"/>
                              <a:pt x="343" y="89"/>
                            </a:cubicBezTo>
                            <a:cubicBezTo>
                              <a:pt x="346" y="85"/>
                              <a:pt x="356" y="75"/>
                              <a:pt x="367" y="66"/>
                            </a:cubicBezTo>
                            <a:cubicBezTo>
                              <a:pt x="377" y="58"/>
                              <a:pt x="387" y="50"/>
                              <a:pt x="392" y="47"/>
                            </a:cubicBezTo>
                            <a:cubicBezTo>
                              <a:pt x="397" y="45"/>
                              <a:pt x="397" y="43"/>
                              <a:pt x="396" y="42"/>
                            </a:cubicBezTo>
                            <a:cubicBezTo>
                              <a:pt x="396" y="42"/>
                              <a:pt x="396" y="42"/>
                              <a:pt x="396" y="42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442" name="Freeform 42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35191" y="3597566"/>
                        <a:ext cx="53578" cy="52388"/>
                      </a:xfrm>
                      <a:custGeom>
                        <a:avLst/>
                        <a:gdLst>
                          <a:gd name="T0" fmla="*/ 22 w 190"/>
                          <a:gd name="T1" fmla="*/ 142 h 185"/>
                          <a:gd name="T2" fmla="*/ 43 w 190"/>
                          <a:gd name="T3" fmla="*/ 135 h 185"/>
                          <a:gd name="T4" fmla="*/ 46 w 190"/>
                          <a:gd name="T5" fmla="*/ 149 h 185"/>
                          <a:gd name="T6" fmla="*/ 18 w 190"/>
                          <a:gd name="T7" fmla="*/ 159 h 185"/>
                          <a:gd name="T8" fmla="*/ 29 w 190"/>
                          <a:gd name="T9" fmla="*/ 162 h 185"/>
                          <a:gd name="T10" fmla="*/ 52 w 190"/>
                          <a:gd name="T11" fmla="*/ 162 h 185"/>
                          <a:gd name="T12" fmla="*/ 72 w 190"/>
                          <a:gd name="T13" fmla="*/ 177 h 185"/>
                          <a:gd name="T14" fmla="*/ 93 w 190"/>
                          <a:gd name="T15" fmla="*/ 183 h 185"/>
                          <a:gd name="T16" fmla="*/ 119 w 190"/>
                          <a:gd name="T17" fmla="*/ 185 h 185"/>
                          <a:gd name="T18" fmla="*/ 125 w 190"/>
                          <a:gd name="T19" fmla="*/ 171 h 185"/>
                          <a:gd name="T20" fmla="*/ 121 w 190"/>
                          <a:gd name="T21" fmla="*/ 151 h 185"/>
                          <a:gd name="T22" fmla="*/ 120 w 190"/>
                          <a:gd name="T23" fmla="*/ 134 h 185"/>
                          <a:gd name="T24" fmla="*/ 145 w 190"/>
                          <a:gd name="T25" fmla="*/ 128 h 185"/>
                          <a:gd name="T26" fmla="*/ 158 w 190"/>
                          <a:gd name="T27" fmla="*/ 122 h 185"/>
                          <a:gd name="T28" fmla="*/ 169 w 190"/>
                          <a:gd name="T29" fmla="*/ 107 h 185"/>
                          <a:gd name="T30" fmla="*/ 174 w 190"/>
                          <a:gd name="T31" fmla="*/ 90 h 185"/>
                          <a:gd name="T32" fmla="*/ 170 w 190"/>
                          <a:gd name="T33" fmla="*/ 85 h 185"/>
                          <a:gd name="T34" fmla="*/ 170 w 190"/>
                          <a:gd name="T35" fmla="*/ 66 h 185"/>
                          <a:gd name="T36" fmla="*/ 185 w 190"/>
                          <a:gd name="T37" fmla="*/ 45 h 185"/>
                          <a:gd name="T38" fmla="*/ 190 w 190"/>
                          <a:gd name="T39" fmla="*/ 24 h 185"/>
                          <a:gd name="T40" fmla="*/ 185 w 190"/>
                          <a:gd name="T41" fmla="*/ 13 h 185"/>
                          <a:gd name="T42" fmla="*/ 157 w 190"/>
                          <a:gd name="T43" fmla="*/ 3 h 185"/>
                          <a:gd name="T44" fmla="*/ 128 w 190"/>
                          <a:gd name="T45" fmla="*/ 3 h 185"/>
                          <a:gd name="T46" fmla="*/ 109 w 190"/>
                          <a:gd name="T47" fmla="*/ 8 h 185"/>
                          <a:gd name="T48" fmla="*/ 84 w 190"/>
                          <a:gd name="T49" fmla="*/ 24 h 185"/>
                          <a:gd name="T50" fmla="*/ 83 w 190"/>
                          <a:gd name="T51" fmla="*/ 37 h 185"/>
                          <a:gd name="T52" fmla="*/ 88 w 190"/>
                          <a:gd name="T53" fmla="*/ 51 h 185"/>
                          <a:gd name="T54" fmla="*/ 100 w 190"/>
                          <a:gd name="T55" fmla="*/ 53 h 185"/>
                          <a:gd name="T56" fmla="*/ 104 w 190"/>
                          <a:gd name="T57" fmla="*/ 65 h 185"/>
                          <a:gd name="T58" fmla="*/ 113 w 190"/>
                          <a:gd name="T59" fmla="*/ 79 h 185"/>
                          <a:gd name="T60" fmla="*/ 90 w 190"/>
                          <a:gd name="T61" fmla="*/ 100 h 185"/>
                          <a:gd name="T62" fmla="*/ 67 w 190"/>
                          <a:gd name="T63" fmla="*/ 96 h 185"/>
                          <a:gd name="T64" fmla="*/ 61 w 190"/>
                          <a:gd name="T65" fmla="*/ 84 h 185"/>
                          <a:gd name="T66" fmla="*/ 56 w 190"/>
                          <a:gd name="T67" fmla="*/ 66 h 185"/>
                          <a:gd name="T68" fmla="*/ 56 w 190"/>
                          <a:gd name="T69" fmla="*/ 50 h 185"/>
                          <a:gd name="T70" fmla="*/ 38 w 190"/>
                          <a:gd name="T71" fmla="*/ 62 h 185"/>
                          <a:gd name="T72" fmla="*/ 28 w 190"/>
                          <a:gd name="T73" fmla="*/ 95 h 185"/>
                          <a:gd name="T74" fmla="*/ 4 w 190"/>
                          <a:gd name="T75" fmla="*/ 120 h 185"/>
                          <a:gd name="T76" fmla="*/ 14 w 190"/>
                          <a:gd name="T77" fmla="*/ 136 h 18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</a:cxnLst>
                        <a:rect l="0" t="0" r="r" b="b"/>
                        <a:pathLst>
                          <a:path w="190" h="185">
                            <a:moveTo>
                              <a:pt x="14" y="136"/>
                            </a:moveTo>
                            <a:cubicBezTo>
                              <a:pt x="18" y="140"/>
                              <a:pt x="17" y="142"/>
                              <a:pt x="22" y="142"/>
                            </a:cubicBezTo>
                            <a:cubicBezTo>
                              <a:pt x="27" y="141"/>
                              <a:pt x="28" y="141"/>
                              <a:pt x="32" y="138"/>
                            </a:cubicBezTo>
                            <a:cubicBezTo>
                              <a:pt x="37" y="135"/>
                              <a:pt x="41" y="132"/>
                              <a:pt x="43" y="135"/>
                            </a:cubicBezTo>
                            <a:cubicBezTo>
                              <a:pt x="46" y="138"/>
                              <a:pt x="45" y="138"/>
                              <a:pt x="48" y="142"/>
                            </a:cubicBezTo>
                            <a:cubicBezTo>
                              <a:pt x="51" y="146"/>
                              <a:pt x="50" y="149"/>
                              <a:pt x="46" y="149"/>
                            </a:cubicBezTo>
                            <a:cubicBezTo>
                              <a:pt x="41" y="149"/>
                              <a:pt x="34" y="148"/>
                              <a:pt x="28" y="151"/>
                            </a:cubicBezTo>
                            <a:cubicBezTo>
                              <a:pt x="23" y="154"/>
                              <a:pt x="18" y="155"/>
                              <a:pt x="18" y="159"/>
                            </a:cubicBezTo>
                            <a:cubicBezTo>
                              <a:pt x="18" y="161"/>
                              <a:pt x="18" y="162"/>
                              <a:pt x="18" y="163"/>
                            </a:cubicBezTo>
                            <a:cubicBezTo>
                              <a:pt x="21" y="163"/>
                              <a:pt x="25" y="162"/>
                              <a:pt x="29" y="162"/>
                            </a:cubicBezTo>
                            <a:cubicBezTo>
                              <a:pt x="32" y="162"/>
                              <a:pt x="34" y="161"/>
                              <a:pt x="35" y="161"/>
                            </a:cubicBezTo>
                            <a:cubicBezTo>
                              <a:pt x="39" y="160"/>
                              <a:pt x="42" y="158"/>
                              <a:pt x="52" y="162"/>
                            </a:cubicBezTo>
                            <a:cubicBezTo>
                              <a:pt x="59" y="166"/>
                              <a:pt x="62" y="168"/>
                              <a:pt x="65" y="171"/>
                            </a:cubicBezTo>
                            <a:cubicBezTo>
                              <a:pt x="66" y="172"/>
                              <a:pt x="68" y="174"/>
                              <a:pt x="72" y="177"/>
                            </a:cubicBezTo>
                            <a:cubicBezTo>
                              <a:pt x="80" y="182"/>
                              <a:pt x="85" y="183"/>
                              <a:pt x="93" y="183"/>
                            </a:cubicBezTo>
                            <a:cubicBezTo>
                              <a:pt x="93" y="183"/>
                              <a:pt x="93" y="183"/>
                              <a:pt x="93" y="183"/>
                            </a:cubicBezTo>
                            <a:cubicBezTo>
                              <a:pt x="95" y="183"/>
                              <a:pt x="95" y="183"/>
                              <a:pt x="95" y="183"/>
                            </a:cubicBezTo>
                            <a:cubicBezTo>
                              <a:pt x="119" y="185"/>
                              <a:pt x="119" y="185"/>
                              <a:pt x="119" y="185"/>
                            </a:cubicBezTo>
                            <a:cubicBezTo>
                              <a:pt x="120" y="184"/>
                              <a:pt x="120" y="184"/>
                              <a:pt x="121" y="183"/>
                            </a:cubicBezTo>
                            <a:cubicBezTo>
                              <a:pt x="122" y="181"/>
                              <a:pt x="123" y="179"/>
                              <a:pt x="125" y="171"/>
                            </a:cubicBezTo>
                            <a:cubicBezTo>
                              <a:pt x="127" y="162"/>
                              <a:pt x="123" y="155"/>
                              <a:pt x="121" y="151"/>
                            </a:cubicBezTo>
                            <a:cubicBezTo>
                              <a:pt x="121" y="151"/>
                              <a:pt x="121" y="151"/>
                              <a:pt x="121" y="151"/>
                            </a:cubicBezTo>
                            <a:cubicBezTo>
                              <a:pt x="119" y="149"/>
                              <a:pt x="118" y="147"/>
                              <a:pt x="118" y="145"/>
                            </a:cubicBezTo>
                            <a:cubicBezTo>
                              <a:pt x="118" y="142"/>
                              <a:pt x="118" y="138"/>
                              <a:pt x="120" y="134"/>
                            </a:cubicBezTo>
                            <a:cubicBezTo>
                              <a:pt x="121" y="131"/>
                              <a:pt x="123" y="129"/>
                              <a:pt x="127" y="127"/>
                            </a:cubicBezTo>
                            <a:cubicBezTo>
                              <a:pt x="131" y="126"/>
                              <a:pt x="138" y="127"/>
                              <a:pt x="145" y="128"/>
                            </a:cubicBezTo>
                            <a:cubicBezTo>
                              <a:pt x="149" y="129"/>
                              <a:pt x="154" y="130"/>
                              <a:pt x="154" y="130"/>
                            </a:cubicBezTo>
                            <a:cubicBezTo>
                              <a:pt x="155" y="129"/>
                              <a:pt x="156" y="126"/>
                              <a:pt x="158" y="122"/>
                            </a:cubicBezTo>
                            <a:cubicBezTo>
                              <a:pt x="159" y="120"/>
                              <a:pt x="160" y="117"/>
                              <a:pt x="162" y="115"/>
                            </a:cubicBezTo>
                            <a:cubicBezTo>
                              <a:pt x="163" y="112"/>
                              <a:pt x="166" y="109"/>
                              <a:pt x="169" y="107"/>
                            </a:cubicBezTo>
                            <a:cubicBezTo>
                              <a:pt x="173" y="105"/>
                              <a:pt x="176" y="102"/>
                              <a:pt x="177" y="99"/>
                            </a:cubicBezTo>
                            <a:cubicBezTo>
                              <a:pt x="178" y="96"/>
                              <a:pt x="175" y="93"/>
                              <a:pt x="174" y="90"/>
                            </a:cubicBezTo>
                            <a:cubicBezTo>
                              <a:pt x="173" y="89"/>
                              <a:pt x="172" y="88"/>
                              <a:pt x="171" y="87"/>
                            </a:cubicBezTo>
                            <a:cubicBezTo>
                              <a:pt x="171" y="87"/>
                              <a:pt x="171" y="86"/>
                              <a:pt x="170" y="85"/>
                            </a:cubicBezTo>
                            <a:cubicBezTo>
                              <a:pt x="169" y="84"/>
                              <a:pt x="169" y="84"/>
                              <a:pt x="168" y="83"/>
                            </a:cubicBezTo>
                            <a:cubicBezTo>
                              <a:pt x="165" y="78"/>
                              <a:pt x="162" y="71"/>
                              <a:pt x="170" y="66"/>
                            </a:cubicBezTo>
                            <a:cubicBezTo>
                              <a:pt x="176" y="62"/>
                              <a:pt x="178" y="57"/>
                              <a:pt x="181" y="51"/>
                            </a:cubicBezTo>
                            <a:cubicBezTo>
                              <a:pt x="182" y="49"/>
                              <a:pt x="184" y="47"/>
                              <a:pt x="185" y="45"/>
                            </a:cubicBezTo>
                            <a:cubicBezTo>
                              <a:pt x="187" y="40"/>
                              <a:pt x="189" y="38"/>
                              <a:pt x="189" y="35"/>
                            </a:cubicBezTo>
                            <a:cubicBezTo>
                              <a:pt x="190" y="33"/>
                              <a:pt x="190" y="30"/>
                              <a:pt x="190" y="24"/>
                            </a:cubicBezTo>
                            <a:cubicBezTo>
                              <a:pt x="189" y="19"/>
                              <a:pt x="189" y="17"/>
                              <a:pt x="189" y="15"/>
                            </a:cubicBezTo>
                            <a:cubicBezTo>
                              <a:pt x="187" y="15"/>
                              <a:pt x="186" y="14"/>
                              <a:pt x="185" y="13"/>
                            </a:cubicBezTo>
                            <a:cubicBezTo>
                              <a:pt x="183" y="10"/>
                              <a:pt x="176" y="6"/>
                              <a:pt x="173" y="5"/>
                            </a:cubicBezTo>
                            <a:cubicBezTo>
                              <a:pt x="169" y="5"/>
                              <a:pt x="164" y="4"/>
                              <a:pt x="157" y="3"/>
                            </a:cubicBezTo>
                            <a:cubicBezTo>
                              <a:pt x="151" y="3"/>
                              <a:pt x="145" y="2"/>
                              <a:pt x="143" y="1"/>
                            </a:cubicBezTo>
                            <a:cubicBezTo>
                              <a:pt x="141" y="0"/>
                              <a:pt x="129" y="1"/>
                              <a:pt x="128" y="3"/>
                            </a:cubicBezTo>
                            <a:cubicBezTo>
                              <a:pt x="126" y="5"/>
                              <a:pt x="125" y="8"/>
                              <a:pt x="121" y="7"/>
                            </a:cubicBezTo>
                            <a:cubicBezTo>
                              <a:pt x="117" y="6"/>
                              <a:pt x="114" y="7"/>
                              <a:pt x="109" y="8"/>
                            </a:cubicBezTo>
                            <a:cubicBezTo>
                              <a:pt x="104" y="9"/>
                              <a:pt x="102" y="13"/>
                              <a:pt x="98" y="15"/>
                            </a:cubicBezTo>
                            <a:cubicBezTo>
                              <a:pt x="95" y="17"/>
                              <a:pt x="86" y="21"/>
                              <a:pt x="84" y="24"/>
                            </a:cubicBezTo>
                            <a:cubicBezTo>
                              <a:pt x="81" y="27"/>
                              <a:pt x="78" y="28"/>
                              <a:pt x="78" y="31"/>
                            </a:cubicBezTo>
                            <a:cubicBezTo>
                              <a:pt x="79" y="33"/>
                              <a:pt x="81" y="35"/>
                              <a:pt x="83" y="37"/>
                            </a:cubicBezTo>
                            <a:cubicBezTo>
                              <a:pt x="84" y="39"/>
                              <a:pt x="83" y="43"/>
                              <a:pt x="83" y="45"/>
                            </a:cubicBezTo>
                            <a:cubicBezTo>
                              <a:pt x="83" y="48"/>
                              <a:pt x="84" y="52"/>
                              <a:pt x="88" y="51"/>
                            </a:cubicBezTo>
                            <a:cubicBezTo>
                              <a:pt x="91" y="51"/>
                              <a:pt x="93" y="48"/>
                              <a:pt x="95" y="49"/>
                            </a:cubicBezTo>
                            <a:cubicBezTo>
                              <a:pt x="98" y="49"/>
                              <a:pt x="100" y="51"/>
                              <a:pt x="100" y="53"/>
                            </a:cubicBezTo>
                            <a:cubicBezTo>
                              <a:pt x="100" y="55"/>
                              <a:pt x="99" y="57"/>
                              <a:pt x="99" y="59"/>
                            </a:cubicBezTo>
                            <a:cubicBezTo>
                              <a:pt x="100" y="62"/>
                              <a:pt x="101" y="65"/>
                              <a:pt x="104" y="65"/>
                            </a:cubicBezTo>
                            <a:cubicBezTo>
                              <a:pt x="107" y="65"/>
                              <a:pt x="110" y="65"/>
                              <a:pt x="112" y="67"/>
                            </a:cubicBezTo>
                            <a:cubicBezTo>
                              <a:pt x="114" y="70"/>
                              <a:pt x="114" y="72"/>
                              <a:pt x="113" y="79"/>
                            </a:cubicBezTo>
                            <a:cubicBezTo>
                              <a:pt x="112" y="85"/>
                              <a:pt x="105" y="92"/>
                              <a:pt x="102" y="94"/>
                            </a:cubicBezTo>
                            <a:cubicBezTo>
                              <a:pt x="99" y="97"/>
                              <a:pt x="93" y="100"/>
                              <a:pt x="90" y="100"/>
                            </a:cubicBezTo>
                            <a:cubicBezTo>
                              <a:pt x="87" y="101"/>
                              <a:pt x="83" y="103"/>
                              <a:pt x="80" y="101"/>
                            </a:cubicBezTo>
                            <a:cubicBezTo>
                              <a:pt x="77" y="99"/>
                              <a:pt x="70" y="96"/>
                              <a:pt x="67" y="96"/>
                            </a:cubicBezTo>
                            <a:cubicBezTo>
                              <a:pt x="65" y="96"/>
                              <a:pt x="60" y="95"/>
                              <a:pt x="59" y="92"/>
                            </a:cubicBezTo>
                            <a:cubicBezTo>
                              <a:pt x="59" y="90"/>
                              <a:pt x="62" y="90"/>
                              <a:pt x="61" y="84"/>
                            </a:cubicBezTo>
                            <a:cubicBezTo>
                              <a:pt x="60" y="78"/>
                              <a:pt x="57" y="75"/>
                              <a:pt x="56" y="72"/>
                            </a:cubicBezTo>
                            <a:cubicBezTo>
                              <a:pt x="54" y="70"/>
                              <a:pt x="54" y="68"/>
                              <a:pt x="56" y="66"/>
                            </a:cubicBezTo>
                            <a:cubicBezTo>
                              <a:pt x="58" y="65"/>
                              <a:pt x="62" y="69"/>
                              <a:pt x="61" y="62"/>
                            </a:cubicBezTo>
                            <a:cubicBezTo>
                              <a:pt x="61" y="56"/>
                              <a:pt x="59" y="52"/>
                              <a:pt x="56" y="50"/>
                            </a:cubicBezTo>
                            <a:cubicBezTo>
                              <a:pt x="53" y="49"/>
                              <a:pt x="48" y="50"/>
                              <a:pt x="46" y="51"/>
                            </a:cubicBezTo>
                            <a:cubicBezTo>
                              <a:pt x="44" y="52"/>
                              <a:pt x="39" y="59"/>
                              <a:pt x="38" y="62"/>
                            </a:cubicBezTo>
                            <a:cubicBezTo>
                              <a:pt x="38" y="66"/>
                              <a:pt x="36" y="75"/>
                              <a:pt x="36" y="79"/>
                            </a:cubicBezTo>
                            <a:cubicBezTo>
                              <a:pt x="36" y="83"/>
                              <a:pt x="30" y="91"/>
                              <a:pt x="28" y="95"/>
                            </a:cubicBezTo>
                            <a:cubicBezTo>
                              <a:pt x="26" y="99"/>
                              <a:pt x="24" y="106"/>
                              <a:pt x="22" y="108"/>
                            </a:cubicBezTo>
                            <a:cubicBezTo>
                              <a:pt x="20" y="111"/>
                              <a:pt x="7" y="117"/>
                              <a:pt x="4" y="120"/>
                            </a:cubicBezTo>
                            <a:cubicBezTo>
                              <a:pt x="1" y="122"/>
                              <a:pt x="0" y="127"/>
                              <a:pt x="3" y="130"/>
                            </a:cubicBezTo>
                            <a:cubicBezTo>
                              <a:pt x="6" y="133"/>
                              <a:pt x="11" y="132"/>
                              <a:pt x="14" y="136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443" name="Freeform 43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80447" y="3655907"/>
                        <a:ext cx="113109" cy="55959"/>
                      </a:xfrm>
                      <a:custGeom>
                        <a:avLst/>
                        <a:gdLst>
                          <a:gd name="T0" fmla="*/ 27 w 395"/>
                          <a:gd name="T1" fmla="*/ 122 h 194"/>
                          <a:gd name="T2" fmla="*/ 67 w 395"/>
                          <a:gd name="T3" fmla="*/ 152 h 194"/>
                          <a:gd name="T4" fmla="*/ 92 w 395"/>
                          <a:gd name="T5" fmla="*/ 171 h 194"/>
                          <a:gd name="T6" fmla="*/ 119 w 395"/>
                          <a:gd name="T7" fmla="*/ 190 h 194"/>
                          <a:gd name="T8" fmla="*/ 150 w 395"/>
                          <a:gd name="T9" fmla="*/ 189 h 194"/>
                          <a:gd name="T10" fmla="*/ 167 w 395"/>
                          <a:gd name="T11" fmla="*/ 163 h 194"/>
                          <a:gd name="T12" fmla="*/ 199 w 395"/>
                          <a:gd name="T13" fmla="*/ 163 h 194"/>
                          <a:gd name="T14" fmla="*/ 220 w 395"/>
                          <a:gd name="T15" fmla="*/ 170 h 194"/>
                          <a:gd name="T16" fmla="*/ 245 w 395"/>
                          <a:gd name="T17" fmla="*/ 179 h 194"/>
                          <a:gd name="T18" fmla="*/ 266 w 395"/>
                          <a:gd name="T19" fmla="*/ 173 h 194"/>
                          <a:gd name="T20" fmla="*/ 288 w 395"/>
                          <a:gd name="T21" fmla="*/ 184 h 194"/>
                          <a:gd name="T22" fmla="*/ 307 w 395"/>
                          <a:gd name="T23" fmla="*/ 171 h 194"/>
                          <a:gd name="T24" fmla="*/ 331 w 395"/>
                          <a:gd name="T25" fmla="*/ 166 h 194"/>
                          <a:gd name="T26" fmla="*/ 334 w 395"/>
                          <a:gd name="T27" fmla="*/ 165 h 194"/>
                          <a:gd name="T28" fmla="*/ 369 w 395"/>
                          <a:gd name="T29" fmla="*/ 133 h 194"/>
                          <a:gd name="T30" fmla="*/ 395 w 395"/>
                          <a:gd name="T31" fmla="*/ 117 h 194"/>
                          <a:gd name="T32" fmla="*/ 369 w 395"/>
                          <a:gd name="T33" fmla="*/ 85 h 194"/>
                          <a:gd name="T34" fmla="*/ 336 w 395"/>
                          <a:gd name="T35" fmla="*/ 83 h 194"/>
                          <a:gd name="T36" fmla="*/ 324 w 395"/>
                          <a:gd name="T37" fmla="*/ 60 h 194"/>
                          <a:gd name="T38" fmla="*/ 294 w 395"/>
                          <a:gd name="T39" fmla="*/ 54 h 194"/>
                          <a:gd name="T40" fmla="*/ 269 w 395"/>
                          <a:gd name="T41" fmla="*/ 71 h 194"/>
                          <a:gd name="T42" fmla="*/ 243 w 395"/>
                          <a:gd name="T43" fmla="*/ 49 h 194"/>
                          <a:gd name="T44" fmla="*/ 245 w 395"/>
                          <a:gd name="T45" fmla="*/ 32 h 194"/>
                          <a:gd name="T46" fmla="*/ 211 w 395"/>
                          <a:gd name="T47" fmla="*/ 26 h 194"/>
                          <a:gd name="T48" fmla="*/ 178 w 395"/>
                          <a:gd name="T49" fmla="*/ 10 h 194"/>
                          <a:gd name="T50" fmla="*/ 158 w 395"/>
                          <a:gd name="T51" fmla="*/ 9 h 194"/>
                          <a:gd name="T52" fmla="*/ 135 w 395"/>
                          <a:gd name="T53" fmla="*/ 1 h 194"/>
                          <a:gd name="T54" fmla="*/ 124 w 395"/>
                          <a:gd name="T55" fmla="*/ 12 h 194"/>
                          <a:gd name="T56" fmla="*/ 116 w 395"/>
                          <a:gd name="T57" fmla="*/ 17 h 194"/>
                          <a:gd name="T58" fmla="*/ 102 w 395"/>
                          <a:gd name="T59" fmla="*/ 20 h 194"/>
                          <a:gd name="T60" fmla="*/ 67 w 395"/>
                          <a:gd name="T61" fmla="*/ 36 h 194"/>
                          <a:gd name="T62" fmla="*/ 36 w 395"/>
                          <a:gd name="T63" fmla="*/ 48 h 194"/>
                          <a:gd name="T64" fmla="*/ 7 w 395"/>
                          <a:gd name="T65" fmla="*/ 58 h 194"/>
                          <a:gd name="T66" fmla="*/ 0 w 395"/>
                          <a:gd name="T67" fmla="*/ 65 h 194"/>
                          <a:gd name="T68" fmla="*/ 5 w 395"/>
                          <a:gd name="T69" fmla="*/ 73 h 194"/>
                          <a:gd name="T70" fmla="*/ 13 w 395"/>
                          <a:gd name="T71" fmla="*/ 96 h 19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</a:cxnLst>
                        <a:rect l="0" t="0" r="r" b="b"/>
                        <a:pathLst>
                          <a:path w="395" h="194">
                            <a:moveTo>
                              <a:pt x="14" y="107"/>
                            </a:moveTo>
                            <a:cubicBezTo>
                              <a:pt x="16" y="111"/>
                              <a:pt x="20" y="116"/>
                              <a:pt x="27" y="122"/>
                            </a:cubicBezTo>
                            <a:cubicBezTo>
                              <a:pt x="37" y="132"/>
                              <a:pt x="47" y="139"/>
                              <a:pt x="56" y="144"/>
                            </a:cubicBezTo>
                            <a:cubicBezTo>
                              <a:pt x="60" y="147"/>
                              <a:pt x="64" y="149"/>
                              <a:pt x="67" y="152"/>
                            </a:cubicBezTo>
                            <a:cubicBezTo>
                              <a:pt x="67" y="152"/>
                              <a:pt x="67" y="152"/>
                              <a:pt x="67" y="152"/>
                            </a:cubicBezTo>
                            <a:cubicBezTo>
                              <a:pt x="77" y="159"/>
                              <a:pt x="87" y="167"/>
                              <a:pt x="92" y="171"/>
                            </a:cubicBezTo>
                            <a:cubicBezTo>
                              <a:pt x="92" y="172"/>
                              <a:pt x="94" y="173"/>
                              <a:pt x="95" y="175"/>
                            </a:cubicBezTo>
                            <a:cubicBezTo>
                              <a:pt x="100" y="180"/>
                              <a:pt x="108" y="189"/>
                              <a:pt x="119" y="190"/>
                            </a:cubicBezTo>
                            <a:cubicBezTo>
                              <a:pt x="124" y="190"/>
                              <a:pt x="128" y="191"/>
                              <a:pt x="132" y="191"/>
                            </a:cubicBezTo>
                            <a:cubicBezTo>
                              <a:pt x="139" y="193"/>
                              <a:pt x="144" y="194"/>
                              <a:pt x="150" y="189"/>
                            </a:cubicBezTo>
                            <a:cubicBezTo>
                              <a:pt x="154" y="185"/>
                              <a:pt x="156" y="181"/>
                              <a:pt x="158" y="176"/>
                            </a:cubicBezTo>
                            <a:cubicBezTo>
                              <a:pt x="160" y="171"/>
                              <a:pt x="162" y="166"/>
                              <a:pt x="167" y="163"/>
                            </a:cubicBezTo>
                            <a:cubicBezTo>
                              <a:pt x="172" y="160"/>
                              <a:pt x="177" y="159"/>
                              <a:pt x="182" y="159"/>
                            </a:cubicBezTo>
                            <a:cubicBezTo>
                              <a:pt x="187" y="159"/>
                              <a:pt x="193" y="160"/>
                              <a:pt x="199" y="163"/>
                            </a:cubicBezTo>
                            <a:cubicBezTo>
                              <a:pt x="202" y="165"/>
                              <a:pt x="203" y="165"/>
                              <a:pt x="205" y="165"/>
                            </a:cubicBezTo>
                            <a:cubicBezTo>
                              <a:pt x="207" y="165"/>
                              <a:pt x="210" y="165"/>
                              <a:pt x="220" y="170"/>
                            </a:cubicBezTo>
                            <a:cubicBezTo>
                              <a:pt x="224" y="172"/>
                              <a:pt x="227" y="173"/>
                              <a:pt x="230" y="175"/>
                            </a:cubicBezTo>
                            <a:cubicBezTo>
                              <a:pt x="238" y="179"/>
                              <a:pt x="242" y="181"/>
                              <a:pt x="245" y="179"/>
                            </a:cubicBezTo>
                            <a:cubicBezTo>
                              <a:pt x="247" y="179"/>
                              <a:pt x="248" y="178"/>
                              <a:pt x="250" y="177"/>
                            </a:cubicBezTo>
                            <a:cubicBezTo>
                              <a:pt x="254" y="174"/>
                              <a:pt x="258" y="171"/>
                              <a:pt x="266" y="173"/>
                            </a:cubicBezTo>
                            <a:cubicBezTo>
                              <a:pt x="273" y="175"/>
                              <a:pt x="282" y="181"/>
                              <a:pt x="287" y="185"/>
                            </a:cubicBezTo>
                            <a:cubicBezTo>
                              <a:pt x="288" y="184"/>
                              <a:pt x="288" y="184"/>
                              <a:pt x="288" y="184"/>
                            </a:cubicBezTo>
                            <a:cubicBezTo>
                              <a:pt x="288" y="183"/>
                              <a:pt x="289" y="182"/>
                              <a:pt x="290" y="181"/>
                            </a:cubicBezTo>
                            <a:cubicBezTo>
                              <a:pt x="293" y="176"/>
                              <a:pt x="296" y="173"/>
                              <a:pt x="307" y="171"/>
                            </a:cubicBezTo>
                            <a:cubicBezTo>
                              <a:pt x="310" y="171"/>
                              <a:pt x="313" y="171"/>
                              <a:pt x="315" y="171"/>
                            </a:cubicBezTo>
                            <a:cubicBezTo>
                              <a:pt x="319" y="171"/>
                              <a:pt x="322" y="171"/>
                              <a:pt x="331" y="166"/>
                            </a:cubicBezTo>
                            <a:cubicBezTo>
                              <a:pt x="334" y="165"/>
                              <a:pt x="334" y="165"/>
                              <a:pt x="334" y="165"/>
                            </a:cubicBezTo>
                            <a:cubicBezTo>
                              <a:pt x="334" y="165"/>
                              <a:pt x="334" y="165"/>
                              <a:pt x="334" y="165"/>
                            </a:cubicBezTo>
                            <a:cubicBezTo>
                              <a:pt x="346" y="158"/>
                              <a:pt x="357" y="153"/>
                              <a:pt x="360" y="145"/>
                            </a:cubicBezTo>
                            <a:cubicBezTo>
                              <a:pt x="362" y="140"/>
                              <a:pt x="365" y="136"/>
                              <a:pt x="369" y="133"/>
                            </a:cubicBezTo>
                            <a:cubicBezTo>
                              <a:pt x="374" y="127"/>
                              <a:pt x="381" y="123"/>
                              <a:pt x="383" y="123"/>
                            </a:cubicBezTo>
                            <a:cubicBezTo>
                              <a:pt x="385" y="122"/>
                              <a:pt x="392" y="119"/>
                              <a:pt x="395" y="117"/>
                            </a:cubicBezTo>
                            <a:cubicBezTo>
                              <a:pt x="391" y="111"/>
                              <a:pt x="387" y="104"/>
                              <a:pt x="382" y="98"/>
                            </a:cubicBezTo>
                            <a:cubicBezTo>
                              <a:pt x="378" y="92"/>
                              <a:pt x="373" y="88"/>
                              <a:pt x="369" y="85"/>
                            </a:cubicBezTo>
                            <a:cubicBezTo>
                              <a:pt x="366" y="83"/>
                              <a:pt x="361" y="84"/>
                              <a:pt x="357" y="85"/>
                            </a:cubicBezTo>
                            <a:cubicBezTo>
                              <a:pt x="350" y="87"/>
                              <a:pt x="343" y="88"/>
                              <a:pt x="336" y="83"/>
                            </a:cubicBezTo>
                            <a:cubicBezTo>
                              <a:pt x="331" y="78"/>
                              <a:pt x="330" y="73"/>
                              <a:pt x="329" y="69"/>
                            </a:cubicBezTo>
                            <a:cubicBezTo>
                              <a:pt x="328" y="66"/>
                              <a:pt x="327" y="63"/>
                              <a:pt x="324" y="60"/>
                            </a:cubicBezTo>
                            <a:cubicBezTo>
                              <a:pt x="321" y="58"/>
                              <a:pt x="316" y="56"/>
                              <a:pt x="310" y="55"/>
                            </a:cubicBezTo>
                            <a:cubicBezTo>
                              <a:pt x="303" y="53"/>
                              <a:pt x="296" y="53"/>
                              <a:pt x="294" y="54"/>
                            </a:cubicBezTo>
                            <a:cubicBezTo>
                              <a:pt x="293" y="55"/>
                              <a:pt x="291" y="57"/>
                              <a:pt x="288" y="59"/>
                            </a:cubicBezTo>
                            <a:cubicBezTo>
                              <a:pt x="282" y="65"/>
                              <a:pt x="274" y="71"/>
                              <a:pt x="269" y="71"/>
                            </a:cubicBezTo>
                            <a:cubicBezTo>
                              <a:pt x="266" y="71"/>
                              <a:pt x="258" y="68"/>
                              <a:pt x="252" y="63"/>
                            </a:cubicBezTo>
                            <a:cubicBezTo>
                              <a:pt x="248" y="60"/>
                              <a:pt x="244" y="55"/>
                              <a:pt x="243" y="49"/>
                            </a:cubicBezTo>
                            <a:cubicBezTo>
                              <a:pt x="242" y="44"/>
                              <a:pt x="244" y="40"/>
                              <a:pt x="246" y="37"/>
                            </a:cubicBezTo>
                            <a:cubicBezTo>
                              <a:pt x="247" y="35"/>
                              <a:pt x="247" y="34"/>
                              <a:pt x="245" y="32"/>
                            </a:cubicBezTo>
                            <a:cubicBezTo>
                              <a:pt x="239" y="29"/>
                              <a:pt x="233" y="28"/>
                              <a:pt x="226" y="28"/>
                            </a:cubicBezTo>
                            <a:cubicBezTo>
                              <a:pt x="222" y="28"/>
                              <a:pt x="217" y="27"/>
                              <a:pt x="211" y="26"/>
                            </a:cubicBezTo>
                            <a:cubicBezTo>
                              <a:pt x="208" y="25"/>
                              <a:pt x="208" y="25"/>
                              <a:pt x="208" y="25"/>
                            </a:cubicBezTo>
                            <a:cubicBezTo>
                              <a:pt x="194" y="22"/>
                              <a:pt x="180" y="20"/>
                              <a:pt x="178" y="10"/>
                            </a:cubicBezTo>
                            <a:cubicBezTo>
                              <a:pt x="178" y="7"/>
                              <a:pt x="172" y="8"/>
                              <a:pt x="166" y="8"/>
                            </a:cubicBezTo>
                            <a:cubicBezTo>
                              <a:pt x="163" y="9"/>
                              <a:pt x="161" y="9"/>
                              <a:pt x="158" y="9"/>
                            </a:cubicBezTo>
                            <a:cubicBezTo>
                              <a:pt x="152" y="8"/>
                              <a:pt x="148" y="6"/>
                              <a:pt x="143" y="4"/>
                            </a:cubicBezTo>
                            <a:cubicBezTo>
                              <a:pt x="141" y="3"/>
                              <a:pt x="138" y="2"/>
                              <a:pt x="135" y="1"/>
                            </a:cubicBezTo>
                            <a:cubicBezTo>
                              <a:pt x="133" y="0"/>
                              <a:pt x="133" y="1"/>
                              <a:pt x="132" y="2"/>
                            </a:cubicBezTo>
                            <a:cubicBezTo>
                              <a:pt x="131" y="5"/>
                              <a:pt x="129" y="9"/>
                              <a:pt x="124" y="12"/>
                            </a:cubicBezTo>
                            <a:cubicBezTo>
                              <a:pt x="123" y="13"/>
                              <a:pt x="121" y="14"/>
                              <a:pt x="120" y="14"/>
                            </a:cubicBezTo>
                            <a:cubicBezTo>
                              <a:pt x="118" y="15"/>
                              <a:pt x="117" y="16"/>
                              <a:pt x="116" y="17"/>
                            </a:cubicBezTo>
                            <a:cubicBezTo>
                              <a:pt x="114" y="17"/>
                              <a:pt x="112" y="18"/>
                              <a:pt x="108" y="19"/>
                            </a:cubicBezTo>
                            <a:cubicBezTo>
                              <a:pt x="106" y="19"/>
                              <a:pt x="105" y="19"/>
                              <a:pt x="102" y="20"/>
                            </a:cubicBezTo>
                            <a:cubicBezTo>
                              <a:pt x="93" y="22"/>
                              <a:pt x="87" y="24"/>
                              <a:pt x="82" y="27"/>
                            </a:cubicBezTo>
                            <a:cubicBezTo>
                              <a:pt x="77" y="29"/>
                              <a:pt x="72" y="32"/>
                              <a:pt x="67" y="36"/>
                            </a:cubicBezTo>
                            <a:cubicBezTo>
                              <a:pt x="65" y="37"/>
                              <a:pt x="63" y="39"/>
                              <a:pt x="61" y="40"/>
                            </a:cubicBezTo>
                            <a:cubicBezTo>
                              <a:pt x="54" y="45"/>
                              <a:pt x="50" y="48"/>
                              <a:pt x="36" y="48"/>
                            </a:cubicBezTo>
                            <a:cubicBezTo>
                              <a:pt x="29" y="48"/>
                              <a:pt x="23" y="50"/>
                              <a:pt x="18" y="51"/>
                            </a:cubicBezTo>
                            <a:cubicBezTo>
                              <a:pt x="12" y="53"/>
                              <a:pt x="9" y="56"/>
                              <a:pt x="7" y="58"/>
                            </a:cubicBezTo>
                            <a:cubicBezTo>
                              <a:pt x="4" y="62"/>
                              <a:pt x="2" y="63"/>
                              <a:pt x="0" y="64"/>
                            </a:cubicBezTo>
                            <a:cubicBezTo>
                              <a:pt x="0" y="64"/>
                              <a:pt x="0" y="64"/>
                              <a:pt x="0" y="65"/>
                            </a:cubicBezTo>
                            <a:cubicBezTo>
                              <a:pt x="0" y="66"/>
                              <a:pt x="0" y="66"/>
                              <a:pt x="0" y="67"/>
                            </a:cubicBezTo>
                            <a:cubicBezTo>
                              <a:pt x="0" y="69"/>
                              <a:pt x="0" y="69"/>
                              <a:pt x="5" y="73"/>
                            </a:cubicBezTo>
                            <a:cubicBezTo>
                              <a:pt x="9" y="77"/>
                              <a:pt x="11" y="80"/>
                              <a:pt x="13" y="84"/>
                            </a:cubicBezTo>
                            <a:cubicBezTo>
                              <a:pt x="14" y="87"/>
                              <a:pt x="13" y="91"/>
                              <a:pt x="13" y="96"/>
                            </a:cubicBezTo>
                            <a:cubicBezTo>
                              <a:pt x="12" y="100"/>
                              <a:pt x="12" y="103"/>
                              <a:pt x="14" y="107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444" name="Freeform 43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06628" y="3872600"/>
                        <a:ext cx="29766" cy="48816"/>
                      </a:xfrm>
                      <a:custGeom>
                        <a:avLst/>
                        <a:gdLst>
                          <a:gd name="T0" fmla="*/ 11 w 102"/>
                          <a:gd name="T1" fmla="*/ 149 h 172"/>
                          <a:gd name="T2" fmla="*/ 16 w 102"/>
                          <a:gd name="T3" fmla="*/ 158 h 172"/>
                          <a:gd name="T4" fmla="*/ 24 w 102"/>
                          <a:gd name="T5" fmla="*/ 162 h 172"/>
                          <a:gd name="T6" fmla="*/ 28 w 102"/>
                          <a:gd name="T7" fmla="*/ 169 h 172"/>
                          <a:gd name="T8" fmla="*/ 41 w 102"/>
                          <a:gd name="T9" fmla="*/ 171 h 172"/>
                          <a:gd name="T10" fmla="*/ 47 w 102"/>
                          <a:gd name="T11" fmla="*/ 168 h 172"/>
                          <a:gd name="T12" fmla="*/ 52 w 102"/>
                          <a:gd name="T13" fmla="*/ 160 h 172"/>
                          <a:gd name="T14" fmla="*/ 54 w 102"/>
                          <a:gd name="T15" fmla="*/ 152 h 172"/>
                          <a:gd name="T16" fmla="*/ 57 w 102"/>
                          <a:gd name="T17" fmla="*/ 145 h 172"/>
                          <a:gd name="T18" fmla="*/ 69 w 102"/>
                          <a:gd name="T19" fmla="*/ 150 h 172"/>
                          <a:gd name="T20" fmla="*/ 78 w 102"/>
                          <a:gd name="T21" fmla="*/ 156 h 172"/>
                          <a:gd name="T22" fmla="*/ 86 w 102"/>
                          <a:gd name="T23" fmla="*/ 152 h 172"/>
                          <a:gd name="T24" fmla="*/ 88 w 102"/>
                          <a:gd name="T25" fmla="*/ 138 h 172"/>
                          <a:gd name="T26" fmla="*/ 93 w 102"/>
                          <a:gd name="T27" fmla="*/ 122 h 172"/>
                          <a:gd name="T28" fmla="*/ 95 w 102"/>
                          <a:gd name="T29" fmla="*/ 104 h 172"/>
                          <a:gd name="T30" fmla="*/ 99 w 102"/>
                          <a:gd name="T31" fmla="*/ 75 h 172"/>
                          <a:gd name="T32" fmla="*/ 101 w 102"/>
                          <a:gd name="T33" fmla="*/ 53 h 172"/>
                          <a:gd name="T34" fmla="*/ 97 w 102"/>
                          <a:gd name="T35" fmla="*/ 37 h 172"/>
                          <a:gd name="T36" fmla="*/ 88 w 102"/>
                          <a:gd name="T37" fmla="*/ 26 h 172"/>
                          <a:gd name="T38" fmla="*/ 86 w 102"/>
                          <a:gd name="T39" fmla="*/ 16 h 172"/>
                          <a:gd name="T40" fmla="*/ 77 w 102"/>
                          <a:gd name="T41" fmla="*/ 4 h 172"/>
                          <a:gd name="T42" fmla="*/ 62 w 102"/>
                          <a:gd name="T43" fmla="*/ 3 h 172"/>
                          <a:gd name="T44" fmla="*/ 50 w 102"/>
                          <a:gd name="T45" fmla="*/ 11 h 172"/>
                          <a:gd name="T46" fmla="*/ 36 w 102"/>
                          <a:gd name="T47" fmla="*/ 20 h 172"/>
                          <a:gd name="T48" fmla="*/ 31 w 102"/>
                          <a:gd name="T49" fmla="*/ 27 h 172"/>
                          <a:gd name="T50" fmla="*/ 18 w 102"/>
                          <a:gd name="T51" fmla="*/ 34 h 172"/>
                          <a:gd name="T52" fmla="*/ 5 w 102"/>
                          <a:gd name="T53" fmla="*/ 30 h 172"/>
                          <a:gd name="T54" fmla="*/ 0 w 102"/>
                          <a:gd name="T55" fmla="*/ 38 h 172"/>
                          <a:gd name="T56" fmla="*/ 1 w 102"/>
                          <a:gd name="T57" fmla="*/ 48 h 172"/>
                          <a:gd name="T58" fmla="*/ 10 w 102"/>
                          <a:gd name="T59" fmla="*/ 52 h 172"/>
                          <a:gd name="T60" fmla="*/ 17 w 102"/>
                          <a:gd name="T61" fmla="*/ 60 h 172"/>
                          <a:gd name="T62" fmla="*/ 21 w 102"/>
                          <a:gd name="T63" fmla="*/ 71 h 172"/>
                          <a:gd name="T64" fmla="*/ 16 w 102"/>
                          <a:gd name="T65" fmla="*/ 82 h 172"/>
                          <a:gd name="T66" fmla="*/ 15 w 102"/>
                          <a:gd name="T67" fmla="*/ 93 h 172"/>
                          <a:gd name="T68" fmla="*/ 23 w 102"/>
                          <a:gd name="T69" fmla="*/ 105 h 172"/>
                          <a:gd name="T70" fmla="*/ 23 w 102"/>
                          <a:gd name="T71" fmla="*/ 116 h 172"/>
                          <a:gd name="T72" fmla="*/ 14 w 102"/>
                          <a:gd name="T73" fmla="*/ 128 h 172"/>
                          <a:gd name="T74" fmla="*/ 12 w 102"/>
                          <a:gd name="T75" fmla="*/ 138 h 172"/>
                          <a:gd name="T76" fmla="*/ 11 w 102"/>
                          <a:gd name="T77" fmla="*/ 149 h 17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</a:cxnLst>
                        <a:rect l="0" t="0" r="r" b="b"/>
                        <a:pathLst>
                          <a:path w="102" h="172">
                            <a:moveTo>
                              <a:pt x="11" y="149"/>
                            </a:moveTo>
                            <a:cubicBezTo>
                              <a:pt x="12" y="151"/>
                              <a:pt x="13" y="153"/>
                              <a:pt x="16" y="158"/>
                            </a:cubicBezTo>
                            <a:cubicBezTo>
                              <a:pt x="19" y="163"/>
                              <a:pt x="22" y="161"/>
                              <a:pt x="24" y="162"/>
                            </a:cubicBezTo>
                            <a:cubicBezTo>
                              <a:pt x="26" y="164"/>
                              <a:pt x="27" y="167"/>
                              <a:pt x="28" y="169"/>
                            </a:cubicBezTo>
                            <a:cubicBezTo>
                              <a:pt x="30" y="171"/>
                              <a:pt x="37" y="172"/>
                              <a:pt x="41" y="171"/>
                            </a:cubicBezTo>
                            <a:cubicBezTo>
                              <a:pt x="44" y="171"/>
                              <a:pt x="45" y="171"/>
                              <a:pt x="47" y="168"/>
                            </a:cubicBezTo>
                            <a:cubicBezTo>
                              <a:pt x="49" y="165"/>
                              <a:pt x="50" y="162"/>
                              <a:pt x="52" y="160"/>
                            </a:cubicBezTo>
                            <a:cubicBezTo>
                              <a:pt x="54" y="158"/>
                              <a:pt x="55" y="155"/>
                              <a:pt x="54" y="152"/>
                            </a:cubicBezTo>
                            <a:cubicBezTo>
                              <a:pt x="53" y="149"/>
                              <a:pt x="54" y="147"/>
                              <a:pt x="57" y="145"/>
                            </a:cubicBezTo>
                            <a:cubicBezTo>
                              <a:pt x="59" y="144"/>
                              <a:pt x="64" y="148"/>
                              <a:pt x="69" y="150"/>
                            </a:cubicBezTo>
                            <a:cubicBezTo>
                              <a:pt x="74" y="153"/>
                              <a:pt x="75" y="154"/>
                              <a:pt x="78" y="156"/>
                            </a:cubicBezTo>
                            <a:cubicBezTo>
                              <a:pt x="81" y="159"/>
                              <a:pt x="86" y="156"/>
                              <a:pt x="86" y="152"/>
                            </a:cubicBezTo>
                            <a:cubicBezTo>
                              <a:pt x="87" y="147"/>
                              <a:pt x="87" y="145"/>
                              <a:pt x="88" y="138"/>
                            </a:cubicBezTo>
                            <a:cubicBezTo>
                              <a:pt x="89" y="131"/>
                              <a:pt x="92" y="131"/>
                              <a:pt x="93" y="122"/>
                            </a:cubicBezTo>
                            <a:cubicBezTo>
                              <a:pt x="95" y="113"/>
                              <a:pt x="95" y="109"/>
                              <a:pt x="95" y="104"/>
                            </a:cubicBezTo>
                            <a:cubicBezTo>
                              <a:pt x="94" y="98"/>
                              <a:pt x="96" y="87"/>
                              <a:pt x="99" y="75"/>
                            </a:cubicBezTo>
                            <a:cubicBezTo>
                              <a:pt x="101" y="64"/>
                              <a:pt x="102" y="62"/>
                              <a:pt x="101" y="53"/>
                            </a:cubicBezTo>
                            <a:cubicBezTo>
                              <a:pt x="101" y="45"/>
                              <a:pt x="100" y="43"/>
                              <a:pt x="97" y="37"/>
                            </a:cubicBezTo>
                            <a:cubicBezTo>
                              <a:pt x="94" y="30"/>
                              <a:pt x="92" y="30"/>
                              <a:pt x="88" y="26"/>
                            </a:cubicBezTo>
                            <a:cubicBezTo>
                              <a:pt x="84" y="22"/>
                              <a:pt x="84" y="22"/>
                              <a:pt x="86" y="16"/>
                            </a:cubicBezTo>
                            <a:cubicBezTo>
                              <a:pt x="87" y="10"/>
                              <a:pt x="84" y="8"/>
                              <a:pt x="77" y="4"/>
                            </a:cubicBezTo>
                            <a:cubicBezTo>
                              <a:pt x="70" y="0"/>
                              <a:pt x="64" y="2"/>
                              <a:pt x="62" y="3"/>
                            </a:cubicBezTo>
                            <a:cubicBezTo>
                              <a:pt x="59" y="5"/>
                              <a:pt x="55" y="8"/>
                              <a:pt x="50" y="11"/>
                            </a:cubicBezTo>
                            <a:cubicBezTo>
                              <a:pt x="44" y="14"/>
                              <a:pt x="39" y="18"/>
                              <a:pt x="36" y="20"/>
                            </a:cubicBezTo>
                            <a:cubicBezTo>
                              <a:pt x="32" y="21"/>
                              <a:pt x="32" y="24"/>
                              <a:pt x="31" y="27"/>
                            </a:cubicBezTo>
                            <a:cubicBezTo>
                              <a:pt x="29" y="30"/>
                              <a:pt x="23" y="34"/>
                              <a:pt x="18" y="34"/>
                            </a:cubicBezTo>
                            <a:cubicBezTo>
                              <a:pt x="13" y="33"/>
                              <a:pt x="9" y="31"/>
                              <a:pt x="5" y="30"/>
                            </a:cubicBezTo>
                            <a:cubicBezTo>
                              <a:pt x="1" y="28"/>
                              <a:pt x="0" y="35"/>
                              <a:pt x="0" y="38"/>
                            </a:cubicBezTo>
                            <a:cubicBezTo>
                              <a:pt x="0" y="41"/>
                              <a:pt x="0" y="45"/>
                              <a:pt x="1" y="48"/>
                            </a:cubicBezTo>
                            <a:cubicBezTo>
                              <a:pt x="1" y="52"/>
                              <a:pt x="6" y="52"/>
                              <a:pt x="10" y="52"/>
                            </a:cubicBezTo>
                            <a:cubicBezTo>
                              <a:pt x="14" y="53"/>
                              <a:pt x="13" y="57"/>
                              <a:pt x="17" y="60"/>
                            </a:cubicBezTo>
                            <a:cubicBezTo>
                              <a:pt x="22" y="64"/>
                              <a:pt x="21" y="66"/>
                              <a:pt x="21" y="71"/>
                            </a:cubicBezTo>
                            <a:cubicBezTo>
                              <a:pt x="21" y="75"/>
                              <a:pt x="19" y="78"/>
                              <a:pt x="16" y="82"/>
                            </a:cubicBezTo>
                            <a:cubicBezTo>
                              <a:pt x="13" y="86"/>
                              <a:pt x="14" y="89"/>
                              <a:pt x="15" y="93"/>
                            </a:cubicBezTo>
                            <a:cubicBezTo>
                              <a:pt x="16" y="97"/>
                              <a:pt x="20" y="101"/>
                              <a:pt x="23" y="105"/>
                            </a:cubicBezTo>
                            <a:cubicBezTo>
                              <a:pt x="26" y="110"/>
                              <a:pt x="24" y="113"/>
                              <a:pt x="23" y="116"/>
                            </a:cubicBezTo>
                            <a:cubicBezTo>
                              <a:pt x="22" y="119"/>
                              <a:pt x="19" y="122"/>
                              <a:pt x="14" y="128"/>
                            </a:cubicBezTo>
                            <a:cubicBezTo>
                              <a:pt x="10" y="133"/>
                              <a:pt x="12" y="136"/>
                              <a:pt x="12" y="138"/>
                            </a:cubicBezTo>
                            <a:cubicBezTo>
                              <a:pt x="12" y="140"/>
                              <a:pt x="11" y="146"/>
                              <a:pt x="11" y="149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445" name="Freeform 44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61422" y="3810688"/>
                        <a:ext cx="108347" cy="59531"/>
                      </a:xfrm>
                      <a:custGeom>
                        <a:avLst/>
                        <a:gdLst>
                          <a:gd name="T0" fmla="*/ 13 w 377"/>
                          <a:gd name="T1" fmla="*/ 0 h 205"/>
                          <a:gd name="T2" fmla="*/ 0 w 377"/>
                          <a:gd name="T3" fmla="*/ 22 h 205"/>
                          <a:gd name="T4" fmla="*/ 7 w 377"/>
                          <a:gd name="T5" fmla="*/ 45 h 205"/>
                          <a:gd name="T6" fmla="*/ 30 w 377"/>
                          <a:gd name="T7" fmla="*/ 63 h 205"/>
                          <a:gd name="T8" fmla="*/ 25 w 377"/>
                          <a:gd name="T9" fmla="*/ 81 h 205"/>
                          <a:gd name="T10" fmla="*/ 23 w 377"/>
                          <a:gd name="T11" fmla="*/ 83 h 205"/>
                          <a:gd name="T12" fmla="*/ 6 w 377"/>
                          <a:gd name="T13" fmla="*/ 97 h 205"/>
                          <a:gd name="T14" fmla="*/ 2 w 377"/>
                          <a:gd name="T15" fmla="*/ 107 h 205"/>
                          <a:gd name="T16" fmla="*/ 8 w 377"/>
                          <a:gd name="T17" fmla="*/ 125 h 205"/>
                          <a:gd name="T18" fmla="*/ 2 w 377"/>
                          <a:gd name="T19" fmla="*/ 134 h 205"/>
                          <a:gd name="T20" fmla="*/ 0 w 377"/>
                          <a:gd name="T21" fmla="*/ 135 h 205"/>
                          <a:gd name="T22" fmla="*/ 4 w 377"/>
                          <a:gd name="T23" fmla="*/ 145 h 205"/>
                          <a:gd name="T24" fmla="*/ 27 w 377"/>
                          <a:gd name="T25" fmla="*/ 164 h 205"/>
                          <a:gd name="T26" fmla="*/ 36 w 377"/>
                          <a:gd name="T27" fmla="*/ 185 h 205"/>
                          <a:gd name="T28" fmla="*/ 32 w 377"/>
                          <a:gd name="T29" fmla="*/ 199 h 205"/>
                          <a:gd name="T30" fmla="*/ 60 w 377"/>
                          <a:gd name="T31" fmla="*/ 201 h 205"/>
                          <a:gd name="T32" fmla="*/ 87 w 377"/>
                          <a:gd name="T33" fmla="*/ 194 h 205"/>
                          <a:gd name="T34" fmla="*/ 137 w 377"/>
                          <a:gd name="T35" fmla="*/ 196 h 205"/>
                          <a:gd name="T36" fmla="*/ 139 w 377"/>
                          <a:gd name="T37" fmla="*/ 197 h 205"/>
                          <a:gd name="T38" fmla="*/ 153 w 377"/>
                          <a:gd name="T39" fmla="*/ 202 h 205"/>
                          <a:gd name="T40" fmla="*/ 202 w 377"/>
                          <a:gd name="T41" fmla="*/ 203 h 205"/>
                          <a:gd name="T42" fmla="*/ 219 w 377"/>
                          <a:gd name="T43" fmla="*/ 191 h 205"/>
                          <a:gd name="T44" fmla="*/ 238 w 377"/>
                          <a:gd name="T45" fmla="*/ 176 h 205"/>
                          <a:gd name="T46" fmla="*/ 253 w 377"/>
                          <a:gd name="T47" fmla="*/ 169 h 205"/>
                          <a:gd name="T48" fmla="*/ 282 w 377"/>
                          <a:gd name="T49" fmla="*/ 153 h 205"/>
                          <a:gd name="T50" fmla="*/ 308 w 377"/>
                          <a:gd name="T51" fmla="*/ 156 h 205"/>
                          <a:gd name="T52" fmla="*/ 334 w 377"/>
                          <a:gd name="T53" fmla="*/ 159 h 205"/>
                          <a:gd name="T54" fmla="*/ 334 w 377"/>
                          <a:gd name="T55" fmla="*/ 142 h 205"/>
                          <a:gd name="T56" fmla="*/ 308 w 377"/>
                          <a:gd name="T57" fmla="*/ 123 h 205"/>
                          <a:gd name="T58" fmla="*/ 338 w 377"/>
                          <a:gd name="T59" fmla="*/ 103 h 205"/>
                          <a:gd name="T60" fmla="*/ 340 w 377"/>
                          <a:gd name="T61" fmla="*/ 70 h 205"/>
                          <a:gd name="T62" fmla="*/ 369 w 377"/>
                          <a:gd name="T63" fmla="*/ 55 h 205"/>
                          <a:gd name="T64" fmla="*/ 377 w 377"/>
                          <a:gd name="T65" fmla="*/ 32 h 205"/>
                          <a:gd name="T66" fmla="*/ 339 w 377"/>
                          <a:gd name="T67" fmla="*/ 19 h 205"/>
                          <a:gd name="T68" fmla="*/ 298 w 377"/>
                          <a:gd name="T69" fmla="*/ 7 h 205"/>
                          <a:gd name="T70" fmla="*/ 261 w 377"/>
                          <a:gd name="T71" fmla="*/ 13 h 205"/>
                          <a:gd name="T72" fmla="*/ 228 w 377"/>
                          <a:gd name="T73" fmla="*/ 23 h 205"/>
                          <a:gd name="T74" fmla="*/ 188 w 377"/>
                          <a:gd name="T75" fmla="*/ 39 h 205"/>
                          <a:gd name="T76" fmla="*/ 136 w 377"/>
                          <a:gd name="T77" fmla="*/ 32 h 205"/>
                          <a:gd name="T78" fmla="*/ 123 w 377"/>
                          <a:gd name="T79" fmla="*/ 36 h 205"/>
                          <a:gd name="T80" fmla="*/ 85 w 377"/>
                          <a:gd name="T81" fmla="*/ 33 h 205"/>
                          <a:gd name="T82" fmla="*/ 49 w 377"/>
                          <a:gd name="T83" fmla="*/ 27 h 205"/>
                          <a:gd name="T84" fmla="*/ 28 w 377"/>
                          <a:gd name="T85" fmla="*/ 12 h 20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</a:cxnLst>
                        <a:rect l="0" t="0" r="r" b="b"/>
                        <a:pathLst>
                          <a:path w="377" h="205">
                            <a:moveTo>
                              <a:pt x="28" y="6"/>
                            </a:moveTo>
                            <a:cubicBezTo>
                              <a:pt x="26" y="4"/>
                              <a:pt x="18" y="1"/>
                              <a:pt x="13" y="0"/>
                            </a:cubicBezTo>
                            <a:cubicBezTo>
                              <a:pt x="12" y="3"/>
                              <a:pt x="10" y="5"/>
                              <a:pt x="8" y="8"/>
                            </a:cubicBezTo>
                            <a:cubicBezTo>
                              <a:pt x="5" y="13"/>
                              <a:pt x="1" y="18"/>
                              <a:pt x="0" y="22"/>
                            </a:cubicBezTo>
                            <a:cubicBezTo>
                              <a:pt x="0" y="25"/>
                              <a:pt x="0" y="29"/>
                              <a:pt x="0" y="33"/>
                            </a:cubicBezTo>
                            <a:cubicBezTo>
                              <a:pt x="1" y="37"/>
                              <a:pt x="3" y="41"/>
                              <a:pt x="7" y="45"/>
                            </a:cubicBezTo>
                            <a:cubicBezTo>
                              <a:pt x="12" y="50"/>
                              <a:pt x="18" y="55"/>
                              <a:pt x="23" y="58"/>
                            </a:cubicBezTo>
                            <a:cubicBezTo>
                              <a:pt x="26" y="60"/>
                              <a:pt x="28" y="61"/>
                              <a:pt x="30" y="63"/>
                            </a:cubicBezTo>
                            <a:cubicBezTo>
                              <a:pt x="35" y="67"/>
                              <a:pt x="33" y="72"/>
                              <a:pt x="29" y="77"/>
                            </a:cubicBezTo>
                            <a:cubicBezTo>
                              <a:pt x="28" y="78"/>
                              <a:pt x="26" y="80"/>
                              <a:pt x="25" y="81"/>
                            </a:cubicBezTo>
                            <a:cubicBezTo>
                              <a:pt x="24" y="82"/>
                              <a:pt x="23" y="83"/>
                              <a:pt x="23" y="83"/>
                            </a:cubicBezTo>
                            <a:cubicBezTo>
                              <a:pt x="23" y="83"/>
                              <a:pt x="23" y="83"/>
                              <a:pt x="23" y="83"/>
                            </a:cubicBezTo>
                            <a:cubicBezTo>
                              <a:pt x="20" y="86"/>
                              <a:pt x="16" y="89"/>
                              <a:pt x="12" y="92"/>
                            </a:cubicBezTo>
                            <a:cubicBezTo>
                              <a:pt x="9" y="94"/>
                              <a:pt x="7" y="95"/>
                              <a:pt x="6" y="97"/>
                            </a:cubicBezTo>
                            <a:cubicBezTo>
                              <a:pt x="5" y="98"/>
                              <a:pt x="4" y="100"/>
                              <a:pt x="3" y="102"/>
                            </a:cubicBezTo>
                            <a:cubicBezTo>
                              <a:pt x="2" y="103"/>
                              <a:pt x="2" y="105"/>
                              <a:pt x="2" y="107"/>
                            </a:cubicBezTo>
                            <a:cubicBezTo>
                              <a:pt x="3" y="109"/>
                              <a:pt x="4" y="111"/>
                              <a:pt x="5" y="113"/>
                            </a:cubicBezTo>
                            <a:cubicBezTo>
                              <a:pt x="7" y="117"/>
                              <a:pt x="9" y="121"/>
                              <a:pt x="8" y="125"/>
                            </a:cubicBezTo>
                            <a:cubicBezTo>
                              <a:pt x="8" y="125"/>
                              <a:pt x="8" y="125"/>
                              <a:pt x="8" y="125"/>
                            </a:cubicBezTo>
                            <a:cubicBezTo>
                              <a:pt x="7" y="129"/>
                              <a:pt x="4" y="132"/>
                              <a:pt x="2" y="134"/>
                            </a:cubicBezTo>
                            <a:cubicBezTo>
                              <a:pt x="1" y="135"/>
                              <a:pt x="0" y="135"/>
                              <a:pt x="0" y="135"/>
                            </a:cubicBezTo>
                            <a:cubicBezTo>
                              <a:pt x="0" y="135"/>
                              <a:pt x="0" y="135"/>
                              <a:pt x="0" y="135"/>
                            </a:cubicBezTo>
                            <a:cubicBezTo>
                              <a:pt x="0" y="136"/>
                              <a:pt x="0" y="138"/>
                              <a:pt x="1" y="140"/>
                            </a:cubicBezTo>
                            <a:cubicBezTo>
                              <a:pt x="1" y="142"/>
                              <a:pt x="2" y="144"/>
                              <a:pt x="4" y="145"/>
                            </a:cubicBezTo>
                            <a:cubicBezTo>
                              <a:pt x="6" y="147"/>
                              <a:pt x="9" y="150"/>
                              <a:pt x="13" y="153"/>
                            </a:cubicBezTo>
                            <a:cubicBezTo>
                              <a:pt x="18" y="156"/>
                              <a:pt x="23" y="160"/>
                              <a:pt x="27" y="164"/>
                            </a:cubicBezTo>
                            <a:cubicBezTo>
                              <a:pt x="30" y="168"/>
                              <a:pt x="32" y="171"/>
                              <a:pt x="34" y="175"/>
                            </a:cubicBezTo>
                            <a:cubicBezTo>
                              <a:pt x="35" y="178"/>
                              <a:pt x="36" y="181"/>
                              <a:pt x="36" y="185"/>
                            </a:cubicBezTo>
                            <a:cubicBezTo>
                              <a:pt x="36" y="187"/>
                              <a:pt x="35" y="192"/>
                              <a:pt x="33" y="196"/>
                            </a:cubicBezTo>
                            <a:cubicBezTo>
                              <a:pt x="33" y="197"/>
                              <a:pt x="33" y="198"/>
                              <a:pt x="32" y="199"/>
                            </a:cubicBezTo>
                            <a:cubicBezTo>
                              <a:pt x="38" y="200"/>
                              <a:pt x="46" y="202"/>
                              <a:pt x="50" y="202"/>
                            </a:cubicBezTo>
                            <a:cubicBezTo>
                              <a:pt x="53" y="202"/>
                              <a:pt x="56" y="202"/>
                              <a:pt x="60" y="201"/>
                            </a:cubicBezTo>
                            <a:cubicBezTo>
                              <a:pt x="63" y="200"/>
                              <a:pt x="68" y="199"/>
                              <a:pt x="73" y="198"/>
                            </a:cubicBezTo>
                            <a:cubicBezTo>
                              <a:pt x="77" y="197"/>
                              <a:pt x="82" y="196"/>
                              <a:pt x="87" y="194"/>
                            </a:cubicBezTo>
                            <a:cubicBezTo>
                              <a:pt x="93" y="192"/>
                              <a:pt x="99" y="190"/>
                              <a:pt x="107" y="188"/>
                            </a:cubicBezTo>
                            <a:cubicBezTo>
                              <a:pt x="123" y="185"/>
                              <a:pt x="130" y="190"/>
                              <a:pt x="137" y="196"/>
                            </a:cubicBezTo>
                            <a:cubicBezTo>
                              <a:pt x="137" y="196"/>
                              <a:pt x="137" y="196"/>
                              <a:pt x="137" y="196"/>
                            </a:cubicBezTo>
                            <a:cubicBezTo>
                              <a:pt x="139" y="197"/>
                              <a:pt x="139" y="197"/>
                              <a:pt x="139" y="197"/>
                            </a:cubicBezTo>
                            <a:cubicBezTo>
                              <a:pt x="139" y="197"/>
                              <a:pt x="139" y="197"/>
                              <a:pt x="139" y="197"/>
                            </a:cubicBezTo>
                            <a:cubicBezTo>
                              <a:pt x="141" y="199"/>
                              <a:pt x="147" y="201"/>
                              <a:pt x="153" y="202"/>
                            </a:cubicBezTo>
                            <a:cubicBezTo>
                              <a:pt x="161" y="204"/>
                              <a:pt x="170" y="205"/>
                              <a:pt x="175" y="205"/>
                            </a:cubicBezTo>
                            <a:cubicBezTo>
                              <a:pt x="180" y="205"/>
                              <a:pt x="192" y="204"/>
                              <a:pt x="202" y="203"/>
                            </a:cubicBezTo>
                            <a:cubicBezTo>
                              <a:pt x="209" y="202"/>
                              <a:pt x="214" y="201"/>
                              <a:pt x="215" y="200"/>
                            </a:cubicBezTo>
                            <a:cubicBezTo>
                              <a:pt x="217" y="199"/>
                              <a:pt x="218" y="195"/>
                              <a:pt x="219" y="191"/>
                            </a:cubicBezTo>
                            <a:cubicBezTo>
                              <a:pt x="220" y="188"/>
                              <a:pt x="220" y="184"/>
                              <a:pt x="222" y="182"/>
                            </a:cubicBezTo>
                            <a:cubicBezTo>
                              <a:pt x="224" y="180"/>
                              <a:pt x="231" y="178"/>
                              <a:pt x="238" y="176"/>
                            </a:cubicBezTo>
                            <a:cubicBezTo>
                              <a:pt x="241" y="175"/>
                              <a:pt x="245" y="174"/>
                              <a:pt x="246" y="174"/>
                            </a:cubicBezTo>
                            <a:cubicBezTo>
                              <a:pt x="248" y="173"/>
                              <a:pt x="250" y="171"/>
                              <a:pt x="253" y="169"/>
                            </a:cubicBezTo>
                            <a:cubicBezTo>
                              <a:pt x="257" y="165"/>
                              <a:pt x="262" y="161"/>
                              <a:pt x="267" y="158"/>
                            </a:cubicBezTo>
                            <a:cubicBezTo>
                              <a:pt x="272" y="156"/>
                              <a:pt x="277" y="154"/>
                              <a:pt x="282" y="153"/>
                            </a:cubicBezTo>
                            <a:cubicBezTo>
                              <a:pt x="286" y="152"/>
                              <a:pt x="291" y="151"/>
                              <a:pt x="294" y="151"/>
                            </a:cubicBezTo>
                            <a:cubicBezTo>
                              <a:pt x="299" y="151"/>
                              <a:pt x="304" y="154"/>
                              <a:pt x="308" y="156"/>
                            </a:cubicBezTo>
                            <a:cubicBezTo>
                              <a:pt x="312" y="158"/>
                              <a:pt x="315" y="160"/>
                              <a:pt x="318" y="160"/>
                            </a:cubicBezTo>
                            <a:cubicBezTo>
                              <a:pt x="321" y="160"/>
                              <a:pt x="327" y="160"/>
                              <a:pt x="334" y="159"/>
                            </a:cubicBezTo>
                            <a:cubicBezTo>
                              <a:pt x="338" y="158"/>
                              <a:pt x="341" y="158"/>
                              <a:pt x="344" y="157"/>
                            </a:cubicBezTo>
                            <a:cubicBezTo>
                              <a:pt x="343" y="152"/>
                              <a:pt x="340" y="148"/>
                              <a:pt x="334" y="142"/>
                            </a:cubicBezTo>
                            <a:cubicBezTo>
                              <a:pt x="326" y="134"/>
                              <a:pt x="323" y="135"/>
                              <a:pt x="317" y="131"/>
                            </a:cubicBezTo>
                            <a:cubicBezTo>
                              <a:pt x="312" y="128"/>
                              <a:pt x="305" y="127"/>
                              <a:pt x="308" y="123"/>
                            </a:cubicBezTo>
                            <a:cubicBezTo>
                              <a:pt x="311" y="119"/>
                              <a:pt x="314" y="120"/>
                              <a:pt x="322" y="115"/>
                            </a:cubicBezTo>
                            <a:cubicBezTo>
                              <a:pt x="330" y="111"/>
                              <a:pt x="337" y="109"/>
                              <a:pt x="338" y="103"/>
                            </a:cubicBezTo>
                            <a:cubicBezTo>
                              <a:pt x="339" y="97"/>
                              <a:pt x="338" y="93"/>
                              <a:pt x="338" y="86"/>
                            </a:cubicBezTo>
                            <a:cubicBezTo>
                              <a:pt x="338" y="79"/>
                              <a:pt x="335" y="75"/>
                              <a:pt x="340" y="70"/>
                            </a:cubicBezTo>
                            <a:cubicBezTo>
                              <a:pt x="345" y="66"/>
                              <a:pt x="345" y="64"/>
                              <a:pt x="353" y="61"/>
                            </a:cubicBezTo>
                            <a:cubicBezTo>
                              <a:pt x="361" y="57"/>
                              <a:pt x="363" y="61"/>
                              <a:pt x="369" y="55"/>
                            </a:cubicBezTo>
                            <a:cubicBezTo>
                              <a:pt x="374" y="49"/>
                              <a:pt x="377" y="49"/>
                              <a:pt x="377" y="40"/>
                            </a:cubicBezTo>
                            <a:cubicBezTo>
                              <a:pt x="377" y="37"/>
                              <a:pt x="377" y="34"/>
                              <a:pt x="377" y="32"/>
                            </a:cubicBezTo>
                            <a:cubicBezTo>
                              <a:pt x="374" y="31"/>
                              <a:pt x="370" y="29"/>
                              <a:pt x="367" y="28"/>
                            </a:cubicBezTo>
                            <a:cubicBezTo>
                              <a:pt x="358" y="24"/>
                              <a:pt x="347" y="21"/>
                              <a:pt x="339" y="19"/>
                            </a:cubicBezTo>
                            <a:cubicBezTo>
                              <a:pt x="332" y="17"/>
                              <a:pt x="326" y="15"/>
                              <a:pt x="321" y="13"/>
                            </a:cubicBezTo>
                            <a:cubicBezTo>
                              <a:pt x="313" y="10"/>
                              <a:pt x="306" y="7"/>
                              <a:pt x="298" y="7"/>
                            </a:cubicBezTo>
                            <a:cubicBezTo>
                              <a:pt x="291" y="7"/>
                              <a:pt x="284" y="8"/>
                              <a:pt x="278" y="10"/>
                            </a:cubicBezTo>
                            <a:cubicBezTo>
                              <a:pt x="273" y="11"/>
                              <a:pt x="267" y="12"/>
                              <a:pt x="261" y="13"/>
                            </a:cubicBezTo>
                            <a:cubicBezTo>
                              <a:pt x="256" y="13"/>
                              <a:pt x="250" y="13"/>
                              <a:pt x="245" y="15"/>
                            </a:cubicBezTo>
                            <a:cubicBezTo>
                              <a:pt x="239" y="16"/>
                              <a:pt x="234" y="19"/>
                              <a:pt x="228" y="23"/>
                            </a:cubicBezTo>
                            <a:cubicBezTo>
                              <a:pt x="221" y="28"/>
                              <a:pt x="215" y="32"/>
                              <a:pt x="208" y="35"/>
                            </a:cubicBezTo>
                            <a:cubicBezTo>
                              <a:pt x="202" y="37"/>
                              <a:pt x="195" y="39"/>
                              <a:pt x="188" y="39"/>
                            </a:cubicBezTo>
                            <a:cubicBezTo>
                              <a:pt x="182" y="39"/>
                              <a:pt x="172" y="37"/>
                              <a:pt x="163" y="35"/>
                            </a:cubicBezTo>
                            <a:cubicBezTo>
                              <a:pt x="153" y="33"/>
                              <a:pt x="142" y="31"/>
                              <a:pt x="136" y="32"/>
                            </a:cubicBezTo>
                            <a:cubicBezTo>
                              <a:pt x="132" y="33"/>
                              <a:pt x="127" y="34"/>
                              <a:pt x="123" y="36"/>
                            </a:cubicBezTo>
                            <a:cubicBezTo>
                              <a:pt x="123" y="36"/>
                              <a:pt x="123" y="36"/>
                              <a:pt x="123" y="36"/>
                            </a:cubicBezTo>
                            <a:cubicBezTo>
                              <a:pt x="116" y="39"/>
                              <a:pt x="109" y="41"/>
                              <a:pt x="101" y="39"/>
                            </a:cubicBezTo>
                            <a:cubicBezTo>
                              <a:pt x="96" y="38"/>
                              <a:pt x="91" y="36"/>
                              <a:pt x="85" y="33"/>
                            </a:cubicBezTo>
                            <a:cubicBezTo>
                              <a:pt x="78" y="29"/>
                              <a:pt x="70" y="26"/>
                              <a:pt x="63" y="26"/>
                            </a:cubicBezTo>
                            <a:cubicBezTo>
                              <a:pt x="58" y="26"/>
                              <a:pt x="53" y="26"/>
                              <a:pt x="49" y="27"/>
                            </a:cubicBezTo>
                            <a:cubicBezTo>
                              <a:pt x="41" y="28"/>
                              <a:pt x="35" y="29"/>
                              <a:pt x="31" y="26"/>
                            </a:cubicBezTo>
                            <a:cubicBezTo>
                              <a:pt x="26" y="23"/>
                              <a:pt x="27" y="18"/>
                              <a:pt x="28" y="12"/>
                            </a:cubicBezTo>
                            <a:cubicBezTo>
                              <a:pt x="28" y="9"/>
                              <a:pt x="29" y="6"/>
                              <a:pt x="28" y="6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446" name="Freeform 472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4654266" y="5048938"/>
                        <a:ext cx="290512" cy="244078"/>
                      </a:xfrm>
                      <a:custGeom>
                        <a:avLst/>
                        <a:gdLst>
                          <a:gd name="T0" fmla="*/ 964 w 1011"/>
                          <a:gd name="T1" fmla="*/ 318 h 852"/>
                          <a:gd name="T2" fmla="*/ 931 w 1011"/>
                          <a:gd name="T3" fmla="*/ 338 h 852"/>
                          <a:gd name="T4" fmla="*/ 909 w 1011"/>
                          <a:gd name="T5" fmla="*/ 335 h 852"/>
                          <a:gd name="T6" fmla="*/ 885 w 1011"/>
                          <a:gd name="T7" fmla="*/ 296 h 852"/>
                          <a:gd name="T8" fmla="*/ 906 w 1011"/>
                          <a:gd name="T9" fmla="*/ 247 h 852"/>
                          <a:gd name="T10" fmla="*/ 944 w 1011"/>
                          <a:gd name="T11" fmla="*/ 242 h 852"/>
                          <a:gd name="T12" fmla="*/ 956 w 1011"/>
                          <a:gd name="T13" fmla="*/ 223 h 852"/>
                          <a:gd name="T14" fmla="*/ 952 w 1011"/>
                          <a:gd name="T15" fmla="*/ 137 h 852"/>
                          <a:gd name="T16" fmla="*/ 931 w 1011"/>
                          <a:gd name="T17" fmla="*/ 86 h 852"/>
                          <a:gd name="T18" fmla="*/ 919 w 1011"/>
                          <a:gd name="T19" fmla="*/ 36 h 852"/>
                          <a:gd name="T20" fmla="*/ 870 w 1011"/>
                          <a:gd name="T21" fmla="*/ 10 h 852"/>
                          <a:gd name="T22" fmla="*/ 789 w 1011"/>
                          <a:gd name="T23" fmla="*/ 0 h 852"/>
                          <a:gd name="T24" fmla="*/ 733 w 1011"/>
                          <a:gd name="T25" fmla="*/ 34 h 852"/>
                          <a:gd name="T26" fmla="*/ 702 w 1011"/>
                          <a:gd name="T27" fmla="*/ 65 h 852"/>
                          <a:gd name="T28" fmla="*/ 649 w 1011"/>
                          <a:gd name="T29" fmla="*/ 122 h 852"/>
                          <a:gd name="T30" fmla="*/ 608 w 1011"/>
                          <a:gd name="T31" fmla="*/ 166 h 852"/>
                          <a:gd name="T32" fmla="*/ 578 w 1011"/>
                          <a:gd name="T33" fmla="*/ 186 h 852"/>
                          <a:gd name="T34" fmla="*/ 566 w 1011"/>
                          <a:gd name="T35" fmla="*/ 224 h 852"/>
                          <a:gd name="T36" fmla="*/ 504 w 1011"/>
                          <a:gd name="T37" fmla="*/ 243 h 852"/>
                          <a:gd name="T38" fmla="*/ 406 w 1011"/>
                          <a:gd name="T39" fmla="*/ 211 h 852"/>
                          <a:gd name="T40" fmla="*/ 390 w 1011"/>
                          <a:gd name="T41" fmla="*/ 236 h 852"/>
                          <a:gd name="T42" fmla="*/ 359 w 1011"/>
                          <a:gd name="T43" fmla="*/ 279 h 852"/>
                          <a:gd name="T44" fmla="*/ 284 w 1011"/>
                          <a:gd name="T45" fmla="*/ 312 h 852"/>
                          <a:gd name="T46" fmla="*/ 256 w 1011"/>
                          <a:gd name="T47" fmla="*/ 294 h 852"/>
                          <a:gd name="T48" fmla="*/ 264 w 1011"/>
                          <a:gd name="T49" fmla="*/ 253 h 852"/>
                          <a:gd name="T50" fmla="*/ 233 w 1011"/>
                          <a:gd name="T51" fmla="*/ 189 h 852"/>
                          <a:gd name="T52" fmla="*/ 221 w 1011"/>
                          <a:gd name="T53" fmla="*/ 279 h 852"/>
                          <a:gd name="T54" fmla="*/ 203 w 1011"/>
                          <a:gd name="T55" fmla="*/ 421 h 852"/>
                          <a:gd name="T56" fmla="*/ 179 w 1011"/>
                          <a:gd name="T57" fmla="*/ 434 h 852"/>
                          <a:gd name="T58" fmla="*/ 98 w 1011"/>
                          <a:gd name="T59" fmla="*/ 447 h 852"/>
                          <a:gd name="T60" fmla="*/ 52 w 1011"/>
                          <a:gd name="T61" fmla="*/ 426 h 852"/>
                          <a:gd name="T62" fmla="*/ 53 w 1011"/>
                          <a:gd name="T63" fmla="*/ 406 h 852"/>
                          <a:gd name="T64" fmla="*/ 41 w 1011"/>
                          <a:gd name="T65" fmla="*/ 395 h 852"/>
                          <a:gd name="T66" fmla="*/ 0 w 1011"/>
                          <a:gd name="T67" fmla="*/ 427 h 852"/>
                          <a:gd name="T68" fmla="*/ 55 w 1011"/>
                          <a:gd name="T69" fmla="*/ 547 h 852"/>
                          <a:gd name="T70" fmla="*/ 112 w 1011"/>
                          <a:gd name="T71" fmla="*/ 660 h 852"/>
                          <a:gd name="T72" fmla="*/ 102 w 1011"/>
                          <a:gd name="T73" fmla="*/ 705 h 852"/>
                          <a:gd name="T74" fmla="*/ 95 w 1011"/>
                          <a:gd name="T75" fmla="*/ 725 h 852"/>
                          <a:gd name="T76" fmla="*/ 119 w 1011"/>
                          <a:gd name="T77" fmla="*/ 776 h 852"/>
                          <a:gd name="T78" fmla="*/ 127 w 1011"/>
                          <a:gd name="T79" fmla="*/ 805 h 852"/>
                          <a:gd name="T80" fmla="*/ 145 w 1011"/>
                          <a:gd name="T81" fmla="*/ 814 h 852"/>
                          <a:gd name="T82" fmla="*/ 186 w 1011"/>
                          <a:gd name="T83" fmla="*/ 837 h 852"/>
                          <a:gd name="T84" fmla="*/ 246 w 1011"/>
                          <a:gd name="T85" fmla="*/ 829 h 852"/>
                          <a:gd name="T86" fmla="*/ 337 w 1011"/>
                          <a:gd name="T87" fmla="*/ 816 h 852"/>
                          <a:gd name="T88" fmla="*/ 391 w 1011"/>
                          <a:gd name="T89" fmla="*/ 790 h 852"/>
                          <a:gd name="T90" fmla="*/ 488 w 1011"/>
                          <a:gd name="T91" fmla="*/ 800 h 852"/>
                          <a:gd name="T92" fmla="*/ 557 w 1011"/>
                          <a:gd name="T93" fmla="*/ 793 h 852"/>
                          <a:gd name="T94" fmla="*/ 610 w 1011"/>
                          <a:gd name="T95" fmla="*/ 776 h 852"/>
                          <a:gd name="T96" fmla="*/ 732 w 1011"/>
                          <a:gd name="T97" fmla="*/ 703 h 852"/>
                          <a:gd name="T98" fmla="*/ 868 w 1011"/>
                          <a:gd name="T99" fmla="*/ 564 h 852"/>
                          <a:gd name="T100" fmla="*/ 948 w 1011"/>
                          <a:gd name="T101" fmla="*/ 447 h 852"/>
                          <a:gd name="T102" fmla="*/ 1009 w 1011"/>
                          <a:gd name="T103" fmla="*/ 326 h 852"/>
                          <a:gd name="T104" fmla="*/ 980 w 1011"/>
                          <a:gd name="T105" fmla="*/ 317 h 852"/>
                          <a:gd name="T106" fmla="*/ 788 w 1011"/>
                          <a:gd name="T107" fmla="*/ 503 h 852"/>
                          <a:gd name="T108" fmla="*/ 767 w 1011"/>
                          <a:gd name="T109" fmla="*/ 528 h 852"/>
                          <a:gd name="T110" fmla="*/ 720 w 1011"/>
                          <a:gd name="T111" fmla="*/ 568 h 852"/>
                          <a:gd name="T112" fmla="*/ 665 w 1011"/>
                          <a:gd name="T113" fmla="*/ 534 h 852"/>
                          <a:gd name="T114" fmla="*/ 667 w 1011"/>
                          <a:gd name="T115" fmla="*/ 485 h 852"/>
                          <a:gd name="T116" fmla="*/ 699 w 1011"/>
                          <a:gd name="T117" fmla="*/ 441 h 852"/>
                          <a:gd name="T118" fmla="*/ 731 w 1011"/>
                          <a:gd name="T119" fmla="*/ 425 h 852"/>
                          <a:gd name="T120" fmla="*/ 780 w 1011"/>
                          <a:gd name="T121" fmla="*/ 444 h 85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  <a:cxn ang="0">
                            <a:pos x="T94" y="T95"/>
                          </a:cxn>
                          <a:cxn ang="0">
                            <a:pos x="T96" y="T97"/>
                          </a:cxn>
                          <a:cxn ang="0">
                            <a:pos x="T98" y="T99"/>
                          </a:cxn>
                          <a:cxn ang="0">
                            <a:pos x="T100" y="T101"/>
                          </a:cxn>
                          <a:cxn ang="0">
                            <a:pos x="T102" y="T103"/>
                          </a:cxn>
                          <a:cxn ang="0">
                            <a:pos x="T104" y="T105"/>
                          </a:cxn>
                          <a:cxn ang="0">
                            <a:pos x="T106" y="T107"/>
                          </a:cxn>
                          <a:cxn ang="0">
                            <a:pos x="T108" y="T109"/>
                          </a:cxn>
                          <a:cxn ang="0">
                            <a:pos x="T110" y="T111"/>
                          </a:cxn>
                          <a:cxn ang="0">
                            <a:pos x="T112" y="T113"/>
                          </a:cxn>
                          <a:cxn ang="0">
                            <a:pos x="T114" y="T115"/>
                          </a:cxn>
                          <a:cxn ang="0">
                            <a:pos x="T116" y="T117"/>
                          </a:cxn>
                          <a:cxn ang="0">
                            <a:pos x="T118" y="T119"/>
                          </a:cxn>
                          <a:cxn ang="0">
                            <a:pos x="T120" y="T121"/>
                          </a:cxn>
                        </a:cxnLst>
                        <a:rect l="0" t="0" r="r" b="b"/>
                        <a:pathLst>
                          <a:path w="1011" h="852">
                            <a:moveTo>
                              <a:pt x="980" y="317"/>
                            </a:moveTo>
                            <a:cubicBezTo>
                              <a:pt x="974" y="316"/>
                              <a:pt x="972" y="316"/>
                              <a:pt x="969" y="313"/>
                            </a:cubicBezTo>
                            <a:cubicBezTo>
                              <a:pt x="968" y="314"/>
                              <a:pt x="966" y="316"/>
                              <a:pt x="964" y="318"/>
                            </a:cubicBezTo>
                            <a:cubicBezTo>
                              <a:pt x="963" y="320"/>
                              <a:pt x="962" y="322"/>
                              <a:pt x="962" y="324"/>
                            </a:cubicBezTo>
                            <a:cubicBezTo>
                              <a:pt x="959" y="330"/>
                              <a:pt x="956" y="336"/>
                              <a:pt x="950" y="337"/>
                            </a:cubicBezTo>
                            <a:cubicBezTo>
                              <a:pt x="945" y="338"/>
                              <a:pt x="938" y="338"/>
                              <a:pt x="931" y="338"/>
                            </a:cubicBezTo>
                            <a:cubicBezTo>
                              <a:pt x="928" y="338"/>
                              <a:pt x="925" y="338"/>
                              <a:pt x="922" y="338"/>
                            </a:cubicBezTo>
                            <a:cubicBezTo>
                              <a:pt x="917" y="338"/>
                              <a:pt x="913" y="337"/>
                              <a:pt x="909" y="335"/>
                            </a:cubicBezTo>
                            <a:cubicBezTo>
                              <a:pt x="909" y="335"/>
                              <a:pt x="909" y="335"/>
                              <a:pt x="909" y="335"/>
                            </a:cubicBezTo>
                            <a:cubicBezTo>
                              <a:pt x="906" y="333"/>
                              <a:pt x="903" y="329"/>
                              <a:pt x="899" y="321"/>
                            </a:cubicBezTo>
                            <a:cubicBezTo>
                              <a:pt x="896" y="315"/>
                              <a:pt x="893" y="312"/>
                              <a:pt x="891" y="310"/>
                            </a:cubicBezTo>
                            <a:cubicBezTo>
                              <a:pt x="889" y="306"/>
                              <a:pt x="887" y="304"/>
                              <a:pt x="885" y="296"/>
                            </a:cubicBezTo>
                            <a:cubicBezTo>
                              <a:pt x="881" y="283"/>
                              <a:pt x="885" y="277"/>
                              <a:pt x="889" y="269"/>
                            </a:cubicBezTo>
                            <a:cubicBezTo>
                              <a:pt x="890" y="267"/>
                              <a:pt x="891" y="266"/>
                              <a:pt x="891" y="265"/>
                            </a:cubicBezTo>
                            <a:cubicBezTo>
                              <a:pt x="894" y="260"/>
                              <a:pt x="900" y="253"/>
                              <a:pt x="906" y="247"/>
                            </a:cubicBezTo>
                            <a:cubicBezTo>
                              <a:pt x="913" y="241"/>
                              <a:pt x="921" y="236"/>
                              <a:pt x="926" y="234"/>
                            </a:cubicBezTo>
                            <a:cubicBezTo>
                              <a:pt x="935" y="232"/>
                              <a:pt x="938" y="235"/>
                              <a:pt x="942" y="239"/>
                            </a:cubicBezTo>
                            <a:cubicBezTo>
                              <a:pt x="943" y="240"/>
                              <a:pt x="943" y="241"/>
                              <a:pt x="944" y="242"/>
                            </a:cubicBezTo>
                            <a:cubicBezTo>
                              <a:pt x="946" y="243"/>
                              <a:pt x="948" y="244"/>
                              <a:pt x="951" y="244"/>
                            </a:cubicBezTo>
                            <a:cubicBezTo>
                              <a:pt x="953" y="245"/>
                              <a:pt x="956" y="245"/>
                              <a:pt x="958" y="245"/>
                            </a:cubicBezTo>
                            <a:cubicBezTo>
                              <a:pt x="955" y="235"/>
                              <a:pt x="956" y="230"/>
                              <a:pt x="956" y="223"/>
                            </a:cubicBezTo>
                            <a:cubicBezTo>
                              <a:pt x="956" y="221"/>
                              <a:pt x="956" y="219"/>
                              <a:pt x="956" y="216"/>
                            </a:cubicBezTo>
                            <a:cubicBezTo>
                              <a:pt x="956" y="211"/>
                              <a:pt x="955" y="195"/>
                              <a:pt x="955" y="179"/>
                            </a:cubicBezTo>
                            <a:cubicBezTo>
                              <a:pt x="954" y="164"/>
                              <a:pt x="953" y="147"/>
                              <a:pt x="952" y="137"/>
                            </a:cubicBezTo>
                            <a:cubicBezTo>
                              <a:pt x="951" y="127"/>
                              <a:pt x="949" y="119"/>
                              <a:pt x="947" y="113"/>
                            </a:cubicBezTo>
                            <a:cubicBezTo>
                              <a:pt x="945" y="107"/>
                              <a:pt x="942" y="102"/>
                              <a:pt x="939" y="98"/>
                            </a:cubicBezTo>
                            <a:cubicBezTo>
                              <a:pt x="935" y="94"/>
                              <a:pt x="933" y="90"/>
                              <a:pt x="931" y="86"/>
                            </a:cubicBezTo>
                            <a:cubicBezTo>
                              <a:pt x="929" y="82"/>
                              <a:pt x="928" y="78"/>
                              <a:pt x="927" y="73"/>
                            </a:cubicBezTo>
                            <a:cubicBezTo>
                              <a:pt x="927" y="68"/>
                              <a:pt x="925" y="61"/>
                              <a:pt x="924" y="53"/>
                            </a:cubicBezTo>
                            <a:cubicBezTo>
                              <a:pt x="922" y="47"/>
                              <a:pt x="920" y="41"/>
                              <a:pt x="919" y="36"/>
                            </a:cubicBezTo>
                            <a:cubicBezTo>
                              <a:pt x="917" y="31"/>
                              <a:pt x="915" y="26"/>
                              <a:pt x="912" y="23"/>
                            </a:cubicBezTo>
                            <a:cubicBezTo>
                              <a:pt x="909" y="19"/>
                              <a:pt x="904" y="16"/>
                              <a:pt x="896" y="14"/>
                            </a:cubicBezTo>
                            <a:cubicBezTo>
                              <a:pt x="887" y="12"/>
                              <a:pt x="879" y="11"/>
                              <a:pt x="870" y="10"/>
                            </a:cubicBezTo>
                            <a:cubicBezTo>
                              <a:pt x="860" y="9"/>
                              <a:pt x="850" y="9"/>
                              <a:pt x="838" y="9"/>
                            </a:cubicBezTo>
                            <a:cubicBezTo>
                              <a:pt x="825" y="9"/>
                              <a:pt x="814" y="8"/>
                              <a:pt x="804" y="5"/>
                            </a:cubicBezTo>
                            <a:cubicBezTo>
                              <a:pt x="798" y="4"/>
                              <a:pt x="793" y="2"/>
                              <a:pt x="789" y="0"/>
                            </a:cubicBezTo>
                            <a:cubicBezTo>
                              <a:pt x="784" y="7"/>
                              <a:pt x="774" y="20"/>
                              <a:pt x="767" y="25"/>
                            </a:cubicBezTo>
                            <a:cubicBezTo>
                              <a:pt x="762" y="28"/>
                              <a:pt x="756" y="29"/>
                              <a:pt x="749" y="30"/>
                            </a:cubicBezTo>
                            <a:cubicBezTo>
                              <a:pt x="743" y="31"/>
                              <a:pt x="737" y="31"/>
                              <a:pt x="733" y="34"/>
                            </a:cubicBezTo>
                            <a:cubicBezTo>
                              <a:pt x="728" y="37"/>
                              <a:pt x="723" y="43"/>
                              <a:pt x="717" y="50"/>
                            </a:cubicBezTo>
                            <a:cubicBezTo>
                              <a:pt x="717" y="50"/>
                              <a:pt x="717" y="50"/>
                              <a:pt x="717" y="50"/>
                            </a:cubicBezTo>
                            <a:cubicBezTo>
                              <a:pt x="712" y="55"/>
                              <a:pt x="707" y="61"/>
                              <a:pt x="702" y="65"/>
                            </a:cubicBezTo>
                            <a:cubicBezTo>
                              <a:pt x="699" y="68"/>
                              <a:pt x="694" y="72"/>
                              <a:pt x="688" y="77"/>
                            </a:cubicBezTo>
                            <a:cubicBezTo>
                              <a:pt x="676" y="87"/>
                              <a:pt x="660" y="99"/>
                              <a:pt x="655" y="106"/>
                            </a:cubicBezTo>
                            <a:cubicBezTo>
                              <a:pt x="651" y="110"/>
                              <a:pt x="650" y="116"/>
                              <a:pt x="649" y="122"/>
                            </a:cubicBezTo>
                            <a:cubicBezTo>
                              <a:pt x="648" y="127"/>
                              <a:pt x="646" y="132"/>
                              <a:pt x="644" y="137"/>
                            </a:cubicBezTo>
                            <a:cubicBezTo>
                              <a:pt x="641" y="141"/>
                              <a:pt x="636" y="147"/>
                              <a:pt x="630" y="151"/>
                            </a:cubicBezTo>
                            <a:cubicBezTo>
                              <a:pt x="622" y="158"/>
                              <a:pt x="613" y="164"/>
                              <a:pt x="608" y="166"/>
                            </a:cubicBezTo>
                            <a:cubicBezTo>
                              <a:pt x="605" y="168"/>
                              <a:pt x="601" y="168"/>
                              <a:pt x="597" y="169"/>
                            </a:cubicBezTo>
                            <a:cubicBezTo>
                              <a:pt x="591" y="170"/>
                              <a:pt x="586" y="171"/>
                              <a:pt x="583" y="174"/>
                            </a:cubicBezTo>
                            <a:cubicBezTo>
                              <a:pt x="581" y="176"/>
                              <a:pt x="579" y="181"/>
                              <a:pt x="578" y="186"/>
                            </a:cubicBezTo>
                            <a:cubicBezTo>
                              <a:pt x="578" y="186"/>
                              <a:pt x="578" y="186"/>
                              <a:pt x="578" y="186"/>
                            </a:cubicBezTo>
                            <a:cubicBezTo>
                              <a:pt x="575" y="194"/>
                              <a:pt x="574" y="203"/>
                              <a:pt x="574" y="209"/>
                            </a:cubicBezTo>
                            <a:cubicBezTo>
                              <a:pt x="573" y="215"/>
                              <a:pt x="570" y="220"/>
                              <a:pt x="566" y="224"/>
                            </a:cubicBezTo>
                            <a:cubicBezTo>
                              <a:pt x="562" y="228"/>
                              <a:pt x="557" y="231"/>
                              <a:pt x="553" y="234"/>
                            </a:cubicBezTo>
                            <a:cubicBezTo>
                              <a:pt x="549" y="236"/>
                              <a:pt x="540" y="239"/>
                              <a:pt x="531" y="240"/>
                            </a:cubicBezTo>
                            <a:cubicBezTo>
                              <a:pt x="523" y="242"/>
                              <a:pt x="513" y="243"/>
                              <a:pt x="504" y="243"/>
                            </a:cubicBezTo>
                            <a:cubicBezTo>
                              <a:pt x="492" y="243"/>
                              <a:pt x="467" y="231"/>
                              <a:pt x="446" y="221"/>
                            </a:cubicBezTo>
                            <a:cubicBezTo>
                              <a:pt x="433" y="215"/>
                              <a:pt x="421" y="209"/>
                              <a:pt x="418" y="209"/>
                            </a:cubicBezTo>
                            <a:cubicBezTo>
                              <a:pt x="414" y="209"/>
                              <a:pt x="410" y="210"/>
                              <a:pt x="406" y="211"/>
                            </a:cubicBezTo>
                            <a:cubicBezTo>
                              <a:pt x="402" y="213"/>
                              <a:pt x="398" y="216"/>
                              <a:pt x="396" y="219"/>
                            </a:cubicBezTo>
                            <a:cubicBezTo>
                              <a:pt x="394" y="221"/>
                              <a:pt x="392" y="228"/>
                              <a:pt x="390" y="236"/>
                            </a:cubicBezTo>
                            <a:cubicBezTo>
                              <a:pt x="390" y="236"/>
                              <a:pt x="390" y="236"/>
                              <a:pt x="390" y="236"/>
                            </a:cubicBezTo>
                            <a:cubicBezTo>
                              <a:pt x="389" y="243"/>
                              <a:pt x="387" y="252"/>
                              <a:pt x="384" y="257"/>
                            </a:cubicBezTo>
                            <a:cubicBezTo>
                              <a:pt x="380" y="264"/>
                              <a:pt x="376" y="267"/>
                              <a:pt x="369" y="272"/>
                            </a:cubicBezTo>
                            <a:cubicBezTo>
                              <a:pt x="367" y="274"/>
                              <a:pt x="363" y="276"/>
                              <a:pt x="359" y="279"/>
                            </a:cubicBezTo>
                            <a:cubicBezTo>
                              <a:pt x="354" y="283"/>
                              <a:pt x="349" y="288"/>
                              <a:pt x="345" y="293"/>
                            </a:cubicBezTo>
                            <a:cubicBezTo>
                              <a:pt x="337" y="301"/>
                              <a:pt x="329" y="308"/>
                              <a:pt x="323" y="310"/>
                            </a:cubicBezTo>
                            <a:cubicBezTo>
                              <a:pt x="315" y="312"/>
                              <a:pt x="296" y="312"/>
                              <a:pt x="284" y="312"/>
                            </a:cubicBezTo>
                            <a:cubicBezTo>
                              <a:pt x="282" y="311"/>
                              <a:pt x="279" y="311"/>
                              <a:pt x="277" y="311"/>
                            </a:cubicBezTo>
                            <a:cubicBezTo>
                              <a:pt x="272" y="311"/>
                              <a:pt x="268" y="310"/>
                              <a:pt x="264" y="307"/>
                            </a:cubicBezTo>
                            <a:cubicBezTo>
                              <a:pt x="261" y="304"/>
                              <a:pt x="258" y="300"/>
                              <a:pt x="256" y="294"/>
                            </a:cubicBezTo>
                            <a:cubicBezTo>
                              <a:pt x="252" y="284"/>
                              <a:pt x="256" y="277"/>
                              <a:pt x="259" y="270"/>
                            </a:cubicBezTo>
                            <a:cubicBezTo>
                              <a:pt x="260" y="269"/>
                              <a:pt x="260" y="267"/>
                              <a:pt x="261" y="266"/>
                            </a:cubicBezTo>
                            <a:cubicBezTo>
                              <a:pt x="262" y="263"/>
                              <a:pt x="264" y="259"/>
                              <a:pt x="264" y="253"/>
                            </a:cubicBezTo>
                            <a:cubicBezTo>
                              <a:pt x="264" y="248"/>
                              <a:pt x="263" y="242"/>
                              <a:pt x="259" y="235"/>
                            </a:cubicBezTo>
                            <a:cubicBezTo>
                              <a:pt x="255" y="229"/>
                              <a:pt x="252" y="223"/>
                              <a:pt x="249" y="217"/>
                            </a:cubicBezTo>
                            <a:cubicBezTo>
                              <a:pt x="244" y="206"/>
                              <a:pt x="239" y="196"/>
                              <a:pt x="233" y="189"/>
                            </a:cubicBezTo>
                            <a:cubicBezTo>
                              <a:pt x="225" y="180"/>
                              <a:pt x="225" y="180"/>
                              <a:pt x="222" y="180"/>
                            </a:cubicBezTo>
                            <a:cubicBezTo>
                              <a:pt x="222" y="205"/>
                              <a:pt x="222" y="224"/>
                              <a:pt x="222" y="231"/>
                            </a:cubicBezTo>
                            <a:cubicBezTo>
                              <a:pt x="221" y="279"/>
                              <a:pt x="221" y="279"/>
                              <a:pt x="221" y="279"/>
                            </a:cubicBezTo>
                            <a:cubicBezTo>
                              <a:pt x="221" y="329"/>
                              <a:pt x="221" y="401"/>
                              <a:pt x="221" y="405"/>
                            </a:cubicBezTo>
                            <a:cubicBezTo>
                              <a:pt x="222" y="410"/>
                              <a:pt x="220" y="413"/>
                              <a:pt x="216" y="416"/>
                            </a:cubicBezTo>
                            <a:cubicBezTo>
                              <a:pt x="213" y="418"/>
                              <a:pt x="209" y="420"/>
                              <a:pt x="203" y="421"/>
                            </a:cubicBezTo>
                            <a:cubicBezTo>
                              <a:pt x="198" y="422"/>
                              <a:pt x="192" y="423"/>
                              <a:pt x="188" y="425"/>
                            </a:cubicBezTo>
                            <a:cubicBezTo>
                              <a:pt x="184" y="427"/>
                              <a:pt x="182" y="429"/>
                              <a:pt x="180" y="431"/>
                            </a:cubicBezTo>
                            <a:cubicBezTo>
                              <a:pt x="180" y="432"/>
                              <a:pt x="179" y="433"/>
                              <a:pt x="179" y="434"/>
                            </a:cubicBezTo>
                            <a:cubicBezTo>
                              <a:pt x="175" y="441"/>
                              <a:pt x="172" y="447"/>
                              <a:pt x="160" y="448"/>
                            </a:cubicBezTo>
                            <a:cubicBezTo>
                              <a:pt x="154" y="449"/>
                              <a:pt x="139" y="449"/>
                              <a:pt x="125" y="449"/>
                            </a:cubicBezTo>
                            <a:cubicBezTo>
                              <a:pt x="113" y="448"/>
                              <a:pt x="103" y="448"/>
                              <a:pt x="98" y="447"/>
                            </a:cubicBezTo>
                            <a:cubicBezTo>
                              <a:pt x="91" y="446"/>
                              <a:pt x="78" y="442"/>
                              <a:pt x="68" y="437"/>
                            </a:cubicBezTo>
                            <a:cubicBezTo>
                              <a:pt x="68" y="437"/>
                              <a:pt x="68" y="437"/>
                              <a:pt x="68" y="437"/>
                            </a:cubicBezTo>
                            <a:cubicBezTo>
                              <a:pt x="60" y="434"/>
                              <a:pt x="54" y="430"/>
                              <a:pt x="52" y="426"/>
                            </a:cubicBezTo>
                            <a:cubicBezTo>
                              <a:pt x="50" y="421"/>
                              <a:pt x="51" y="416"/>
                              <a:pt x="52" y="411"/>
                            </a:cubicBezTo>
                            <a:cubicBezTo>
                              <a:pt x="53" y="409"/>
                              <a:pt x="53" y="406"/>
                              <a:pt x="53" y="406"/>
                            </a:cubicBezTo>
                            <a:cubicBezTo>
                              <a:pt x="53" y="406"/>
                              <a:pt x="53" y="406"/>
                              <a:pt x="53" y="406"/>
                            </a:cubicBezTo>
                            <a:cubicBezTo>
                              <a:pt x="52" y="405"/>
                              <a:pt x="52" y="405"/>
                              <a:pt x="52" y="405"/>
                            </a:cubicBezTo>
                            <a:cubicBezTo>
                              <a:pt x="52" y="405"/>
                              <a:pt x="52" y="405"/>
                              <a:pt x="52" y="405"/>
                            </a:cubicBezTo>
                            <a:cubicBezTo>
                              <a:pt x="48" y="401"/>
                              <a:pt x="43" y="396"/>
                              <a:pt x="41" y="395"/>
                            </a:cubicBezTo>
                            <a:cubicBezTo>
                              <a:pt x="39" y="394"/>
                              <a:pt x="35" y="394"/>
                              <a:pt x="31" y="395"/>
                            </a:cubicBezTo>
                            <a:cubicBezTo>
                              <a:pt x="28" y="396"/>
                              <a:pt x="25" y="397"/>
                              <a:pt x="24" y="399"/>
                            </a:cubicBezTo>
                            <a:cubicBezTo>
                              <a:pt x="21" y="402"/>
                              <a:pt x="8" y="418"/>
                              <a:pt x="0" y="427"/>
                            </a:cubicBezTo>
                            <a:cubicBezTo>
                              <a:pt x="2" y="433"/>
                              <a:pt x="4" y="439"/>
                              <a:pt x="10" y="449"/>
                            </a:cubicBezTo>
                            <a:cubicBezTo>
                              <a:pt x="18" y="464"/>
                              <a:pt x="26" y="484"/>
                              <a:pt x="33" y="497"/>
                            </a:cubicBezTo>
                            <a:cubicBezTo>
                              <a:pt x="40" y="509"/>
                              <a:pt x="51" y="536"/>
                              <a:pt x="55" y="547"/>
                            </a:cubicBezTo>
                            <a:cubicBezTo>
                              <a:pt x="60" y="557"/>
                              <a:pt x="72" y="578"/>
                              <a:pt x="79" y="593"/>
                            </a:cubicBezTo>
                            <a:cubicBezTo>
                              <a:pt x="87" y="608"/>
                              <a:pt x="92" y="621"/>
                              <a:pt x="98" y="633"/>
                            </a:cubicBezTo>
                            <a:cubicBezTo>
                              <a:pt x="105" y="645"/>
                              <a:pt x="109" y="654"/>
                              <a:pt x="112" y="660"/>
                            </a:cubicBezTo>
                            <a:cubicBezTo>
                              <a:pt x="115" y="666"/>
                              <a:pt x="116" y="680"/>
                              <a:pt x="115" y="683"/>
                            </a:cubicBezTo>
                            <a:cubicBezTo>
                              <a:pt x="113" y="687"/>
                              <a:pt x="106" y="693"/>
                              <a:pt x="106" y="697"/>
                            </a:cubicBezTo>
                            <a:cubicBezTo>
                              <a:pt x="106" y="701"/>
                              <a:pt x="106" y="705"/>
                              <a:pt x="102" y="705"/>
                            </a:cubicBezTo>
                            <a:cubicBezTo>
                              <a:pt x="98" y="705"/>
                              <a:pt x="89" y="703"/>
                              <a:pt x="87" y="706"/>
                            </a:cubicBezTo>
                            <a:cubicBezTo>
                              <a:pt x="86" y="708"/>
                              <a:pt x="81" y="713"/>
                              <a:pt x="85" y="717"/>
                            </a:cubicBezTo>
                            <a:cubicBezTo>
                              <a:pt x="89" y="722"/>
                              <a:pt x="91" y="722"/>
                              <a:pt x="95" y="725"/>
                            </a:cubicBezTo>
                            <a:cubicBezTo>
                              <a:pt x="98" y="729"/>
                              <a:pt x="103" y="741"/>
                              <a:pt x="104" y="748"/>
                            </a:cubicBezTo>
                            <a:cubicBezTo>
                              <a:pt x="105" y="754"/>
                              <a:pt x="107" y="758"/>
                              <a:pt x="112" y="764"/>
                            </a:cubicBezTo>
                            <a:cubicBezTo>
                              <a:pt x="116" y="770"/>
                              <a:pt x="119" y="773"/>
                              <a:pt x="119" y="776"/>
                            </a:cubicBezTo>
                            <a:cubicBezTo>
                              <a:pt x="119" y="780"/>
                              <a:pt x="113" y="788"/>
                              <a:pt x="114" y="797"/>
                            </a:cubicBezTo>
                            <a:cubicBezTo>
                              <a:pt x="116" y="806"/>
                              <a:pt x="116" y="812"/>
                              <a:pt x="119" y="814"/>
                            </a:cubicBezTo>
                            <a:cubicBezTo>
                              <a:pt x="123" y="817"/>
                              <a:pt x="126" y="810"/>
                              <a:pt x="127" y="805"/>
                            </a:cubicBezTo>
                            <a:cubicBezTo>
                              <a:pt x="129" y="800"/>
                              <a:pt x="126" y="799"/>
                              <a:pt x="133" y="799"/>
                            </a:cubicBezTo>
                            <a:cubicBezTo>
                              <a:pt x="140" y="799"/>
                              <a:pt x="140" y="796"/>
                              <a:pt x="143" y="801"/>
                            </a:cubicBezTo>
                            <a:cubicBezTo>
                              <a:pt x="146" y="806"/>
                              <a:pt x="143" y="809"/>
                              <a:pt x="145" y="814"/>
                            </a:cubicBezTo>
                            <a:cubicBezTo>
                              <a:pt x="147" y="819"/>
                              <a:pt x="153" y="818"/>
                              <a:pt x="159" y="820"/>
                            </a:cubicBezTo>
                            <a:cubicBezTo>
                              <a:pt x="164" y="821"/>
                              <a:pt x="166" y="820"/>
                              <a:pt x="171" y="825"/>
                            </a:cubicBezTo>
                            <a:cubicBezTo>
                              <a:pt x="176" y="830"/>
                              <a:pt x="179" y="835"/>
                              <a:pt x="186" y="837"/>
                            </a:cubicBezTo>
                            <a:cubicBezTo>
                              <a:pt x="193" y="840"/>
                              <a:pt x="200" y="841"/>
                              <a:pt x="205" y="844"/>
                            </a:cubicBezTo>
                            <a:cubicBezTo>
                              <a:pt x="210" y="846"/>
                              <a:pt x="211" y="852"/>
                              <a:pt x="222" y="849"/>
                            </a:cubicBezTo>
                            <a:cubicBezTo>
                              <a:pt x="232" y="846"/>
                              <a:pt x="239" y="832"/>
                              <a:pt x="246" y="829"/>
                            </a:cubicBezTo>
                            <a:cubicBezTo>
                              <a:pt x="254" y="825"/>
                              <a:pt x="269" y="820"/>
                              <a:pt x="277" y="820"/>
                            </a:cubicBezTo>
                            <a:cubicBezTo>
                              <a:pt x="285" y="820"/>
                              <a:pt x="288" y="819"/>
                              <a:pt x="304" y="819"/>
                            </a:cubicBezTo>
                            <a:cubicBezTo>
                              <a:pt x="320" y="820"/>
                              <a:pt x="329" y="818"/>
                              <a:pt x="337" y="816"/>
                            </a:cubicBezTo>
                            <a:cubicBezTo>
                              <a:pt x="345" y="813"/>
                              <a:pt x="348" y="805"/>
                              <a:pt x="357" y="800"/>
                            </a:cubicBezTo>
                            <a:cubicBezTo>
                              <a:pt x="366" y="796"/>
                              <a:pt x="365" y="794"/>
                              <a:pt x="374" y="794"/>
                            </a:cubicBezTo>
                            <a:cubicBezTo>
                              <a:pt x="383" y="794"/>
                              <a:pt x="382" y="790"/>
                              <a:pt x="391" y="790"/>
                            </a:cubicBezTo>
                            <a:cubicBezTo>
                              <a:pt x="399" y="790"/>
                              <a:pt x="406" y="791"/>
                              <a:pt x="416" y="797"/>
                            </a:cubicBezTo>
                            <a:cubicBezTo>
                              <a:pt x="425" y="802"/>
                              <a:pt x="438" y="790"/>
                              <a:pt x="449" y="791"/>
                            </a:cubicBezTo>
                            <a:cubicBezTo>
                              <a:pt x="460" y="791"/>
                              <a:pt x="470" y="792"/>
                              <a:pt x="488" y="800"/>
                            </a:cubicBezTo>
                            <a:cubicBezTo>
                              <a:pt x="506" y="807"/>
                              <a:pt x="510" y="809"/>
                              <a:pt x="518" y="806"/>
                            </a:cubicBezTo>
                            <a:cubicBezTo>
                              <a:pt x="527" y="802"/>
                              <a:pt x="520" y="792"/>
                              <a:pt x="530" y="792"/>
                            </a:cubicBezTo>
                            <a:cubicBezTo>
                              <a:pt x="540" y="792"/>
                              <a:pt x="550" y="793"/>
                              <a:pt x="557" y="793"/>
                            </a:cubicBezTo>
                            <a:cubicBezTo>
                              <a:pt x="563" y="793"/>
                              <a:pt x="564" y="794"/>
                              <a:pt x="569" y="788"/>
                            </a:cubicBezTo>
                            <a:cubicBezTo>
                              <a:pt x="574" y="782"/>
                              <a:pt x="570" y="778"/>
                              <a:pt x="579" y="777"/>
                            </a:cubicBezTo>
                            <a:cubicBezTo>
                              <a:pt x="589" y="776"/>
                              <a:pt x="594" y="776"/>
                              <a:pt x="610" y="776"/>
                            </a:cubicBezTo>
                            <a:cubicBezTo>
                              <a:pt x="626" y="776"/>
                              <a:pt x="635" y="768"/>
                              <a:pt x="651" y="761"/>
                            </a:cubicBezTo>
                            <a:cubicBezTo>
                              <a:pt x="666" y="754"/>
                              <a:pt x="689" y="736"/>
                              <a:pt x="694" y="731"/>
                            </a:cubicBezTo>
                            <a:cubicBezTo>
                              <a:pt x="700" y="726"/>
                              <a:pt x="723" y="714"/>
                              <a:pt x="732" y="703"/>
                            </a:cubicBezTo>
                            <a:cubicBezTo>
                              <a:pt x="741" y="692"/>
                              <a:pt x="764" y="674"/>
                              <a:pt x="774" y="666"/>
                            </a:cubicBezTo>
                            <a:cubicBezTo>
                              <a:pt x="783" y="657"/>
                              <a:pt x="825" y="611"/>
                              <a:pt x="829" y="608"/>
                            </a:cubicBezTo>
                            <a:cubicBezTo>
                              <a:pt x="834" y="605"/>
                              <a:pt x="849" y="581"/>
                              <a:pt x="868" y="564"/>
                            </a:cubicBezTo>
                            <a:cubicBezTo>
                              <a:pt x="888" y="547"/>
                              <a:pt x="889" y="524"/>
                              <a:pt x="899" y="507"/>
                            </a:cubicBezTo>
                            <a:cubicBezTo>
                              <a:pt x="909" y="490"/>
                              <a:pt x="915" y="482"/>
                              <a:pt x="924" y="472"/>
                            </a:cubicBezTo>
                            <a:cubicBezTo>
                              <a:pt x="933" y="462"/>
                              <a:pt x="942" y="454"/>
                              <a:pt x="948" y="447"/>
                            </a:cubicBezTo>
                            <a:cubicBezTo>
                              <a:pt x="955" y="440"/>
                              <a:pt x="962" y="434"/>
                              <a:pt x="972" y="424"/>
                            </a:cubicBezTo>
                            <a:cubicBezTo>
                              <a:pt x="982" y="415"/>
                              <a:pt x="997" y="376"/>
                              <a:pt x="1002" y="360"/>
                            </a:cubicBezTo>
                            <a:cubicBezTo>
                              <a:pt x="1006" y="345"/>
                              <a:pt x="1005" y="343"/>
                              <a:pt x="1009" y="326"/>
                            </a:cubicBezTo>
                            <a:cubicBezTo>
                              <a:pt x="1010" y="323"/>
                              <a:pt x="1010" y="321"/>
                              <a:pt x="1011" y="318"/>
                            </a:cubicBezTo>
                            <a:cubicBezTo>
                              <a:pt x="1001" y="318"/>
                              <a:pt x="990" y="318"/>
                              <a:pt x="985" y="317"/>
                            </a:cubicBezTo>
                            <a:cubicBezTo>
                              <a:pt x="984" y="317"/>
                              <a:pt x="982" y="317"/>
                              <a:pt x="980" y="317"/>
                            </a:cubicBezTo>
                            <a:close/>
                            <a:moveTo>
                              <a:pt x="794" y="489"/>
                            </a:moveTo>
                            <a:cubicBezTo>
                              <a:pt x="794" y="489"/>
                              <a:pt x="794" y="489"/>
                              <a:pt x="794" y="489"/>
                            </a:cubicBezTo>
                            <a:cubicBezTo>
                              <a:pt x="791" y="493"/>
                              <a:pt x="788" y="498"/>
                              <a:pt x="788" y="503"/>
                            </a:cubicBezTo>
                            <a:cubicBezTo>
                              <a:pt x="788" y="504"/>
                              <a:pt x="788" y="504"/>
                              <a:pt x="788" y="504"/>
                            </a:cubicBezTo>
                            <a:cubicBezTo>
                              <a:pt x="787" y="518"/>
                              <a:pt x="787" y="523"/>
                              <a:pt x="778" y="527"/>
                            </a:cubicBezTo>
                            <a:cubicBezTo>
                              <a:pt x="775" y="528"/>
                              <a:pt x="771" y="528"/>
                              <a:pt x="767" y="528"/>
                            </a:cubicBezTo>
                            <a:cubicBezTo>
                              <a:pt x="759" y="529"/>
                              <a:pt x="748" y="529"/>
                              <a:pt x="741" y="535"/>
                            </a:cubicBezTo>
                            <a:cubicBezTo>
                              <a:pt x="734" y="542"/>
                              <a:pt x="728" y="553"/>
                              <a:pt x="725" y="560"/>
                            </a:cubicBezTo>
                            <a:cubicBezTo>
                              <a:pt x="723" y="564"/>
                              <a:pt x="722" y="566"/>
                              <a:pt x="720" y="568"/>
                            </a:cubicBezTo>
                            <a:cubicBezTo>
                              <a:pt x="718" y="570"/>
                              <a:pt x="711" y="568"/>
                              <a:pt x="704" y="565"/>
                            </a:cubicBezTo>
                            <a:cubicBezTo>
                              <a:pt x="697" y="562"/>
                              <a:pt x="689" y="557"/>
                              <a:pt x="683" y="553"/>
                            </a:cubicBezTo>
                            <a:cubicBezTo>
                              <a:pt x="676" y="548"/>
                              <a:pt x="670" y="541"/>
                              <a:pt x="665" y="534"/>
                            </a:cubicBezTo>
                            <a:cubicBezTo>
                              <a:pt x="659" y="526"/>
                              <a:pt x="655" y="517"/>
                              <a:pt x="654" y="511"/>
                            </a:cubicBezTo>
                            <a:cubicBezTo>
                              <a:pt x="651" y="498"/>
                              <a:pt x="657" y="493"/>
                              <a:pt x="664" y="487"/>
                            </a:cubicBezTo>
                            <a:cubicBezTo>
                              <a:pt x="665" y="487"/>
                              <a:pt x="666" y="486"/>
                              <a:pt x="667" y="485"/>
                            </a:cubicBezTo>
                            <a:cubicBezTo>
                              <a:pt x="669" y="484"/>
                              <a:pt x="672" y="479"/>
                              <a:pt x="675" y="473"/>
                            </a:cubicBezTo>
                            <a:cubicBezTo>
                              <a:pt x="681" y="463"/>
                              <a:pt x="688" y="450"/>
                              <a:pt x="699" y="442"/>
                            </a:cubicBezTo>
                            <a:cubicBezTo>
                              <a:pt x="699" y="441"/>
                              <a:pt x="699" y="441"/>
                              <a:pt x="699" y="441"/>
                            </a:cubicBezTo>
                            <a:cubicBezTo>
                              <a:pt x="700" y="441"/>
                              <a:pt x="700" y="441"/>
                              <a:pt x="700" y="441"/>
                            </a:cubicBezTo>
                            <a:cubicBezTo>
                              <a:pt x="704" y="440"/>
                              <a:pt x="708" y="437"/>
                              <a:pt x="713" y="434"/>
                            </a:cubicBezTo>
                            <a:cubicBezTo>
                              <a:pt x="718" y="432"/>
                              <a:pt x="724" y="428"/>
                              <a:pt x="731" y="425"/>
                            </a:cubicBezTo>
                            <a:cubicBezTo>
                              <a:pt x="731" y="425"/>
                              <a:pt x="733" y="424"/>
                              <a:pt x="734" y="424"/>
                            </a:cubicBezTo>
                            <a:cubicBezTo>
                              <a:pt x="747" y="418"/>
                              <a:pt x="753" y="415"/>
                              <a:pt x="768" y="431"/>
                            </a:cubicBezTo>
                            <a:cubicBezTo>
                              <a:pt x="772" y="436"/>
                              <a:pt x="776" y="440"/>
                              <a:pt x="780" y="444"/>
                            </a:cubicBezTo>
                            <a:cubicBezTo>
                              <a:pt x="789" y="454"/>
                              <a:pt x="797" y="462"/>
                              <a:pt x="800" y="470"/>
                            </a:cubicBezTo>
                            <a:cubicBezTo>
                              <a:pt x="803" y="477"/>
                              <a:pt x="799" y="482"/>
                              <a:pt x="794" y="489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447" name="Freeform 4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70922" y="4753663"/>
                        <a:ext cx="216694" cy="214313"/>
                      </a:xfrm>
                      <a:custGeom>
                        <a:avLst/>
                        <a:gdLst>
                          <a:gd name="T0" fmla="*/ 83 w 758"/>
                          <a:gd name="T1" fmla="*/ 692 h 747"/>
                          <a:gd name="T2" fmla="*/ 132 w 758"/>
                          <a:gd name="T3" fmla="*/ 714 h 747"/>
                          <a:gd name="T4" fmla="*/ 408 w 758"/>
                          <a:gd name="T5" fmla="*/ 716 h 747"/>
                          <a:gd name="T6" fmla="*/ 484 w 758"/>
                          <a:gd name="T7" fmla="*/ 745 h 747"/>
                          <a:gd name="T8" fmla="*/ 637 w 758"/>
                          <a:gd name="T9" fmla="*/ 746 h 747"/>
                          <a:gd name="T10" fmla="*/ 643 w 758"/>
                          <a:gd name="T11" fmla="*/ 664 h 747"/>
                          <a:gd name="T12" fmla="*/ 633 w 758"/>
                          <a:gd name="T13" fmla="*/ 582 h 747"/>
                          <a:gd name="T14" fmla="*/ 633 w 758"/>
                          <a:gd name="T15" fmla="*/ 453 h 747"/>
                          <a:gd name="T16" fmla="*/ 699 w 758"/>
                          <a:gd name="T17" fmla="*/ 439 h 747"/>
                          <a:gd name="T18" fmla="*/ 752 w 758"/>
                          <a:gd name="T19" fmla="*/ 440 h 747"/>
                          <a:gd name="T20" fmla="*/ 753 w 758"/>
                          <a:gd name="T21" fmla="*/ 409 h 747"/>
                          <a:gd name="T22" fmla="*/ 756 w 758"/>
                          <a:gd name="T23" fmla="*/ 376 h 747"/>
                          <a:gd name="T24" fmla="*/ 746 w 758"/>
                          <a:gd name="T25" fmla="*/ 325 h 747"/>
                          <a:gd name="T26" fmla="*/ 695 w 758"/>
                          <a:gd name="T27" fmla="*/ 327 h 747"/>
                          <a:gd name="T28" fmla="*/ 647 w 758"/>
                          <a:gd name="T29" fmla="*/ 326 h 747"/>
                          <a:gd name="T30" fmla="*/ 646 w 758"/>
                          <a:gd name="T31" fmla="*/ 299 h 747"/>
                          <a:gd name="T32" fmla="*/ 642 w 758"/>
                          <a:gd name="T33" fmla="*/ 254 h 747"/>
                          <a:gd name="T34" fmla="*/ 621 w 758"/>
                          <a:gd name="T35" fmla="*/ 216 h 747"/>
                          <a:gd name="T36" fmla="*/ 626 w 758"/>
                          <a:gd name="T37" fmla="*/ 154 h 747"/>
                          <a:gd name="T38" fmla="*/ 618 w 758"/>
                          <a:gd name="T39" fmla="*/ 119 h 747"/>
                          <a:gd name="T40" fmla="*/ 617 w 758"/>
                          <a:gd name="T41" fmla="*/ 89 h 747"/>
                          <a:gd name="T42" fmla="*/ 566 w 758"/>
                          <a:gd name="T43" fmla="*/ 89 h 747"/>
                          <a:gd name="T44" fmla="*/ 543 w 758"/>
                          <a:gd name="T45" fmla="*/ 71 h 747"/>
                          <a:gd name="T46" fmla="*/ 528 w 758"/>
                          <a:gd name="T47" fmla="*/ 68 h 747"/>
                          <a:gd name="T48" fmla="*/ 486 w 758"/>
                          <a:gd name="T49" fmla="*/ 83 h 747"/>
                          <a:gd name="T50" fmla="*/ 474 w 758"/>
                          <a:gd name="T51" fmla="*/ 129 h 747"/>
                          <a:gd name="T52" fmla="*/ 429 w 758"/>
                          <a:gd name="T53" fmla="*/ 131 h 747"/>
                          <a:gd name="T54" fmla="*/ 380 w 758"/>
                          <a:gd name="T55" fmla="*/ 142 h 747"/>
                          <a:gd name="T56" fmla="*/ 338 w 758"/>
                          <a:gd name="T57" fmla="*/ 104 h 747"/>
                          <a:gd name="T58" fmla="*/ 306 w 758"/>
                          <a:gd name="T59" fmla="*/ 31 h 747"/>
                          <a:gd name="T60" fmla="*/ 264 w 758"/>
                          <a:gd name="T61" fmla="*/ 1 h 747"/>
                          <a:gd name="T62" fmla="*/ 136 w 758"/>
                          <a:gd name="T63" fmla="*/ 0 h 747"/>
                          <a:gd name="T64" fmla="*/ 54 w 758"/>
                          <a:gd name="T65" fmla="*/ 12 h 747"/>
                          <a:gd name="T66" fmla="*/ 53 w 758"/>
                          <a:gd name="T67" fmla="*/ 34 h 747"/>
                          <a:gd name="T68" fmla="*/ 80 w 758"/>
                          <a:gd name="T69" fmla="*/ 92 h 747"/>
                          <a:gd name="T70" fmla="*/ 102 w 758"/>
                          <a:gd name="T71" fmla="*/ 173 h 747"/>
                          <a:gd name="T72" fmla="*/ 87 w 758"/>
                          <a:gd name="T73" fmla="*/ 210 h 747"/>
                          <a:gd name="T74" fmla="*/ 128 w 758"/>
                          <a:gd name="T75" fmla="*/ 293 h 747"/>
                          <a:gd name="T76" fmla="*/ 130 w 758"/>
                          <a:gd name="T77" fmla="*/ 370 h 747"/>
                          <a:gd name="T78" fmla="*/ 109 w 758"/>
                          <a:gd name="T79" fmla="*/ 409 h 747"/>
                          <a:gd name="T80" fmla="*/ 53 w 758"/>
                          <a:gd name="T81" fmla="*/ 470 h 747"/>
                          <a:gd name="T82" fmla="*/ 25 w 758"/>
                          <a:gd name="T83" fmla="*/ 570 h 747"/>
                          <a:gd name="T84" fmla="*/ 1 w 758"/>
                          <a:gd name="T85" fmla="*/ 624 h 747"/>
                          <a:gd name="T86" fmla="*/ 2 w 758"/>
                          <a:gd name="T87" fmla="*/ 700 h 747"/>
                          <a:gd name="T88" fmla="*/ 48 w 758"/>
                          <a:gd name="T89" fmla="*/ 711 h 74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</a:cxnLst>
                        <a:rect l="0" t="0" r="r" b="b"/>
                        <a:pathLst>
                          <a:path w="758" h="747">
                            <a:moveTo>
                              <a:pt x="48" y="711"/>
                            </a:moveTo>
                            <a:cubicBezTo>
                              <a:pt x="52" y="709"/>
                              <a:pt x="56" y="707"/>
                              <a:pt x="61" y="704"/>
                            </a:cubicBezTo>
                            <a:cubicBezTo>
                              <a:pt x="67" y="699"/>
                              <a:pt x="74" y="695"/>
                              <a:pt x="83" y="692"/>
                            </a:cubicBezTo>
                            <a:cubicBezTo>
                              <a:pt x="92" y="690"/>
                              <a:pt x="98" y="689"/>
                              <a:pt x="103" y="690"/>
                            </a:cubicBezTo>
                            <a:cubicBezTo>
                              <a:pt x="109" y="692"/>
                              <a:pt x="114" y="695"/>
                              <a:pt x="119" y="702"/>
                            </a:cubicBezTo>
                            <a:cubicBezTo>
                              <a:pt x="124" y="707"/>
                              <a:pt x="128" y="711"/>
                              <a:pt x="132" y="714"/>
                            </a:cubicBezTo>
                            <a:cubicBezTo>
                              <a:pt x="135" y="717"/>
                              <a:pt x="139" y="719"/>
                              <a:pt x="143" y="719"/>
                            </a:cubicBezTo>
                            <a:cubicBezTo>
                              <a:pt x="149" y="720"/>
                              <a:pt x="229" y="718"/>
                              <a:pt x="300" y="717"/>
                            </a:cubicBezTo>
                            <a:cubicBezTo>
                              <a:pt x="354" y="716"/>
                              <a:pt x="403" y="715"/>
                              <a:pt x="408" y="716"/>
                            </a:cubicBezTo>
                            <a:cubicBezTo>
                              <a:pt x="415" y="716"/>
                              <a:pt x="420" y="721"/>
                              <a:pt x="427" y="727"/>
                            </a:cubicBezTo>
                            <a:cubicBezTo>
                              <a:pt x="432" y="732"/>
                              <a:pt x="438" y="738"/>
                              <a:pt x="445" y="741"/>
                            </a:cubicBezTo>
                            <a:cubicBezTo>
                              <a:pt x="451" y="743"/>
                              <a:pt x="467" y="744"/>
                              <a:pt x="484" y="745"/>
                            </a:cubicBezTo>
                            <a:cubicBezTo>
                              <a:pt x="515" y="747"/>
                              <a:pt x="553" y="747"/>
                              <a:pt x="565" y="747"/>
                            </a:cubicBezTo>
                            <a:cubicBezTo>
                              <a:pt x="567" y="747"/>
                              <a:pt x="574" y="747"/>
                              <a:pt x="580" y="747"/>
                            </a:cubicBezTo>
                            <a:cubicBezTo>
                              <a:pt x="601" y="747"/>
                              <a:pt x="628" y="747"/>
                              <a:pt x="637" y="746"/>
                            </a:cubicBezTo>
                            <a:cubicBezTo>
                              <a:pt x="646" y="744"/>
                              <a:pt x="693" y="732"/>
                              <a:pt x="712" y="727"/>
                            </a:cubicBezTo>
                            <a:cubicBezTo>
                              <a:pt x="705" y="720"/>
                              <a:pt x="689" y="707"/>
                              <a:pt x="674" y="694"/>
                            </a:cubicBezTo>
                            <a:cubicBezTo>
                              <a:pt x="659" y="680"/>
                              <a:pt x="646" y="668"/>
                              <a:pt x="643" y="664"/>
                            </a:cubicBezTo>
                            <a:cubicBezTo>
                              <a:pt x="640" y="661"/>
                              <a:pt x="637" y="656"/>
                              <a:pt x="635" y="651"/>
                            </a:cubicBezTo>
                            <a:cubicBezTo>
                              <a:pt x="633" y="644"/>
                              <a:pt x="632" y="638"/>
                              <a:pt x="632" y="634"/>
                            </a:cubicBezTo>
                            <a:cubicBezTo>
                              <a:pt x="632" y="631"/>
                              <a:pt x="633" y="604"/>
                              <a:pt x="633" y="582"/>
                            </a:cubicBezTo>
                            <a:cubicBezTo>
                              <a:pt x="633" y="568"/>
                              <a:pt x="633" y="555"/>
                              <a:pt x="633" y="551"/>
                            </a:cubicBezTo>
                            <a:cubicBezTo>
                              <a:pt x="633" y="546"/>
                              <a:pt x="633" y="524"/>
                              <a:pt x="633" y="502"/>
                            </a:cubicBezTo>
                            <a:cubicBezTo>
                              <a:pt x="633" y="480"/>
                              <a:pt x="633" y="458"/>
                              <a:pt x="633" y="453"/>
                            </a:cubicBezTo>
                            <a:cubicBezTo>
                              <a:pt x="632" y="447"/>
                              <a:pt x="634" y="443"/>
                              <a:pt x="637" y="441"/>
                            </a:cubicBezTo>
                            <a:cubicBezTo>
                              <a:pt x="639" y="439"/>
                              <a:pt x="642" y="439"/>
                              <a:pt x="645" y="439"/>
                            </a:cubicBezTo>
                            <a:cubicBezTo>
                              <a:pt x="647" y="439"/>
                              <a:pt x="674" y="439"/>
                              <a:pt x="699" y="439"/>
                            </a:cubicBezTo>
                            <a:cubicBezTo>
                              <a:pt x="712" y="439"/>
                              <a:pt x="724" y="440"/>
                              <a:pt x="729" y="440"/>
                            </a:cubicBezTo>
                            <a:cubicBezTo>
                              <a:pt x="738" y="441"/>
                              <a:pt x="744" y="441"/>
                              <a:pt x="748" y="440"/>
                            </a:cubicBezTo>
                            <a:cubicBezTo>
                              <a:pt x="751" y="440"/>
                              <a:pt x="752" y="440"/>
                              <a:pt x="752" y="440"/>
                            </a:cubicBezTo>
                            <a:cubicBezTo>
                              <a:pt x="752" y="438"/>
                              <a:pt x="751" y="435"/>
                              <a:pt x="750" y="431"/>
                            </a:cubicBezTo>
                            <a:cubicBezTo>
                              <a:pt x="750" y="430"/>
                              <a:pt x="749" y="429"/>
                              <a:pt x="749" y="428"/>
                            </a:cubicBezTo>
                            <a:cubicBezTo>
                              <a:pt x="747" y="421"/>
                              <a:pt x="749" y="418"/>
                              <a:pt x="753" y="409"/>
                            </a:cubicBezTo>
                            <a:cubicBezTo>
                              <a:pt x="755" y="405"/>
                              <a:pt x="755" y="405"/>
                              <a:pt x="755" y="405"/>
                            </a:cubicBezTo>
                            <a:cubicBezTo>
                              <a:pt x="758" y="398"/>
                              <a:pt x="758" y="394"/>
                              <a:pt x="757" y="388"/>
                            </a:cubicBezTo>
                            <a:cubicBezTo>
                              <a:pt x="756" y="385"/>
                              <a:pt x="756" y="381"/>
                              <a:pt x="756" y="376"/>
                            </a:cubicBezTo>
                            <a:cubicBezTo>
                              <a:pt x="755" y="369"/>
                              <a:pt x="755" y="354"/>
                              <a:pt x="755" y="340"/>
                            </a:cubicBezTo>
                            <a:cubicBezTo>
                              <a:pt x="755" y="333"/>
                              <a:pt x="754" y="327"/>
                              <a:pt x="754" y="322"/>
                            </a:cubicBezTo>
                            <a:cubicBezTo>
                              <a:pt x="753" y="324"/>
                              <a:pt x="750" y="325"/>
                              <a:pt x="746" y="325"/>
                            </a:cubicBezTo>
                            <a:cubicBezTo>
                              <a:pt x="744" y="325"/>
                              <a:pt x="741" y="325"/>
                              <a:pt x="737" y="325"/>
                            </a:cubicBezTo>
                            <a:cubicBezTo>
                              <a:pt x="728" y="325"/>
                              <a:pt x="717" y="325"/>
                              <a:pt x="704" y="326"/>
                            </a:cubicBezTo>
                            <a:cubicBezTo>
                              <a:pt x="701" y="327"/>
                              <a:pt x="698" y="327"/>
                              <a:pt x="695" y="327"/>
                            </a:cubicBezTo>
                            <a:cubicBezTo>
                              <a:pt x="682" y="328"/>
                              <a:pt x="672" y="329"/>
                              <a:pt x="667" y="330"/>
                            </a:cubicBezTo>
                            <a:cubicBezTo>
                              <a:pt x="664" y="332"/>
                              <a:pt x="659" y="332"/>
                              <a:pt x="656" y="332"/>
                            </a:cubicBezTo>
                            <a:cubicBezTo>
                              <a:pt x="652" y="331"/>
                              <a:pt x="648" y="329"/>
                              <a:pt x="647" y="326"/>
                            </a:cubicBezTo>
                            <a:cubicBezTo>
                              <a:pt x="645" y="324"/>
                              <a:pt x="644" y="319"/>
                              <a:pt x="644" y="315"/>
                            </a:cubicBezTo>
                            <a:cubicBezTo>
                              <a:pt x="643" y="313"/>
                              <a:pt x="643" y="311"/>
                              <a:pt x="642" y="310"/>
                            </a:cubicBezTo>
                            <a:cubicBezTo>
                              <a:pt x="641" y="307"/>
                              <a:pt x="644" y="303"/>
                              <a:pt x="646" y="299"/>
                            </a:cubicBezTo>
                            <a:cubicBezTo>
                              <a:pt x="648" y="296"/>
                              <a:pt x="650" y="293"/>
                              <a:pt x="650" y="292"/>
                            </a:cubicBezTo>
                            <a:cubicBezTo>
                              <a:pt x="650" y="290"/>
                              <a:pt x="649" y="282"/>
                              <a:pt x="647" y="274"/>
                            </a:cubicBezTo>
                            <a:cubicBezTo>
                              <a:pt x="646" y="266"/>
                              <a:pt x="644" y="258"/>
                              <a:pt x="642" y="254"/>
                            </a:cubicBezTo>
                            <a:cubicBezTo>
                              <a:pt x="639" y="249"/>
                              <a:pt x="635" y="244"/>
                              <a:pt x="631" y="239"/>
                            </a:cubicBezTo>
                            <a:cubicBezTo>
                              <a:pt x="629" y="238"/>
                              <a:pt x="629" y="238"/>
                              <a:pt x="629" y="238"/>
                            </a:cubicBezTo>
                            <a:cubicBezTo>
                              <a:pt x="622" y="231"/>
                              <a:pt x="622" y="227"/>
                              <a:pt x="621" y="216"/>
                            </a:cubicBezTo>
                            <a:cubicBezTo>
                              <a:pt x="621" y="214"/>
                              <a:pt x="621" y="214"/>
                              <a:pt x="621" y="214"/>
                            </a:cubicBezTo>
                            <a:cubicBezTo>
                              <a:pt x="621" y="208"/>
                              <a:pt x="622" y="194"/>
                              <a:pt x="624" y="180"/>
                            </a:cubicBezTo>
                            <a:cubicBezTo>
                              <a:pt x="625" y="169"/>
                              <a:pt x="626" y="158"/>
                              <a:pt x="626" y="154"/>
                            </a:cubicBezTo>
                            <a:cubicBezTo>
                              <a:pt x="625" y="150"/>
                              <a:pt x="624" y="147"/>
                              <a:pt x="622" y="144"/>
                            </a:cubicBezTo>
                            <a:cubicBezTo>
                              <a:pt x="620" y="139"/>
                              <a:pt x="617" y="135"/>
                              <a:pt x="617" y="130"/>
                            </a:cubicBezTo>
                            <a:cubicBezTo>
                              <a:pt x="617" y="124"/>
                              <a:pt x="618" y="122"/>
                              <a:pt x="618" y="119"/>
                            </a:cubicBezTo>
                            <a:cubicBezTo>
                              <a:pt x="619" y="117"/>
                              <a:pt x="619" y="114"/>
                              <a:pt x="620" y="110"/>
                            </a:cubicBezTo>
                            <a:cubicBezTo>
                              <a:pt x="620" y="108"/>
                              <a:pt x="620" y="107"/>
                              <a:pt x="620" y="106"/>
                            </a:cubicBezTo>
                            <a:cubicBezTo>
                              <a:pt x="620" y="98"/>
                              <a:pt x="621" y="91"/>
                              <a:pt x="617" y="89"/>
                            </a:cubicBezTo>
                            <a:cubicBezTo>
                              <a:pt x="614" y="86"/>
                              <a:pt x="600" y="87"/>
                              <a:pt x="589" y="88"/>
                            </a:cubicBezTo>
                            <a:cubicBezTo>
                              <a:pt x="584" y="88"/>
                              <a:pt x="580" y="88"/>
                              <a:pt x="577" y="88"/>
                            </a:cubicBezTo>
                            <a:cubicBezTo>
                              <a:pt x="573" y="88"/>
                              <a:pt x="569" y="89"/>
                              <a:pt x="566" y="89"/>
                            </a:cubicBezTo>
                            <a:cubicBezTo>
                              <a:pt x="558" y="89"/>
                              <a:pt x="551" y="90"/>
                              <a:pt x="547" y="87"/>
                            </a:cubicBezTo>
                            <a:cubicBezTo>
                              <a:pt x="542" y="83"/>
                              <a:pt x="543" y="78"/>
                              <a:pt x="543" y="74"/>
                            </a:cubicBezTo>
                            <a:cubicBezTo>
                              <a:pt x="543" y="73"/>
                              <a:pt x="543" y="72"/>
                              <a:pt x="543" y="71"/>
                            </a:cubicBezTo>
                            <a:cubicBezTo>
                              <a:pt x="543" y="70"/>
                              <a:pt x="543" y="69"/>
                              <a:pt x="542" y="69"/>
                            </a:cubicBezTo>
                            <a:cubicBezTo>
                              <a:pt x="542" y="68"/>
                              <a:pt x="540" y="68"/>
                              <a:pt x="536" y="68"/>
                            </a:cubicBezTo>
                            <a:cubicBezTo>
                              <a:pt x="534" y="68"/>
                              <a:pt x="531" y="68"/>
                              <a:pt x="528" y="68"/>
                            </a:cubicBezTo>
                            <a:cubicBezTo>
                              <a:pt x="516" y="69"/>
                              <a:pt x="500" y="69"/>
                              <a:pt x="495" y="70"/>
                            </a:cubicBezTo>
                            <a:cubicBezTo>
                              <a:pt x="492" y="71"/>
                              <a:pt x="490" y="72"/>
                              <a:pt x="489" y="74"/>
                            </a:cubicBezTo>
                            <a:cubicBezTo>
                              <a:pt x="487" y="76"/>
                              <a:pt x="486" y="79"/>
                              <a:pt x="486" y="83"/>
                            </a:cubicBezTo>
                            <a:cubicBezTo>
                              <a:pt x="485" y="87"/>
                              <a:pt x="485" y="93"/>
                              <a:pt x="484" y="98"/>
                            </a:cubicBezTo>
                            <a:cubicBezTo>
                              <a:pt x="482" y="105"/>
                              <a:pt x="481" y="112"/>
                              <a:pt x="480" y="117"/>
                            </a:cubicBezTo>
                            <a:cubicBezTo>
                              <a:pt x="479" y="122"/>
                              <a:pt x="477" y="127"/>
                              <a:pt x="474" y="129"/>
                            </a:cubicBezTo>
                            <a:cubicBezTo>
                              <a:pt x="471" y="133"/>
                              <a:pt x="467" y="134"/>
                              <a:pt x="461" y="134"/>
                            </a:cubicBezTo>
                            <a:cubicBezTo>
                              <a:pt x="458" y="134"/>
                              <a:pt x="454" y="133"/>
                              <a:pt x="449" y="133"/>
                            </a:cubicBezTo>
                            <a:cubicBezTo>
                              <a:pt x="443" y="132"/>
                              <a:pt x="436" y="131"/>
                              <a:pt x="429" y="131"/>
                            </a:cubicBezTo>
                            <a:cubicBezTo>
                              <a:pt x="424" y="131"/>
                              <a:pt x="418" y="134"/>
                              <a:pt x="412" y="137"/>
                            </a:cubicBezTo>
                            <a:cubicBezTo>
                              <a:pt x="406" y="139"/>
                              <a:pt x="400" y="142"/>
                              <a:pt x="395" y="143"/>
                            </a:cubicBezTo>
                            <a:cubicBezTo>
                              <a:pt x="390" y="143"/>
                              <a:pt x="385" y="143"/>
                              <a:pt x="380" y="142"/>
                            </a:cubicBezTo>
                            <a:cubicBezTo>
                              <a:pt x="375" y="142"/>
                              <a:pt x="370" y="141"/>
                              <a:pt x="367" y="141"/>
                            </a:cubicBezTo>
                            <a:cubicBezTo>
                              <a:pt x="361" y="139"/>
                              <a:pt x="352" y="126"/>
                              <a:pt x="345" y="114"/>
                            </a:cubicBezTo>
                            <a:cubicBezTo>
                              <a:pt x="342" y="110"/>
                              <a:pt x="340" y="107"/>
                              <a:pt x="338" y="104"/>
                            </a:cubicBezTo>
                            <a:cubicBezTo>
                              <a:pt x="333" y="98"/>
                              <a:pt x="327" y="88"/>
                              <a:pt x="322" y="78"/>
                            </a:cubicBezTo>
                            <a:cubicBezTo>
                              <a:pt x="317" y="69"/>
                              <a:pt x="313" y="59"/>
                              <a:pt x="311" y="52"/>
                            </a:cubicBezTo>
                            <a:cubicBezTo>
                              <a:pt x="309" y="46"/>
                              <a:pt x="308" y="38"/>
                              <a:pt x="306" y="31"/>
                            </a:cubicBezTo>
                            <a:cubicBezTo>
                              <a:pt x="304" y="21"/>
                              <a:pt x="302" y="10"/>
                              <a:pt x="299" y="8"/>
                            </a:cubicBezTo>
                            <a:cubicBezTo>
                              <a:pt x="296" y="5"/>
                              <a:pt x="294" y="3"/>
                              <a:pt x="290" y="2"/>
                            </a:cubicBezTo>
                            <a:cubicBezTo>
                              <a:pt x="286" y="1"/>
                              <a:pt x="278" y="1"/>
                              <a:pt x="264" y="1"/>
                            </a:cubicBezTo>
                            <a:cubicBezTo>
                              <a:pt x="248" y="1"/>
                              <a:pt x="240" y="1"/>
                              <a:pt x="232" y="1"/>
                            </a:cubicBezTo>
                            <a:cubicBezTo>
                              <a:pt x="207" y="1"/>
                              <a:pt x="181" y="1"/>
                              <a:pt x="170" y="1"/>
                            </a:cubicBezTo>
                            <a:cubicBezTo>
                              <a:pt x="162" y="0"/>
                              <a:pt x="150" y="0"/>
                              <a:pt x="136" y="0"/>
                            </a:cubicBezTo>
                            <a:cubicBezTo>
                              <a:pt x="123" y="0"/>
                              <a:pt x="110" y="0"/>
                              <a:pt x="102" y="1"/>
                            </a:cubicBezTo>
                            <a:cubicBezTo>
                              <a:pt x="94" y="1"/>
                              <a:pt x="85" y="2"/>
                              <a:pt x="76" y="4"/>
                            </a:cubicBezTo>
                            <a:cubicBezTo>
                              <a:pt x="66" y="7"/>
                              <a:pt x="57" y="10"/>
                              <a:pt x="54" y="12"/>
                            </a:cubicBezTo>
                            <a:cubicBezTo>
                              <a:pt x="51" y="15"/>
                              <a:pt x="44" y="19"/>
                              <a:pt x="38" y="22"/>
                            </a:cubicBezTo>
                            <a:cubicBezTo>
                              <a:pt x="39" y="23"/>
                              <a:pt x="39" y="24"/>
                              <a:pt x="41" y="25"/>
                            </a:cubicBezTo>
                            <a:cubicBezTo>
                              <a:pt x="45" y="30"/>
                              <a:pt x="50" y="27"/>
                              <a:pt x="53" y="34"/>
                            </a:cubicBezTo>
                            <a:cubicBezTo>
                              <a:pt x="55" y="41"/>
                              <a:pt x="53" y="44"/>
                              <a:pt x="59" y="51"/>
                            </a:cubicBezTo>
                            <a:cubicBezTo>
                              <a:pt x="64" y="58"/>
                              <a:pt x="69" y="65"/>
                              <a:pt x="71" y="69"/>
                            </a:cubicBezTo>
                            <a:cubicBezTo>
                              <a:pt x="72" y="73"/>
                              <a:pt x="76" y="86"/>
                              <a:pt x="80" y="92"/>
                            </a:cubicBezTo>
                            <a:cubicBezTo>
                              <a:pt x="84" y="99"/>
                              <a:pt x="85" y="114"/>
                              <a:pt x="93" y="128"/>
                            </a:cubicBezTo>
                            <a:cubicBezTo>
                              <a:pt x="101" y="142"/>
                              <a:pt x="103" y="143"/>
                              <a:pt x="104" y="150"/>
                            </a:cubicBezTo>
                            <a:cubicBezTo>
                              <a:pt x="104" y="157"/>
                              <a:pt x="104" y="168"/>
                              <a:pt x="102" y="173"/>
                            </a:cubicBezTo>
                            <a:cubicBezTo>
                              <a:pt x="100" y="177"/>
                              <a:pt x="100" y="180"/>
                              <a:pt x="97" y="184"/>
                            </a:cubicBezTo>
                            <a:cubicBezTo>
                              <a:pt x="93" y="188"/>
                              <a:pt x="87" y="189"/>
                              <a:pt x="85" y="195"/>
                            </a:cubicBezTo>
                            <a:cubicBezTo>
                              <a:pt x="84" y="200"/>
                              <a:pt x="85" y="204"/>
                              <a:pt x="87" y="210"/>
                            </a:cubicBezTo>
                            <a:cubicBezTo>
                              <a:pt x="89" y="217"/>
                              <a:pt x="92" y="221"/>
                              <a:pt x="96" y="231"/>
                            </a:cubicBezTo>
                            <a:cubicBezTo>
                              <a:pt x="101" y="242"/>
                              <a:pt x="102" y="255"/>
                              <a:pt x="112" y="270"/>
                            </a:cubicBezTo>
                            <a:cubicBezTo>
                              <a:pt x="123" y="285"/>
                              <a:pt x="125" y="285"/>
                              <a:pt x="128" y="293"/>
                            </a:cubicBezTo>
                            <a:cubicBezTo>
                              <a:pt x="131" y="301"/>
                              <a:pt x="132" y="308"/>
                              <a:pt x="133" y="314"/>
                            </a:cubicBezTo>
                            <a:cubicBezTo>
                              <a:pt x="133" y="320"/>
                              <a:pt x="132" y="344"/>
                              <a:pt x="132" y="353"/>
                            </a:cubicBezTo>
                            <a:cubicBezTo>
                              <a:pt x="132" y="362"/>
                              <a:pt x="132" y="366"/>
                              <a:pt x="130" y="370"/>
                            </a:cubicBezTo>
                            <a:cubicBezTo>
                              <a:pt x="127" y="375"/>
                              <a:pt x="125" y="374"/>
                              <a:pt x="123" y="380"/>
                            </a:cubicBezTo>
                            <a:cubicBezTo>
                              <a:pt x="121" y="387"/>
                              <a:pt x="119" y="391"/>
                              <a:pt x="116" y="397"/>
                            </a:cubicBezTo>
                            <a:cubicBezTo>
                              <a:pt x="113" y="404"/>
                              <a:pt x="113" y="405"/>
                              <a:pt x="109" y="409"/>
                            </a:cubicBezTo>
                            <a:cubicBezTo>
                              <a:pt x="105" y="412"/>
                              <a:pt x="103" y="412"/>
                              <a:pt x="98" y="416"/>
                            </a:cubicBezTo>
                            <a:cubicBezTo>
                              <a:pt x="93" y="419"/>
                              <a:pt x="75" y="433"/>
                              <a:pt x="67" y="444"/>
                            </a:cubicBezTo>
                            <a:cubicBezTo>
                              <a:pt x="60" y="455"/>
                              <a:pt x="56" y="461"/>
                              <a:pt x="53" y="470"/>
                            </a:cubicBezTo>
                            <a:cubicBezTo>
                              <a:pt x="49" y="478"/>
                              <a:pt x="45" y="487"/>
                              <a:pt x="45" y="498"/>
                            </a:cubicBezTo>
                            <a:cubicBezTo>
                              <a:pt x="45" y="508"/>
                              <a:pt x="37" y="526"/>
                              <a:pt x="35" y="537"/>
                            </a:cubicBezTo>
                            <a:cubicBezTo>
                              <a:pt x="32" y="548"/>
                              <a:pt x="26" y="566"/>
                              <a:pt x="25" y="570"/>
                            </a:cubicBezTo>
                            <a:cubicBezTo>
                              <a:pt x="24" y="575"/>
                              <a:pt x="24" y="584"/>
                              <a:pt x="22" y="592"/>
                            </a:cubicBezTo>
                            <a:cubicBezTo>
                              <a:pt x="20" y="600"/>
                              <a:pt x="20" y="603"/>
                              <a:pt x="14" y="607"/>
                            </a:cubicBezTo>
                            <a:cubicBezTo>
                              <a:pt x="9" y="612"/>
                              <a:pt x="2" y="621"/>
                              <a:pt x="1" y="624"/>
                            </a:cubicBezTo>
                            <a:cubicBezTo>
                              <a:pt x="0" y="627"/>
                              <a:pt x="1" y="647"/>
                              <a:pt x="0" y="654"/>
                            </a:cubicBezTo>
                            <a:cubicBezTo>
                              <a:pt x="0" y="661"/>
                              <a:pt x="0" y="666"/>
                              <a:pt x="0" y="675"/>
                            </a:cubicBezTo>
                            <a:cubicBezTo>
                              <a:pt x="0" y="685"/>
                              <a:pt x="0" y="691"/>
                              <a:pt x="2" y="700"/>
                            </a:cubicBezTo>
                            <a:cubicBezTo>
                              <a:pt x="2" y="703"/>
                              <a:pt x="3" y="706"/>
                              <a:pt x="3" y="710"/>
                            </a:cubicBezTo>
                            <a:cubicBezTo>
                              <a:pt x="3" y="710"/>
                              <a:pt x="3" y="710"/>
                              <a:pt x="3" y="710"/>
                            </a:cubicBezTo>
                            <a:cubicBezTo>
                              <a:pt x="19" y="712"/>
                              <a:pt x="40" y="713"/>
                              <a:pt x="48" y="711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448" name="Freeform 48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99534" y="4835816"/>
                        <a:ext cx="188119" cy="301228"/>
                      </a:xfrm>
                      <a:custGeom>
                        <a:avLst/>
                        <a:gdLst>
                          <a:gd name="T0" fmla="*/ 636 w 653"/>
                          <a:gd name="T1" fmla="*/ 216 h 1053"/>
                          <a:gd name="T2" fmla="*/ 636 w 653"/>
                          <a:gd name="T3" fmla="*/ 139 h 1053"/>
                          <a:gd name="T4" fmla="*/ 626 w 653"/>
                          <a:gd name="T5" fmla="*/ 55 h 1053"/>
                          <a:gd name="T6" fmla="*/ 631 w 653"/>
                          <a:gd name="T7" fmla="*/ 0 h 1053"/>
                          <a:gd name="T8" fmla="*/ 525 w 653"/>
                          <a:gd name="T9" fmla="*/ 54 h 1053"/>
                          <a:gd name="T10" fmla="*/ 461 w 653"/>
                          <a:gd name="T11" fmla="*/ 65 h 1053"/>
                          <a:gd name="T12" fmla="*/ 405 w 653"/>
                          <a:gd name="T13" fmla="*/ 75 h 1053"/>
                          <a:gd name="T14" fmla="*/ 335 w 653"/>
                          <a:gd name="T15" fmla="*/ 68 h 1053"/>
                          <a:gd name="T16" fmla="*/ 321 w 653"/>
                          <a:gd name="T17" fmla="*/ 74 h 1053"/>
                          <a:gd name="T18" fmla="*/ 278 w 653"/>
                          <a:gd name="T19" fmla="*/ 143 h 1053"/>
                          <a:gd name="T20" fmla="*/ 337 w 653"/>
                          <a:gd name="T21" fmla="*/ 247 h 1053"/>
                          <a:gd name="T22" fmla="*/ 345 w 653"/>
                          <a:gd name="T23" fmla="*/ 311 h 1053"/>
                          <a:gd name="T24" fmla="*/ 339 w 653"/>
                          <a:gd name="T25" fmla="*/ 358 h 1053"/>
                          <a:gd name="T26" fmla="*/ 308 w 653"/>
                          <a:gd name="T27" fmla="*/ 380 h 1053"/>
                          <a:gd name="T28" fmla="*/ 303 w 653"/>
                          <a:gd name="T29" fmla="*/ 410 h 1053"/>
                          <a:gd name="T30" fmla="*/ 277 w 653"/>
                          <a:gd name="T31" fmla="*/ 387 h 1053"/>
                          <a:gd name="T32" fmla="*/ 243 w 653"/>
                          <a:gd name="T33" fmla="*/ 339 h 1053"/>
                          <a:gd name="T34" fmla="*/ 256 w 653"/>
                          <a:gd name="T35" fmla="*/ 269 h 1053"/>
                          <a:gd name="T36" fmla="*/ 224 w 653"/>
                          <a:gd name="T37" fmla="*/ 257 h 1053"/>
                          <a:gd name="T38" fmla="*/ 187 w 653"/>
                          <a:gd name="T39" fmla="*/ 237 h 1053"/>
                          <a:gd name="T40" fmla="*/ 10 w 653"/>
                          <a:gd name="T41" fmla="*/ 283 h 1053"/>
                          <a:gd name="T42" fmla="*/ 15 w 653"/>
                          <a:gd name="T43" fmla="*/ 343 h 1053"/>
                          <a:gd name="T44" fmla="*/ 58 w 653"/>
                          <a:gd name="T45" fmla="*/ 349 h 1053"/>
                          <a:gd name="T46" fmla="*/ 144 w 653"/>
                          <a:gd name="T47" fmla="*/ 386 h 1053"/>
                          <a:gd name="T48" fmla="*/ 172 w 653"/>
                          <a:gd name="T49" fmla="*/ 428 h 1053"/>
                          <a:gd name="T50" fmla="*/ 163 w 653"/>
                          <a:gd name="T51" fmla="*/ 513 h 1053"/>
                          <a:gd name="T52" fmla="*/ 163 w 653"/>
                          <a:gd name="T53" fmla="*/ 558 h 1053"/>
                          <a:gd name="T54" fmla="*/ 146 w 653"/>
                          <a:gd name="T55" fmla="*/ 635 h 1053"/>
                          <a:gd name="T56" fmla="*/ 126 w 653"/>
                          <a:gd name="T57" fmla="*/ 698 h 1053"/>
                          <a:gd name="T58" fmla="*/ 64 w 653"/>
                          <a:gd name="T59" fmla="*/ 761 h 1053"/>
                          <a:gd name="T60" fmla="*/ 83 w 653"/>
                          <a:gd name="T61" fmla="*/ 826 h 1053"/>
                          <a:gd name="T62" fmla="*/ 108 w 653"/>
                          <a:gd name="T63" fmla="*/ 922 h 1053"/>
                          <a:gd name="T64" fmla="*/ 115 w 653"/>
                          <a:gd name="T65" fmla="*/ 1005 h 1053"/>
                          <a:gd name="T66" fmla="*/ 130 w 653"/>
                          <a:gd name="T67" fmla="*/ 1052 h 1053"/>
                          <a:gd name="T68" fmla="*/ 159 w 653"/>
                          <a:gd name="T69" fmla="*/ 1010 h 1053"/>
                          <a:gd name="T70" fmla="*/ 153 w 653"/>
                          <a:gd name="T71" fmla="*/ 972 h 1053"/>
                          <a:gd name="T72" fmla="*/ 306 w 653"/>
                          <a:gd name="T73" fmla="*/ 892 h 1053"/>
                          <a:gd name="T74" fmla="*/ 314 w 653"/>
                          <a:gd name="T75" fmla="*/ 834 h 1053"/>
                          <a:gd name="T76" fmla="*/ 312 w 653"/>
                          <a:gd name="T77" fmla="*/ 728 h 1053"/>
                          <a:gd name="T78" fmla="*/ 295 w 653"/>
                          <a:gd name="T79" fmla="*/ 661 h 1053"/>
                          <a:gd name="T80" fmla="*/ 270 w 653"/>
                          <a:gd name="T81" fmla="*/ 590 h 1053"/>
                          <a:gd name="T82" fmla="*/ 304 w 653"/>
                          <a:gd name="T83" fmla="*/ 572 h 1053"/>
                          <a:gd name="T84" fmla="*/ 370 w 653"/>
                          <a:gd name="T85" fmla="*/ 527 h 1053"/>
                          <a:gd name="T86" fmla="*/ 411 w 653"/>
                          <a:gd name="T87" fmla="*/ 480 h 1053"/>
                          <a:gd name="T88" fmla="*/ 442 w 653"/>
                          <a:gd name="T89" fmla="*/ 449 h 1053"/>
                          <a:gd name="T90" fmla="*/ 503 w 653"/>
                          <a:gd name="T91" fmla="*/ 416 h 1053"/>
                          <a:gd name="T92" fmla="*/ 605 w 653"/>
                          <a:gd name="T93" fmla="*/ 345 h 1053"/>
                          <a:gd name="T94" fmla="*/ 644 w 653"/>
                          <a:gd name="T95" fmla="*/ 255 h 105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  <a:cxn ang="0">
                            <a:pos x="T94" y="T95"/>
                          </a:cxn>
                        </a:cxnLst>
                        <a:rect l="0" t="0" r="r" b="b"/>
                        <a:pathLst>
                          <a:path w="653" h="1053">
                            <a:moveTo>
                              <a:pt x="644" y="255"/>
                            </a:moveTo>
                            <a:cubicBezTo>
                              <a:pt x="644" y="255"/>
                              <a:pt x="641" y="248"/>
                              <a:pt x="642" y="243"/>
                            </a:cubicBezTo>
                            <a:cubicBezTo>
                              <a:pt x="643" y="238"/>
                              <a:pt x="641" y="236"/>
                              <a:pt x="639" y="232"/>
                            </a:cubicBezTo>
                            <a:cubicBezTo>
                              <a:pt x="636" y="227"/>
                              <a:pt x="635" y="222"/>
                              <a:pt x="636" y="216"/>
                            </a:cubicBezTo>
                            <a:cubicBezTo>
                              <a:pt x="638" y="209"/>
                              <a:pt x="637" y="209"/>
                              <a:pt x="636" y="199"/>
                            </a:cubicBezTo>
                            <a:cubicBezTo>
                              <a:pt x="634" y="189"/>
                              <a:pt x="634" y="182"/>
                              <a:pt x="634" y="172"/>
                            </a:cubicBezTo>
                            <a:cubicBezTo>
                              <a:pt x="635" y="162"/>
                              <a:pt x="632" y="160"/>
                              <a:pt x="632" y="153"/>
                            </a:cubicBezTo>
                            <a:cubicBezTo>
                              <a:pt x="631" y="146"/>
                              <a:pt x="634" y="146"/>
                              <a:pt x="636" y="139"/>
                            </a:cubicBezTo>
                            <a:cubicBezTo>
                              <a:pt x="638" y="132"/>
                              <a:pt x="639" y="133"/>
                              <a:pt x="635" y="116"/>
                            </a:cubicBezTo>
                            <a:cubicBezTo>
                              <a:pt x="631" y="99"/>
                              <a:pt x="630" y="103"/>
                              <a:pt x="631" y="90"/>
                            </a:cubicBezTo>
                            <a:cubicBezTo>
                              <a:pt x="632" y="76"/>
                              <a:pt x="634" y="73"/>
                              <a:pt x="632" y="67"/>
                            </a:cubicBezTo>
                            <a:cubicBezTo>
                              <a:pt x="630" y="61"/>
                              <a:pt x="628" y="60"/>
                              <a:pt x="626" y="55"/>
                            </a:cubicBezTo>
                            <a:cubicBezTo>
                              <a:pt x="625" y="50"/>
                              <a:pt x="622" y="48"/>
                              <a:pt x="627" y="43"/>
                            </a:cubicBezTo>
                            <a:cubicBezTo>
                              <a:pt x="631" y="37"/>
                              <a:pt x="634" y="31"/>
                              <a:pt x="633" y="24"/>
                            </a:cubicBezTo>
                            <a:cubicBezTo>
                              <a:pt x="632" y="18"/>
                              <a:pt x="632" y="18"/>
                              <a:pt x="633" y="12"/>
                            </a:cubicBezTo>
                            <a:cubicBezTo>
                              <a:pt x="633" y="8"/>
                              <a:pt x="633" y="4"/>
                              <a:pt x="631" y="0"/>
                            </a:cubicBezTo>
                            <a:cubicBezTo>
                              <a:pt x="612" y="12"/>
                              <a:pt x="566" y="41"/>
                              <a:pt x="557" y="45"/>
                            </a:cubicBezTo>
                            <a:cubicBezTo>
                              <a:pt x="550" y="48"/>
                              <a:pt x="546" y="48"/>
                              <a:pt x="543" y="48"/>
                            </a:cubicBezTo>
                            <a:cubicBezTo>
                              <a:pt x="540" y="48"/>
                              <a:pt x="538" y="48"/>
                              <a:pt x="534" y="49"/>
                            </a:cubicBezTo>
                            <a:cubicBezTo>
                              <a:pt x="530" y="50"/>
                              <a:pt x="528" y="52"/>
                              <a:pt x="525" y="54"/>
                            </a:cubicBezTo>
                            <a:cubicBezTo>
                              <a:pt x="518" y="59"/>
                              <a:pt x="512" y="64"/>
                              <a:pt x="500" y="60"/>
                            </a:cubicBezTo>
                            <a:cubicBezTo>
                              <a:pt x="495" y="59"/>
                              <a:pt x="491" y="57"/>
                              <a:pt x="488" y="55"/>
                            </a:cubicBezTo>
                            <a:cubicBezTo>
                              <a:pt x="483" y="53"/>
                              <a:pt x="479" y="51"/>
                              <a:pt x="473" y="54"/>
                            </a:cubicBezTo>
                            <a:cubicBezTo>
                              <a:pt x="469" y="56"/>
                              <a:pt x="465" y="61"/>
                              <a:pt x="461" y="65"/>
                            </a:cubicBezTo>
                            <a:cubicBezTo>
                              <a:pt x="454" y="73"/>
                              <a:pt x="446" y="81"/>
                              <a:pt x="436" y="80"/>
                            </a:cubicBezTo>
                            <a:cubicBezTo>
                              <a:pt x="427" y="79"/>
                              <a:pt x="424" y="77"/>
                              <a:pt x="421" y="74"/>
                            </a:cubicBezTo>
                            <a:cubicBezTo>
                              <a:pt x="419" y="73"/>
                              <a:pt x="418" y="72"/>
                              <a:pt x="415" y="71"/>
                            </a:cubicBezTo>
                            <a:cubicBezTo>
                              <a:pt x="413" y="71"/>
                              <a:pt x="410" y="72"/>
                              <a:pt x="405" y="75"/>
                            </a:cubicBezTo>
                            <a:cubicBezTo>
                              <a:pt x="399" y="78"/>
                              <a:pt x="392" y="82"/>
                              <a:pt x="383" y="81"/>
                            </a:cubicBezTo>
                            <a:cubicBezTo>
                              <a:pt x="374" y="81"/>
                              <a:pt x="365" y="76"/>
                              <a:pt x="357" y="71"/>
                            </a:cubicBezTo>
                            <a:cubicBezTo>
                              <a:pt x="351" y="67"/>
                              <a:pt x="346" y="64"/>
                              <a:pt x="343" y="64"/>
                            </a:cubicBezTo>
                            <a:cubicBezTo>
                              <a:pt x="340" y="65"/>
                              <a:pt x="337" y="67"/>
                              <a:pt x="335" y="68"/>
                            </a:cubicBezTo>
                            <a:cubicBezTo>
                              <a:pt x="335" y="68"/>
                              <a:pt x="335" y="68"/>
                              <a:pt x="335" y="68"/>
                            </a:cubicBezTo>
                            <a:cubicBezTo>
                              <a:pt x="331" y="71"/>
                              <a:pt x="328" y="74"/>
                              <a:pt x="322" y="74"/>
                            </a:cubicBezTo>
                            <a:cubicBezTo>
                              <a:pt x="322" y="74"/>
                              <a:pt x="322" y="74"/>
                              <a:pt x="322" y="74"/>
                            </a:cubicBezTo>
                            <a:cubicBezTo>
                              <a:pt x="321" y="74"/>
                              <a:pt x="321" y="74"/>
                              <a:pt x="321" y="74"/>
                            </a:cubicBezTo>
                            <a:cubicBezTo>
                              <a:pt x="312" y="74"/>
                              <a:pt x="298" y="74"/>
                              <a:pt x="287" y="71"/>
                            </a:cubicBezTo>
                            <a:cubicBezTo>
                              <a:pt x="287" y="72"/>
                              <a:pt x="287" y="72"/>
                              <a:pt x="287" y="73"/>
                            </a:cubicBezTo>
                            <a:cubicBezTo>
                              <a:pt x="284" y="84"/>
                              <a:pt x="282" y="87"/>
                              <a:pt x="277" y="100"/>
                            </a:cubicBezTo>
                            <a:cubicBezTo>
                              <a:pt x="273" y="113"/>
                              <a:pt x="274" y="121"/>
                              <a:pt x="278" y="143"/>
                            </a:cubicBezTo>
                            <a:cubicBezTo>
                              <a:pt x="281" y="164"/>
                              <a:pt x="282" y="165"/>
                              <a:pt x="290" y="183"/>
                            </a:cubicBezTo>
                            <a:cubicBezTo>
                              <a:pt x="297" y="200"/>
                              <a:pt x="300" y="197"/>
                              <a:pt x="309" y="208"/>
                            </a:cubicBezTo>
                            <a:cubicBezTo>
                              <a:pt x="314" y="214"/>
                              <a:pt x="317" y="221"/>
                              <a:pt x="318" y="227"/>
                            </a:cubicBezTo>
                            <a:cubicBezTo>
                              <a:pt x="323" y="232"/>
                              <a:pt x="330" y="239"/>
                              <a:pt x="337" y="247"/>
                            </a:cubicBezTo>
                            <a:cubicBezTo>
                              <a:pt x="342" y="253"/>
                              <a:pt x="347" y="259"/>
                              <a:pt x="349" y="263"/>
                            </a:cubicBezTo>
                            <a:cubicBezTo>
                              <a:pt x="351" y="267"/>
                              <a:pt x="351" y="273"/>
                              <a:pt x="350" y="279"/>
                            </a:cubicBezTo>
                            <a:cubicBezTo>
                              <a:pt x="350" y="285"/>
                              <a:pt x="348" y="292"/>
                              <a:pt x="345" y="299"/>
                            </a:cubicBezTo>
                            <a:cubicBezTo>
                              <a:pt x="342" y="305"/>
                              <a:pt x="343" y="307"/>
                              <a:pt x="345" y="311"/>
                            </a:cubicBezTo>
                            <a:cubicBezTo>
                              <a:pt x="346" y="314"/>
                              <a:pt x="347" y="316"/>
                              <a:pt x="348" y="320"/>
                            </a:cubicBezTo>
                            <a:cubicBezTo>
                              <a:pt x="348" y="320"/>
                              <a:pt x="348" y="320"/>
                              <a:pt x="348" y="320"/>
                            </a:cubicBezTo>
                            <a:cubicBezTo>
                              <a:pt x="351" y="326"/>
                              <a:pt x="351" y="335"/>
                              <a:pt x="349" y="342"/>
                            </a:cubicBezTo>
                            <a:cubicBezTo>
                              <a:pt x="347" y="348"/>
                              <a:pt x="344" y="354"/>
                              <a:pt x="339" y="358"/>
                            </a:cubicBezTo>
                            <a:cubicBezTo>
                              <a:pt x="332" y="362"/>
                              <a:pt x="328" y="363"/>
                              <a:pt x="324" y="364"/>
                            </a:cubicBezTo>
                            <a:cubicBezTo>
                              <a:pt x="322" y="364"/>
                              <a:pt x="319" y="365"/>
                              <a:pt x="317" y="366"/>
                            </a:cubicBezTo>
                            <a:cubicBezTo>
                              <a:pt x="314" y="367"/>
                              <a:pt x="312" y="369"/>
                              <a:pt x="311" y="372"/>
                            </a:cubicBezTo>
                            <a:cubicBezTo>
                              <a:pt x="310" y="374"/>
                              <a:pt x="309" y="377"/>
                              <a:pt x="308" y="380"/>
                            </a:cubicBezTo>
                            <a:cubicBezTo>
                              <a:pt x="308" y="384"/>
                              <a:pt x="308" y="388"/>
                              <a:pt x="308" y="393"/>
                            </a:cubicBezTo>
                            <a:cubicBezTo>
                              <a:pt x="309" y="396"/>
                              <a:pt x="309" y="399"/>
                              <a:pt x="309" y="401"/>
                            </a:cubicBezTo>
                            <a:cubicBezTo>
                              <a:pt x="309" y="404"/>
                              <a:pt x="308" y="406"/>
                              <a:pt x="307" y="408"/>
                            </a:cubicBezTo>
                            <a:cubicBezTo>
                              <a:pt x="306" y="409"/>
                              <a:pt x="305" y="410"/>
                              <a:pt x="303" y="410"/>
                            </a:cubicBezTo>
                            <a:cubicBezTo>
                              <a:pt x="302" y="411"/>
                              <a:pt x="301" y="411"/>
                              <a:pt x="299" y="411"/>
                            </a:cubicBezTo>
                            <a:cubicBezTo>
                              <a:pt x="297" y="411"/>
                              <a:pt x="294" y="410"/>
                              <a:pt x="290" y="407"/>
                            </a:cubicBezTo>
                            <a:cubicBezTo>
                              <a:pt x="286" y="404"/>
                              <a:pt x="284" y="401"/>
                              <a:pt x="283" y="396"/>
                            </a:cubicBezTo>
                            <a:cubicBezTo>
                              <a:pt x="281" y="393"/>
                              <a:pt x="280" y="390"/>
                              <a:pt x="277" y="387"/>
                            </a:cubicBezTo>
                            <a:cubicBezTo>
                              <a:pt x="274" y="384"/>
                              <a:pt x="270" y="380"/>
                              <a:pt x="266" y="376"/>
                            </a:cubicBezTo>
                            <a:cubicBezTo>
                              <a:pt x="260" y="370"/>
                              <a:pt x="254" y="364"/>
                              <a:pt x="251" y="360"/>
                            </a:cubicBezTo>
                            <a:cubicBezTo>
                              <a:pt x="251" y="360"/>
                              <a:pt x="251" y="360"/>
                              <a:pt x="251" y="360"/>
                            </a:cubicBezTo>
                            <a:cubicBezTo>
                              <a:pt x="246" y="353"/>
                              <a:pt x="242" y="349"/>
                              <a:pt x="243" y="339"/>
                            </a:cubicBezTo>
                            <a:cubicBezTo>
                              <a:pt x="244" y="335"/>
                              <a:pt x="248" y="326"/>
                              <a:pt x="252" y="317"/>
                            </a:cubicBezTo>
                            <a:cubicBezTo>
                              <a:pt x="257" y="307"/>
                              <a:pt x="261" y="297"/>
                              <a:pt x="261" y="295"/>
                            </a:cubicBezTo>
                            <a:cubicBezTo>
                              <a:pt x="261" y="291"/>
                              <a:pt x="260" y="287"/>
                              <a:pt x="260" y="283"/>
                            </a:cubicBezTo>
                            <a:cubicBezTo>
                              <a:pt x="259" y="278"/>
                              <a:pt x="257" y="274"/>
                              <a:pt x="256" y="269"/>
                            </a:cubicBezTo>
                            <a:cubicBezTo>
                              <a:pt x="254" y="264"/>
                              <a:pt x="253" y="260"/>
                              <a:pt x="251" y="257"/>
                            </a:cubicBezTo>
                            <a:cubicBezTo>
                              <a:pt x="250" y="255"/>
                              <a:pt x="249" y="254"/>
                              <a:pt x="248" y="254"/>
                            </a:cubicBezTo>
                            <a:cubicBezTo>
                              <a:pt x="244" y="255"/>
                              <a:pt x="237" y="255"/>
                              <a:pt x="228" y="257"/>
                            </a:cubicBezTo>
                            <a:cubicBezTo>
                              <a:pt x="224" y="257"/>
                              <a:pt x="224" y="257"/>
                              <a:pt x="224" y="257"/>
                            </a:cubicBezTo>
                            <a:cubicBezTo>
                              <a:pt x="222" y="258"/>
                              <a:pt x="220" y="258"/>
                              <a:pt x="219" y="258"/>
                            </a:cubicBezTo>
                            <a:cubicBezTo>
                              <a:pt x="209" y="259"/>
                              <a:pt x="203" y="260"/>
                              <a:pt x="198" y="252"/>
                            </a:cubicBezTo>
                            <a:cubicBezTo>
                              <a:pt x="195" y="248"/>
                              <a:pt x="191" y="242"/>
                              <a:pt x="187" y="237"/>
                            </a:cubicBezTo>
                            <a:cubicBezTo>
                              <a:pt x="187" y="237"/>
                              <a:pt x="187" y="237"/>
                              <a:pt x="187" y="237"/>
                            </a:cubicBezTo>
                            <a:cubicBezTo>
                              <a:pt x="184" y="234"/>
                              <a:pt x="182" y="231"/>
                              <a:pt x="180" y="230"/>
                            </a:cubicBezTo>
                            <a:cubicBezTo>
                              <a:pt x="179" y="229"/>
                              <a:pt x="177" y="229"/>
                              <a:pt x="174" y="228"/>
                            </a:cubicBezTo>
                            <a:cubicBezTo>
                              <a:pt x="172" y="228"/>
                              <a:pt x="170" y="228"/>
                              <a:pt x="168" y="228"/>
                            </a:cubicBezTo>
                            <a:cubicBezTo>
                              <a:pt x="159" y="231"/>
                              <a:pt x="20" y="279"/>
                              <a:pt x="10" y="283"/>
                            </a:cubicBezTo>
                            <a:cubicBezTo>
                              <a:pt x="5" y="285"/>
                              <a:pt x="2" y="287"/>
                              <a:pt x="1" y="289"/>
                            </a:cubicBezTo>
                            <a:cubicBezTo>
                              <a:pt x="0" y="290"/>
                              <a:pt x="0" y="291"/>
                              <a:pt x="0" y="292"/>
                            </a:cubicBezTo>
                            <a:cubicBezTo>
                              <a:pt x="0" y="294"/>
                              <a:pt x="4" y="309"/>
                              <a:pt x="8" y="323"/>
                            </a:cubicBezTo>
                            <a:cubicBezTo>
                              <a:pt x="11" y="332"/>
                              <a:pt x="13" y="340"/>
                              <a:pt x="15" y="343"/>
                            </a:cubicBezTo>
                            <a:cubicBezTo>
                              <a:pt x="17" y="347"/>
                              <a:pt x="21" y="347"/>
                              <a:pt x="26" y="346"/>
                            </a:cubicBezTo>
                            <a:cubicBezTo>
                              <a:pt x="28" y="346"/>
                              <a:pt x="30" y="346"/>
                              <a:pt x="33" y="346"/>
                            </a:cubicBezTo>
                            <a:cubicBezTo>
                              <a:pt x="34" y="346"/>
                              <a:pt x="34" y="346"/>
                              <a:pt x="34" y="346"/>
                            </a:cubicBezTo>
                            <a:cubicBezTo>
                              <a:pt x="44" y="345"/>
                              <a:pt x="51" y="345"/>
                              <a:pt x="58" y="349"/>
                            </a:cubicBezTo>
                            <a:cubicBezTo>
                              <a:pt x="60" y="350"/>
                              <a:pt x="66" y="352"/>
                              <a:pt x="74" y="356"/>
                            </a:cubicBezTo>
                            <a:cubicBezTo>
                              <a:pt x="91" y="363"/>
                              <a:pt x="115" y="373"/>
                              <a:pt x="122" y="377"/>
                            </a:cubicBezTo>
                            <a:cubicBezTo>
                              <a:pt x="128" y="382"/>
                              <a:pt x="137" y="384"/>
                              <a:pt x="144" y="386"/>
                            </a:cubicBezTo>
                            <a:cubicBezTo>
                              <a:pt x="144" y="386"/>
                              <a:pt x="144" y="386"/>
                              <a:pt x="144" y="386"/>
                            </a:cubicBezTo>
                            <a:cubicBezTo>
                              <a:pt x="147" y="386"/>
                              <a:pt x="149" y="387"/>
                              <a:pt x="151" y="388"/>
                            </a:cubicBezTo>
                            <a:cubicBezTo>
                              <a:pt x="156" y="389"/>
                              <a:pt x="160" y="391"/>
                              <a:pt x="164" y="393"/>
                            </a:cubicBezTo>
                            <a:cubicBezTo>
                              <a:pt x="167" y="396"/>
                              <a:pt x="169" y="400"/>
                              <a:pt x="170" y="407"/>
                            </a:cubicBezTo>
                            <a:cubicBezTo>
                              <a:pt x="171" y="413"/>
                              <a:pt x="171" y="420"/>
                              <a:pt x="172" y="428"/>
                            </a:cubicBezTo>
                            <a:cubicBezTo>
                              <a:pt x="172" y="436"/>
                              <a:pt x="172" y="445"/>
                              <a:pt x="172" y="452"/>
                            </a:cubicBezTo>
                            <a:cubicBezTo>
                              <a:pt x="172" y="456"/>
                              <a:pt x="172" y="460"/>
                              <a:pt x="173" y="464"/>
                            </a:cubicBezTo>
                            <a:cubicBezTo>
                              <a:pt x="173" y="478"/>
                              <a:pt x="174" y="495"/>
                              <a:pt x="169" y="503"/>
                            </a:cubicBezTo>
                            <a:cubicBezTo>
                              <a:pt x="168" y="506"/>
                              <a:pt x="165" y="509"/>
                              <a:pt x="163" y="513"/>
                            </a:cubicBezTo>
                            <a:cubicBezTo>
                              <a:pt x="159" y="519"/>
                              <a:pt x="154" y="525"/>
                              <a:pt x="154" y="530"/>
                            </a:cubicBezTo>
                            <a:cubicBezTo>
                              <a:pt x="153" y="533"/>
                              <a:pt x="155" y="536"/>
                              <a:pt x="157" y="538"/>
                            </a:cubicBezTo>
                            <a:cubicBezTo>
                              <a:pt x="160" y="541"/>
                              <a:pt x="163" y="545"/>
                              <a:pt x="163" y="551"/>
                            </a:cubicBezTo>
                            <a:cubicBezTo>
                              <a:pt x="163" y="553"/>
                              <a:pt x="163" y="556"/>
                              <a:pt x="163" y="558"/>
                            </a:cubicBezTo>
                            <a:cubicBezTo>
                              <a:pt x="162" y="567"/>
                              <a:pt x="162" y="577"/>
                              <a:pt x="165" y="582"/>
                            </a:cubicBezTo>
                            <a:cubicBezTo>
                              <a:pt x="167" y="587"/>
                              <a:pt x="168" y="591"/>
                              <a:pt x="168" y="594"/>
                            </a:cubicBezTo>
                            <a:cubicBezTo>
                              <a:pt x="168" y="598"/>
                              <a:pt x="166" y="602"/>
                              <a:pt x="163" y="607"/>
                            </a:cubicBezTo>
                            <a:cubicBezTo>
                              <a:pt x="160" y="614"/>
                              <a:pt x="152" y="626"/>
                              <a:pt x="146" y="635"/>
                            </a:cubicBezTo>
                            <a:cubicBezTo>
                              <a:pt x="144" y="638"/>
                              <a:pt x="143" y="641"/>
                              <a:pt x="142" y="642"/>
                            </a:cubicBezTo>
                            <a:cubicBezTo>
                              <a:pt x="140" y="646"/>
                              <a:pt x="136" y="652"/>
                              <a:pt x="135" y="660"/>
                            </a:cubicBezTo>
                            <a:cubicBezTo>
                              <a:pt x="133" y="665"/>
                              <a:pt x="132" y="671"/>
                              <a:pt x="133" y="677"/>
                            </a:cubicBezTo>
                            <a:cubicBezTo>
                              <a:pt x="134" y="690"/>
                              <a:pt x="132" y="692"/>
                              <a:pt x="126" y="698"/>
                            </a:cubicBezTo>
                            <a:cubicBezTo>
                              <a:pt x="126" y="698"/>
                              <a:pt x="126" y="698"/>
                              <a:pt x="126" y="698"/>
                            </a:cubicBezTo>
                            <a:cubicBezTo>
                              <a:pt x="125" y="699"/>
                              <a:pt x="124" y="700"/>
                              <a:pt x="123" y="701"/>
                            </a:cubicBezTo>
                            <a:cubicBezTo>
                              <a:pt x="120" y="705"/>
                              <a:pt x="107" y="718"/>
                              <a:pt x="94" y="731"/>
                            </a:cubicBezTo>
                            <a:cubicBezTo>
                              <a:pt x="82" y="743"/>
                              <a:pt x="69" y="756"/>
                              <a:pt x="64" y="761"/>
                            </a:cubicBezTo>
                            <a:cubicBezTo>
                              <a:pt x="67" y="766"/>
                              <a:pt x="69" y="771"/>
                              <a:pt x="71" y="776"/>
                            </a:cubicBezTo>
                            <a:cubicBezTo>
                              <a:pt x="73" y="782"/>
                              <a:pt x="75" y="788"/>
                              <a:pt x="76" y="795"/>
                            </a:cubicBezTo>
                            <a:cubicBezTo>
                              <a:pt x="78" y="802"/>
                              <a:pt x="79" y="810"/>
                              <a:pt x="80" y="815"/>
                            </a:cubicBezTo>
                            <a:cubicBezTo>
                              <a:pt x="81" y="819"/>
                              <a:pt x="82" y="822"/>
                              <a:pt x="83" y="826"/>
                            </a:cubicBezTo>
                            <a:cubicBezTo>
                              <a:pt x="85" y="829"/>
                              <a:pt x="87" y="832"/>
                              <a:pt x="90" y="836"/>
                            </a:cubicBezTo>
                            <a:cubicBezTo>
                              <a:pt x="94" y="841"/>
                              <a:pt x="97" y="846"/>
                              <a:pt x="100" y="853"/>
                            </a:cubicBezTo>
                            <a:cubicBezTo>
                              <a:pt x="102" y="860"/>
                              <a:pt x="104" y="868"/>
                              <a:pt x="105" y="879"/>
                            </a:cubicBezTo>
                            <a:cubicBezTo>
                              <a:pt x="106" y="889"/>
                              <a:pt x="107" y="906"/>
                              <a:pt x="108" y="922"/>
                            </a:cubicBezTo>
                            <a:cubicBezTo>
                              <a:pt x="108" y="938"/>
                              <a:pt x="109" y="954"/>
                              <a:pt x="109" y="959"/>
                            </a:cubicBezTo>
                            <a:cubicBezTo>
                              <a:pt x="109" y="962"/>
                              <a:pt x="109" y="964"/>
                              <a:pt x="109" y="967"/>
                            </a:cubicBezTo>
                            <a:cubicBezTo>
                              <a:pt x="109" y="973"/>
                              <a:pt x="108" y="977"/>
                              <a:pt x="111" y="986"/>
                            </a:cubicBezTo>
                            <a:cubicBezTo>
                              <a:pt x="113" y="992"/>
                              <a:pt x="114" y="999"/>
                              <a:pt x="115" y="1005"/>
                            </a:cubicBezTo>
                            <a:cubicBezTo>
                              <a:pt x="116" y="1013"/>
                              <a:pt x="116" y="1020"/>
                              <a:pt x="116" y="1026"/>
                            </a:cubicBezTo>
                            <a:cubicBezTo>
                              <a:pt x="116" y="1036"/>
                              <a:pt x="116" y="1046"/>
                              <a:pt x="119" y="1049"/>
                            </a:cubicBezTo>
                            <a:cubicBezTo>
                              <a:pt x="121" y="1051"/>
                              <a:pt x="122" y="1051"/>
                              <a:pt x="126" y="1052"/>
                            </a:cubicBezTo>
                            <a:cubicBezTo>
                              <a:pt x="127" y="1052"/>
                              <a:pt x="128" y="1052"/>
                              <a:pt x="130" y="1052"/>
                            </a:cubicBezTo>
                            <a:cubicBezTo>
                              <a:pt x="136" y="1053"/>
                              <a:pt x="148" y="1053"/>
                              <a:pt x="158" y="1053"/>
                            </a:cubicBezTo>
                            <a:cubicBezTo>
                              <a:pt x="160" y="1042"/>
                              <a:pt x="163" y="1032"/>
                              <a:pt x="163" y="1024"/>
                            </a:cubicBezTo>
                            <a:cubicBezTo>
                              <a:pt x="164" y="1012"/>
                              <a:pt x="167" y="1002"/>
                              <a:pt x="165" y="1001"/>
                            </a:cubicBezTo>
                            <a:cubicBezTo>
                              <a:pt x="163" y="1000"/>
                              <a:pt x="162" y="1006"/>
                              <a:pt x="159" y="1010"/>
                            </a:cubicBezTo>
                            <a:cubicBezTo>
                              <a:pt x="157" y="1013"/>
                              <a:pt x="152" y="1011"/>
                              <a:pt x="148" y="1007"/>
                            </a:cubicBezTo>
                            <a:cubicBezTo>
                              <a:pt x="145" y="1003"/>
                              <a:pt x="135" y="999"/>
                              <a:pt x="137" y="994"/>
                            </a:cubicBezTo>
                            <a:cubicBezTo>
                              <a:pt x="138" y="990"/>
                              <a:pt x="145" y="990"/>
                              <a:pt x="148" y="986"/>
                            </a:cubicBezTo>
                            <a:cubicBezTo>
                              <a:pt x="151" y="981"/>
                              <a:pt x="150" y="979"/>
                              <a:pt x="153" y="972"/>
                            </a:cubicBezTo>
                            <a:cubicBezTo>
                              <a:pt x="156" y="964"/>
                              <a:pt x="171" y="957"/>
                              <a:pt x="176" y="954"/>
                            </a:cubicBezTo>
                            <a:cubicBezTo>
                              <a:pt x="181" y="952"/>
                              <a:pt x="204" y="944"/>
                              <a:pt x="221" y="936"/>
                            </a:cubicBezTo>
                            <a:cubicBezTo>
                              <a:pt x="238" y="929"/>
                              <a:pt x="258" y="920"/>
                              <a:pt x="272" y="912"/>
                            </a:cubicBezTo>
                            <a:cubicBezTo>
                              <a:pt x="287" y="904"/>
                              <a:pt x="299" y="906"/>
                              <a:pt x="306" y="892"/>
                            </a:cubicBezTo>
                            <a:cubicBezTo>
                              <a:pt x="313" y="878"/>
                              <a:pt x="314" y="873"/>
                              <a:pt x="318" y="868"/>
                            </a:cubicBezTo>
                            <a:cubicBezTo>
                              <a:pt x="323" y="862"/>
                              <a:pt x="324" y="857"/>
                              <a:pt x="324" y="852"/>
                            </a:cubicBezTo>
                            <a:cubicBezTo>
                              <a:pt x="324" y="848"/>
                              <a:pt x="318" y="849"/>
                              <a:pt x="314" y="850"/>
                            </a:cubicBezTo>
                            <a:cubicBezTo>
                              <a:pt x="309" y="850"/>
                              <a:pt x="312" y="845"/>
                              <a:pt x="314" y="834"/>
                            </a:cubicBezTo>
                            <a:cubicBezTo>
                              <a:pt x="315" y="822"/>
                              <a:pt x="315" y="805"/>
                              <a:pt x="318" y="791"/>
                            </a:cubicBezTo>
                            <a:cubicBezTo>
                              <a:pt x="321" y="776"/>
                              <a:pt x="321" y="769"/>
                              <a:pt x="322" y="759"/>
                            </a:cubicBezTo>
                            <a:cubicBezTo>
                              <a:pt x="323" y="750"/>
                              <a:pt x="326" y="750"/>
                              <a:pt x="321" y="744"/>
                            </a:cubicBezTo>
                            <a:cubicBezTo>
                              <a:pt x="317" y="738"/>
                              <a:pt x="314" y="738"/>
                              <a:pt x="312" y="728"/>
                            </a:cubicBezTo>
                            <a:cubicBezTo>
                              <a:pt x="311" y="718"/>
                              <a:pt x="313" y="717"/>
                              <a:pt x="309" y="709"/>
                            </a:cubicBezTo>
                            <a:cubicBezTo>
                              <a:pt x="305" y="701"/>
                              <a:pt x="297" y="691"/>
                              <a:pt x="296" y="686"/>
                            </a:cubicBezTo>
                            <a:cubicBezTo>
                              <a:pt x="295" y="681"/>
                              <a:pt x="293" y="676"/>
                              <a:pt x="294" y="674"/>
                            </a:cubicBezTo>
                            <a:cubicBezTo>
                              <a:pt x="296" y="671"/>
                              <a:pt x="296" y="664"/>
                              <a:pt x="295" y="661"/>
                            </a:cubicBezTo>
                            <a:cubicBezTo>
                              <a:pt x="293" y="657"/>
                              <a:pt x="285" y="653"/>
                              <a:pt x="280" y="644"/>
                            </a:cubicBezTo>
                            <a:cubicBezTo>
                              <a:pt x="274" y="636"/>
                              <a:pt x="274" y="642"/>
                              <a:pt x="274" y="629"/>
                            </a:cubicBezTo>
                            <a:cubicBezTo>
                              <a:pt x="274" y="617"/>
                              <a:pt x="274" y="611"/>
                              <a:pt x="274" y="603"/>
                            </a:cubicBezTo>
                            <a:cubicBezTo>
                              <a:pt x="274" y="596"/>
                              <a:pt x="274" y="596"/>
                              <a:pt x="270" y="590"/>
                            </a:cubicBezTo>
                            <a:cubicBezTo>
                              <a:pt x="266" y="583"/>
                              <a:pt x="262" y="579"/>
                              <a:pt x="265" y="577"/>
                            </a:cubicBezTo>
                            <a:cubicBezTo>
                              <a:pt x="268" y="575"/>
                              <a:pt x="271" y="584"/>
                              <a:pt x="276" y="586"/>
                            </a:cubicBezTo>
                            <a:cubicBezTo>
                              <a:pt x="282" y="587"/>
                              <a:pt x="284" y="589"/>
                              <a:pt x="290" y="587"/>
                            </a:cubicBezTo>
                            <a:cubicBezTo>
                              <a:pt x="295" y="584"/>
                              <a:pt x="299" y="579"/>
                              <a:pt x="304" y="572"/>
                            </a:cubicBezTo>
                            <a:cubicBezTo>
                              <a:pt x="310" y="566"/>
                              <a:pt x="313" y="561"/>
                              <a:pt x="320" y="555"/>
                            </a:cubicBezTo>
                            <a:cubicBezTo>
                              <a:pt x="327" y="549"/>
                              <a:pt x="336" y="541"/>
                              <a:pt x="341" y="537"/>
                            </a:cubicBezTo>
                            <a:cubicBezTo>
                              <a:pt x="346" y="533"/>
                              <a:pt x="351" y="526"/>
                              <a:pt x="356" y="526"/>
                            </a:cubicBezTo>
                            <a:cubicBezTo>
                              <a:pt x="361" y="526"/>
                              <a:pt x="365" y="531"/>
                              <a:pt x="370" y="527"/>
                            </a:cubicBezTo>
                            <a:cubicBezTo>
                              <a:pt x="375" y="524"/>
                              <a:pt x="374" y="521"/>
                              <a:pt x="379" y="519"/>
                            </a:cubicBezTo>
                            <a:cubicBezTo>
                              <a:pt x="384" y="518"/>
                              <a:pt x="388" y="517"/>
                              <a:pt x="390" y="512"/>
                            </a:cubicBezTo>
                            <a:cubicBezTo>
                              <a:pt x="393" y="508"/>
                              <a:pt x="393" y="501"/>
                              <a:pt x="397" y="496"/>
                            </a:cubicBezTo>
                            <a:cubicBezTo>
                              <a:pt x="402" y="491"/>
                              <a:pt x="411" y="482"/>
                              <a:pt x="411" y="480"/>
                            </a:cubicBezTo>
                            <a:cubicBezTo>
                              <a:pt x="412" y="477"/>
                              <a:pt x="407" y="474"/>
                              <a:pt x="408" y="469"/>
                            </a:cubicBezTo>
                            <a:cubicBezTo>
                              <a:pt x="408" y="464"/>
                              <a:pt x="412" y="466"/>
                              <a:pt x="416" y="465"/>
                            </a:cubicBezTo>
                            <a:cubicBezTo>
                              <a:pt x="421" y="464"/>
                              <a:pt x="424" y="464"/>
                              <a:pt x="429" y="458"/>
                            </a:cubicBezTo>
                            <a:cubicBezTo>
                              <a:pt x="435" y="452"/>
                              <a:pt x="436" y="452"/>
                              <a:pt x="442" y="449"/>
                            </a:cubicBezTo>
                            <a:cubicBezTo>
                              <a:pt x="449" y="447"/>
                              <a:pt x="453" y="445"/>
                              <a:pt x="458" y="440"/>
                            </a:cubicBezTo>
                            <a:cubicBezTo>
                              <a:pt x="463" y="436"/>
                              <a:pt x="466" y="436"/>
                              <a:pt x="472" y="433"/>
                            </a:cubicBezTo>
                            <a:cubicBezTo>
                              <a:pt x="477" y="430"/>
                              <a:pt x="475" y="429"/>
                              <a:pt x="483" y="424"/>
                            </a:cubicBezTo>
                            <a:cubicBezTo>
                              <a:pt x="491" y="418"/>
                              <a:pt x="496" y="417"/>
                              <a:pt x="503" y="416"/>
                            </a:cubicBezTo>
                            <a:cubicBezTo>
                              <a:pt x="510" y="414"/>
                              <a:pt x="521" y="413"/>
                              <a:pt x="526" y="410"/>
                            </a:cubicBezTo>
                            <a:cubicBezTo>
                              <a:pt x="532" y="408"/>
                              <a:pt x="549" y="400"/>
                              <a:pt x="558" y="395"/>
                            </a:cubicBezTo>
                            <a:cubicBezTo>
                              <a:pt x="566" y="389"/>
                              <a:pt x="576" y="385"/>
                              <a:pt x="584" y="375"/>
                            </a:cubicBezTo>
                            <a:cubicBezTo>
                              <a:pt x="592" y="365"/>
                              <a:pt x="597" y="357"/>
                              <a:pt x="605" y="345"/>
                            </a:cubicBezTo>
                            <a:cubicBezTo>
                              <a:pt x="612" y="333"/>
                              <a:pt x="625" y="317"/>
                              <a:pt x="635" y="307"/>
                            </a:cubicBezTo>
                            <a:cubicBezTo>
                              <a:pt x="645" y="296"/>
                              <a:pt x="648" y="291"/>
                              <a:pt x="648" y="282"/>
                            </a:cubicBezTo>
                            <a:cubicBezTo>
                              <a:pt x="649" y="272"/>
                              <a:pt x="653" y="268"/>
                              <a:pt x="653" y="262"/>
                            </a:cubicBezTo>
                            <a:cubicBezTo>
                              <a:pt x="653" y="255"/>
                              <a:pt x="644" y="255"/>
                              <a:pt x="644" y="255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grpSp>
                    <p:nvGrpSpPr>
                      <p:cNvPr id="449" name="Gruppieren 448"/>
                      <p:cNvGrpSpPr/>
                      <p:nvPr/>
                    </p:nvGrpSpPr>
                    <p:grpSpPr>
                      <a:xfrm>
                        <a:off x="3927985" y="2709360"/>
                        <a:ext cx="3830240" cy="2146697"/>
                        <a:chOff x="3927985" y="2709360"/>
                        <a:chExt cx="3830240" cy="2146697"/>
                      </a:xfrm>
                      <a:grpFill/>
                    </p:grpSpPr>
                    <p:sp>
                      <p:nvSpPr>
                        <p:cNvPr id="450" name="Freeform 180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404234" y="3899985"/>
                          <a:ext cx="19050" cy="15478"/>
                        </a:xfrm>
                        <a:custGeom>
                          <a:avLst/>
                          <a:gdLst>
                            <a:gd name="T0" fmla="*/ 44 w 67"/>
                            <a:gd name="T1" fmla="*/ 0 h 52"/>
                            <a:gd name="T2" fmla="*/ 25 w 67"/>
                            <a:gd name="T3" fmla="*/ 7 h 52"/>
                            <a:gd name="T4" fmla="*/ 12 w 67"/>
                            <a:gd name="T5" fmla="*/ 17 h 52"/>
                            <a:gd name="T6" fmla="*/ 2 w 67"/>
                            <a:gd name="T7" fmla="*/ 21 h 52"/>
                            <a:gd name="T8" fmla="*/ 4 w 67"/>
                            <a:gd name="T9" fmla="*/ 30 h 52"/>
                            <a:gd name="T10" fmla="*/ 14 w 67"/>
                            <a:gd name="T11" fmla="*/ 30 h 52"/>
                            <a:gd name="T12" fmla="*/ 23 w 67"/>
                            <a:gd name="T13" fmla="*/ 35 h 52"/>
                            <a:gd name="T14" fmla="*/ 29 w 67"/>
                            <a:gd name="T15" fmla="*/ 44 h 52"/>
                            <a:gd name="T16" fmla="*/ 40 w 67"/>
                            <a:gd name="T17" fmla="*/ 48 h 52"/>
                            <a:gd name="T18" fmla="*/ 50 w 67"/>
                            <a:gd name="T19" fmla="*/ 38 h 52"/>
                            <a:gd name="T20" fmla="*/ 61 w 67"/>
                            <a:gd name="T21" fmla="*/ 29 h 52"/>
                            <a:gd name="T22" fmla="*/ 65 w 67"/>
                            <a:gd name="T23" fmla="*/ 16 h 52"/>
                            <a:gd name="T24" fmla="*/ 55 w 67"/>
                            <a:gd name="T25" fmla="*/ 13 h 52"/>
                            <a:gd name="T26" fmla="*/ 49 w 67"/>
                            <a:gd name="T27" fmla="*/ 7 h 52"/>
                            <a:gd name="T28" fmla="*/ 44 w 67"/>
                            <a:gd name="T29" fmla="*/ 0 h 5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</a:cxnLst>
                          <a:rect l="0" t="0" r="r" b="b"/>
                          <a:pathLst>
                            <a:path w="67" h="52">
                              <a:moveTo>
                                <a:pt x="44" y="0"/>
                              </a:moveTo>
                              <a:cubicBezTo>
                                <a:pt x="36" y="0"/>
                                <a:pt x="29" y="3"/>
                                <a:pt x="25" y="7"/>
                              </a:cubicBezTo>
                              <a:cubicBezTo>
                                <a:pt x="20" y="12"/>
                                <a:pt x="19" y="14"/>
                                <a:pt x="12" y="17"/>
                              </a:cubicBezTo>
                              <a:cubicBezTo>
                                <a:pt x="4" y="19"/>
                                <a:pt x="2" y="17"/>
                                <a:pt x="2" y="21"/>
                              </a:cubicBezTo>
                              <a:cubicBezTo>
                                <a:pt x="1" y="26"/>
                                <a:pt x="0" y="28"/>
                                <a:pt x="4" y="30"/>
                              </a:cubicBezTo>
                              <a:cubicBezTo>
                                <a:pt x="8" y="31"/>
                                <a:pt x="11" y="30"/>
                                <a:pt x="14" y="30"/>
                              </a:cubicBezTo>
                              <a:cubicBezTo>
                                <a:pt x="18" y="29"/>
                                <a:pt x="21" y="30"/>
                                <a:pt x="23" y="35"/>
                              </a:cubicBezTo>
                              <a:cubicBezTo>
                                <a:pt x="24" y="39"/>
                                <a:pt x="23" y="41"/>
                                <a:pt x="29" y="44"/>
                              </a:cubicBezTo>
                              <a:cubicBezTo>
                                <a:pt x="34" y="47"/>
                                <a:pt x="37" y="52"/>
                                <a:pt x="40" y="48"/>
                              </a:cubicBezTo>
                              <a:cubicBezTo>
                                <a:pt x="44" y="45"/>
                                <a:pt x="44" y="42"/>
                                <a:pt x="50" y="38"/>
                              </a:cubicBezTo>
                              <a:cubicBezTo>
                                <a:pt x="55" y="33"/>
                                <a:pt x="60" y="35"/>
                                <a:pt x="61" y="29"/>
                              </a:cubicBezTo>
                              <a:cubicBezTo>
                                <a:pt x="62" y="23"/>
                                <a:pt x="67" y="18"/>
                                <a:pt x="65" y="16"/>
                              </a:cubicBezTo>
                              <a:cubicBezTo>
                                <a:pt x="63" y="15"/>
                                <a:pt x="59" y="14"/>
                                <a:pt x="55" y="13"/>
                              </a:cubicBezTo>
                              <a:cubicBezTo>
                                <a:pt x="51" y="12"/>
                                <a:pt x="49" y="10"/>
                                <a:pt x="49" y="7"/>
                              </a:cubicBezTo>
                              <a:cubicBezTo>
                                <a:pt x="50" y="4"/>
                                <a:pt x="51" y="0"/>
                                <a:pt x="44" y="0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51" name="Freeform 181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194684" y="3854741"/>
                          <a:ext cx="55959" cy="105966"/>
                        </a:xfrm>
                        <a:custGeom>
                          <a:avLst/>
                          <a:gdLst>
                            <a:gd name="T0" fmla="*/ 142 w 195"/>
                            <a:gd name="T1" fmla="*/ 293 h 368"/>
                            <a:gd name="T2" fmla="*/ 144 w 195"/>
                            <a:gd name="T3" fmla="*/ 291 h 368"/>
                            <a:gd name="T4" fmla="*/ 147 w 195"/>
                            <a:gd name="T5" fmla="*/ 285 h 368"/>
                            <a:gd name="T6" fmla="*/ 131 w 195"/>
                            <a:gd name="T7" fmla="*/ 266 h 368"/>
                            <a:gd name="T8" fmla="*/ 135 w 195"/>
                            <a:gd name="T9" fmla="*/ 243 h 368"/>
                            <a:gd name="T10" fmla="*/ 136 w 195"/>
                            <a:gd name="T11" fmla="*/ 241 h 368"/>
                            <a:gd name="T12" fmla="*/ 148 w 195"/>
                            <a:gd name="T13" fmla="*/ 221 h 368"/>
                            <a:gd name="T14" fmla="*/ 125 w 195"/>
                            <a:gd name="T15" fmla="*/ 199 h 368"/>
                            <a:gd name="T16" fmla="*/ 117 w 195"/>
                            <a:gd name="T17" fmla="*/ 183 h 368"/>
                            <a:gd name="T18" fmla="*/ 120 w 195"/>
                            <a:gd name="T19" fmla="*/ 176 h 368"/>
                            <a:gd name="T20" fmla="*/ 137 w 195"/>
                            <a:gd name="T21" fmla="*/ 173 h 368"/>
                            <a:gd name="T22" fmla="*/ 148 w 195"/>
                            <a:gd name="T23" fmla="*/ 173 h 368"/>
                            <a:gd name="T24" fmla="*/ 153 w 195"/>
                            <a:gd name="T25" fmla="*/ 140 h 368"/>
                            <a:gd name="T26" fmla="*/ 159 w 195"/>
                            <a:gd name="T27" fmla="*/ 107 h 368"/>
                            <a:gd name="T28" fmla="*/ 154 w 195"/>
                            <a:gd name="T29" fmla="*/ 79 h 368"/>
                            <a:gd name="T30" fmla="*/ 180 w 195"/>
                            <a:gd name="T31" fmla="*/ 54 h 368"/>
                            <a:gd name="T32" fmla="*/ 194 w 195"/>
                            <a:gd name="T33" fmla="*/ 42 h 368"/>
                            <a:gd name="T34" fmla="*/ 194 w 195"/>
                            <a:gd name="T35" fmla="*/ 39 h 368"/>
                            <a:gd name="T36" fmla="*/ 187 w 195"/>
                            <a:gd name="T37" fmla="*/ 33 h 368"/>
                            <a:gd name="T38" fmla="*/ 175 w 195"/>
                            <a:gd name="T39" fmla="*/ 14 h 368"/>
                            <a:gd name="T40" fmla="*/ 161 w 195"/>
                            <a:gd name="T41" fmla="*/ 11 h 368"/>
                            <a:gd name="T42" fmla="*/ 152 w 195"/>
                            <a:gd name="T43" fmla="*/ 13 h 368"/>
                            <a:gd name="T44" fmla="*/ 125 w 195"/>
                            <a:gd name="T45" fmla="*/ 18 h 368"/>
                            <a:gd name="T46" fmla="*/ 105 w 195"/>
                            <a:gd name="T47" fmla="*/ 20 h 368"/>
                            <a:gd name="T48" fmla="*/ 95 w 195"/>
                            <a:gd name="T49" fmla="*/ 25 h 368"/>
                            <a:gd name="T50" fmla="*/ 79 w 195"/>
                            <a:gd name="T51" fmla="*/ 13 h 368"/>
                            <a:gd name="T52" fmla="*/ 82 w 195"/>
                            <a:gd name="T53" fmla="*/ 6 h 368"/>
                            <a:gd name="T54" fmla="*/ 81 w 195"/>
                            <a:gd name="T55" fmla="*/ 1 h 368"/>
                            <a:gd name="T56" fmla="*/ 79 w 195"/>
                            <a:gd name="T57" fmla="*/ 0 h 368"/>
                            <a:gd name="T58" fmla="*/ 51 w 195"/>
                            <a:gd name="T59" fmla="*/ 11 h 368"/>
                            <a:gd name="T60" fmla="*/ 39 w 195"/>
                            <a:gd name="T61" fmla="*/ 26 h 368"/>
                            <a:gd name="T62" fmla="*/ 44 w 195"/>
                            <a:gd name="T63" fmla="*/ 57 h 368"/>
                            <a:gd name="T64" fmla="*/ 49 w 195"/>
                            <a:gd name="T65" fmla="*/ 85 h 368"/>
                            <a:gd name="T66" fmla="*/ 45 w 195"/>
                            <a:gd name="T67" fmla="*/ 110 h 368"/>
                            <a:gd name="T68" fmla="*/ 37 w 195"/>
                            <a:gd name="T69" fmla="*/ 145 h 368"/>
                            <a:gd name="T70" fmla="*/ 24 w 195"/>
                            <a:gd name="T71" fmla="*/ 183 h 368"/>
                            <a:gd name="T72" fmla="*/ 6 w 195"/>
                            <a:gd name="T73" fmla="*/ 210 h 368"/>
                            <a:gd name="T74" fmla="*/ 8 w 195"/>
                            <a:gd name="T75" fmla="*/ 247 h 368"/>
                            <a:gd name="T76" fmla="*/ 26 w 195"/>
                            <a:gd name="T77" fmla="*/ 231 h 368"/>
                            <a:gd name="T78" fmla="*/ 29 w 195"/>
                            <a:gd name="T79" fmla="*/ 245 h 368"/>
                            <a:gd name="T80" fmla="*/ 18 w 195"/>
                            <a:gd name="T81" fmla="*/ 262 h 368"/>
                            <a:gd name="T82" fmla="*/ 34 w 195"/>
                            <a:gd name="T83" fmla="*/ 254 h 368"/>
                            <a:gd name="T84" fmla="*/ 49 w 195"/>
                            <a:gd name="T85" fmla="*/ 260 h 368"/>
                            <a:gd name="T86" fmla="*/ 40 w 195"/>
                            <a:gd name="T87" fmla="*/ 277 h 368"/>
                            <a:gd name="T88" fmla="*/ 42 w 195"/>
                            <a:gd name="T89" fmla="*/ 308 h 368"/>
                            <a:gd name="T90" fmla="*/ 40 w 195"/>
                            <a:gd name="T91" fmla="*/ 336 h 368"/>
                            <a:gd name="T92" fmla="*/ 33 w 195"/>
                            <a:gd name="T93" fmla="*/ 363 h 368"/>
                            <a:gd name="T94" fmla="*/ 61 w 195"/>
                            <a:gd name="T95" fmla="*/ 358 h 368"/>
                            <a:gd name="T96" fmla="*/ 98 w 195"/>
                            <a:gd name="T97" fmla="*/ 368 h 368"/>
                            <a:gd name="T98" fmla="*/ 123 w 195"/>
                            <a:gd name="T99" fmla="*/ 356 h 368"/>
                            <a:gd name="T100" fmla="*/ 131 w 195"/>
                            <a:gd name="T101" fmla="*/ 301 h 36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</a:cxnLst>
                          <a:rect l="0" t="0" r="r" b="b"/>
                          <a:pathLst>
                            <a:path w="195" h="368">
                              <a:moveTo>
                                <a:pt x="131" y="301"/>
                              </a:moveTo>
                              <a:cubicBezTo>
                                <a:pt x="135" y="297"/>
                                <a:pt x="139" y="295"/>
                                <a:pt x="142" y="293"/>
                              </a:cubicBezTo>
                              <a:cubicBezTo>
                                <a:pt x="142" y="293"/>
                                <a:pt x="142" y="293"/>
                                <a:pt x="142" y="293"/>
                              </a:cubicBezTo>
                              <a:cubicBezTo>
                                <a:pt x="144" y="291"/>
                                <a:pt x="144" y="291"/>
                                <a:pt x="144" y="291"/>
                              </a:cubicBezTo>
                              <a:cubicBezTo>
                                <a:pt x="148" y="288"/>
                                <a:pt x="150" y="287"/>
                                <a:pt x="150" y="285"/>
                              </a:cubicBezTo>
                              <a:cubicBezTo>
                                <a:pt x="150" y="285"/>
                                <a:pt x="149" y="285"/>
                                <a:pt x="147" y="285"/>
                              </a:cubicBezTo>
                              <a:cubicBezTo>
                                <a:pt x="145" y="284"/>
                                <a:pt x="142" y="284"/>
                                <a:pt x="140" y="282"/>
                              </a:cubicBezTo>
                              <a:cubicBezTo>
                                <a:pt x="134" y="278"/>
                                <a:pt x="133" y="272"/>
                                <a:pt x="131" y="266"/>
                              </a:cubicBezTo>
                              <a:cubicBezTo>
                                <a:pt x="130" y="265"/>
                                <a:pt x="130" y="264"/>
                                <a:pt x="130" y="263"/>
                              </a:cubicBezTo>
                              <a:cubicBezTo>
                                <a:pt x="127" y="255"/>
                                <a:pt x="131" y="249"/>
                                <a:pt x="135" y="243"/>
                              </a:cubicBezTo>
                              <a:cubicBezTo>
                                <a:pt x="135" y="243"/>
                                <a:pt x="135" y="243"/>
                                <a:pt x="135" y="243"/>
                              </a:cubicBezTo>
                              <a:cubicBezTo>
                                <a:pt x="135" y="242"/>
                                <a:pt x="135" y="242"/>
                                <a:pt x="136" y="241"/>
                              </a:cubicBezTo>
                              <a:cubicBezTo>
                                <a:pt x="137" y="238"/>
                                <a:pt x="139" y="236"/>
                                <a:pt x="141" y="233"/>
                              </a:cubicBezTo>
                              <a:cubicBezTo>
                                <a:pt x="144" y="228"/>
                                <a:pt x="148" y="223"/>
                                <a:pt x="148" y="221"/>
                              </a:cubicBezTo>
                              <a:cubicBezTo>
                                <a:pt x="147" y="219"/>
                                <a:pt x="143" y="215"/>
                                <a:pt x="137" y="210"/>
                              </a:cubicBezTo>
                              <a:cubicBezTo>
                                <a:pt x="133" y="207"/>
                                <a:pt x="129" y="203"/>
                                <a:pt x="125" y="199"/>
                              </a:cubicBezTo>
                              <a:cubicBezTo>
                                <a:pt x="123" y="196"/>
                                <a:pt x="121" y="194"/>
                                <a:pt x="120" y="192"/>
                              </a:cubicBezTo>
                              <a:cubicBezTo>
                                <a:pt x="118" y="188"/>
                                <a:pt x="117" y="185"/>
                                <a:pt x="117" y="183"/>
                              </a:cubicBezTo>
                              <a:cubicBezTo>
                                <a:pt x="117" y="180"/>
                                <a:pt x="118" y="177"/>
                                <a:pt x="120" y="176"/>
                              </a:cubicBezTo>
                              <a:cubicBezTo>
                                <a:pt x="120" y="176"/>
                                <a:pt x="120" y="176"/>
                                <a:pt x="120" y="176"/>
                              </a:cubicBezTo>
                              <a:cubicBezTo>
                                <a:pt x="120" y="175"/>
                                <a:pt x="121" y="175"/>
                                <a:pt x="121" y="175"/>
                              </a:cubicBezTo>
                              <a:cubicBezTo>
                                <a:pt x="123" y="174"/>
                                <a:pt x="130" y="173"/>
                                <a:pt x="137" y="173"/>
                              </a:cubicBezTo>
                              <a:cubicBezTo>
                                <a:pt x="142" y="173"/>
                                <a:pt x="148" y="176"/>
                                <a:pt x="148" y="175"/>
                              </a:cubicBezTo>
                              <a:cubicBezTo>
                                <a:pt x="148" y="173"/>
                                <a:pt x="148" y="173"/>
                                <a:pt x="148" y="173"/>
                              </a:cubicBezTo>
                              <a:cubicBezTo>
                                <a:pt x="148" y="173"/>
                                <a:pt x="148" y="173"/>
                                <a:pt x="148" y="173"/>
                              </a:cubicBezTo>
                              <a:cubicBezTo>
                                <a:pt x="149" y="166"/>
                                <a:pt x="152" y="147"/>
                                <a:pt x="153" y="140"/>
                              </a:cubicBezTo>
                              <a:cubicBezTo>
                                <a:pt x="153" y="136"/>
                                <a:pt x="154" y="131"/>
                                <a:pt x="156" y="126"/>
                              </a:cubicBezTo>
                              <a:cubicBezTo>
                                <a:pt x="157" y="120"/>
                                <a:pt x="159" y="113"/>
                                <a:pt x="159" y="107"/>
                              </a:cubicBezTo>
                              <a:cubicBezTo>
                                <a:pt x="159" y="102"/>
                                <a:pt x="158" y="98"/>
                                <a:pt x="157" y="93"/>
                              </a:cubicBezTo>
                              <a:cubicBezTo>
                                <a:pt x="155" y="89"/>
                                <a:pt x="154" y="85"/>
                                <a:pt x="154" y="79"/>
                              </a:cubicBezTo>
                              <a:cubicBezTo>
                                <a:pt x="153" y="66"/>
                                <a:pt x="158" y="64"/>
                                <a:pt x="173" y="57"/>
                              </a:cubicBezTo>
                              <a:cubicBezTo>
                                <a:pt x="175" y="56"/>
                                <a:pt x="178" y="54"/>
                                <a:pt x="180" y="54"/>
                              </a:cubicBezTo>
                              <a:cubicBezTo>
                                <a:pt x="184" y="52"/>
                                <a:pt x="187" y="50"/>
                                <a:pt x="189" y="48"/>
                              </a:cubicBezTo>
                              <a:cubicBezTo>
                                <a:pt x="192" y="46"/>
                                <a:pt x="193" y="44"/>
                                <a:pt x="194" y="42"/>
                              </a:cubicBezTo>
                              <a:cubicBezTo>
                                <a:pt x="194" y="42"/>
                                <a:pt x="194" y="42"/>
                                <a:pt x="194" y="42"/>
                              </a:cubicBezTo>
                              <a:cubicBezTo>
                                <a:pt x="195" y="41"/>
                                <a:pt x="194" y="40"/>
                                <a:pt x="194" y="39"/>
                              </a:cubicBezTo>
                              <a:cubicBezTo>
                                <a:pt x="194" y="39"/>
                                <a:pt x="194" y="38"/>
                                <a:pt x="193" y="38"/>
                              </a:cubicBezTo>
                              <a:cubicBezTo>
                                <a:pt x="192" y="36"/>
                                <a:pt x="190" y="35"/>
                                <a:pt x="187" y="33"/>
                              </a:cubicBezTo>
                              <a:cubicBezTo>
                                <a:pt x="184" y="31"/>
                                <a:pt x="181" y="29"/>
                                <a:pt x="178" y="25"/>
                              </a:cubicBezTo>
                              <a:cubicBezTo>
                                <a:pt x="175" y="22"/>
                                <a:pt x="175" y="18"/>
                                <a:pt x="175" y="14"/>
                              </a:cubicBezTo>
                              <a:cubicBezTo>
                                <a:pt x="174" y="12"/>
                                <a:pt x="174" y="11"/>
                                <a:pt x="173" y="11"/>
                              </a:cubicBezTo>
                              <a:cubicBezTo>
                                <a:pt x="170" y="10"/>
                                <a:pt x="165" y="10"/>
                                <a:pt x="161" y="11"/>
                              </a:cubicBezTo>
                              <a:cubicBezTo>
                                <a:pt x="157" y="11"/>
                                <a:pt x="154" y="12"/>
                                <a:pt x="152" y="13"/>
                              </a:cubicBezTo>
                              <a:cubicBezTo>
                                <a:pt x="152" y="13"/>
                                <a:pt x="152" y="13"/>
                                <a:pt x="152" y="13"/>
                              </a:cubicBezTo>
                              <a:cubicBezTo>
                                <a:pt x="149" y="14"/>
                                <a:pt x="145" y="16"/>
                                <a:pt x="141" y="17"/>
                              </a:cubicBezTo>
                              <a:cubicBezTo>
                                <a:pt x="136" y="18"/>
                                <a:pt x="131" y="18"/>
                                <a:pt x="125" y="18"/>
                              </a:cubicBezTo>
                              <a:cubicBezTo>
                                <a:pt x="119" y="17"/>
                                <a:pt x="115" y="17"/>
                                <a:pt x="112" y="17"/>
                              </a:cubicBezTo>
                              <a:cubicBezTo>
                                <a:pt x="109" y="18"/>
                                <a:pt x="107" y="19"/>
                                <a:pt x="105" y="20"/>
                              </a:cubicBezTo>
                              <a:cubicBezTo>
                                <a:pt x="102" y="23"/>
                                <a:pt x="99" y="24"/>
                                <a:pt x="96" y="25"/>
                              </a:cubicBezTo>
                              <a:cubicBezTo>
                                <a:pt x="95" y="25"/>
                                <a:pt x="95" y="25"/>
                                <a:pt x="95" y="25"/>
                              </a:cubicBezTo>
                              <a:cubicBezTo>
                                <a:pt x="92" y="26"/>
                                <a:pt x="88" y="26"/>
                                <a:pt x="84" y="24"/>
                              </a:cubicBezTo>
                              <a:cubicBezTo>
                                <a:pt x="77" y="22"/>
                                <a:pt x="77" y="18"/>
                                <a:pt x="79" y="13"/>
                              </a:cubicBezTo>
                              <a:cubicBezTo>
                                <a:pt x="80" y="12"/>
                                <a:pt x="80" y="11"/>
                                <a:pt x="81" y="10"/>
                              </a:cubicBezTo>
                              <a:cubicBezTo>
                                <a:pt x="81" y="9"/>
                                <a:pt x="82" y="7"/>
                                <a:pt x="82" y="6"/>
                              </a:cubicBezTo>
                              <a:cubicBezTo>
                                <a:pt x="82" y="6"/>
                                <a:pt x="82" y="6"/>
                                <a:pt x="82" y="5"/>
                              </a:cubicBezTo>
                              <a:cubicBezTo>
                                <a:pt x="82" y="4"/>
                                <a:pt x="82" y="2"/>
                                <a:pt x="81" y="1"/>
                              </a:cubicBezTo>
                              <a:cubicBezTo>
                                <a:pt x="81" y="0"/>
                                <a:pt x="80" y="0"/>
                                <a:pt x="79" y="0"/>
                              </a:cubicBezTo>
                              <a:cubicBezTo>
                                <a:pt x="79" y="0"/>
                                <a:pt x="79" y="0"/>
                                <a:pt x="79" y="0"/>
                              </a:cubicBezTo>
                              <a:cubicBezTo>
                                <a:pt x="76" y="0"/>
                                <a:pt x="70" y="1"/>
                                <a:pt x="64" y="3"/>
                              </a:cubicBezTo>
                              <a:cubicBezTo>
                                <a:pt x="60" y="5"/>
                                <a:pt x="55" y="8"/>
                                <a:pt x="51" y="11"/>
                              </a:cubicBezTo>
                              <a:cubicBezTo>
                                <a:pt x="47" y="16"/>
                                <a:pt x="42" y="18"/>
                                <a:pt x="38" y="20"/>
                              </a:cubicBezTo>
                              <a:cubicBezTo>
                                <a:pt x="38" y="23"/>
                                <a:pt x="39" y="25"/>
                                <a:pt x="39" y="26"/>
                              </a:cubicBezTo>
                              <a:cubicBezTo>
                                <a:pt x="42" y="30"/>
                                <a:pt x="45" y="33"/>
                                <a:pt x="44" y="41"/>
                              </a:cubicBezTo>
                              <a:cubicBezTo>
                                <a:pt x="43" y="49"/>
                                <a:pt x="42" y="53"/>
                                <a:pt x="44" y="57"/>
                              </a:cubicBezTo>
                              <a:cubicBezTo>
                                <a:pt x="47" y="61"/>
                                <a:pt x="52" y="64"/>
                                <a:pt x="51" y="70"/>
                              </a:cubicBezTo>
                              <a:cubicBezTo>
                                <a:pt x="51" y="76"/>
                                <a:pt x="50" y="80"/>
                                <a:pt x="49" y="85"/>
                              </a:cubicBezTo>
                              <a:cubicBezTo>
                                <a:pt x="49" y="89"/>
                                <a:pt x="52" y="94"/>
                                <a:pt x="51" y="97"/>
                              </a:cubicBezTo>
                              <a:cubicBezTo>
                                <a:pt x="51" y="99"/>
                                <a:pt x="46" y="106"/>
                                <a:pt x="45" y="110"/>
                              </a:cubicBezTo>
                              <a:cubicBezTo>
                                <a:pt x="44" y="114"/>
                                <a:pt x="42" y="115"/>
                                <a:pt x="41" y="124"/>
                              </a:cubicBezTo>
                              <a:cubicBezTo>
                                <a:pt x="40" y="132"/>
                                <a:pt x="38" y="138"/>
                                <a:pt x="37" y="145"/>
                              </a:cubicBezTo>
                              <a:cubicBezTo>
                                <a:pt x="37" y="151"/>
                                <a:pt x="34" y="155"/>
                                <a:pt x="31" y="161"/>
                              </a:cubicBezTo>
                              <a:cubicBezTo>
                                <a:pt x="28" y="168"/>
                                <a:pt x="25" y="176"/>
                                <a:pt x="24" y="183"/>
                              </a:cubicBezTo>
                              <a:cubicBezTo>
                                <a:pt x="22" y="191"/>
                                <a:pt x="20" y="190"/>
                                <a:pt x="16" y="196"/>
                              </a:cubicBezTo>
                              <a:cubicBezTo>
                                <a:pt x="13" y="202"/>
                                <a:pt x="7" y="204"/>
                                <a:pt x="6" y="210"/>
                              </a:cubicBezTo>
                              <a:cubicBezTo>
                                <a:pt x="5" y="216"/>
                                <a:pt x="5" y="226"/>
                                <a:pt x="3" y="234"/>
                              </a:cubicBezTo>
                              <a:cubicBezTo>
                                <a:pt x="0" y="242"/>
                                <a:pt x="3" y="247"/>
                                <a:pt x="8" y="247"/>
                              </a:cubicBezTo>
                              <a:cubicBezTo>
                                <a:pt x="12" y="248"/>
                                <a:pt x="16" y="247"/>
                                <a:pt x="18" y="242"/>
                              </a:cubicBezTo>
                              <a:cubicBezTo>
                                <a:pt x="21" y="237"/>
                                <a:pt x="22" y="232"/>
                                <a:pt x="26" y="231"/>
                              </a:cubicBezTo>
                              <a:cubicBezTo>
                                <a:pt x="29" y="230"/>
                                <a:pt x="34" y="231"/>
                                <a:pt x="34" y="234"/>
                              </a:cubicBezTo>
                              <a:cubicBezTo>
                                <a:pt x="34" y="238"/>
                                <a:pt x="34" y="241"/>
                                <a:pt x="29" y="245"/>
                              </a:cubicBezTo>
                              <a:cubicBezTo>
                                <a:pt x="24" y="248"/>
                                <a:pt x="19" y="248"/>
                                <a:pt x="18" y="251"/>
                              </a:cubicBezTo>
                              <a:cubicBezTo>
                                <a:pt x="16" y="255"/>
                                <a:pt x="12" y="261"/>
                                <a:pt x="18" y="262"/>
                              </a:cubicBezTo>
                              <a:cubicBezTo>
                                <a:pt x="23" y="264"/>
                                <a:pt x="24" y="266"/>
                                <a:pt x="27" y="262"/>
                              </a:cubicBezTo>
                              <a:cubicBezTo>
                                <a:pt x="30" y="257"/>
                                <a:pt x="30" y="254"/>
                                <a:pt x="34" y="254"/>
                              </a:cubicBezTo>
                              <a:cubicBezTo>
                                <a:pt x="39" y="254"/>
                                <a:pt x="40" y="253"/>
                                <a:pt x="44" y="255"/>
                              </a:cubicBezTo>
                              <a:cubicBezTo>
                                <a:pt x="47" y="257"/>
                                <a:pt x="49" y="256"/>
                                <a:pt x="49" y="260"/>
                              </a:cubicBezTo>
                              <a:cubicBezTo>
                                <a:pt x="49" y="263"/>
                                <a:pt x="45" y="266"/>
                                <a:pt x="43" y="267"/>
                              </a:cubicBezTo>
                              <a:cubicBezTo>
                                <a:pt x="41" y="268"/>
                                <a:pt x="39" y="272"/>
                                <a:pt x="40" y="277"/>
                              </a:cubicBezTo>
                              <a:cubicBezTo>
                                <a:pt x="41" y="281"/>
                                <a:pt x="42" y="283"/>
                                <a:pt x="43" y="288"/>
                              </a:cubicBezTo>
                              <a:cubicBezTo>
                                <a:pt x="43" y="293"/>
                                <a:pt x="42" y="303"/>
                                <a:pt x="42" y="308"/>
                              </a:cubicBezTo>
                              <a:cubicBezTo>
                                <a:pt x="42" y="312"/>
                                <a:pt x="44" y="317"/>
                                <a:pt x="44" y="322"/>
                              </a:cubicBezTo>
                              <a:cubicBezTo>
                                <a:pt x="45" y="326"/>
                                <a:pt x="41" y="333"/>
                                <a:pt x="40" y="336"/>
                              </a:cubicBezTo>
                              <a:cubicBezTo>
                                <a:pt x="39" y="339"/>
                                <a:pt x="37" y="347"/>
                                <a:pt x="35" y="350"/>
                              </a:cubicBezTo>
                              <a:cubicBezTo>
                                <a:pt x="33" y="354"/>
                                <a:pt x="31" y="360"/>
                                <a:pt x="33" y="363"/>
                              </a:cubicBezTo>
                              <a:cubicBezTo>
                                <a:pt x="36" y="366"/>
                                <a:pt x="42" y="365"/>
                                <a:pt x="46" y="362"/>
                              </a:cubicBezTo>
                              <a:cubicBezTo>
                                <a:pt x="51" y="359"/>
                                <a:pt x="54" y="356"/>
                                <a:pt x="61" y="358"/>
                              </a:cubicBezTo>
                              <a:cubicBezTo>
                                <a:pt x="68" y="360"/>
                                <a:pt x="72" y="361"/>
                                <a:pt x="78" y="364"/>
                              </a:cubicBezTo>
                              <a:cubicBezTo>
                                <a:pt x="84" y="367"/>
                                <a:pt x="93" y="368"/>
                                <a:pt x="98" y="368"/>
                              </a:cubicBezTo>
                              <a:cubicBezTo>
                                <a:pt x="102" y="367"/>
                                <a:pt x="108" y="362"/>
                                <a:pt x="114" y="360"/>
                              </a:cubicBezTo>
                              <a:cubicBezTo>
                                <a:pt x="117" y="359"/>
                                <a:pt x="120" y="358"/>
                                <a:pt x="123" y="356"/>
                              </a:cubicBezTo>
                              <a:cubicBezTo>
                                <a:pt x="119" y="345"/>
                                <a:pt x="115" y="327"/>
                                <a:pt x="119" y="317"/>
                              </a:cubicBezTo>
                              <a:cubicBezTo>
                                <a:pt x="123" y="310"/>
                                <a:pt x="127" y="305"/>
                                <a:pt x="131" y="301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52" name="Freeform 208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735228" y="3526129"/>
                          <a:ext cx="98822" cy="59531"/>
                        </a:xfrm>
                        <a:custGeom>
                          <a:avLst/>
                          <a:gdLst>
                            <a:gd name="T0" fmla="*/ 200 w 344"/>
                            <a:gd name="T1" fmla="*/ 11 h 208"/>
                            <a:gd name="T2" fmla="*/ 173 w 344"/>
                            <a:gd name="T3" fmla="*/ 5 h 208"/>
                            <a:gd name="T4" fmla="*/ 143 w 344"/>
                            <a:gd name="T5" fmla="*/ 5 h 208"/>
                            <a:gd name="T6" fmla="*/ 117 w 344"/>
                            <a:gd name="T7" fmla="*/ 2 h 208"/>
                            <a:gd name="T8" fmla="*/ 95 w 344"/>
                            <a:gd name="T9" fmla="*/ 4 h 208"/>
                            <a:gd name="T10" fmla="*/ 88 w 344"/>
                            <a:gd name="T11" fmla="*/ 3 h 208"/>
                            <a:gd name="T12" fmla="*/ 21 w 344"/>
                            <a:gd name="T13" fmla="*/ 20 h 208"/>
                            <a:gd name="T14" fmla="*/ 5 w 344"/>
                            <a:gd name="T15" fmla="*/ 50 h 208"/>
                            <a:gd name="T16" fmla="*/ 18 w 344"/>
                            <a:gd name="T17" fmla="*/ 90 h 208"/>
                            <a:gd name="T18" fmla="*/ 53 w 344"/>
                            <a:gd name="T19" fmla="*/ 104 h 208"/>
                            <a:gd name="T20" fmla="*/ 84 w 344"/>
                            <a:gd name="T21" fmla="*/ 108 h 208"/>
                            <a:gd name="T22" fmla="*/ 116 w 344"/>
                            <a:gd name="T23" fmla="*/ 127 h 208"/>
                            <a:gd name="T24" fmla="*/ 117 w 344"/>
                            <a:gd name="T25" fmla="*/ 132 h 208"/>
                            <a:gd name="T26" fmla="*/ 114 w 344"/>
                            <a:gd name="T27" fmla="*/ 154 h 208"/>
                            <a:gd name="T28" fmla="*/ 143 w 344"/>
                            <a:gd name="T29" fmla="*/ 178 h 208"/>
                            <a:gd name="T30" fmla="*/ 154 w 344"/>
                            <a:gd name="T31" fmla="*/ 201 h 208"/>
                            <a:gd name="T32" fmla="*/ 198 w 344"/>
                            <a:gd name="T33" fmla="*/ 206 h 208"/>
                            <a:gd name="T34" fmla="*/ 231 w 344"/>
                            <a:gd name="T35" fmla="*/ 202 h 208"/>
                            <a:gd name="T36" fmla="*/ 235 w 344"/>
                            <a:gd name="T37" fmla="*/ 197 h 208"/>
                            <a:gd name="T38" fmla="*/ 262 w 344"/>
                            <a:gd name="T39" fmla="*/ 184 h 208"/>
                            <a:gd name="T40" fmla="*/ 288 w 344"/>
                            <a:gd name="T41" fmla="*/ 181 h 208"/>
                            <a:gd name="T42" fmla="*/ 287 w 344"/>
                            <a:gd name="T43" fmla="*/ 162 h 208"/>
                            <a:gd name="T44" fmla="*/ 298 w 344"/>
                            <a:gd name="T45" fmla="*/ 126 h 208"/>
                            <a:gd name="T46" fmla="*/ 339 w 344"/>
                            <a:gd name="T47" fmla="*/ 102 h 208"/>
                            <a:gd name="T48" fmla="*/ 340 w 344"/>
                            <a:gd name="T49" fmla="*/ 98 h 208"/>
                            <a:gd name="T50" fmla="*/ 340 w 344"/>
                            <a:gd name="T51" fmla="*/ 73 h 208"/>
                            <a:gd name="T52" fmla="*/ 331 w 344"/>
                            <a:gd name="T53" fmla="*/ 55 h 208"/>
                            <a:gd name="T54" fmla="*/ 294 w 344"/>
                            <a:gd name="T55" fmla="*/ 26 h 208"/>
                            <a:gd name="T56" fmla="*/ 271 w 344"/>
                            <a:gd name="T57" fmla="*/ 18 h 208"/>
                            <a:gd name="T58" fmla="*/ 243 w 344"/>
                            <a:gd name="T59" fmla="*/ 5 h 208"/>
                            <a:gd name="T60" fmla="*/ 243 w 344"/>
                            <a:gd name="T61" fmla="*/ 5 h 208"/>
                            <a:gd name="T62" fmla="*/ 230 w 344"/>
                            <a:gd name="T63" fmla="*/ 1 h 208"/>
                            <a:gd name="T64" fmla="*/ 230 w 344"/>
                            <a:gd name="T65" fmla="*/ 1 h 208"/>
                            <a:gd name="T66" fmla="*/ 214 w 344"/>
                            <a:gd name="T67" fmla="*/ 8 h 20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</a:cxnLst>
                          <a:rect l="0" t="0" r="r" b="b"/>
                          <a:pathLst>
                            <a:path w="344" h="208">
                              <a:moveTo>
                                <a:pt x="214" y="8"/>
                              </a:moveTo>
                              <a:cubicBezTo>
                                <a:pt x="209" y="10"/>
                                <a:pt x="204" y="11"/>
                                <a:pt x="200" y="11"/>
                              </a:cubicBezTo>
                              <a:cubicBezTo>
                                <a:pt x="192" y="10"/>
                                <a:pt x="188" y="9"/>
                                <a:pt x="183" y="8"/>
                              </a:cubicBezTo>
                              <a:cubicBezTo>
                                <a:pt x="180" y="7"/>
                                <a:pt x="177" y="6"/>
                                <a:pt x="173" y="5"/>
                              </a:cubicBezTo>
                              <a:cubicBezTo>
                                <a:pt x="166" y="4"/>
                                <a:pt x="163" y="4"/>
                                <a:pt x="157" y="5"/>
                              </a:cubicBezTo>
                              <a:cubicBezTo>
                                <a:pt x="154" y="5"/>
                                <a:pt x="149" y="5"/>
                                <a:pt x="143" y="5"/>
                              </a:cubicBezTo>
                              <a:cubicBezTo>
                                <a:pt x="132" y="5"/>
                                <a:pt x="129" y="5"/>
                                <a:pt x="125" y="4"/>
                              </a:cubicBezTo>
                              <a:cubicBezTo>
                                <a:pt x="123" y="3"/>
                                <a:pt x="121" y="3"/>
                                <a:pt x="117" y="2"/>
                              </a:cubicBezTo>
                              <a:cubicBezTo>
                                <a:pt x="112" y="2"/>
                                <a:pt x="109" y="2"/>
                                <a:pt x="106" y="3"/>
                              </a:cubicBezTo>
                              <a:cubicBezTo>
                                <a:pt x="103" y="4"/>
                                <a:pt x="100" y="5"/>
                                <a:pt x="95" y="4"/>
                              </a:cubicBezTo>
                              <a:cubicBezTo>
                                <a:pt x="93" y="4"/>
                                <a:pt x="91" y="4"/>
                                <a:pt x="88" y="3"/>
                              </a:cubicBezTo>
                              <a:cubicBezTo>
                                <a:pt x="88" y="3"/>
                                <a:pt x="88" y="3"/>
                                <a:pt x="88" y="3"/>
                              </a:cubicBezTo>
                              <a:cubicBezTo>
                                <a:pt x="79" y="2"/>
                                <a:pt x="67" y="0"/>
                                <a:pt x="53" y="6"/>
                              </a:cubicBezTo>
                              <a:cubicBezTo>
                                <a:pt x="45" y="9"/>
                                <a:pt x="32" y="15"/>
                                <a:pt x="21" y="20"/>
                              </a:cubicBezTo>
                              <a:cubicBezTo>
                                <a:pt x="13" y="24"/>
                                <a:pt x="5" y="27"/>
                                <a:pt x="0" y="29"/>
                              </a:cubicBezTo>
                              <a:cubicBezTo>
                                <a:pt x="1" y="36"/>
                                <a:pt x="2" y="44"/>
                                <a:pt x="5" y="50"/>
                              </a:cubicBezTo>
                              <a:cubicBezTo>
                                <a:pt x="8" y="57"/>
                                <a:pt x="12" y="69"/>
                                <a:pt x="15" y="75"/>
                              </a:cubicBezTo>
                              <a:cubicBezTo>
                                <a:pt x="17" y="78"/>
                                <a:pt x="18" y="84"/>
                                <a:pt x="18" y="90"/>
                              </a:cubicBezTo>
                              <a:cubicBezTo>
                                <a:pt x="24" y="90"/>
                                <a:pt x="31" y="93"/>
                                <a:pt x="44" y="99"/>
                              </a:cubicBezTo>
                              <a:cubicBezTo>
                                <a:pt x="47" y="101"/>
                                <a:pt x="50" y="103"/>
                                <a:pt x="53" y="104"/>
                              </a:cubicBezTo>
                              <a:cubicBezTo>
                                <a:pt x="62" y="109"/>
                                <a:pt x="64" y="111"/>
                                <a:pt x="74" y="110"/>
                              </a:cubicBezTo>
                              <a:cubicBezTo>
                                <a:pt x="78" y="109"/>
                                <a:pt x="81" y="109"/>
                                <a:pt x="84" y="108"/>
                              </a:cubicBezTo>
                              <a:cubicBezTo>
                                <a:pt x="93" y="107"/>
                                <a:pt x="101" y="106"/>
                                <a:pt x="107" y="111"/>
                              </a:cubicBezTo>
                              <a:cubicBezTo>
                                <a:pt x="114" y="117"/>
                                <a:pt x="114" y="118"/>
                                <a:pt x="116" y="127"/>
                              </a:cubicBezTo>
                              <a:cubicBezTo>
                                <a:pt x="116" y="128"/>
                                <a:pt x="117" y="129"/>
                                <a:pt x="117" y="132"/>
                              </a:cubicBezTo>
                              <a:cubicBezTo>
                                <a:pt x="117" y="132"/>
                                <a:pt x="117" y="132"/>
                                <a:pt x="117" y="132"/>
                              </a:cubicBezTo>
                              <a:cubicBezTo>
                                <a:pt x="119" y="141"/>
                                <a:pt x="117" y="146"/>
                                <a:pt x="115" y="150"/>
                              </a:cubicBezTo>
                              <a:cubicBezTo>
                                <a:pt x="115" y="151"/>
                                <a:pt x="114" y="152"/>
                                <a:pt x="114" y="154"/>
                              </a:cubicBezTo>
                              <a:cubicBezTo>
                                <a:pt x="113" y="158"/>
                                <a:pt x="113" y="164"/>
                                <a:pt x="113" y="169"/>
                              </a:cubicBezTo>
                              <a:cubicBezTo>
                                <a:pt x="128" y="168"/>
                                <a:pt x="132" y="169"/>
                                <a:pt x="143" y="178"/>
                              </a:cubicBezTo>
                              <a:cubicBezTo>
                                <a:pt x="150" y="184"/>
                                <a:pt x="152" y="192"/>
                                <a:pt x="154" y="201"/>
                              </a:cubicBezTo>
                              <a:cubicBezTo>
                                <a:pt x="154" y="201"/>
                                <a:pt x="154" y="201"/>
                                <a:pt x="154" y="201"/>
                              </a:cubicBezTo>
                              <a:cubicBezTo>
                                <a:pt x="155" y="201"/>
                                <a:pt x="157" y="201"/>
                                <a:pt x="158" y="202"/>
                              </a:cubicBezTo>
                              <a:cubicBezTo>
                                <a:pt x="168" y="202"/>
                                <a:pt x="182" y="203"/>
                                <a:pt x="198" y="206"/>
                              </a:cubicBezTo>
                              <a:cubicBezTo>
                                <a:pt x="208" y="207"/>
                                <a:pt x="214" y="208"/>
                                <a:pt x="220" y="207"/>
                              </a:cubicBezTo>
                              <a:cubicBezTo>
                                <a:pt x="224" y="207"/>
                                <a:pt x="228" y="205"/>
                                <a:pt x="231" y="202"/>
                              </a:cubicBezTo>
                              <a:cubicBezTo>
                                <a:pt x="233" y="201"/>
                                <a:pt x="234" y="199"/>
                                <a:pt x="235" y="197"/>
                              </a:cubicBezTo>
                              <a:cubicBezTo>
                                <a:pt x="235" y="197"/>
                                <a:pt x="235" y="197"/>
                                <a:pt x="235" y="197"/>
                              </a:cubicBezTo>
                              <a:cubicBezTo>
                                <a:pt x="237" y="192"/>
                                <a:pt x="238" y="188"/>
                                <a:pt x="249" y="187"/>
                              </a:cubicBezTo>
                              <a:cubicBezTo>
                                <a:pt x="255" y="186"/>
                                <a:pt x="259" y="185"/>
                                <a:pt x="262" y="184"/>
                              </a:cubicBezTo>
                              <a:cubicBezTo>
                                <a:pt x="269" y="182"/>
                                <a:pt x="274" y="181"/>
                                <a:pt x="284" y="182"/>
                              </a:cubicBezTo>
                              <a:cubicBezTo>
                                <a:pt x="287" y="182"/>
                                <a:pt x="288" y="182"/>
                                <a:pt x="288" y="181"/>
                              </a:cubicBezTo>
                              <a:cubicBezTo>
                                <a:pt x="289" y="179"/>
                                <a:pt x="288" y="177"/>
                                <a:pt x="288" y="173"/>
                              </a:cubicBezTo>
                              <a:cubicBezTo>
                                <a:pt x="288" y="170"/>
                                <a:pt x="287" y="167"/>
                                <a:pt x="287" y="162"/>
                              </a:cubicBezTo>
                              <a:cubicBezTo>
                                <a:pt x="287" y="160"/>
                                <a:pt x="287" y="157"/>
                                <a:pt x="287" y="155"/>
                              </a:cubicBezTo>
                              <a:cubicBezTo>
                                <a:pt x="286" y="141"/>
                                <a:pt x="286" y="132"/>
                                <a:pt x="298" y="126"/>
                              </a:cubicBezTo>
                              <a:cubicBezTo>
                                <a:pt x="305" y="123"/>
                                <a:pt x="314" y="118"/>
                                <a:pt x="322" y="113"/>
                              </a:cubicBezTo>
                              <a:cubicBezTo>
                                <a:pt x="329" y="108"/>
                                <a:pt x="336" y="104"/>
                                <a:pt x="339" y="102"/>
                              </a:cubicBezTo>
                              <a:cubicBezTo>
                                <a:pt x="342" y="100"/>
                                <a:pt x="341" y="99"/>
                                <a:pt x="340" y="97"/>
                              </a:cubicBezTo>
                              <a:cubicBezTo>
                                <a:pt x="340" y="98"/>
                                <a:pt x="340" y="98"/>
                                <a:pt x="340" y="98"/>
                              </a:cubicBezTo>
                              <a:cubicBezTo>
                                <a:pt x="339" y="96"/>
                                <a:pt x="338" y="94"/>
                                <a:pt x="338" y="91"/>
                              </a:cubicBezTo>
                              <a:cubicBezTo>
                                <a:pt x="337" y="86"/>
                                <a:pt x="338" y="79"/>
                                <a:pt x="340" y="73"/>
                              </a:cubicBezTo>
                              <a:cubicBezTo>
                                <a:pt x="341" y="70"/>
                                <a:pt x="343" y="67"/>
                                <a:pt x="344" y="65"/>
                              </a:cubicBezTo>
                              <a:cubicBezTo>
                                <a:pt x="341" y="62"/>
                                <a:pt x="335" y="58"/>
                                <a:pt x="331" y="55"/>
                              </a:cubicBezTo>
                              <a:cubicBezTo>
                                <a:pt x="330" y="54"/>
                                <a:pt x="327" y="52"/>
                                <a:pt x="323" y="49"/>
                              </a:cubicBezTo>
                              <a:cubicBezTo>
                                <a:pt x="314" y="41"/>
                                <a:pt x="301" y="31"/>
                                <a:pt x="294" y="26"/>
                              </a:cubicBezTo>
                              <a:cubicBezTo>
                                <a:pt x="287" y="21"/>
                                <a:pt x="284" y="20"/>
                                <a:pt x="277" y="19"/>
                              </a:cubicBezTo>
                              <a:cubicBezTo>
                                <a:pt x="275" y="19"/>
                                <a:pt x="273" y="19"/>
                                <a:pt x="271" y="18"/>
                              </a:cubicBezTo>
                              <a:cubicBezTo>
                                <a:pt x="264" y="17"/>
                                <a:pt x="259" y="16"/>
                                <a:pt x="254" y="14"/>
                              </a:cubicBezTo>
                              <a:cubicBezTo>
                                <a:pt x="249" y="12"/>
                                <a:pt x="246" y="9"/>
                                <a:pt x="243" y="5"/>
                              </a:cubicBezTo>
                              <a:cubicBezTo>
                                <a:pt x="243" y="5"/>
                                <a:pt x="243" y="5"/>
                                <a:pt x="243" y="5"/>
                              </a:cubicBezTo>
                              <a:cubicBezTo>
                                <a:pt x="243" y="5"/>
                                <a:pt x="243" y="5"/>
                                <a:pt x="243" y="5"/>
                              </a:cubicBezTo>
                              <a:cubicBezTo>
                                <a:pt x="242" y="2"/>
                                <a:pt x="240" y="1"/>
                                <a:pt x="237" y="0"/>
                              </a:cubicBezTo>
                              <a:cubicBezTo>
                                <a:pt x="234" y="0"/>
                                <a:pt x="232" y="0"/>
                                <a:pt x="230" y="1"/>
                              </a:cubicBezTo>
                              <a:cubicBezTo>
                                <a:pt x="230" y="1"/>
                                <a:pt x="230" y="1"/>
                                <a:pt x="230" y="1"/>
                              </a:cubicBezTo>
                              <a:cubicBezTo>
                                <a:pt x="230" y="1"/>
                                <a:pt x="230" y="1"/>
                                <a:pt x="230" y="1"/>
                              </a:cubicBezTo>
                              <a:cubicBezTo>
                                <a:pt x="230" y="1"/>
                                <a:pt x="230" y="1"/>
                                <a:pt x="230" y="1"/>
                              </a:cubicBezTo>
                              <a:cubicBezTo>
                                <a:pt x="227" y="3"/>
                                <a:pt x="221" y="6"/>
                                <a:pt x="214" y="8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53" name="Freeform 215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4506628" y="3509460"/>
                          <a:ext cx="79772" cy="64294"/>
                        </a:xfrm>
                        <a:custGeom>
                          <a:avLst/>
                          <a:gdLst>
                            <a:gd name="T0" fmla="*/ 2 w 276"/>
                            <a:gd name="T1" fmla="*/ 68 h 222"/>
                            <a:gd name="T2" fmla="*/ 8 w 276"/>
                            <a:gd name="T3" fmla="*/ 107 h 222"/>
                            <a:gd name="T4" fmla="*/ 16 w 276"/>
                            <a:gd name="T5" fmla="*/ 126 h 222"/>
                            <a:gd name="T6" fmla="*/ 29 w 276"/>
                            <a:gd name="T7" fmla="*/ 150 h 222"/>
                            <a:gd name="T8" fmla="*/ 30 w 276"/>
                            <a:gd name="T9" fmla="*/ 177 h 222"/>
                            <a:gd name="T10" fmla="*/ 77 w 276"/>
                            <a:gd name="T11" fmla="*/ 184 h 222"/>
                            <a:gd name="T12" fmla="*/ 105 w 276"/>
                            <a:gd name="T13" fmla="*/ 191 h 222"/>
                            <a:gd name="T14" fmla="*/ 93 w 276"/>
                            <a:gd name="T15" fmla="*/ 177 h 222"/>
                            <a:gd name="T16" fmla="*/ 94 w 276"/>
                            <a:gd name="T17" fmla="*/ 157 h 222"/>
                            <a:gd name="T18" fmla="*/ 91 w 276"/>
                            <a:gd name="T19" fmla="*/ 126 h 222"/>
                            <a:gd name="T20" fmla="*/ 105 w 276"/>
                            <a:gd name="T21" fmla="*/ 111 h 222"/>
                            <a:gd name="T22" fmla="*/ 126 w 276"/>
                            <a:gd name="T23" fmla="*/ 97 h 222"/>
                            <a:gd name="T24" fmla="*/ 135 w 276"/>
                            <a:gd name="T25" fmla="*/ 74 h 222"/>
                            <a:gd name="T26" fmla="*/ 144 w 276"/>
                            <a:gd name="T27" fmla="*/ 74 h 222"/>
                            <a:gd name="T28" fmla="*/ 164 w 276"/>
                            <a:gd name="T29" fmla="*/ 61 h 222"/>
                            <a:gd name="T30" fmla="*/ 152 w 276"/>
                            <a:gd name="T31" fmla="*/ 48 h 222"/>
                            <a:gd name="T32" fmla="*/ 137 w 276"/>
                            <a:gd name="T33" fmla="*/ 48 h 222"/>
                            <a:gd name="T34" fmla="*/ 129 w 276"/>
                            <a:gd name="T35" fmla="*/ 36 h 222"/>
                            <a:gd name="T36" fmla="*/ 105 w 276"/>
                            <a:gd name="T37" fmla="*/ 35 h 222"/>
                            <a:gd name="T38" fmla="*/ 122 w 276"/>
                            <a:gd name="T39" fmla="*/ 24 h 222"/>
                            <a:gd name="T40" fmla="*/ 130 w 276"/>
                            <a:gd name="T41" fmla="*/ 2 h 222"/>
                            <a:gd name="T42" fmla="*/ 89 w 276"/>
                            <a:gd name="T43" fmla="*/ 3 h 222"/>
                            <a:gd name="T44" fmla="*/ 67 w 276"/>
                            <a:gd name="T45" fmla="*/ 21 h 222"/>
                            <a:gd name="T46" fmla="*/ 75 w 276"/>
                            <a:gd name="T47" fmla="*/ 41 h 222"/>
                            <a:gd name="T48" fmla="*/ 58 w 276"/>
                            <a:gd name="T49" fmla="*/ 27 h 222"/>
                            <a:gd name="T50" fmla="*/ 32 w 276"/>
                            <a:gd name="T51" fmla="*/ 45 h 222"/>
                            <a:gd name="T52" fmla="*/ 250 w 276"/>
                            <a:gd name="T53" fmla="*/ 124 h 222"/>
                            <a:gd name="T54" fmla="*/ 272 w 276"/>
                            <a:gd name="T55" fmla="*/ 102 h 222"/>
                            <a:gd name="T56" fmla="*/ 245 w 276"/>
                            <a:gd name="T57" fmla="*/ 81 h 222"/>
                            <a:gd name="T58" fmla="*/ 241 w 276"/>
                            <a:gd name="T59" fmla="*/ 110 h 222"/>
                            <a:gd name="T60" fmla="*/ 227 w 276"/>
                            <a:gd name="T61" fmla="*/ 101 h 222"/>
                            <a:gd name="T62" fmla="*/ 201 w 276"/>
                            <a:gd name="T63" fmla="*/ 99 h 222"/>
                            <a:gd name="T64" fmla="*/ 187 w 276"/>
                            <a:gd name="T65" fmla="*/ 113 h 222"/>
                            <a:gd name="T66" fmla="*/ 189 w 276"/>
                            <a:gd name="T67" fmla="*/ 133 h 222"/>
                            <a:gd name="T68" fmla="*/ 203 w 276"/>
                            <a:gd name="T69" fmla="*/ 151 h 222"/>
                            <a:gd name="T70" fmla="*/ 225 w 276"/>
                            <a:gd name="T71" fmla="*/ 165 h 222"/>
                            <a:gd name="T72" fmla="*/ 243 w 276"/>
                            <a:gd name="T73" fmla="*/ 164 h 222"/>
                            <a:gd name="T74" fmla="*/ 263 w 276"/>
                            <a:gd name="T75" fmla="*/ 152 h 222"/>
                            <a:gd name="T76" fmla="*/ 250 w 276"/>
                            <a:gd name="T77" fmla="*/ 124 h 222"/>
                            <a:gd name="T78" fmla="*/ 268 w 276"/>
                            <a:gd name="T79" fmla="*/ 178 h 222"/>
                            <a:gd name="T80" fmla="*/ 228 w 276"/>
                            <a:gd name="T81" fmla="*/ 181 h 222"/>
                            <a:gd name="T82" fmla="*/ 242 w 276"/>
                            <a:gd name="T83" fmla="*/ 196 h 222"/>
                            <a:gd name="T84" fmla="*/ 169 w 276"/>
                            <a:gd name="T85" fmla="*/ 170 h 222"/>
                            <a:gd name="T86" fmla="*/ 163 w 276"/>
                            <a:gd name="T87" fmla="*/ 195 h 222"/>
                            <a:gd name="T88" fmla="*/ 169 w 276"/>
                            <a:gd name="T89" fmla="*/ 170 h 222"/>
                            <a:gd name="T90" fmla="*/ 224 w 276"/>
                            <a:gd name="T91" fmla="*/ 197 h 222"/>
                            <a:gd name="T92" fmla="*/ 202 w 276"/>
                            <a:gd name="T93" fmla="*/ 187 h 222"/>
                            <a:gd name="T94" fmla="*/ 182 w 276"/>
                            <a:gd name="T95" fmla="*/ 196 h 222"/>
                            <a:gd name="T96" fmla="*/ 184 w 276"/>
                            <a:gd name="T97" fmla="*/ 213 h 222"/>
                            <a:gd name="T98" fmla="*/ 194 w 276"/>
                            <a:gd name="T99" fmla="*/ 215 h 222"/>
                            <a:gd name="T100" fmla="*/ 104 w 276"/>
                            <a:gd name="T101" fmla="*/ 176 h 222"/>
                            <a:gd name="T102" fmla="*/ 98 w 276"/>
                            <a:gd name="T103" fmla="*/ 172 h 222"/>
                            <a:gd name="T104" fmla="*/ 158 w 276"/>
                            <a:gd name="T105" fmla="*/ 165 h 222"/>
                            <a:gd name="T106" fmla="*/ 157 w 276"/>
                            <a:gd name="T107" fmla="*/ 130 h 222"/>
                            <a:gd name="T108" fmla="*/ 134 w 276"/>
                            <a:gd name="T109" fmla="*/ 126 h 222"/>
                            <a:gd name="T110" fmla="*/ 107 w 276"/>
                            <a:gd name="T111" fmla="*/ 143 h 22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</a:cxnLst>
                          <a:rect l="0" t="0" r="r" b="b"/>
                          <a:pathLst>
                            <a:path w="276" h="222">
                              <a:moveTo>
                                <a:pt x="5" y="35"/>
                              </a:moveTo>
                              <a:cubicBezTo>
                                <a:pt x="2" y="37"/>
                                <a:pt x="2" y="44"/>
                                <a:pt x="1" y="48"/>
                              </a:cubicBezTo>
                              <a:cubicBezTo>
                                <a:pt x="1" y="53"/>
                                <a:pt x="2" y="62"/>
                                <a:pt x="2" y="68"/>
                              </a:cubicBezTo>
                              <a:cubicBezTo>
                                <a:pt x="1" y="74"/>
                                <a:pt x="4" y="78"/>
                                <a:pt x="7" y="83"/>
                              </a:cubicBezTo>
                              <a:cubicBezTo>
                                <a:pt x="10" y="87"/>
                                <a:pt x="14" y="90"/>
                                <a:pt x="13" y="96"/>
                              </a:cubicBezTo>
                              <a:cubicBezTo>
                                <a:pt x="13" y="102"/>
                                <a:pt x="13" y="103"/>
                                <a:pt x="8" y="107"/>
                              </a:cubicBezTo>
                              <a:cubicBezTo>
                                <a:pt x="4" y="112"/>
                                <a:pt x="0" y="113"/>
                                <a:pt x="1" y="117"/>
                              </a:cubicBezTo>
                              <a:cubicBezTo>
                                <a:pt x="3" y="121"/>
                                <a:pt x="1" y="123"/>
                                <a:pt x="6" y="124"/>
                              </a:cubicBezTo>
                              <a:cubicBezTo>
                                <a:pt x="10" y="125"/>
                                <a:pt x="9" y="124"/>
                                <a:pt x="16" y="126"/>
                              </a:cubicBezTo>
                              <a:cubicBezTo>
                                <a:pt x="22" y="128"/>
                                <a:pt x="24" y="125"/>
                                <a:pt x="27" y="131"/>
                              </a:cubicBezTo>
                              <a:cubicBezTo>
                                <a:pt x="30" y="136"/>
                                <a:pt x="32" y="140"/>
                                <a:pt x="32" y="143"/>
                              </a:cubicBezTo>
                              <a:cubicBezTo>
                                <a:pt x="32" y="145"/>
                                <a:pt x="30" y="147"/>
                                <a:pt x="29" y="150"/>
                              </a:cubicBezTo>
                              <a:cubicBezTo>
                                <a:pt x="29" y="153"/>
                                <a:pt x="26" y="155"/>
                                <a:pt x="28" y="161"/>
                              </a:cubicBezTo>
                              <a:cubicBezTo>
                                <a:pt x="29" y="167"/>
                                <a:pt x="29" y="167"/>
                                <a:pt x="30" y="172"/>
                              </a:cubicBezTo>
                              <a:cubicBezTo>
                                <a:pt x="31" y="174"/>
                                <a:pt x="30" y="176"/>
                                <a:pt x="30" y="177"/>
                              </a:cubicBezTo>
                              <a:cubicBezTo>
                                <a:pt x="32" y="178"/>
                                <a:pt x="36" y="179"/>
                                <a:pt x="43" y="180"/>
                              </a:cubicBezTo>
                              <a:cubicBezTo>
                                <a:pt x="51" y="181"/>
                                <a:pt x="55" y="181"/>
                                <a:pt x="59" y="181"/>
                              </a:cubicBezTo>
                              <a:cubicBezTo>
                                <a:pt x="65" y="181"/>
                                <a:pt x="68" y="181"/>
                                <a:pt x="77" y="184"/>
                              </a:cubicBezTo>
                              <a:cubicBezTo>
                                <a:pt x="78" y="185"/>
                                <a:pt x="78" y="185"/>
                                <a:pt x="78" y="185"/>
                              </a:cubicBezTo>
                              <a:cubicBezTo>
                                <a:pt x="91" y="190"/>
                                <a:pt x="94" y="191"/>
                                <a:pt x="102" y="191"/>
                              </a:cubicBezTo>
                              <a:cubicBezTo>
                                <a:pt x="103" y="191"/>
                                <a:pt x="104" y="191"/>
                                <a:pt x="105" y="191"/>
                              </a:cubicBezTo>
                              <a:cubicBezTo>
                                <a:pt x="103" y="190"/>
                                <a:pt x="103" y="190"/>
                                <a:pt x="103" y="190"/>
                              </a:cubicBezTo>
                              <a:cubicBezTo>
                                <a:pt x="98" y="188"/>
                                <a:pt x="96" y="190"/>
                                <a:pt x="96" y="185"/>
                              </a:cubicBezTo>
                              <a:cubicBezTo>
                                <a:pt x="96" y="181"/>
                                <a:pt x="97" y="179"/>
                                <a:pt x="93" y="177"/>
                              </a:cubicBezTo>
                              <a:cubicBezTo>
                                <a:pt x="88" y="176"/>
                                <a:pt x="84" y="175"/>
                                <a:pt x="84" y="173"/>
                              </a:cubicBezTo>
                              <a:cubicBezTo>
                                <a:pt x="84" y="171"/>
                                <a:pt x="82" y="165"/>
                                <a:pt x="83" y="163"/>
                              </a:cubicBezTo>
                              <a:cubicBezTo>
                                <a:pt x="85" y="161"/>
                                <a:pt x="94" y="161"/>
                                <a:pt x="94" y="157"/>
                              </a:cubicBezTo>
                              <a:cubicBezTo>
                                <a:pt x="95" y="154"/>
                                <a:pt x="95" y="153"/>
                                <a:pt x="93" y="146"/>
                              </a:cubicBezTo>
                              <a:cubicBezTo>
                                <a:pt x="91" y="140"/>
                                <a:pt x="90" y="140"/>
                                <a:pt x="90" y="136"/>
                              </a:cubicBezTo>
                              <a:cubicBezTo>
                                <a:pt x="90" y="132"/>
                                <a:pt x="88" y="128"/>
                                <a:pt x="91" y="126"/>
                              </a:cubicBezTo>
                              <a:cubicBezTo>
                                <a:pt x="93" y="124"/>
                                <a:pt x="95" y="123"/>
                                <a:pt x="95" y="121"/>
                              </a:cubicBezTo>
                              <a:cubicBezTo>
                                <a:pt x="94" y="118"/>
                                <a:pt x="91" y="117"/>
                                <a:pt x="94" y="115"/>
                              </a:cubicBezTo>
                              <a:cubicBezTo>
                                <a:pt x="97" y="113"/>
                                <a:pt x="102" y="113"/>
                                <a:pt x="105" y="111"/>
                              </a:cubicBezTo>
                              <a:cubicBezTo>
                                <a:pt x="108" y="110"/>
                                <a:pt x="110" y="114"/>
                                <a:pt x="113" y="110"/>
                              </a:cubicBezTo>
                              <a:cubicBezTo>
                                <a:pt x="116" y="106"/>
                                <a:pt x="115" y="101"/>
                                <a:pt x="119" y="100"/>
                              </a:cubicBezTo>
                              <a:cubicBezTo>
                                <a:pt x="122" y="99"/>
                                <a:pt x="124" y="99"/>
                                <a:pt x="126" y="97"/>
                              </a:cubicBezTo>
                              <a:cubicBezTo>
                                <a:pt x="128" y="95"/>
                                <a:pt x="130" y="94"/>
                                <a:pt x="130" y="89"/>
                              </a:cubicBezTo>
                              <a:cubicBezTo>
                                <a:pt x="129" y="85"/>
                                <a:pt x="127" y="84"/>
                                <a:pt x="130" y="81"/>
                              </a:cubicBezTo>
                              <a:cubicBezTo>
                                <a:pt x="133" y="78"/>
                                <a:pt x="135" y="80"/>
                                <a:pt x="135" y="74"/>
                              </a:cubicBezTo>
                              <a:cubicBezTo>
                                <a:pt x="136" y="68"/>
                                <a:pt x="134" y="66"/>
                                <a:pt x="137" y="65"/>
                              </a:cubicBezTo>
                              <a:cubicBezTo>
                                <a:pt x="140" y="63"/>
                                <a:pt x="145" y="62"/>
                                <a:pt x="145" y="65"/>
                              </a:cubicBezTo>
                              <a:cubicBezTo>
                                <a:pt x="144" y="68"/>
                                <a:pt x="142" y="71"/>
                                <a:pt x="144" y="74"/>
                              </a:cubicBezTo>
                              <a:cubicBezTo>
                                <a:pt x="146" y="77"/>
                                <a:pt x="149" y="78"/>
                                <a:pt x="152" y="74"/>
                              </a:cubicBezTo>
                              <a:cubicBezTo>
                                <a:pt x="154" y="71"/>
                                <a:pt x="153" y="70"/>
                                <a:pt x="157" y="67"/>
                              </a:cubicBezTo>
                              <a:cubicBezTo>
                                <a:pt x="160" y="65"/>
                                <a:pt x="162" y="65"/>
                                <a:pt x="164" y="61"/>
                              </a:cubicBezTo>
                              <a:cubicBezTo>
                                <a:pt x="166" y="58"/>
                                <a:pt x="167" y="56"/>
                                <a:pt x="167" y="53"/>
                              </a:cubicBezTo>
                              <a:cubicBezTo>
                                <a:pt x="166" y="51"/>
                                <a:pt x="164" y="49"/>
                                <a:pt x="162" y="49"/>
                              </a:cubicBezTo>
                              <a:cubicBezTo>
                                <a:pt x="160" y="49"/>
                                <a:pt x="154" y="49"/>
                                <a:pt x="152" y="48"/>
                              </a:cubicBezTo>
                              <a:cubicBezTo>
                                <a:pt x="150" y="47"/>
                                <a:pt x="146" y="43"/>
                                <a:pt x="146" y="43"/>
                              </a:cubicBezTo>
                              <a:cubicBezTo>
                                <a:pt x="141" y="42"/>
                                <a:pt x="141" y="42"/>
                                <a:pt x="141" y="42"/>
                              </a:cubicBezTo>
                              <a:cubicBezTo>
                                <a:pt x="141" y="42"/>
                                <a:pt x="137" y="45"/>
                                <a:pt x="137" y="48"/>
                              </a:cubicBezTo>
                              <a:cubicBezTo>
                                <a:pt x="136" y="50"/>
                                <a:pt x="133" y="51"/>
                                <a:pt x="130" y="51"/>
                              </a:cubicBezTo>
                              <a:cubicBezTo>
                                <a:pt x="128" y="50"/>
                                <a:pt x="123" y="48"/>
                                <a:pt x="125" y="44"/>
                              </a:cubicBezTo>
                              <a:cubicBezTo>
                                <a:pt x="126" y="41"/>
                                <a:pt x="129" y="39"/>
                                <a:pt x="129" y="36"/>
                              </a:cubicBezTo>
                              <a:cubicBezTo>
                                <a:pt x="128" y="33"/>
                                <a:pt x="129" y="32"/>
                                <a:pt x="125" y="32"/>
                              </a:cubicBezTo>
                              <a:cubicBezTo>
                                <a:pt x="121" y="32"/>
                                <a:pt x="122" y="32"/>
                                <a:pt x="116" y="34"/>
                              </a:cubicBezTo>
                              <a:cubicBezTo>
                                <a:pt x="110" y="36"/>
                                <a:pt x="106" y="38"/>
                                <a:pt x="105" y="35"/>
                              </a:cubicBezTo>
                              <a:cubicBezTo>
                                <a:pt x="104" y="32"/>
                                <a:pt x="103" y="30"/>
                                <a:pt x="105" y="29"/>
                              </a:cubicBezTo>
                              <a:cubicBezTo>
                                <a:pt x="107" y="27"/>
                                <a:pt x="107" y="26"/>
                                <a:pt x="112" y="25"/>
                              </a:cubicBezTo>
                              <a:cubicBezTo>
                                <a:pt x="117" y="25"/>
                                <a:pt x="117" y="24"/>
                                <a:pt x="122" y="24"/>
                              </a:cubicBezTo>
                              <a:cubicBezTo>
                                <a:pt x="127" y="24"/>
                                <a:pt x="129" y="26"/>
                                <a:pt x="132" y="22"/>
                              </a:cubicBezTo>
                              <a:cubicBezTo>
                                <a:pt x="134" y="17"/>
                                <a:pt x="135" y="14"/>
                                <a:pt x="134" y="9"/>
                              </a:cubicBezTo>
                              <a:cubicBezTo>
                                <a:pt x="133" y="5"/>
                                <a:pt x="136" y="4"/>
                                <a:pt x="130" y="2"/>
                              </a:cubicBezTo>
                              <a:cubicBezTo>
                                <a:pt x="123" y="1"/>
                                <a:pt x="119" y="1"/>
                                <a:pt x="114" y="1"/>
                              </a:cubicBezTo>
                              <a:cubicBezTo>
                                <a:pt x="109" y="1"/>
                                <a:pt x="110" y="0"/>
                                <a:pt x="104" y="2"/>
                              </a:cubicBezTo>
                              <a:cubicBezTo>
                                <a:pt x="97" y="3"/>
                                <a:pt x="94" y="3"/>
                                <a:pt x="89" y="3"/>
                              </a:cubicBezTo>
                              <a:cubicBezTo>
                                <a:pt x="84" y="3"/>
                                <a:pt x="82" y="1"/>
                                <a:pt x="78" y="4"/>
                              </a:cubicBezTo>
                              <a:cubicBezTo>
                                <a:pt x="75" y="7"/>
                                <a:pt x="72" y="8"/>
                                <a:pt x="70" y="12"/>
                              </a:cubicBezTo>
                              <a:cubicBezTo>
                                <a:pt x="69" y="16"/>
                                <a:pt x="65" y="17"/>
                                <a:pt x="67" y="21"/>
                              </a:cubicBezTo>
                              <a:cubicBezTo>
                                <a:pt x="69" y="24"/>
                                <a:pt x="70" y="24"/>
                                <a:pt x="73" y="26"/>
                              </a:cubicBezTo>
                              <a:cubicBezTo>
                                <a:pt x="75" y="28"/>
                                <a:pt x="78" y="29"/>
                                <a:pt x="78" y="34"/>
                              </a:cubicBezTo>
                              <a:cubicBezTo>
                                <a:pt x="78" y="39"/>
                                <a:pt x="82" y="42"/>
                                <a:pt x="75" y="41"/>
                              </a:cubicBezTo>
                              <a:cubicBezTo>
                                <a:pt x="68" y="41"/>
                                <a:pt x="67" y="38"/>
                                <a:pt x="62" y="38"/>
                              </a:cubicBezTo>
                              <a:cubicBezTo>
                                <a:pt x="57" y="38"/>
                                <a:pt x="51" y="39"/>
                                <a:pt x="54" y="35"/>
                              </a:cubicBezTo>
                              <a:cubicBezTo>
                                <a:pt x="58" y="31"/>
                                <a:pt x="62" y="29"/>
                                <a:pt x="58" y="27"/>
                              </a:cubicBezTo>
                              <a:cubicBezTo>
                                <a:pt x="54" y="25"/>
                                <a:pt x="47" y="26"/>
                                <a:pt x="44" y="29"/>
                              </a:cubicBezTo>
                              <a:cubicBezTo>
                                <a:pt x="41" y="32"/>
                                <a:pt x="40" y="37"/>
                                <a:pt x="39" y="40"/>
                              </a:cubicBezTo>
                              <a:cubicBezTo>
                                <a:pt x="37" y="44"/>
                                <a:pt x="39" y="48"/>
                                <a:pt x="32" y="45"/>
                              </a:cubicBezTo>
                              <a:cubicBezTo>
                                <a:pt x="25" y="42"/>
                                <a:pt x="21" y="41"/>
                                <a:pt x="17" y="39"/>
                              </a:cubicBezTo>
                              <a:cubicBezTo>
                                <a:pt x="13" y="36"/>
                                <a:pt x="8" y="33"/>
                                <a:pt x="5" y="35"/>
                              </a:cubicBezTo>
                              <a:close/>
                              <a:moveTo>
                                <a:pt x="250" y="124"/>
                              </a:moveTo>
                              <a:cubicBezTo>
                                <a:pt x="256" y="121"/>
                                <a:pt x="258" y="121"/>
                                <a:pt x="264" y="120"/>
                              </a:cubicBezTo>
                              <a:cubicBezTo>
                                <a:pt x="270" y="119"/>
                                <a:pt x="275" y="118"/>
                                <a:pt x="275" y="114"/>
                              </a:cubicBezTo>
                              <a:cubicBezTo>
                                <a:pt x="275" y="110"/>
                                <a:pt x="276" y="107"/>
                                <a:pt x="272" y="102"/>
                              </a:cubicBezTo>
                              <a:cubicBezTo>
                                <a:pt x="267" y="97"/>
                                <a:pt x="265" y="97"/>
                                <a:pt x="266" y="93"/>
                              </a:cubicBezTo>
                              <a:cubicBezTo>
                                <a:pt x="267" y="89"/>
                                <a:pt x="268" y="88"/>
                                <a:pt x="266" y="86"/>
                              </a:cubicBezTo>
                              <a:cubicBezTo>
                                <a:pt x="263" y="83"/>
                                <a:pt x="254" y="79"/>
                                <a:pt x="245" y="81"/>
                              </a:cubicBezTo>
                              <a:cubicBezTo>
                                <a:pt x="239" y="85"/>
                                <a:pt x="234" y="82"/>
                                <a:pt x="236" y="91"/>
                              </a:cubicBezTo>
                              <a:cubicBezTo>
                                <a:pt x="238" y="99"/>
                                <a:pt x="240" y="101"/>
                                <a:pt x="241" y="104"/>
                              </a:cubicBezTo>
                              <a:cubicBezTo>
                                <a:pt x="242" y="107"/>
                                <a:pt x="242" y="107"/>
                                <a:pt x="241" y="110"/>
                              </a:cubicBezTo>
                              <a:cubicBezTo>
                                <a:pt x="239" y="113"/>
                                <a:pt x="235" y="116"/>
                                <a:pt x="233" y="116"/>
                              </a:cubicBezTo>
                              <a:cubicBezTo>
                                <a:pt x="230" y="116"/>
                                <a:pt x="222" y="115"/>
                                <a:pt x="223" y="110"/>
                              </a:cubicBezTo>
                              <a:cubicBezTo>
                                <a:pt x="224" y="105"/>
                                <a:pt x="225" y="106"/>
                                <a:pt x="227" y="101"/>
                              </a:cubicBezTo>
                              <a:cubicBezTo>
                                <a:pt x="229" y="95"/>
                                <a:pt x="224" y="92"/>
                                <a:pt x="219" y="93"/>
                              </a:cubicBezTo>
                              <a:cubicBezTo>
                                <a:pt x="213" y="93"/>
                                <a:pt x="212" y="94"/>
                                <a:pt x="208" y="94"/>
                              </a:cubicBezTo>
                              <a:cubicBezTo>
                                <a:pt x="203" y="94"/>
                                <a:pt x="201" y="94"/>
                                <a:pt x="201" y="99"/>
                              </a:cubicBezTo>
                              <a:cubicBezTo>
                                <a:pt x="202" y="103"/>
                                <a:pt x="205" y="103"/>
                                <a:pt x="204" y="107"/>
                              </a:cubicBezTo>
                              <a:cubicBezTo>
                                <a:pt x="204" y="110"/>
                                <a:pt x="202" y="111"/>
                                <a:pt x="198" y="112"/>
                              </a:cubicBezTo>
                              <a:cubicBezTo>
                                <a:pt x="194" y="113"/>
                                <a:pt x="191" y="113"/>
                                <a:pt x="187" y="113"/>
                              </a:cubicBezTo>
                              <a:cubicBezTo>
                                <a:pt x="183" y="113"/>
                                <a:pt x="181" y="112"/>
                                <a:pt x="181" y="116"/>
                              </a:cubicBezTo>
                              <a:cubicBezTo>
                                <a:pt x="181" y="120"/>
                                <a:pt x="181" y="121"/>
                                <a:pt x="184" y="124"/>
                              </a:cubicBezTo>
                              <a:cubicBezTo>
                                <a:pt x="186" y="127"/>
                                <a:pt x="190" y="128"/>
                                <a:pt x="189" y="133"/>
                              </a:cubicBezTo>
                              <a:cubicBezTo>
                                <a:pt x="188" y="137"/>
                                <a:pt x="184" y="137"/>
                                <a:pt x="184" y="140"/>
                              </a:cubicBezTo>
                              <a:cubicBezTo>
                                <a:pt x="183" y="143"/>
                                <a:pt x="181" y="145"/>
                                <a:pt x="188" y="148"/>
                              </a:cubicBezTo>
                              <a:cubicBezTo>
                                <a:pt x="194" y="150"/>
                                <a:pt x="198" y="150"/>
                                <a:pt x="203" y="151"/>
                              </a:cubicBezTo>
                              <a:cubicBezTo>
                                <a:pt x="209" y="152"/>
                                <a:pt x="213" y="150"/>
                                <a:pt x="216" y="154"/>
                              </a:cubicBezTo>
                              <a:cubicBezTo>
                                <a:pt x="219" y="157"/>
                                <a:pt x="218" y="161"/>
                                <a:pt x="221" y="161"/>
                              </a:cubicBezTo>
                              <a:cubicBezTo>
                                <a:pt x="224" y="162"/>
                                <a:pt x="225" y="163"/>
                                <a:pt x="225" y="165"/>
                              </a:cubicBezTo>
                              <a:cubicBezTo>
                                <a:pt x="226" y="168"/>
                                <a:pt x="224" y="169"/>
                                <a:pt x="228" y="171"/>
                              </a:cubicBezTo>
                              <a:cubicBezTo>
                                <a:pt x="232" y="172"/>
                                <a:pt x="236" y="177"/>
                                <a:pt x="238" y="173"/>
                              </a:cubicBezTo>
                              <a:cubicBezTo>
                                <a:pt x="240" y="169"/>
                                <a:pt x="245" y="167"/>
                                <a:pt x="243" y="164"/>
                              </a:cubicBezTo>
                              <a:cubicBezTo>
                                <a:pt x="241" y="162"/>
                                <a:pt x="236" y="159"/>
                                <a:pt x="240" y="158"/>
                              </a:cubicBezTo>
                              <a:cubicBezTo>
                                <a:pt x="244" y="156"/>
                                <a:pt x="245" y="156"/>
                                <a:pt x="250" y="156"/>
                              </a:cubicBezTo>
                              <a:cubicBezTo>
                                <a:pt x="255" y="155"/>
                                <a:pt x="262" y="157"/>
                                <a:pt x="263" y="152"/>
                              </a:cubicBezTo>
                              <a:cubicBezTo>
                                <a:pt x="264" y="148"/>
                                <a:pt x="267" y="147"/>
                                <a:pt x="262" y="144"/>
                              </a:cubicBezTo>
                              <a:cubicBezTo>
                                <a:pt x="258" y="140"/>
                                <a:pt x="252" y="141"/>
                                <a:pt x="250" y="135"/>
                              </a:cubicBezTo>
                              <a:cubicBezTo>
                                <a:pt x="249" y="129"/>
                                <a:pt x="244" y="127"/>
                                <a:pt x="250" y="124"/>
                              </a:cubicBezTo>
                              <a:close/>
                              <a:moveTo>
                                <a:pt x="255" y="170"/>
                              </a:moveTo>
                              <a:cubicBezTo>
                                <a:pt x="250" y="174"/>
                                <a:pt x="248" y="176"/>
                                <a:pt x="251" y="182"/>
                              </a:cubicBezTo>
                              <a:cubicBezTo>
                                <a:pt x="254" y="184"/>
                                <a:pt x="268" y="180"/>
                                <a:pt x="268" y="178"/>
                              </a:cubicBezTo>
                              <a:cubicBezTo>
                                <a:pt x="268" y="175"/>
                                <a:pt x="261" y="166"/>
                                <a:pt x="255" y="170"/>
                              </a:cubicBezTo>
                              <a:close/>
                              <a:moveTo>
                                <a:pt x="238" y="184"/>
                              </a:moveTo>
                              <a:cubicBezTo>
                                <a:pt x="234" y="182"/>
                                <a:pt x="228" y="176"/>
                                <a:pt x="228" y="181"/>
                              </a:cubicBezTo>
                              <a:cubicBezTo>
                                <a:pt x="227" y="184"/>
                                <a:pt x="228" y="185"/>
                                <a:pt x="230" y="188"/>
                              </a:cubicBezTo>
                              <a:cubicBezTo>
                                <a:pt x="233" y="191"/>
                                <a:pt x="230" y="193"/>
                                <a:pt x="234" y="197"/>
                              </a:cubicBezTo>
                              <a:cubicBezTo>
                                <a:pt x="237" y="201"/>
                                <a:pt x="239" y="200"/>
                                <a:pt x="242" y="196"/>
                              </a:cubicBezTo>
                              <a:cubicBezTo>
                                <a:pt x="243" y="192"/>
                                <a:pt x="248" y="190"/>
                                <a:pt x="245" y="187"/>
                              </a:cubicBezTo>
                              <a:cubicBezTo>
                                <a:pt x="243" y="184"/>
                                <a:pt x="243" y="187"/>
                                <a:pt x="238" y="184"/>
                              </a:cubicBezTo>
                              <a:close/>
                              <a:moveTo>
                                <a:pt x="169" y="170"/>
                              </a:moveTo>
                              <a:cubicBezTo>
                                <a:pt x="166" y="173"/>
                                <a:pt x="167" y="175"/>
                                <a:pt x="163" y="179"/>
                              </a:cubicBezTo>
                              <a:cubicBezTo>
                                <a:pt x="158" y="184"/>
                                <a:pt x="151" y="188"/>
                                <a:pt x="153" y="192"/>
                              </a:cubicBezTo>
                              <a:cubicBezTo>
                                <a:pt x="155" y="197"/>
                                <a:pt x="162" y="202"/>
                                <a:pt x="163" y="195"/>
                              </a:cubicBezTo>
                              <a:cubicBezTo>
                                <a:pt x="164" y="188"/>
                                <a:pt x="162" y="187"/>
                                <a:pt x="165" y="183"/>
                              </a:cubicBezTo>
                              <a:cubicBezTo>
                                <a:pt x="168" y="180"/>
                                <a:pt x="168" y="177"/>
                                <a:pt x="172" y="174"/>
                              </a:cubicBezTo>
                              <a:cubicBezTo>
                                <a:pt x="175" y="170"/>
                                <a:pt x="175" y="166"/>
                                <a:pt x="169" y="170"/>
                              </a:cubicBezTo>
                              <a:close/>
                              <a:moveTo>
                                <a:pt x="202" y="204"/>
                              </a:moveTo>
                              <a:cubicBezTo>
                                <a:pt x="208" y="205"/>
                                <a:pt x="208" y="202"/>
                                <a:pt x="213" y="199"/>
                              </a:cubicBezTo>
                              <a:cubicBezTo>
                                <a:pt x="218" y="196"/>
                                <a:pt x="220" y="199"/>
                                <a:pt x="224" y="197"/>
                              </a:cubicBezTo>
                              <a:cubicBezTo>
                                <a:pt x="228" y="195"/>
                                <a:pt x="225" y="192"/>
                                <a:pt x="221" y="191"/>
                              </a:cubicBezTo>
                              <a:cubicBezTo>
                                <a:pt x="217" y="190"/>
                                <a:pt x="217" y="191"/>
                                <a:pt x="210" y="191"/>
                              </a:cubicBezTo>
                              <a:cubicBezTo>
                                <a:pt x="204" y="191"/>
                                <a:pt x="207" y="190"/>
                                <a:pt x="202" y="187"/>
                              </a:cubicBezTo>
                              <a:cubicBezTo>
                                <a:pt x="198" y="183"/>
                                <a:pt x="198" y="185"/>
                                <a:pt x="192" y="186"/>
                              </a:cubicBezTo>
                              <a:cubicBezTo>
                                <a:pt x="188" y="187"/>
                                <a:pt x="185" y="189"/>
                                <a:pt x="182" y="191"/>
                              </a:cubicBezTo>
                              <a:cubicBezTo>
                                <a:pt x="180" y="192"/>
                                <a:pt x="178" y="197"/>
                                <a:pt x="182" y="196"/>
                              </a:cubicBezTo>
                              <a:cubicBezTo>
                                <a:pt x="186" y="196"/>
                                <a:pt x="188" y="196"/>
                                <a:pt x="192" y="197"/>
                              </a:cubicBezTo>
                              <a:cubicBezTo>
                                <a:pt x="197" y="197"/>
                                <a:pt x="197" y="202"/>
                                <a:pt x="202" y="204"/>
                              </a:cubicBezTo>
                              <a:close/>
                              <a:moveTo>
                                <a:pt x="184" y="213"/>
                              </a:moveTo>
                              <a:cubicBezTo>
                                <a:pt x="181" y="215"/>
                                <a:pt x="181" y="217"/>
                                <a:pt x="185" y="218"/>
                              </a:cubicBezTo>
                              <a:cubicBezTo>
                                <a:pt x="189" y="218"/>
                                <a:pt x="185" y="222"/>
                                <a:pt x="190" y="221"/>
                              </a:cubicBezTo>
                              <a:cubicBezTo>
                                <a:pt x="196" y="220"/>
                                <a:pt x="197" y="217"/>
                                <a:pt x="194" y="215"/>
                              </a:cubicBezTo>
                              <a:cubicBezTo>
                                <a:pt x="192" y="213"/>
                                <a:pt x="189" y="211"/>
                                <a:pt x="184" y="213"/>
                              </a:cubicBezTo>
                              <a:close/>
                              <a:moveTo>
                                <a:pt x="98" y="172"/>
                              </a:moveTo>
                              <a:cubicBezTo>
                                <a:pt x="100" y="175"/>
                                <a:pt x="102" y="172"/>
                                <a:pt x="104" y="176"/>
                              </a:cubicBezTo>
                              <a:cubicBezTo>
                                <a:pt x="107" y="180"/>
                                <a:pt x="106" y="185"/>
                                <a:pt x="109" y="183"/>
                              </a:cubicBezTo>
                              <a:cubicBezTo>
                                <a:pt x="112" y="181"/>
                                <a:pt x="115" y="168"/>
                                <a:pt x="100" y="168"/>
                              </a:cubicBezTo>
                              <a:cubicBezTo>
                                <a:pt x="98" y="169"/>
                                <a:pt x="95" y="169"/>
                                <a:pt x="98" y="172"/>
                              </a:cubicBezTo>
                              <a:close/>
                              <a:moveTo>
                                <a:pt x="124" y="160"/>
                              </a:moveTo>
                              <a:cubicBezTo>
                                <a:pt x="128" y="165"/>
                                <a:pt x="134" y="168"/>
                                <a:pt x="141" y="171"/>
                              </a:cubicBezTo>
                              <a:cubicBezTo>
                                <a:pt x="149" y="173"/>
                                <a:pt x="151" y="167"/>
                                <a:pt x="158" y="165"/>
                              </a:cubicBezTo>
                              <a:cubicBezTo>
                                <a:pt x="164" y="163"/>
                                <a:pt x="163" y="160"/>
                                <a:pt x="164" y="154"/>
                              </a:cubicBezTo>
                              <a:cubicBezTo>
                                <a:pt x="164" y="148"/>
                                <a:pt x="163" y="148"/>
                                <a:pt x="160" y="140"/>
                              </a:cubicBezTo>
                              <a:cubicBezTo>
                                <a:pt x="157" y="132"/>
                                <a:pt x="158" y="133"/>
                                <a:pt x="157" y="130"/>
                              </a:cubicBezTo>
                              <a:cubicBezTo>
                                <a:pt x="156" y="127"/>
                                <a:pt x="152" y="133"/>
                                <a:pt x="149" y="135"/>
                              </a:cubicBezTo>
                              <a:cubicBezTo>
                                <a:pt x="146" y="138"/>
                                <a:pt x="145" y="136"/>
                                <a:pt x="142" y="133"/>
                              </a:cubicBezTo>
                              <a:cubicBezTo>
                                <a:pt x="140" y="130"/>
                                <a:pt x="139" y="128"/>
                                <a:pt x="134" y="126"/>
                              </a:cubicBezTo>
                              <a:cubicBezTo>
                                <a:pt x="130" y="125"/>
                                <a:pt x="129" y="128"/>
                                <a:pt x="117" y="129"/>
                              </a:cubicBezTo>
                              <a:cubicBezTo>
                                <a:pt x="108" y="127"/>
                                <a:pt x="103" y="127"/>
                                <a:pt x="99" y="131"/>
                              </a:cubicBezTo>
                              <a:cubicBezTo>
                                <a:pt x="96" y="135"/>
                                <a:pt x="103" y="136"/>
                                <a:pt x="107" y="143"/>
                              </a:cubicBezTo>
                              <a:cubicBezTo>
                                <a:pt x="111" y="149"/>
                                <a:pt x="109" y="148"/>
                                <a:pt x="112" y="153"/>
                              </a:cubicBezTo>
                              <a:cubicBezTo>
                                <a:pt x="115" y="157"/>
                                <a:pt x="121" y="155"/>
                                <a:pt x="124" y="160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54" name="Freeform 217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724513" y="3720201"/>
                          <a:ext cx="165497" cy="100012"/>
                        </a:xfrm>
                        <a:custGeom>
                          <a:avLst/>
                          <a:gdLst>
                            <a:gd name="T0" fmla="*/ 345 w 576"/>
                            <a:gd name="T1" fmla="*/ 25 h 350"/>
                            <a:gd name="T2" fmla="*/ 302 w 576"/>
                            <a:gd name="T3" fmla="*/ 27 h 350"/>
                            <a:gd name="T4" fmla="*/ 280 w 576"/>
                            <a:gd name="T5" fmla="*/ 41 h 350"/>
                            <a:gd name="T6" fmla="*/ 265 w 576"/>
                            <a:gd name="T7" fmla="*/ 33 h 350"/>
                            <a:gd name="T8" fmla="*/ 218 w 576"/>
                            <a:gd name="T9" fmla="*/ 22 h 350"/>
                            <a:gd name="T10" fmla="*/ 180 w 576"/>
                            <a:gd name="T11" fmla="*/ 18 h 350"/>
                            <a:gd name="T12" fmla="*/ 154 w 576"/>
                            <a:gd name="T13" fmla="*/ 22 h 350"/>
                            <a:gd name="T14" fmla="*/ 143 w 576"/>
                            <a:gd name="T15" fmla="*/ 32 h 350"/>
                            <a:gd name="T16" fmla="*/ 96 w 576"/>
                            <a:gd name="T17" fmla="*/ 72 h 350"/>
                            <a:gd name="T18" fmla="*/ 76 w 576"/>
                            <a:gd name="T19" fmla="*/ 104 h 350"/>
                            <a:gd name="T20" fmla="*/ 56 w 576"/>
                            <a:gd name="T21" fmla="*/ 143 h 350"/>
                            <a:gd name="T22" fmla="*/ 38 w 576"/>
                            <a:gd name="T23" fmla="*/ 155 h 350"/>
                            <a:gd name="T24" fmla="*/ 27 w 576"/>
                            <a:gd name="T25" fmla="*/ 160 h 350"/>
                            <a:gd name="T26" fmla="*/ 25 w 576"/>
                            <a:gd name="T27" fmla="*/ 161 h 350"/>
                            <a:gd name="T28" fmla="*/ 8 w 576"/>
                            <a:gd name="T29" fmla="*/ 166 h 350"/>
                            <a:gd name="T30" fmla="*/ 2 w 576"/>
                            <a:gd name="T31" fmla="*/ 167 h 350"/>
                            <a:gd name="T32" fmla="*/ 3 w 576"/>
                            <a:gd name="T33" fmla="*/ 174 h 350"/>
                            <a:gd name="T34" fmla="*/ 19 w 576"/>
                            <a:gd name="T35" fmla="*/ 192 h 350"/>
                            <a:gd name="T36" fmla="*/ 32 w 576"/>
                            <a:gd name="T37" fmla="*/ 211 h 350"/>
                            <a:gd name="T38" fmla="*/ 50 w 576"/>
                            <a:gd name="T39" fmla="*/ 223 h 350"/>
                            <a:gd name="T40" fmla="*/ 67 w 576"/>
                            <a:gd name="T41" fmla="*/ 231 h 350"/>
                            <a:gd name="T42" fmla="*/ 68 w 576"/>
                            <a:gd name="T43" fmla="*/ 232 h 350"/>
                            <a:gd name="T44" fmla="*/ 71 w 576"/>
                            <a:gd name="T45" fmla="*/ 256 h 350"/>
                            <a:gd name="T46" fmla="*/ 69 w 576"/>
                            <a:gd name="T47" fmla="*/ 261 h 350"/>
                            <a:gd name="T48" fmla="*/ 99 w 576"/>
                            <a:gd name="T49" fmla="*/ 277 h 350"/>
                            <a:gd name="T50" fmla="*/ 107 w 576"/>
                            <a:gd name="T51" fmla="*/ 283 h 350"/>
                            <a:gd name="T52" fmla="*/ 119 w 576"/>
                            <a:gd name="T53" fmla="*/ 273 h 350"/>
                            <a:gd name="T54" fmla="*/ 142 w 576"/>
                            <a:gd name="T55" fmla="*/ 278 h 350"/>
                            <a:gd name="T56" fmla="*/ 140 w 576"/>
                            <a:gd name="T57" fmla="*/ 292 h 350"/>
                            <a:gd name="T58" fmla="*/ 137 w 576"/>
                            <a:gd name="T59" fmla="*/ 295 h 350"/>
                            <a:gd name="T60" fmla="*/ 138 w 576"/>
                            <a:gd name="T61" fmla="*/ 303 h 350"/>
                            <a:gd name="T62" fmla="*/ 143 w 576"/>
                            <a:gd name="T63" fmla="*/ 310 h 350"/>
                            <a:gd name="T64" fmla="*/ 165 w 576"/>
                            <a:gd name="T65" fmla="*/ 330 h 350"/>
                            <a:gd name="T66" fmla="*/ 177 w 576"/>
                            <a:gd name="T67" fmla="*/ 336 h 350"/>
                            <a:gd name="T68" fmla="*/ 218 w 576"/>
                            <a:gd name="T69" fmla="*/ 343 h 350"/>
                            <a:gd name="T70" fmla="*/ 249 w 576"/>
                            <a:gd name="T71" fmla="*/ 345 h 350"/>
                            <a:gd name="T72" fmla="*/ 264 w 576"/>
                            <a:gd name="T73" fmla="*/ 341 h 350"/>
                            <a:gd name="T74" fmla="*/ 317 w 576"/>
                            <a:gd name="T75" fmla="*/ 348 h 350"/>
                            <a:gd name="T76" fmla="*/ 352 w 576"/>
                            <a:gd name="T77" fmla="*/ 334 h 350"/>
                            <a:gd name="T78" fmla="*/ 390 w 576"/>
                            <a:gd name="T79" fmla="*/ 322 h 350"/>
                            <a:gd name="T80" fmla="*/ 427 w 576"/>
                            <a:gd name="T81" fmla="*/ 316 h 350"/>
                            <a:gd name="T82" fmla="*/ 470 w 576"/>
                            <a:gd name="T83" fmla="*/ 328 h 350"/>
                            <a:gd name="T84" fmla="*/ 506 w 576"/>
                            <a:gd name="T85" fmla="*/ 341 h 350"/>
                            <a:gd name="T86" fmla="*/ 509 w 576"/>
                            <a:gd name="T87" fmla="*/ 304 h 350"/>
                            <a:gd name="T88" fmla="*/ 526 w 576"/>
                            <a:gd name="T89" fmla="*/ 271 h 350"/>
                            <a:gd name="T90" fmla="*/ 540 w 576"/>
                            <a:gd name="T91" fmla="*/ 248 h 350"/>
                            <a:gd name="T92" fmla="*/ 569 w 576"/>
                            <a:gd name="T93" fmla="*/ 256 h 350"/>
                            <a:gd name="T94" fmla="*/ 576 w 576"/>
                            <a:gd name="T95" fmla="*/ 236 h 350"/>
                            <a:gd name="T96" fmla="*/ 539 w 576"/>
                            <a:gd name="T97" fmla="*/ 227 h 350"/>
                            <a:gd name="T98" fmla="*/ 492 w 576"/>
                            <a:gd name="T99" fmla="*/ 226 h 350"/>
                            <a:gd name="T100" fmla="*/ 469 w 576"/>
                            <a:gd name="T101" fmla="*/ 180 h 350"/>
                            <a:gd name="T102" fmla="*/ 474 w 576"/>
                            <a:gd name="T103" fmla="*/ 150 h 350"/>
                            <a:gd name="T104" fmla="*/ 478 w 576"/>
                            <a:gd name="T105" fmla="*/ 128 h 350"/>
                            <a:gd name="T106" fmla="*/ 447 w 576"/>
                            <a:gd name="T107" fmla="*/ 77 h 350"/>
                            <a:gd name="T108" fmla="*/ 425 w 576"/>
                            <a:gd name="T109" fmla="*/ 42 h 350"/>
                            <a:gd name="T110" fmla="*/ 395 w 576"/>
                            <a:gd name="T111" fmla="*/ 0 h 350"/>
                            <a:gd name="T112" fmla="*/ 378 w 576"/>
                            <a:gd name="T113" fmla="*/ 12 h 350"/>
                            <a:gd name="T114" fmla="*/ 376 w 576"/>
                            <a:gd name="T115" fmla="*/ 13 h 35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</a:cxnLst>
                          <a:rect l="0" t="0" r="r" b="b"/>
                          <a:pathLst>
                            <a:path w="576" h="350">
                              <a:moveTo>
                                <a:pt x="376" y="13"/>
                              </a:moveTo>
                              <a:cubicBezTo>
                                <a:pt x="369" y="17"/>
                                <a:pt x="356" y="24"/>
                                <a:pt x="345" y="25"/>
                              </a:cubicBezTo>
                              <a:cubicBezTo>
                                <a:pt x="339" y="26"/>
                                <a:pt x="331" y="26"/>
                                <a:pt x="322" y="26"/>
                              </a:cubicBezTo>
                              <a:cubicBezTo>
                                <a:pt x="315" y="27"/>
                                <a:pt x="308" y="27"/>
                                <a:pt x="302" y="27"/>
                              </a:cubicBezTo>
                              <a:cubicBezTo>
                                <a:pt x="297" y="28"/>
                                <a:pt x="294" y="31"/>
                                <a:pt x="292" y="34"/>
                              </a:cubicBezTo>
                              <a:cubicBezTo>
                                <a:pt x="289" y="38"/>
                                <a:pt x="286" y="41"/>
                                <a:pt x="280" y="41"/>
                              </a:cubicBezTo>
                              <a:cubicBezTo>
                                <a:pt x="280" y="41"/>
                                <a:pt x="280" y="41"/>
                                <a:pt x="280" y="41"/>
                              </a:cubicBezTo>
                              <a:cubicBezTo>
                                <a:pt x="275" y="42"/>
                                <a:pt x="271" y="38"/>
                                <a:pt x="265" y="33"/>
                              </a:cubicBezTo>
                              <a:cubicBezTo>
                                <a:pt x="261" y="30"/>
                                <a:pt x="256" y="25"/>
                                <a:pt x="249" y="23"/>
                              </a:cubicBezTo>
                              <a:cubicBezTo>
                                <a:pt x="241" y="20"/>
                                <a:pt x="230" y="21"/>
                                <a:pt x="218" y="22"/>
                              </a:cubicBezTo>
                              <a:cubicBezTo>
                                <a:pt x="211" y="22"/>
                                <a:pt x="205" y="23"/>
                                <a:pt x="198" y="22"/>
                              </a:cubicBezTo>
                              <a:cubicBezTo>
                                <a:pt x="188" y="22"/>
                                <a:pt x="184" y="20"/>
                                <a:pt x="180" y="18"/>
                              </a:cubicBezTo>
                              <a:cubicBezTo>
                                <a:pt x="178" y="17"/>
                                <a:pt x="176" y="16"/>
                                <a:pt x="172" y="16"/>
                              </a:cubicBezTo>
                              <a:cubicBezTo>
                                <a:pt x="165" y="14"/>
                                <a:pt x="158" y="19"/>
                                <a:pt x="154" y="22"/>
                              </a:cubicBezTo>
                              <a:cubicBezTo>
                                <a:pt x="153" y="23"/>
                                <a:pt x="152" y="23"/>
                                <a:pt x="151" y="24"/>
                              </a:cubicBezTo>
                              <a:cubicBezTo>
                                <a:pt x="151" y="27"/>
                                <a:pt x="148" y="29"/>
                                <a:pt x="143" y="32"/>
                              </a:cubicBezTo>
                              <a:cubicBezTo>
                                <a:pt x="138" y="35"/>
                                <a:pt x="128" y="42"/>
                                <a:pt x="119" y="50"/>
                              </a:cubicBezTo>
                              <a:cubicBezTo>
                                <a:pt x="109" y="59"/>
                                <a:pt x="99" y="68"/>
                                <a:pt x="96" y="72"/>
                              </a:cubicBezTo>
                              <a:cubicBezTo>
                                <a:pt x="94" y="76"/>
                                <a:pt x="89" y="83"/>
                                <a:pt x="84" y="90"/>
                              </a:cubicBezTo>
                              <a:cubicBezTo>
                                <a:pt x="81" y="96"/>
                                <a:pt x="77" y="101"/>
                                <a:pt x="76" y="104"/>
                              </a:cubicBezTo>
                              <a:cubicBezTo>
                                <a:pt x="74" y="108"/>
                                <a:pt x="69" y="119"/>
                                <a:pt x="64" y="128"/>
                              </a:cubicBezTo>
                              <a:cubicBezTo>
                                <a:pt x="61" y="135"/>
                                <a:pt x="58" y="140"/>
                                <a:pt x="56" y="143"/>
                              </a:cubicBezTo>
                              <a:cubicBezTo>
                                <a:pt x="55" y="144"/>
                                <a:pt x="55" y="144"/>
                                <a:pt x="55" y="144"/>
                              </a:cubicBezTo>
                              <a:cubicBezTo>
                                <a:pt x="50" y="151"/>
                                <a:pt x="48" y="154"/>
                                <a:pt x="38" y="155"/>
                              </a:cubicBezTo>
                              <a:cubicBezTo>
                                <a:pt x="33" y="155"/>
                                <a:pt x="30" y="158"/>
                                <a:pt x="27" y="160"/>
                              </a:cubicBezTo>
                              <a:cubicBezTo>
                                <a:pt x="27" y="160"/>
                                <a:pt x="27" y="160"/>
                                <a:pt x="27" y="160"/>
                              </a:cubicBezTo>
                              <a:cubicBezTo>
                                <a:pt x="25" y="161"/>
                                <a:pt x="25" y="161"/>
                                <a:pt x="25" y="161"/>
                              </a:cubicBezTo>
                              <a:cubicBezTo>
                                <a:pt x="25" y="161"/>
                                <a:pt x="25" y="161"/>
                                <a:pt x="25" y="161"/>
                              </a:cubicBezTo>
                              <a:cubicBezTo>
                                <a:pt x="23" y="164"/>
                                <a:pt x="21" y="165"/>
                                <a:pt x="18" y="166"/>
                              </a:cubicBezTo>
                              <a:cubicBezTo>
                                <a:pt x="15" y="166"/>
                                <a:pt x="12" y="167"/>
                                <a:pt x="8" y="166"/>
                              </a:cubicBezTo>
                              <a:cubicBezTo>
                                <a:pt x="8" y="166"/>
                                <a:pt x="8" y="166"/>
                                <a:pt x="8" y="166"/>
                              </a:cubicBezTo>
                              <a:cubicBezTo>
                                <a:pt x="5" y="166"/>
                                <a:pt x="3" y="166"/>
                                <a:pt x="2" y="167"/>
                              </a:cubicBezTo>
                              <a:cubicBezTo>
                                <a:pt x="1" y="167"/>
                                <a:pt x="1" y="168"/>
                                <a:pt x="0" y="169"/>
                              </a:cubicBezTo>
                              <a:cubicBezTo>
                                <a:pt x="0" y="170"/>
                                <a:pt x="1" y="171"/>
                                <a:pt x="3" y="174"/>
                              </a:cubicBezTo>
                              <a:cubicBezTo>
                                <a:pt x="4" y="175"/>
                                <a:pt x="6" y="177"/>
                                <a:pt x="7" y="179"/>
                              </a:cubicBezTo>
                              <a:cubicBezTo>
                                <a:pt x="10" y="183"/>
                                <a:pt x="15" y="188"/>
                                <a:pt x="19" y="192"/>
                              </a:cubicBezTo>
                              <a:cubicBezTo>
                                <a:pt x="24" y="198"/>
                                <a:pt x="28" y="203"/>
                                <a:pt x="30" y="206"/>
                              </a:cubicBezTo>
                              <a:cubicBezTo>
                                <a:pt x="31" y="208"/>
                                <a:pt x="32" y="209"/>
                                <a:pt x="32" y="211"/>
                              </a:cubicBezTo>
                              <a:cubicBezTo>
                                <a:pt x="33" y="213"/>
                                <a:pt x="33" y="215"/>
                                <a:pt x="37" y="217"/>
                              </a:cubicBezTo>
                              <a:cubicBezTo>
                                <a:pt x="40" y="219"/>
                                <a:pt x="45" y="221"/>
                                <a:pt x="50" y="223"/>
                              </a:cubicBezTo>
                              <a:cubicBezTo>
                                <a:pt x="56" y="226"/>
                                <a:pt x="63" y="229"/>
                                <a:pt x="67" y="231"/>
                              </a:cubicBezTo>
                              <a:cubicBezTo>
                                <a:pt x="67" y="231"/>
                                <a:pt x="67" y="231"/>
                                <a:pt x="67" y="231"/>
                              </a:cubicBezTo>
                              <a:cubicBezTo>
                                <a:pt x="68" y="232"/>
                                <a:pt x="68" y="232"/>
                                <a:pt x="68" y="232"/>
                              </a:cubicBezTo>
                              <a:cubicBezTo>
                                <a:pt x="68" y="232"/>
                                <a:pt x="68" y="232"/>
                                <a:pt x="68" y="232"/>
                              </a:cubicBezTo>
                              <a:cubicBezTo>
                                <a:pt x="73" y="237"/>
                                <a:pt x="75" y="238"/>
                                <a:pt x="75" y="246"/>
                              </a:cubicBezTo>
                              <a:cubicBezTo>
                                <a:pt x="75" y="250"/>
                                <a:pt x="73" y="253"/>
                                <a:pt x="71" y="256"/>
                              </a:cubicBezTo>
                              <a:cubicBezTo>
                                <a:pt x="71" y="256"/>
                                <a:pt x="71" y="256"/>
                                <a:pt x="71" y="256"/>
                              </a:cubicBezTo>
                              <a:cubicBezTo>
                                <a:pt x="70" y="258"/>
                                <a:pt x="69" y="260"/>
                                <a:pt x="69" y="261"/>
                              </a:cubicBezTo>
                              <a:cubicBezTo>
                                <a:pt x="69" y="262"/>
                                <a:pt x="79" y="267"/>
                                <a:pt x="87" y="271"/>
                              </a:cubicBezTo>
                              <a:cubicBezTo>
                                <a:pt x="92" y="273"/>
                                <a:pt x="97" y="275"/>
                                <a:pt x="99" y="277"/>
                              </a:cubicBezTo>
                              <a:cubicBezTo>
                                <a:pt x="103" y="279"/>
                                <a:pt x="104" y="281"/>
                                <a:pt x="105" y="282"/>
                              </a:cubicBezTo>
                              <a:cubicBezTo>
                                <a:pt x="106" y="282"/>
                                <a:pt x="106" y="283"/>
                                <a:pt x="107" y="283"/>
                              </a:cubicBezTo>
                              <a:cubicBezTo>
                                <a:pt x="111" y="282"/>
                                <a:pt x="115" y="278"/>
                                <a:pt x="118" y="274"/>
                              </a:cubicBezTo>
                              <a:cubicBezTo>
                                <a:pt x="119" y="273"/>
                                <a:pt x="119" y="273"/>
                                <a:pt x="119" y="273"/>
                              </a:cubicBezTo>
                              <a:cubicBezTo>
                                <a:pt x="122" y="270"/>
                                <a:pt x="126" y="270"/>
                                <a:pt x="130" y="271"/>
                              </a:cubicBezTo>
                              <a:cubicBezTo>
                                <a:pt x="135" y="273"/>
                                <a:pt x="140" y="276"/>
                                <a:pt x="142" y="278"/>
                              </a:cubicBezTo>
                              <a:cubicBezTo>
                                <a:pt x="147" y="282"/>
                                <a:pt x="146" y="286"/>
                                <a:pt x="143" y="289"/>
                              </a:cubicBezTo>
                              <a:cubicBezTo>
                                <a:pt x="142" y="290"/>
                                <a:pt x="141" y="291"/>
                                <a:pt x="140" y="292"/>
                              </a:cubicBezTo>
                              <a:cubicBezTo>
                                <a:pt x="140" y="292"/>
                                <a:pt x="140" y="292"/>
                                <a:pt x="140" y="292"/>
                              </a:cubicBezTo>
                              <a:cubicBezTo>
                                <a:pt x="139" y="293"/>
                                <a:pt x="138" y="294"/>
                                <a:pt x="137" y="295"/>
                              </a:cubicBezTo>
                              <a:cubicBezTo>
                                <a:pt x="137" y="296"/>
                                <a:pt x="136" y="297"/>
                                <a:pt x="136" y="298"/>
                              </a:cubicBezTo>
                              <a:cubicBezTo>
                                <a:pt x="137" y="300"/>
                                <a:pt x="137" y="302"/>
                                <a:pt x="138" y="303"/>
                              </a:cubicBezTo>
                              <a:cubicBezTo>
                                <a:pt x="139" y="304"/>
                                <a:pt x="139" y="305"/>
                                <a:pt x="140" y="305"/>
                              </a:cubicBezTo>
                              <a:cubicBezTo>
                                <a:pt x="142" y="307"/>
                                <a:pt x="143" y="308"/>
                                <a:pt x="143" y="310"/>
                              </a:cubicBezTo>
                              <a:cubicBezTo>
                                <a:pt x="149" y="311"/>
                                <a:pt x="159" y="314"/>
                                <a:pt x="163" y="317"/>
                              </a:cubicBezTo>
                              <a:cubicBezTo>
                                <a:pt x="166" y="320"/>
                                <a:pt x="165" y="325"/>
                                <a:pt x="165" y="330"/>
                              </a:cubicBezTo>
                              <a:cubicBezTo>
                                <a:pt x="164" y="333"/>
                                <a:pt x="164" y="336"/>
                                <a:pt x="164" y="337"/>
                              </a:cubicBezTo>
                              <a:cubicBezTo>
                                <a:pt x="166" y="338"/>
                                <a:pt x="171" y="337"/>
                                <a:pt x="177" y="336"/>
                              </a:cubicBezTo>
                              <a:cubicBezTo>
                                <a:pt x="181" y="335"/>
                                <a:pt x="187" y="335"/>
                                <a:pt x="192" y="335"/>
                              </a:cubicBezTo>
                              <a:cubicBezTo>
                                <a:pt x="200" y="335"/>
                                <a:pt x="209" y="339"/>
                                <a:pt x="218" y="343"/>
                              </a:cubicBezTo>
                              <a:cubicBezTo>
                                <a:pt x="223" y="345"/>
                                <a:pt x="228" y="347"/>
                                <a:pt x="232" y="348"/>
                              </a:cubicBezTo>
                              <a:cubicBezTo>
                                <a:pt x="237" y="350"/>
                                <a:pt x="243" y="348"/>
                                <a:pt x="249" y="345"/>
                              </a:cubicBezTo>
                              <a:cubicBezTo>
                                <a:pt x="249" y="345"/>
                                <a:pt x="249" y="345"/>
                                <a:pt x="249" y="345"/>
                              </a:cubicBezTo>
                              <a:cubicBezTo>
                                <a:pt x="254" y="344"/>
                                <a:pt x="259" y="342"/>
                                <a:pt x="264" y="341"/>
                              </a:cubicBezTo>
                              <a:cubicBezTo>
                                <a:pt x="271" y="340"/>
                                <a:pt x="283" y="342"/>
                                <a:pt x="294" y="345"/>
                              </a:cubicBezTo>
                              <a:cubicBezTo>
                                <a:pt x="303" y="346"/>
                                <a:pt x="311" y="348"/>
                                <a:pt x="317" y="348"/>
                              </a:cubicBezTo>
                              <a:cubicBezTo>
                                <a:pt x="323" y="348"/>
                                <a:pt x="329" y="347"/>
                                <a:pt x="334" y="344"/>
                              </a:cubicBezTo>
                              <a:cubicBezTo>
                                <a:pt x="340" y="342"/>
                                <a:pt x="346" y="338"/>
                                <a:pt x="352" y="334"/>
                              </a:cubicBezTo>
                              <a:cubicBezTo>
                                <a:pt x="359" y="329"/>
                                <a:pt x="365" y="326"/>
                                <a:pt x="372" y="324"/>
                              </a:cubicBezTo>
                              <a:cubicBezTo>
                                <a:pt x="378" y="322"/>
                                <a:pt x="384" y="322"/>
                                <a:pt x="390" y="322"/>
                              </a:cubicBezTo>
                              <a:cubicBezTo>
                                <a:pt x="395" y="321"/>
                                <a:pt x="400" y="320"/>
                                <a:pt x="405" y="319"/>
                              </a:cubicBezTo>
                              <a:cubicBezTo>
                                <a:pt x="412" y="318"/>
                                <a:pt x="419" y="316"/>
                                <a:pt x="427" y="316"/>
                              </a:cubicBezTo>
                              <a:cubicBezTo>
                                <a:pt x="437" y="316"/>
                                <a:pt x="444" y="319"/>
                                <a:pt x="453" y="322"/>
                              </a:cubicBezTo>
                              <a:cubicBezTo>
                                <a:pt x="458" y="324"/>
                                <a:pt x="463" y="326"/>
                                <a:pt x="470" y="328"/>
                              </a:cubicBezTo>
                              <a:cubicBezTo>
                                <a:pt x="478" y="330"/>
                                <a:pt x="489" y="334"/>
                                <a:pt x="498" y="338"/>
                              </a:cubicBezTo>
                              <a:cubicBezTo>
                                <a:pt x="501" y="339"/>
                                <a:pt x="504" y="340"/>
                                <a:pt x="506" y="341"/>
                              </a:cubicBezTo>
                              <a:cubicBezTo>
                                <a:pt x="507" y="338"/>
                                <a:pt x="507" y="336"/>
                                <a:pt x="508" y="333"/>
                              </a:cubicBezTo>
                              <a:cubicBezTo>
                                <a:pt x="511" y="322"/>
                                <a:pt x="504" y="314"/>
                                <a:pt x="509" y="304"/>
                              </a:cubicBezTo>
                              <a:cubicBezTo>
                                <a:pt x="515" y="294"/>
                                <a:pt x="521" y="295"/>
                                <a:pt x="525" y="288"/>
                              </a:cubicBezTo>
                              <a:cubicBezTo>
                                <a:pt x="529" y="281"/>
                                <a:pt x="528" y="280"/>
                                <a:pt x="526" y="271"/>
                              </a:cubicBezTo>
                              <a:cubicBezTo>
                                <a:pt x="524" y="262"/>
                                <a:pt x="520" y="261"/>
                                <a:pt x="524" y="254"/>
                              </a:cubicBezTo>
                              <a:cubicBezTo>
                                <a:pt x="529" y="247"/>
                                <a:pt x="539" y="241"/>
                                <a:pt x="540" y="248"/>
                              </a:cubicBezTo>
                              <a:cubicBezTo>
                                <a:pt x="541" y="256"/>
                                <a:pt x="536" y="260"/>
                                <a:pt x="546" y="261"/>
                              </a:cubicBezTo>
                              <a:cubicBezTo>
                                <a:pt x="556" y="261"/>
                                <a:pt x="563" y="260"/>
                                <a:pt x="569" y="256"/>
                              </a:cubicBezTo>
                              <a:cubicBezTo>
                                <a:pt x="575" y="253"/>
                                <a:pt x="575" y="247"/>
                                <a:pt x="576" y="238"/>
                              </a:cubicBezTo>
                              <a:cubicBezTo>
                                <a:pt x="576" y="237"/>
                                <a:pt x="576" y="237"/>
                                <a:pt x="576" y="236"/>
                              </a:cubicBezTo>
                              <a:cubicBezTo>
                                <a:pt x="571" y="229"/>
                                <a:pt x="566" y="223"/>
                                <a:pt x="558" y="222"/>
                              </a:cubicBezTo>
                              <a:cubicBezTo>
                                <a:pt x="552" y="221"/>
                                <a:pt x="546" y="224"/>
                                <a:pt x="539" y="227"/>
                              </a:cubicBezTo>
                              <a:cubicBezTo>
                                <a:pt x="533" y="229"/>
                                <a:pt x="528" y="231"/>
                                <a:pt x="521" y="233"/>
                              </a:cubicBezTo>
                              <a:cubicBezTo>
                                <a:pt x="514" y="234"/>
                                <a:pt x="502" y="231"/>
                                <a:pt x="492" y="226"/>
                              </a:cubicBezTo>
                              <a:cubicBezTo>
                                <a:pt x="481" y="221"/>
                                <a:pt x="471" y="214"/>
                                <a:pt x="469" y="208"/>
                              </a:cubicBezTo>
                              <a:cubicBezTo>
                                <a:pt x="467" y="199"/>
                                <a:pt x="467" y="193"/>
                                <a:pt x="469" y="180"/>
                              </a:cubicBezTo>
                              <a:cubicBezTo>
                                <a:pt x="469" y="177"/>
                                <a:pt x="469" y="174"/>
                                <a:pt x="469" y="172"/>
                              </a:cubicBezTo>
                              <a:cubicBezTo>
                                <a:pt x="470" y="163"/>
                                <a:pt x="472" y="156"/>
                                <a:pt x="474" y="150"/>
                              </a:cubicBezTo>
                              <a:cubicBezTo>
                                <a:pt x="476" y="144"/>
                                <a:pt x="478" y="138"/>
                                <a:pt x="478" y="131"/>
                              </a:cubicBezTo>
                              <a:cubicBezTo>
                                <a:pt x="478" y="128"/>
                                <a:pt x="478" y="131"/>
                                <a:pt x="478" y="128"/>
                              </a:cubicBezTo>
                              <a:cubicBezTo>
                                <a:pt x="478" y="117"/>
                                <a:pt x="478" y="108"/>
                                <a:pt x="468" y="99"/>
                              </a:cubicBezTo>
                              <a:cubicBezTo>
                                <a:pt x="462" y="93"/>
                                <a:pt x="453" y="85"/>
                                <a:pt x="447" y="77"/>
                              </a:cubicBezTo>
                              <a:cubicBezTo>
                                <a:pt x="441" y="71"/>
                                <a:pt x="436" y="64"/>
                                <a:pt x="434" y="60"/>
                              </a:cubicBezTo>
                              <a:cubicBezTo>
                                <a:pt x="432" y="56"/>
                                <a:pt x="428" y="49"/>
                                <a:pt x="425" y="42"/>
                              </a:cubicBezTo>
                              <a:cubicBezTo>
                                <a:pt x="420" y="33"/>
                                <a:pt x="415" y="24"/>
                                <a:pt x="413" y="21"/>
                              </a:cubicBezTo>
                              <a:cubicBezTo>
                                <a:pt x="410" y="15"/>
                                <a:pt x="398" y="4"/>
                                <a:pt x="395" y="0"/>
                              </a:cubicBezTo>
                              <a:cubicBezTo>
                                <a:pt x="392" y="2"/>
                                <a:pt x="390" y="3"/>
                                <a:pt x="388" y="5"/>
                              </a:cubicBezTo>
                              <a:cubicBezTo>
                                <a:pt x="384" y="8"/>
                                <a:pt x="381" y="11"/>
                                <a:pt x="378" y="12"/>
                              </a:cubicBezTo>
                              <a:cubicBezTo>
                                <a:pt x="378" y="12"/>
                                <a:pt x="378" y="12"/>
                                <a:pt x="378" y="12"/>
                              </a:cubicBezTo>
                              <a:cubicBezTo>
                                <a:pt x="376" y="13"/>
                                <a:pt x="376" y="13"/>
                                <a:pt x="376" y="13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55" name="Freeform 244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890010" y="4667938"/>
                          <a:ext cx="189309" cy="188119"/>
                        </a:xfrm>
                        <a:custGeom>
                          <a:avLst/>
                          <a:gdLst>
                            <a:gd name="T0" fmla="*/ 582 w 662"/>
                            <a:gd name="T1" fmla="*/ 236 h 658"/>
                            <a:gd name="T2" fmla="*/ 493 w 662"/>
                            <a:gd name="T3" fmla="*/ 159 h 658"/>
                            <a:gd name="T4" fmla="*/ 489 w 662"/>
                            <a:gd name="T5" fmla="*/ 133 h 658"/>
                            <a:gd name="T6" fmla="*/ 262 w 662"/>
                            <a:gd name="T7" fmla="*/ 19 h 658"/>
                            <a:gd name="T8" fmla="*/ 238 w 662"/>
                            <a:gd name="T9" fmla="*/ 44 h 658"/>
                            <a:gd name="T10" fmla="*/ 214 w 662"/>
                            <a:gd name="T11" fmla="*/ 65 h 658"/>
                            <a:gd name="T12" fmla="*/ 247 w 662"/>
                            <a:gd name="T13" fmla="*/ 78 h 658"/>
                            <a:gd name="T14" fmla="*/ 213 w 662"/>
                            <a:gd name="T15" fmla="*/ 90 h 658"/>
                            <a:gd name="T16" fmla="*/ 199 w 662"/>
                            <a:gd name="T17" fmla="*/ 114 h 658"/>
                            <a:gd name="T18" fmla="*/ 189 w 662"/>
                            <a:gd name="T19" fmla="*/ 107 h 658"/>
                            <a:gd name="T20" fmla="*/ 180 w 662"/>
                            <a:gd name="T21" fmla="*/ 87 h 658"/>
                            <a:gd name="T22" fmla="*/ 147 w 662"/>
                            <a:gd name="T23" fmla="*/ 75 h 658"/>
                            <a:gd name="T24" fmla="*/ 128 w 662"/>
                            <a:gd name="T25" fmla="*/ 100 h 658"/>
                            <a:gd name="T26" fmla="*/ 116 w 662"/>
                            <a:gd name="T27" fmla="*/ 54 h 658"/>
                            <a:gd name="T28" fmla="*/ 132 w 662"/>
                            <a:gd name="T29" fmla="*/ 11 h 658"/>
                            <a:gd name="T30" fmla="*/ 62 w 662"/>
                            <a:gd name="T31" fmla="*/ 0 h 658"/>
                            <a:gd name="T32" fmla="*/ 52 w 662"/>
                            <a:gd name="T33" fmla="*/ 2 h 658"/>
                            <a:gd name="T34" fmla="*/ 68 w 662"/>
                            <a:gd name="T35" fmla="*/ 24 h 658"/>
                            <a:gd name="T36" fmla="*/ 73 w 662"/>
                            <a:gd name="T37" fmla="*/ 67 h 658"/>
                            <a:gd name="T38" fmla="*/ 61 w 662"/>
                            <a:gd name="T39" fmla="*/ 87 h 658"/>
                            <a:gd name="T40" fmla="*/ 54 w 662"/>
                            <a:gd name="T41" fmla="*/ 107 h 658"/>
                            <a:gd name="T42" fmla="*/ 62 w 662"/>
                            <a:gd name="T43" fmla="*/ 114 h 658"/>
                            <a:gd name="T44" fmla="*/ 65 w 662"/>
                            <a:gd name="T45" fmla="*/ 143 h 658"/>
                            <a:gd name="T46" fmla="*/ 43 w 662"/>
                            <a:gd name="T47" fmla="*/ 171 h 658"/>
                            <a:gd name="T48" fmla="*/ 13 w 662"/>
                            <a:gd name="T49" fmla="*/ 203 h 658"/>
                            <a:gd name="T50" fmla="*/ 0 w 662"/>
                            <a:gd name="T51" fmla="*/ 210 h 658"/>
                            <a:gd name="T52" fmla="*/ 10 w 662"/>
                            <a:gd name="T53" fmla="*/ 259 h 658"/>
                            <a:gd name="T54" fmla="*/ 15 w 662"/>
                            <a:gd name="T55" fmla="*/ 305 h 658"/>
                            <a:gd name="T56" fmla="*/ 50 w 662"/>
                            <a:gd name="T57" fmla="*/ 351 h 658"/>
                            <a:gd name="T58" fmla="*/ 84 w 662"/>
                            <a:gd name="T59" fmla="*/ 420 h 658"/>
                            <a:gd name="T60" fmla="*/ 98 w 662"/>
                            <a:gd name="T61" fmla="*/ 463 h 658"/>
                            <a:gd name="T62" fmla="*/ 125 w 662"/>
                            <a:gd name="T63" fmla="*/ 475 h 658"/>
                            <a:gd name="T64" fmla="*/ 154 w 662"/>
                            <a:gd name="T65" fmla="*/ 491 h 658"/>
                            <a:gd name="T66" fmla="*/ 190 w 662"/>
                            <a:gd name="T67" fmla="*/ 507 h 658"/>
                            <a:gd name="T68" fmla="*/ 245 w 662"/>
                            <a:gd name="T69" fmla="*/ 523 h 658"/>
                            <a:gd name="T70" fmla="*/ 265 w 662"/>
                            <a:gd name="T71" fmla="*/ 519 h 658"/>
                            <a:gd name="T72" fmla="*/ 306 w 662"/>
                            <a:gd name="T73" fmla="*/ 572 h 658"/>
                            <a:gd name="T74" fmla="*/ 321 w 662"/>
                            <a:gd name="T75" fmla="*/ 633 h 658"/>
                            <a:gd name="T76" fmla="*/ 358 w 662"/>
                            <a:gd name="T77" fmla="*/ 650 h 658"/>
                            <a:gd name="T78" fmla="*/ 359 w 662"/>
                            <a:gd name="T79" fmla="*/ 650 h 658"/>
                            <a:gd name="T80" fmla="*/ 367 w 662"/>
                            <a:gd name="T81" fmla="*/ 646 h 658"/>
                            <a:gd name="T82" fmla="*/ 398 w 662"/>
                            <a:gd name="T83" fmla="*/ 648 h 658"/>
                            <a:gd name="T84" fmla="*/ 439 w 662"/>
                            <a:gd name="T85" fmla="*/ 652 h 658"/>
                            <a:gd name="T86" fmla="*/ 463 w 662"/>
                            <a:gd name="T87" fmla="*/ 652 h 658"/>
                            <a:gd name="T88" fmla="*/ 492 w 662"/>
                            <a:gd name="T89" fmla="*/ 644 h 658"/>
                            <a:gd name="T90" fmla="*/ 529 w 662"/>
                            <a:gd name="T91" fmla="*/ 632 h 658"/>
                            <a:gd name="T92" fmla="*/ 557 w 662"/>
                            <a:gd name="T93" fmla="*/ 632 h 658"/>
                            <a:gd name="T94" fmla="*/ 580 w 662"/>
                            <a:gd name="T95" fmla="*/ 624 h 658"/>
                            <a:gd name="T96" fmla="*/ 662 w 662"/>
                            <a:gd name="T97" fmla="*/ 578 h 658"/>
                            <a:gd name="T98" fmla="*/ 636 w 662"/>
                            <a:gd name="T99" fmla="*/ 567 h 658"/>
                            <a:gd name="T100" fmla="*/ 613 w 662"/>
                            <a:gd name="T101" fmla="*/ 537 h 658"/>
                            <a:gd name="T102" fmla="*/ 609 w 662"/>
                            <a:gd name="T103" fmla="*/ 500 h 658"/>
                            <a:gd name="T104" fmla="*/ 595 w 662"/>
                            <a:gd name="T105" fmla="*/ 457 h 658"/>
                            <a:gd name="T106" fmla="*/ 598 w 662"/>
                            <a:gd name="T107" fmla="*/ 425 h 658"/>
                            <a:gd name="T108" fmla="*/ 595 w 662"/>
                            <a:gd name="T109" fmla="*/ 388 h 658"/>
                            <a:gd name="T110" fmla="*/ 597 w 662"/>
                            <a:gd name="T111" fmla="*/ 362 h 658"/>
                            <a:gd name="T112" fmla="*/ 565 w 662"/>
                            <a:gd name="T113" fmla="*/ 331 h 658"/>
                            <a:gd name="T114" fmla="*/ 573 w 662"/>
                            <a:gd name="T115" fmla="*/ 259 h 65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</a:cxnLst>
                          <a:rect l="0" t="0" r="r" b="b"/>
                          <a:pathLst>
                            <a:path w="662" h="658">
                              <a:moveTo>
                                <a:pt x="573" y="259"/>
                              </a:moveTo>
                              <a:cubicBezTo>
                                <a:pt x="580" y="247"/>
                                <a:pt x="581" y="246"/>
                                <a:pt x="582" y="236"/>
                              </a:cubicBezTo>
                              <a:cubicBezTo>
                                <a:pt x="582" y="231"/>
                                <a:pt x="582" y="227"/>
                                <a:pt x="583" y="225"/>
                              </a:cubicBezTo>
                              <a:cubicBezTo>
                                <a:pt x="555" y="205"/>
                                <a:pt x="497" y="166"/>
                                <a:pt x="493" y="159"/>
                              </a:cubicBezTo>
                              <a:cubicBezTo>
                                <a:pt x="491" y="153"/>
                                <a:pt x="491" y="148"/>
                                <a:pt x="491" y="143"/>
                              </a:cubicBezTo>
                              <a:cubicBezTo>
                                <a:pt x="491" y="140"/>
                                <a:pt x="491" y="136"/>
                                <a:pt x="489" y="133"/>
                              </a:cubicBezTo>
                              <a:cubicBezTo>
                                <a:pt x="487" y="125"/>
                                <a:pt x="308" y="26"/>
                                <a:pt x="265" y="2"/>
                              </a:cubicBezTo>
                              <a:cubicBezTo>
                                <a:pt x="260" y="7"/>
                                <a:pt x="263" y="11"/>
                                <a:pt x="262" y="19"/>
                              </a:cubicBezTo>
                              <a:cubicBezTo>
                                <a:pt x="262" y="27"/>
                                <a:pt x="254" y="24"/>
                                <a:pt x="245" y="27"/>
                              </a:cubicBezTo>
                              <a:cubicBezTo>
                                <a:pt x="236" y="30"/>
                                <a:pt x="239" y="34"/>
                                <a:pt x="238" y="44"/>
                              </a:cubicBezTo>
                              <a:cubicBezTo>
                                <a:pt x="237" y="54"/>
                                <a:pt x="229" y="50"/>
                                <a:pt x="221" y="53"/>
                              </a:cubicBezTo>
                              <a:cubicBezTo>
                                <a:pt x="213" y="55"/>
                                <a:pt x="213" y="60"/>
                                <a:pt x="214" y="65"/>
                              </a:cubicBezTo>
                              <a:cubicBezTo>
                                <a:pt x="215" y="70"/>
                                <a:pt x="229" y="68"/>
                                <a:pt x="241" y="66"/>
                              </a:cubicBezTo>
                              <a:cubicBezTo>
                                <a:pt x="253" y="65"/>
                                <a:pt x="249" y="71"/>
                                <a:pt x="247" y="78"/>
                              </a:cubicBezTo>
                              <a:cubicBezTo>
                                <a:pt x="244" y="86"/>
                                <a:pt x="239" y="90"/>
                                <a:pt x="234" y="93"/>
                              </a:cubicBezTo>
                              <a:cubicBezTo>
                                <a:pt x="229" y="96"/>
                                <a:pt x="221" y="91"/>
                                <a:pt x="213" y="90"/>
                              </a:cubicBezTo>
                              <a:cubicBezTo>
                                <a:pt x="204" y="89"/>
                                <a:pt x="204" y="93"/>
                                <a:pt x="203" y="97"/>
                              </a:cubicBezTo>
                              <a:cubicBezTo>
                                <a:pt x="201" y="100"/>
                                <a:pt x="200" y="106"/>
                                <a:pt x="199" y="114"/>
                              </a:cubicBezTo>
                              <a:cubicBezTo>
                                <a:pt x="199" y="121"/>
                                <a:pt x="193" y="118"/>
                                <a:pt x="186" y="118"/>
                              </a:cubicBezTo>
                              <a:cubicBezTo>
                                <a:pt x="180" y="118"/>
                                <a:pt x="187" y="111"/>
                                <a:pt x="189" y="107"/>
                              </a:cubicBezTo>
                              <a:cubicBezTo>
                                <a:pt x="191" y="104"/>
                                <a:pt x="191" y="95"/>
                                <a:pt x="189" y="92"/>
                              </a:cubicBezTo>
                              <a:cubicBezTo>
                                <a:pt x="187" y="88"/>
                                <a:pt x="183" y="85"/>
                                <a:pt x="180" y="87"/>
                              </a:cubicBezTo>
                              <a:cubicBezTo>
                                <a:pt x="178" y="89"/>
                                <a:pt x="173" y="88"/>
                                <a:pt x="171" y="81"/>
                              </a:cubicBezTo>
                              <a:cubicBezTo>
                                <a:pt x="169" y="74"/>
                                <a:pt x="153" y="67"/>
                                <a:pt x="147" y="75"/>
                              </a:cubicBezTo>
                              <a:cubicBezTo>
                                <a:pt x="141" y="82"/>
                                <a:pt x="142" y="86"/>
                                <a:pt x="142" y="94"/>
                              </a:cubicBezTo>
                              <a:cubicBezTo>
                                <a:pt x="141" y="103"/>
                                <a:pt x="137" y="100"/>
                                <a:pt x="128" y="100"/>
                              </a:cubicBezTo>
                              <a:cubicBezTo>
                                <a:pt x="119" y="100"/>
                                <a:pt x="123" y="81"/>
                                <a:pt x="121" y="70"/>
                              </a:cubicBezTo>
                              <a:cubicBezTo>
                                <a:pt x="120" y="59"/>
                                <a:pt x="119" y="61"/>
                                <a:pt x="116" y="54"/>
                              </a:cubicBezTo>
                              <a:cubicBezTo>
                                <a:pt x="114" y="47"/>
                                <a:pt x="114" y="33"/>
                                <a:pt x="117" y="30"/>
                              </a:cubicBezTo>
                              <a:cubicBezTo>
                                <a:pt x="119" y="26"/>
                                <a:pt x="128" y="19"/>
                                <a:pt x="132" y="11"/>
                              </a:cubicBezTo>
                              <a:cubicBezTo>
                                <a:pt x="134" y="7"/>
                                <a:pt x="133" y="4"/>
                                <a:pt x="132" y="1"/>
                              </a:cubicBezTo>
                              <a:cubicBezTo>
                                <a:pt x="96" y="0"/>
                                <a:pt x="65" y="0"/>
                                <a:pt x="62" y="0"/>
                              </a:cubicBezTo>
                              <a:cubicBezTo>
                                <a:pt x="58" y="0"/>
                                <a:pt x="55" y="1"/>
                                <a:pt x="52" y="2"/>
                              </a:cubicBezTo>
                              <a:cubicBezTo>
                                <a:pt x="52" y="2"/>
                                <a:pt x="52" y="2"/>
                                <a:pt x="52" y="2"/>
                              </a:cubicBezTo>
                              <a:cubicBezTo>
                                <a:pt x="56" y="6"/>
                                <a:pt x="62" y="14"/>
                                <a:pt x="65" y="20"/>
                              </a:cubicBezTo>
                              <a:cubicBezTo>
                                <a:pt x="66" y="22"/>
                                <a:pt x="67" y="23"/>
                                <a:pt x="68" y="24"/>
                              </a:cubicBezTo>
                              <a:cubicBezTo>
                                <a:pt x="71" y="29"/>
                                <a:pt x="73" y="32"/>
                                <a:pt x="74" y="43"/>
                              </a:cubicBezTo>
                              <a:cubicBezTo>
                                <a:pt x="75" y="49"/>
                                <a:pt x="74" y="59"/>
                                <a:pt x="73" y="67"/>
                              </a:cubicBezTo>
                              <a:cubicBezTo>
                                <a:pt x="72" y="74"/>
                                <a:pt x="70" y="80"/>
                                <a:pt x="67" y="82"/>
                              </a:cubicBezTo>
                              <a:cubicBezTo>
                                <a:pt x="65" y="82"/>
                                <a:pt x="63" y="85"/>
                                <a:pt x="61" y="87"/>
                              </a:cubicBezTo>
                              <a:cubicBezTo>
                                <a:pt x="59" y="91"/>
                                <a:pt x="57" y="94"/>
                                <a:pt x="55" y="98"/>
                              </a:cubicBezTo>
                              <a:cubicBezTo>
                                <a:pt x="54" y="102"/>
                                <a:pt x="53" y="104"/>
                                <a:pt x="54" y="107"/>
                              </a:cubicBezTo>
                              <a:cubicBezTo>
                                <a:pt x="54" y="109"/>
                                <a:pt x="55" y="110"/>
                                <a:pt x="56" y="111"/>
                              </a:cubicBezTo>
                              <a:cubicBezTo>
                                <a:pt x="57" y="112"/>
                                <a:pt x="60" y="113"/>
                                <a:pt x="62" y="114"/>
                              </a:cubicBezTo>
                              <a:cubicBezTo>
                                <a:pt x="68" y="117"/>
                                <a:pt x="76" y="120"/>
                                <a:pt x="76" y="128"/>
                              </a:cubicBezTo>
                              <a:cubicBezTo>
                                <a:pt x="76" y="134"/>
                                <a:pt x="71" y="138"/>
                                <a:pt x="65" y="143"/>
                              </a:cubicBezTo>
                              <a:cubicBezTo>
                                <a:pt x="62" y="145"/>
                                <a:pt x="58" y="149"/>
                                <a:pt x="54" y="153"/>
                              </a:cubicBezTo>
                              <a:cubicBezTo>
                                <a:pt x="47" y="161"/>
                                <a:pt x="45" y="166"/>
                                <a:pt x="43" y="171"/>
                              </a:cubicBezTo>
                              <a:cubicBezTo>
                                <a:pt x="42" y="174"/>
                                <a:pt x="40" y="176"/>
                                <a:pt x="38" y="180"/>
                              </a:cubicBezTo>
                              <a:cubicBezTo>
                                <a:pt x="33" y="189"/>
                                <a:pt x="21" y="197"/>
                                <a:pt x="13" y="203"/>
                              </a:cubicBezTo>
                              <a:cubicBezTo>
                                <a:pt x="11" y="204"/>
                                <a:pt x="9" y="205"/>
                                <a:pt x="8" y="206"/>
                              </a:cubicBezTo>
                              <a:cubicBezTo>
                                <a:pt x="6" y="208"/>
                                <a:pt x="3" y="209"/>
                                <a:pt x="0" y="210"/>
                              </a:cubicBezTo>
                              <a:cubicBezTo>
                                <a:pt x="2" y="220"/>
                                <a:pt x="2" y="226"/>
                                <a:pt x="3" y="232"/>
                              </a:cubicBezTo>
                              <a:cubicBezTo>
                                <a:pt x="4" y="241"/>
                                <a:pt x="12" y="249"/>
                                <a:pt x="10" y="259"/>
                              </a:cubicBezTo>
                              <a:cubicBezTo>
                                <a:pt x="9" y="268"/>
                                <a:pt x="11" y="271"/>
                                <a:pt x="13" y="281"/>
                              </a:cubicBezTo>
                              <a:cubicBezTo>
                                <a:pt x="16" y="291"/>
                                <a:pt x="16" y="295"/>
                                <a:pt x="15" y="305"/>
                              </a:cubicBezTo>
                              <a:cubicBezTo>
                                <a:pt x="14" y="315"/>
                                <a:pt x="16" y="320"/>
                                <a:pt x="20" y="329"/>
                              </a:cubicBezTo>
                              <a:cubicBezTo>
                                <a:pt x="24" y="338"/>
                                <a:pt x="36" y="336"/>
                                <a:pt x="50" y="351"/>
                              </a:cubicBezTo>
                              <a:cubicBezTo>
                                <a:pt x="63" y="367"/>
                                <a:pt x="63" y="370"/>
                                <a:pt x="69" y="385"/>
                              </a:cubicBezTo>
                              <a:cubicBezTo>
                                <a:pt x="74" y="401"/>
                                <a:pt x="78" y="406"/>
                                <a:pt x="84" y="420"/>
                              </a:cubicBezTo>
                              <a:cubicBezTo>
                                <a:pt x="90" y="435"/>
                                <a:pt x="99" y="450"/>
                                <a:pt x="100" y="458"/>
                              </a:cubicBezTo>
                              <a:cubicBezTo>
                                <a:pt x="100" y="460"/>
                                <a:pt x="100" y="461"/>
                                <a:pt x="98" y="463"/>
                              </a:cubicBezTo>
                              <a:cubicBezTo>
                                <a:pt x="99" y="464"/>
                                <a:pt x="100" y="464"/>
                                <a:pt x="101" y="464"/>
                              </a:cubicBezTo>
                              <a:cubicBezTo>
                                <a:pt x="112" y="467"/>
                                <a:pt x="116" y="470"/>
                                <a:pt x="125" y="475"/>
                              </a:cubicBezTo>
                              <a:cubicBezTo>
                                <a:pt x="128" y="477"/>
                                <a:pt x="131" y="478"/>
                                <a:pt x="135" y="481"/>
                              </a:cubicBezTo>
                              <a:cubicBezTo>
                                <a:pt x="143" y="485"/>
                                <a:pt x="148" y="488"/>
                                <a:pt x="154" y="491"/>
                              </a:cubicBezTo>
                              <a:cubicBezTo>
                                <a:pt x="159" y="493"/>
                                <a:pt x="166" y="496"/>
                                <a:pt x="178" y="501"/>
                              </a:cubicBezTo>
                              <a:cubicBezTo>
                                <a:pt x="182" y="503"/>
                                <a:pt x="186" y="505"/>
                                <a:pt x="190" y="507"/>
                              </a:cubicBezTo>
                              <a:cubicBezTo>
                                <a:pt x="202" y="512"/>
                                <a:pt x="205" y="514"/>
                                <a:pt x="228" y="519"/>
                              </a:cubicBezTo>
                              <a:cubicBezTo>
                                <a:pt x="235" y="521"/>
                                <a:pt x="240" y="522"/>
                                <a:pt x="245" y="523"/>
                              </a:cubicBezTo>
                              <a:cubicBezTo>
                                <a:pt x="251" y="525"/>
                                <a:pt x="257" y="526"/>
                                <a:pt x="261" y="528"/>
                              </a:cubicBezTo>
                              <a:cubicBezTo>
                                <a:pt x="262" y="525"/>
                                <a:pt x="264" y="523"/>
                                <a:pt x="265" y="519"/>
                              </a:cubicBezTo>
                              <a:cubicBezTo>
                                <a:pt x="270" y="516"/>
                                <a:pt x="285" y="535"/>
                                <a:pt x="295" y="546"/>
                              </a:cubicBezTo>
                              <a:cubicBezTo>
                                <a:pt x="305" y="557"/>
                                <a:pt x="306" y="558"/>
                                <a:pt x="306" y="572"/>
                              </a:cubicBezTo>
                              <a:cubicBezTo>
                                <a:pt x="306" y="586"/>
                                <a:pt x="305" y="588"/>
                                <a:pt x="306" y="603"/>
                              </a:cubicBezTo>
                              <a:cubicBezTo>
                                <a:pt x="306" y="618"/>
                                <a:pt x="313" y="622"/>
                                <a:pt x="321" y="633"/>
                              </a:cubicBezTo>
                              <a:cubicBezTo>
                                <a:pt x="326" y="639"/>
                                <a:pt x="327" y="643"/>
                                <a:pt x="327" y="647"/>
                              </a:cubicBezTo>
                              <a:cubicBezTo>
                                <a:pt x="335" y="650"/>
                                <a:pt x="350" y="650"/>
                                <a:pt x="358" y="650"/>
                              </a:cubicBezTo>
                              <a:cubicBezTo>
                                <a:pt x="359" y="650"/>
                                <a:pt x="359" y="650"/>
                                <a:pt x="359" y="650"/>
                              </a:cubicBezTo>
                              <a:cubicBezTo>
                                <a:pt x="359" y="650"/>
                                <a:pt x="359" y="650"/>
                                <a:pt x="359" y="650"/>
                              </a:cubicBezTo>
                              <a:cubicBezTo>
                                <a:pt x="362" y="650"/>
                                <a:pt x="364" y="648"/>
                                <a:pt x="367" y="646"/>
                              </a:cubicBezTo>
                              <a:cubicBezTo>
                                <a:pt x="367" y="646"/>
                                <a:pt x="367" y="646"/>
                                <a:pt x="367" y="646"/>
                              </a:cubicBezTo>
                              <a:cubicBezTo>
                                <a:pt x="370" y="644"/>
                                <a:pt x="374" y="641"/>
                                <a:pt x="379" y="641"/>
                              </a:cubicBezTo>
                              <a:cubicBezTo>
                                <a:pt x="385" y="640"/>
                                <a:pt x="391" y="644"/>
                                <a:pt x="398" y="648"/>
                              </a:cubicBezTo>
                              <a:cubicBezTo>
                                <a:pt x="405" y="652"/>
                                <a:pt x="413" y="657"/>
                                <a:pt x="420" y="658"/>
                              </a:cubicBezTo>
                              <a:cubicBezTo>
                                <a:pt x="427" y="658"/>
                                <a:pt x="434" y="654"/>
                                <a:pt x="439" y="652"/>
                              </a:cubicBezTo>
                              <a:cubicBezTo>
                                <a:pt x="444" y="649"/>
                                <a:pt x="449" y="646"/>
                                <a:pt x="454" y="647"/>
                              </a:cubicBezTo>
                              <a:cubicBezTo>
                                <a:pt x="458" y="648"/>
                                <a:pt x="460" y="650"/>
                                <a:pt x="463" y="652"/>
                              </a:cubicBezTo>
                              <a:cubicBezTo>
                                <a:pt x="465" y="654"/>
                                <a:pt x="467" y="656"/>
                                <a:pt x="474" y="656"/>
                              </a:cubicBezTo>
                              <a:cubicBezTo>
                                <a:pt x="480" y="656"/>
                                <a:pt x="486" y="650"/>
                                <a:pt x="492" y="644"/>
                              </a:cubicBezTo>
                              <a:cubicBezTo>
                                <a:pt x="496" y="639"/>
                                <a:pt x="501" y="634"/>
                                <a:pt x="506" y="631"/>
                              </a:cubicBezTo>
                              <a:cubicBezTo>
                                <a:pt x="516" y="626"/>
                                <a:pt x="521" y="628"/>
                                <a:pt x="529" y="632"/>
                              </a:cubicBezTo>
                              <a:cubicBezTo>
                                <a:pt x="531" y="633"/>
                                <a:pt x="535" y="635"/>
                                <a:pt x="539" y="637"/>
                              </a:cubicBezTo>
                              <a:cubicBezTo>
                                <a:pt x="547" y="639"/>
                                <a:pt x="552" y="636"/>
                                <a:pt x="557" y="632"/>
                              </a:cubicBezTo>
                              <a:cubicBezTo>
                                <a:pt x="560" y="629"/>
                                <a:pt x="564" y="627"/>
                                <a:pt x="568" y="626"/>
                              </a:cubicBezTo>
                              <a:cubicBezTo>
                                <a:pt x="574" y="624"/>
                                <a:pt x="577" y="624"/>
                                <a:pt x="580" y="624"/>
                              </a:cubicBezTo>
                              <a:cubicBezTo>
                                <a:pt x="583" y="624"/>
                                <a:pt x="585" y="624"/>
                                <a:pt x="591" y="622"/>
                              </a:cubicBezTo>
                              <a:cubicBezTo>
                                <a:pt x="599" y="618"/>
                                <a:pt x="643" y="590"/>
                                <a:pt x="662" y="578"/>
                              </a:cubicBezTo>
                              <a:cubicBezTo>
                                <a:pt x="659" y="575"/>
                                <a:pt x="657" y="574"/>
                                <a:pt x="651" y="573"/>
                              </a:cubicBezTo>
                              <a:cubicBezTo>
                                <a:pt x="644" y="571"/>
                                <a:pt x="639" y="572"/>
                                <a:pt x="636" y="567"/>
                              </a:cubicBezTo>
                              <a:cubicBezTo>
                                <a:pt x="633" y="561"/>
                                <a:pt x="636" y="559"/>
                                <a:pt x="627" y="557"/>
                              </a:cubicBezTo>
                              <a:cubicBezTo>
                                <a:pt x="619" y="556"/>
                                <a:pt x="614" y="548"/>
                                <a:pt x="613" y="537"/>
                              </a:cubicBezTo>
                              <a:cubicBezTo>
                                <a:pt x="611" y="526"/>
                                <a:pt x="607" y="524"/>
                                <a:pt x="607" y="519"/>
                              </a:cubicBezTo>
                              <a:cubicBezTo>
                                <a:pt x="607" y="514"/>
                                <a:pt x="614" y="511"/>
                                <a:pt x="609" y="500"/>
                              </a:cubicBezTo>
                              <a:cubicBezTo>
                                <a:pt x="603" y="490"/>
                                <a:pt x="602" y="493"/>
                                <a:pt x="599" y="482"/>
                              </a:cubicBezTo>
                              <a:cubicBezTo>
                                <a:pt x="596" y="472"/>
                                <a:pt x="596" y="464"/>
                                <a:pt x="595" y="457"/>
                              </a:cubicBezTo>
                              <a:cubicBezTo>
                                <a:pt x="593" y="449"/>
                                <a:pt x="588" y="454"/>
                                <a:pt x="591" y="443"/>
                              </a:cubicBezTo>
                              <a:cubicBezTo>
                                <a:pt x="594" y="433"/>
                                <a:pt x="597" y="433"/>
                                <a:pt x="598" y="425"/>
                              </a:cubicBezTo>
                              <a:cubicBezTo>
                                <a:pt x="598" y="418"/>
                                <a:pt x="598" y="407"/>
                                <a:pt x="597" y="401"/>
                              </a:cubicBezTo>
                              <a:cubicBezTo>
                                <a:pt x="595" y="394"/>
                                <a:pt x="593" y="393"/>
                                <a:pt x="595" y="388"/>
                              </a:cubicBezTo>
                              <a:cubicBezTo>
                                <a:pt x="598" y="382"/>
                                <a:pt x="602" y="381"/>
                                <a:pt x="602" y="374"/>
                              </a:cubicBezTo>
                              <a:cubicBezTo>
                                <a:pt x="602" y="368"/>
                                <a:pt x="602" y="371"/>
                                <a:pt x="597" y="362"/>
                              </a:cubicBezTo>
                              <a:cubicBezTo>
                                <a:pt x="592" y="354"/>
                                <a:pt x="589" y="352"/>
                                <a:pt x="582" y="346"/>
                              </a:cubicBezTo>
                              <a:cubicBezTo>
                                <a:pt x="576" y="339"/>
                                <a:pt x="565" y="338"/>
                                <a:pt x="565" y="331"/>
                              </a:cubicBezTo>
                              <a:cubicBezTo>
                                <a:pt x="565" y="323"/>
                                <a:pt x="562" y="311"/>
                                <a:pt x="565" y="293"/>
                              </a:cubicBezTo>
                              <a:cubicBezTo>
                                <a:pt x="568" y="275"/>
                                <a:pt x="567" y="271"/>
                                <a:pt x="573" y="259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56" name="Freeform 265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163853" y="3859504"/>
                          <a:ext cx="95250" cy="70247"/>
                        </a:xfrm>
                        <a:custGeom>
                          <a:avLst/>
                          <a:gdLst>
                            <a:gd name="T0" fmla="*/ 168 w 332"/>
                            <a:gd name="T1" fmla="*/ 51 h 248"/>
                            <a:gd name="T2" fmla="*/ 145 w 332"/>
                            <a:gd name="T3" fmla="*/ 48 h 248"/>
                            <a:gd name="T4" fmla="*/ 102 w 332"/>
                            <a:gd name="T5" fmla="*/ 9 h 248"/>
                            <a:gd name="T6" fmla="*/ 80 w 332"/>
                            <a:gd name="T7" fmla="*/ 0 h 248"/>
                            <a:gd name="T8" fmla="*/ 74 w 332"/>
                            <a:gd name="T9" fmla="*/ 14 h 248"/>
                            <a:gd name="T10" fmla="*/ 96 w 332"/>
                            <a:gd name="T11" fmla="*/ 38 h 248"/>
                            <a:gd name="T12" fmla="*/ 100 w 332"/>
                            <a:gd name="T13" fmla="*/ 48 h 248"/>
                            <a:gd name="T14" fmla="*/ 96 w 332"/>
                            <a:gd name="T15" fmla="*/ 57 h 248"/>
                            <a:gd name="T16" fmla="*/ 66 w 332"/>
                            <a:gd name="T17" fmla="*/ 57 h 248"/>
                            <a:gd name="T18" fmla="*/ 31 w 332"/>
                            <a:gd name="T19" fmla="*/ 46 h 248"/>
                            <a:gd name="T20" fmla="*/ 9 w 332"/>
                            <a:gd name="T21" fmla="*/ 38 h 248"/>
                            <a:gd name="T22" fmla="*/ 0 w 332"/>
                            <a:gd name="T23" fmla="*/ 49 h 248"/>
                            <a:gd name="T24" fmla="*/ 29 w 332"/>
                            <a:gd name="T25" fmla="*/ 85 h 248"/>
                            <a:gd name="T26" fmla="*/ 39 w 332"/>
                            <a:gd name="T27" fmla="*/ 109 h 248"/>
                            <a:gd name="T28" fmla="*/ 46 w 332"/>
                            <a:gd name="T29" fmla="*/ 140 h 248"/>
                            <a:gd name="T30" fmla="*/ 60 w 332"/>
                            <a:gd name="T31" fmla="*/ 157 h 248"/>
                            <a:gd name="T32" fmla="*/ 90 w 332"/>
                            <a:gd name="T33" fmla="*/ 186 h 248"/>
                            <a:gd name="T34" fmla="*/ 96 w 332"/>
                            <a:gd name="T35" fmla="*/ 205 h 248"/>
                            <a:gd name="T36" fmla="*/ 127 w 332"/>
                            <a:gd name="T37" fmla="*/ 184 h 248"/>
                            <a:gd name="T38" fmla="*/ 163 w 332"/>
                            <a:gd name="T39" fmla="*/ 158 h 248"/>
                            <a:gd name="T40" fmla="*/ 190 w 332"/>
                            <a:gd name="T41" fmla="*/ 167 h 248"/>
                            <a:gd name="T42" fmla="*/ 195 w 332"/>
                            <a:gd name="T43" fmla="*/ 189 h 248"/>
                            <a:gd name="T44" fmla="*/ 195 w 332"/>
                            <a:gd name="T45" fmla="*/ 197 h 248"/>
                            <a:gd name="T46" fmla="*/ 193 w 332"/>
                            <a:gd name="T47" fmla="*/ 214 h 248"/>
                            <a:gd name="T48" fmla="*/ 197 w 332"/>
                            <a:gd name="T49" fmla="*/ 232 h 248"/>
                            <a:gd name="T50" fmla="*/ 232 w 332"/>
                            <a:gd name="T51" fmla="*/ 248 h 248"/>
                            <a:gd name="T52" fmla="*/ 237 w 332"/>
                            <a:gd name="T53" fmla="*/ 206 h 248"/>
                            <a:gd name="T54" fmla="*/ 255 w 332"/>
                            <a:gd name="T55" fmla="*/ 195 h 248"/>
                            <a:gd name="T56" fmla="*/ 260 w 332"/>
                            <a:gd name="T57" fmla="*/ 168 h 248"/>
                            <a:gd name="T58" fmla="*/ 278 w 332"/>
                            <a:gd name="T59" fmla="*/ 119 h 248"/>
                            <a:gd name="T60" fmla="*/ 325 w 332"/>
                            <a:gd name="T61" fmla="*/ 122 h 248"/>
                            <a:gd name="T62" fmla="*/ 290 w 332"/>
                            <a:gd name="T63" fmla="*/ 94 h 248"/>
                            <a:gd name="T64" fmla="*/ 249 w 332"/>
                            <a:gd name="T65" fmla="*/ 53 h 248"/>
                            <a:gd name="T66" fmla="*/ 212 w 332"/>
                            <a:gd name="T67" fmla="*/ 9 h 24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</a:cxnLst>
                          <a:rect l="0" t="0" r="r" b="b"/>
                          <a:pathLst>
                            <a:path w="332" h="248">
                              <a:moveTo>
                                <a:pt x="190" y="31"/>
                              </a:moveTo>
                              <a:cubicBezTo>
                                <a:pt x="180" y="40"/>
                                <a:pt x="172" y="49"/>
                                <a:pt x="168" y="51"/>
                              </a:cubicBezTo>
                              <a:cubicBezTo>
                                <a:pt x="161" y="55"/>
                                <a:pt x="156" y="52"/>
                                <a:pt x="148" y="49"/>
                              </a:cubicBezTo>
                              <a:cubicBezTo>
                                <a:pt x="147" y="49"/>
                                <a:pt x="146" y="48"/>
                                <a:pt x="145" y="48"/>
                              </a:cubicBezTo>
                              <a:cubicBezTo>
                                <a:pt x="141" y="46"/>
                                <a:pt x="134" y="41"/>
                                <a:pt x="127" y="34"/>
                              </a:cubicBezTo>
                              <a:cubicBezTo>
                                <a:pt x="117" y="25"/>
                                <a:pt x="105" y="13"/>
                                <a:pt x="102" y="9"/>
                              </a:cubicBezTo>
                              <a:cubicBezTo>
                                <a:pt x="100" y="6"/>
                                <a:pt x="97" y="4"/>
                                <a:pt x="93" y="3"/>
                              </a:cubicBezTo>
                              <a:cubicBezTo>
                                <a:pt x="89" y="2"/>
                                <a:pt x="85" y="1"/>
                                <a:pt x="80" y="0"/>
                              </a:cubicBezTo>
                              <a:cubicBezTo>
                                <a:pt x="80" y="1"/>
                                <a:pt x="79" y="3"/>
                                <a:pt x="78" y="4"/>
                              </a:cubicBezTo>
                              <a:cubicBezTo>
                                <a:pt x="76" y="7"/>
                                <a:pt x="74" y="11"/>
                                <a:pt x="74" y="14"/>
                              </a:cubicBezTo>
                              <a:cubicBezTo>
                                <a:pt x="74" y="17"/>
                                <a:pt x="79" y="21"/>
                                <a:pt x="84" y="26"/>
                              </a:cubicBezTo>
                              <a:cubicBezTo>
                                <a:pt x="88" y="30"/>
                                <a:pt x="93" y="34"/>
                                <a:pt x="96" y="38"/>
                              </a:cubicBezTo>
                              <a:cubicBezTo>
                                <a:pt x="99" y="42"/>
                                <a:pt x="100" y="46"/>
                                <a:pt x="100" y="48"/>
                              </a:cubicBezTo>
                              <a:cubicBezTo>
                                <a:pt x="100" y="48"/>
                                <a:pt x="100" y="48"/>
                                <a:pt x="100" y="48"/>
                              </a:cubicBezTo>
                              <a:cubicBezTo>
                                <a:pt x="100" y="50"/>
                                <a:pt x="100" y="52"/>
                                <a:pt x="99" y="53"/>
                              </a:cubicBezTo>
                              <a:cubicBezTo>
                                <a:pt x="99" y="55"/>
                                <a:pt x="98" y="56"/>
                                <a:pt x="96" y="57"/>
                              </a:cubicBezTo>
                              <a:cubicBezTo>
                                <a:pt x="94" y="59"/>
                                <a:pt x="91" y="59"/>
                                <a:pt x="87" y="60"/>
                              </a:cubicBezTo>
                              <a:cubicBezTo>
                                <a:pt x="81" y="60"/>
                                <a:pt x="74" y="58"/>
                                <a:pt x="66" y="57"/>
                              </a:cubicBezTo>
                              <a:cubicBezTo>
                                <a:pt x="61" y="56"/>
                                <a:pt x="56" y="54"/>
                                <a:pt x="51" y="54"/>
                              </a:cubicBezTo>
                              <a:cubicBezTo>
                                <a:pt x="43" y="53"/>
                                <a:pt x="37" y="49"/>
                                <a:pt x="31" y="46"/>
                              </a:cubicBezTo>
                              <a:cubicBezTo>
                                <a:pt x="27" y="43"/>
                                <a:pt x="24" y="41"/>
                                <a:pt x="20" y="40"/>
                              </a:cubicBezTo>
                              <a:cubicBezTo>
                                <a:pt x="15" y="39"/>
                                <a:pt x="12" y="38"/>
                                <a:pt x="9" y="38"/>
                              </a:cubicBezTo>
                              <a:cubicBezTo>
                                <a:pt x="7" y="39"/>
                                <a:pt x="6" y="39"/>
                                <a:pt x="5" y="41"/>
                              </a:cubicBezTo>
                              <a:cubicBezTo>
                                <a:pt x="4" y="45"/>
                                <a:pt x="2" y="47"/>
                                <a:pt x="0" y="49"/>
                              </a:cubicBezTo>
                              <a:cubicBezTo>
                                <a:pt x="6" y="54"/>
                                <a:pt x="20" y="64"/>
                                <a:pt x="26" y="71"/>
                              </a:cubicBezTo>
                              <a:cubicBezTo>
                                <a:pt x="30" y="78"/>
                                <a:pt x="30" y="81"/>
                                <a:pt x="29" y="85"/>
                              </a:cubicBezTo>
                              <a:cubicBezTo>
                                <a:pt x="29" y="88"/>
                                <a:pt x="29" y="91"/>
                                <a:pt x="30" y="97"/>
                              </a:cubicBezTo>
                              <a:cubicBezTo>
                                <a:pt x="32" y="103"/>
                                <a:pt x="36" y="106"/>
                                <a:pt x="39" y="109"/>
                              </a:cubicBezTo>
                              <a:cubicBezTo>
                                <a:pt x="43" y="113"/>
                                <a:pt x="46" y="117"/>
                                <a:pt x="48" y="124"/>
                              </a:cubicBezTo>
                              <a:cubicBezTo>
                                <a:pt x="50" y="132"/>
                                <a:pt x="48" y="136"/>
                                <a:pt x="46" y="140"/>
                              </a:cubicBezTo>
                              <a:cubicBezTo>
                                <a:pt x="45" y="142"/>
                                <a:pt x="44" y="143"/>
                                <a:pt x="44" y="146"/>
                              </a:cubicBezTo>
                              <a:cubicBezTo>
                                <a:pt x="44" y="149"/>
                                <a:pt x="51" y="153"/>
                                <a:pt x="60" y="157"/>
                              </a:cubicBezTo>
                              <a:cubicBezTo>
                                <a:pt x="65" y="160"/>
                                <a:pt x="71" y="163"/>
                                <a:pt x="77" y="167"/>
                              </a:cubicBezTo>
                              <a:cubicBezTo>
                                <a:pt x="90" y="176"/>
                                <a:pt x="90" y="179"/>
                                <a:pt x="90" y="186"/>
                              </a:cubicBezTo>
                              <a:cubicBezTo>
                                <a:pt x="89" y="188"/>
                                <a:pt x="89" y="190"/>
                                <a:pt x="90" y="192"/>
                              </a:cubicBezTo>
                              <a:cubicBezTo>
                                <a:pt x="90" y="198"/>
                                <a:pt x="93" y="202"/>
                                <a:pt x="96" y="205"/>
                              </a:cubicBezTo>
                              <a:cubicBezTo>
                                <a:pt x="97" y="206"/>
                                <a:pt x="98" y="208"/>
                                <a:pt x="98" y="209"/>
                              </a:cubicBezTo>
                              <a:cubicBezTo>
                                <a:pt x="108" y="202"/>
                                <a:pt x="119" y="192"/>
                                <a:pt x="127" y="184"/>
                              </a:cubicBezTo>
                              <a:cubicBezTo>
                                <a:pt x="134" y="177"/>
                                <a:pt x="140" y="172"/>
                                <a:pt x="144" y="169"/>
                              </a:cubicBezTo>
                              <a:cubicBezTo>
                                <a:pt x="151" y="163"/>
                                <a:pt x="157" y="160"/>
                                <a:pt x="163" y="158"/>
                              </a:cubicBezTo>
                              <a:cubicBezTo>
                                <a:pt x="170" y="156"/>
                                <a:pt x="176" y="156"/>
                                <a:pt x="180" y="159"/>
                              </a:cubicBezTo>
                              <a:cubicBezTo>
                                <a:pt x="183" y="161"/>
                                <a:pt x="187" y="164"/>
                                <a:pt x="190" y="167"/>
                              </a:cubicBezTo>
                              <a:cubicBezTo>
                                <a:pt x="194" y="171"/>
                                <a:pt x="197" y="175"/>
                                <a:pt x="198" y="178"/>
                              </a:cubicBezTo>
                              <a:cubicBezTo>
                                <a:pt x="200" y="183"/>
                                <a:pt x="197" y="186"/>
                                <a:pt x="195" y="189"/>
                              </a:cubicBezTo>
                              <a:cubicBezTo>
                                <a:pt x="194" y="191"/>
                                <a:pt x="193" y="192"/>
                                <a:pt x="193" y="193"/>
                              </a:cubicBezTo>
                              <a:cubicBezTo>
                                <a:pt x="193" y="195"/>
                                <a:pt x="194" y="196"/>
                                <a:pt x="195" y="197"/>
                              </a:cubicBezTo>
                              <a:cubicBezTo>
                                <a:pt x="197" y="199"/>
                                <a:pt x="199" y="201"/>
                                <a:pt x="199" y="205"/>
                              </a:cubicBezTo>
                              <a:cubicBezTo>
                                <a:pt x="200" y="209"/>
                                <a:pt x="196" y="212"/>
                                <a:pt x="193" y="214"/>
                              </a:cubicBezTo>
                              <a:cubicBezTo>
                                <a:pt x="191" y="216"/>
                                <a:pt x="188" y="217"/>
                                <a:pt x="189" y="219"/>
                              </a:cubicBezTo>
                              <a:cubicBezTo>
                                <a:pt x="190" y="222"/>
                                <a:pt x="193" y="227"/>
                                <a:pt x="197" y="232"/>
                              </a:cubicBezTo>
                              <a:cubicBezTo>
                                <a:pt x="202" y="237"/>
                                <a:pt x="206" y="242"/>
                                <a:pt x="210" y="244"/>
                              </a:cubicBezTo>
                              <a:cubicBezTo>
                                <a:pt x="214" y="246"/>
                                <a:pt x="224" y="248"/>
                                <a:pt x="232" y="248"/>
                              </a:cubicBezTo>
                              <a:cubicBezTo>
                                <a:pt x="232" y="244"/>
                                <a:pt x="232" y="239"/>
                                <a:pt x="231" y="228"/>
                              </a:cubicBezTo>
                              <a:cubicBezTo>
                                <a:pt x="230" y="211"/>
                                <a:pt x="233" y="210"/>
                                <a:pt x="237" y="206"/>
                              </a:cubicBezTo>
                              <a:cubicBezTo>
                                <a:pt x="241" y="203"/>
                                <a:pt x="245" y="215"/>
                                <a:pt x="250" y="210"/>
                              </a:cubicBezTo>
                              <a:cubicBezTo>
                                <a:pt x="255" y="205"/>
                                <a:pt x="252" y="202"/>
                                <a:pt x="255" y="195"/>
                              </a:cubicBezTo>
                              <a:cubicBezTo>
                                <a:pt x="258" y="188"/>
                                <a:pt x="262" y="193"/>
                                <a:pt x="263" y="188"/>
                              </a:cubicBezTo>
                              <a:cubicBezTo>
                                <a:pt x="264" y="183"/>
                                <a:pt x="260" y="179"/>
                                <a:pt x="260" y="168"/>
                              </a:cubicBezTo>
                              <a:cubicBezTo>
                                <a:pt x="259" y="158"/>
                                <a:pt x="262" y="153"/>
                                <a:pt x="262" y="144"/>
                              </a:cubicBezTo>
                              <a:cubicBezTo>
                                <a:pt x="263" y="135"/>
                                <a:pt x="271" y="129"/>
                                <a:pt x="278" y="119"/>
                              </a:cubicBezTo>
                              <a:cubicBezTo>
                                <a:pt x="285" y="109"/>
                                <a:pt x="292" y="116"/>
                                <a:pt x="300" y="116"/>
                              </a:cubicBezTo>
                              <a:cubicBezTo>
                                <a:pt x="308" y="117"/>
                                <a:pt x="318" y="124"/>
                                <a:pt x="325" y="122"/>
                              </a:cubicBezTo>
                              <a:cubicBezTo>
                                <a:pt x="332" y="120"/>
                                <a:pt x="319" y="109"/>
                                <a:pt x="311" y="100"/>
                              </a:cubicBezTo>
                              <a:cubicBezTo>
                                <a:pt x="302" y="91"/>
                                <a:pt x="302" y="97"/>
                                <a:pt x="290" y="94"/>
                              </a:cubicBezTo>
                              <a:cubicBezTo>
                                <a:pt x="278" y="91"/>
                                <a:pt x="277" y="91"/>
                                <a:pt x="264" y="81"/>
                              </a:cubicBezTo>
                              <a:cubicBezTo>
                                <a:pt x="251" y="71"/>
                                <a:pt x="252" y="65"/>
                                <a:pt x="249" y="53"/>
                              </a:cubicBezTo>
                              <a:cubicBezTo>
                                <a:pt x="246" y="40"/>
                                <a:pt x="236" y="36"/>
                                <a:pt x="227" y="24"/>
                              </a:cubicBezTo>
                              <a:cubicBezTo>
                                <a:pt x="221" y="15"/>
                                <a:pt x="218" y="14"/>
                                <a:pt x="212" y="9"/>
                              </a:cubicBezTo>
                              <a:cubicBezTo>
                                <a:pt x="206" y="14"/>
                                <a:pt x="198" y="23"/>
                                <a:pt x="190" y="31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57" name="Freeform 394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470910" y="3730916"/>
                          <a:ext cx="77391" cy="39291"/>
                        </a:xfrm>
                        <a:custGeom>
                          <a:avLst/>
                          <a:gdLst>
                            <a:gd name="T0" fmla="*/ 69 w 270"/>
                            <a:gd name="T1" fmla="*/ 26 h 137"/>
                            <a:gd name="T2" fmla="*/ 57 w 270"/>
                            <a:gd name="T3" fmla="*/ 35 h 137"/>
                            <a:gd name="T4" fmla="*/ 34 w 270"/>
                            <a:gd name="T5" fmla="*/ 59 h 137"/>
                            <a:gd name="T6" fmla="*/ 16 w 270"/>
                            <a:gd name="T7" fmla="*/ 80 h 137"/>
                            <a:gd name="T8" fmla="*/ 4 w 270"/>
                            <a:gd name="T9" fmla="*/ 100 h 137"/>
                            <a:gd name="T10" fmla="*/ 13 w 270"/>
                            <a:gd name="T11" fmla="*/ 106 h 137"/>
                            <a:gd name="T12" fmla="*/ 35 w 270"/>
                            <a:gd name="T13" fmla="*/ 97 h 137"/>
                            <a:gd name="T14" fmla="*/ 52 w 270"/>
                            <a:gd name="T15" fmla="*/ 113 h 137"/>
                            <a:gd name="T16" fmla="*/ 58 w 270"/>
                            <a:gd name="T17" fmla="*/ 133 h 137"/>
                            <a:gd name="T18" fmla="*/ 70 w 270"/>
                            <a:gd name="T19" fmla="*/ 133 h 137"/>
                            <a:gd name="T20" fmla="*/ 97 w 270"/>
                            <a:gd name="T21" fmla="*/ 131 h 137"/>
                            <a:gd name="T22" fmla="*/ 118 w 270"/>
                            <a:gd name="T23" fmla="*/ 124 h 137"/>
                            <a:gd name="T24" fmla="*/ 138 w 270"/>
                            <a:gd name="T25" fmla="*/ 102 h 137"/>
                            <a:gd name="T26" fmla="*/ 155 w 270"/>
                            <a:gd name="T27" fmla="*/ 119 h 137"/>
                            <a:gd name="T28" fmla="*/ 170 w 270"/>
                            <a:gd name="T29" fmla="*/ 136 h 137"/>
                            <a:gd name="T30" fmla="*/ 173 w 270"/>
                            <a:gd name="T31" fmla="*/ 137 h 137"/>
                            <a:gd name="T32" fmla="*/ 192 w 270"/>
                            <a:gd name="T33" fmla="*/ 117 h 137"/>
                            <a:gd name="T34" fmla="*/ 203 w 270"/>
                            <a:gd name="T35" fmla="*/ 99 h 137"/>
                            <a:gd name="T36" fmla="*/ 243 w 270"/>
                            <a:gd name="T37" fmla="*/ 112 h 137"/>
                            <a:gd name="T38" fmla="*/ 247 w 270"/>
                            <a:gd name="T39" fmla="*/ 90 h 137"/>
                            <a:gd name="T40" fmla="*/ 267 w 270"/>
                            <a:gd name="T41" fmla="*/ 84 h 137"/>
                            <a:gd name="T42" fmla="*/ 270 w 270"/>
                            <a:gd name="T43" fmla="*/ 62 h 137"/>
                            <a:gd name="T44" fmla="*/ 263 w 270"/>
                            <a:gd name="T45" fmla="*/ 65 h 137"/>
                            <a:gd name="T46" fmla="*/ 231 w 270"/>
                            <a:gd name="T47" fmla="*/ 61 h 137"/>
                            <a:gd name="T48" fmla="*/ 217 w 270"/>
                            <a:gd name="T49" fmla="*/ 50 h 137"/>
                            <a:gd name="T50" fmla="*/ 216 w 270"/>
                            <a:gd name="T51" fmla="*/ 19 h 137"/>
                            <a:gd name="T52" fmla="*/ 196 w 270"/>
                            <a:gd name="T53" fmla="*/ 12 h 137"/>
                            <a:gd name="T54" fmla="*/ 176 w 270"/>
                            <a:gd name="T55" fmla="*/ 10 h 137"/>
                            <a:gd name="T56" fmla="*/ 157 w 270"/>
                            <a:gd name="T57" fmla="*/ 0 h 137"/>
                            <a:gd name="T58" fmla="*/ 137 w 270"/>
                            <a:gd name="T59" fmla="*/ 11 h 137"/>
                            <a:gd name="T60" fmla="*/ 102 w 270"/>
                            <a:gd name="T61" fmla="*/ 17 h 137"/>
                            <a:gd name="T62" fmla="*/ 91 w 270"/>
                            <a:gd name="T63" fmla="*/ 21 h 13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</a:cxnLst>
                          <a:rect l="0" t="0" r="r" b="b"/>
                          <a:pathLst>
                            <a:path w="270" h="137">
                              <a:moveTo>
                                <a:pt x="80" y="26"/>
                              </a:moveTo>
                              <a:cubicBezTo>
                                <a:pt x="75" y="27"/>
                                <a:pt x="72" y="26"/>
                                <a:pt x="69" y="26"/>
                              </a:cubicBezTo>
                              <a:cubicBezTo>
                                <a:pt x="67" y="25"/>
                                <a:pt x="65" y="25"/>
                                <a:pt x="62" y="27"/>
                              </a:cubicBezTo>
                              <a:cubicBezTo>
                                <a:pt x="60" y="30"/>
                                <a:pt x="58" y="32"/>
                                <a:pt x="57" y="35"/>
                              </a:cubicBezTo>
                              <a:cubicBezTo>
                                <a:pt x="55" y="40"/>
                                <a:pt x="52" y="44"/>
                                <a:pt x="46" y="50"/>
                              </a:cubicBezTo>
                              <a:cubicBezTo>
                                <a:pt x="42" y="54"/>
                                <a:pt x="38" y="56"/>
                                <a:pt x="34" y="59"/>
                              </a:cubicBezTo>
                              <a:cubicBezTo>
                                <a:pt x="30" y="61"/>
                                <a:pt x="27" y="64"/>
                                <a:pt x="25" y="67"/>
                              </a:cubicBezTo>
                              <a:cubicBezTo>
                                <a:pt x="24" y="71"/>
                                <a:pt x="20" y="75"/>
                                <a:pt x="16" y="80"/>
                              </a:cubicBezTo>
                              <a:cubicBezTo>
                                <a:pt x="12" y="84"/>
                                <a:pt x="8" y="88"/>
                                <a:pt x="7" y="91"/>
                              </a:cubicBezTo>
                              <a:cubicBezTo>
                                <a:pt x="7" y="94"/>
                                <a:pt x="5" y="97"/>
                                <a:pt x="4" y="100"/>
                              </a:cubicBezTo>
                              <a:cubicBezTo>
                                <a:pt x="2" y="105"/>
                                <a:pt x="0" y="110"/>
                                <a:pt x="1" y="111"/>
                              </a:cubicBezTo>
                              <a:cubicBezTo>
                                <a:pt x="4" y="112"/>
                                <a:pt x="8" y="109"/>
                                <a:pt x="13" y="106"/>
                              </a:cubicBezTo>
                              <a:cubicBezTo>
                                <a:pt x="15" y="104"/>
                                <a:pt x="18" y="103"/>
                                <a:pt x="20" y="101"/>
                              </a:cubicBezTo>
                              <a:cubicBezTo>
                                <a:pt x="25" y="98"/>
                                <a:pt x="31" y="97"/>
                                <a:pt x="35" y="97"/>
                              </a:cubicBezTo>
                              <a:cubicBezTo>
                                <a:pt x="42" y="97"/>
                                <a:pt x="47" y="99"/>
                                <a:pt x="49" y="103"/>
                              </a:cubicBezTo>
                              <a:cubicBezTo>
                                <a:pt x="51" y="106"/>
                                <a:pt x="51" y="109"/>
                                <a:pt x="52" y="113"/>
                              </a:cubicBezTo>
                              <a:cubicBezTo>
                                <a:pt x="52" y="117"/>
                                <a:pt x="53" y="120"/>
                                <a:pt x="54" y="122"/>
                              </a:cubicBezTo>
                              <a:cubicBezTo>
                                <a:pt x="56" y="126"/>
                                <a:pt x="58" y="129"/>
                                <a:pt x="58" y="133"/>
                              </a:cubicBezTo>
                              <a:cubicBezTo>
                                <a:pt x="58" y="134"/>
                                <a:pt x="58" y="134"/>
                                <a:pt x="58" y="134"/>
                              </a:cubicBezTo>
                              <a:cubicBezTo>
                                <a:pt x="61" y="134"/>
                                <a:pt x="66" y="134"/>
                                <a:pt x="70" y="133"/>
                              </a:cubicBezTo>
                              <a:cubicBezTo>
                                <a:pt x="73" y="131"/>
                                <a:pt x="76" y="131"/>
                                <a:pt x="81" y="130"/>
                              </a:cubicBezTo>
                              <a:cubicBezTo>
                                <a:pt x="85" y="130"/>
                                <a:pt x="90" y="130"/>
                                <a:pt x="97" y="131"/>
                              </a:cubicBezTo>
                              <a:cubicBezTo>
                                <a:pt x="103" y="131"/>
                                <a:pt x="107" y="131"/>
                                <a:pt x="110" y="130"/>
                              </a:cubicBezTo>
                              <a:cubicBezTo>
                                <a:pt x="113" y="129"/>
                                <a:pt x="115" y="128"/>
                                <a:pt x="118" y="124"/>
                              </a:cubicBezTo>
                              <a:cubicBezTo>
                                <a:pt x="120" y="122"/>
                                <a:pt x="122" y="119"/>
                                <a:pt x="123" y="116"/>
                              </a:cubicBezTo>
                              <a:cubicBezTo>
                                <a:pt x="127" y="110"/>
                                <a:pt x="130" y="104"/>
                                <a:pt x="138" y="102"/>
                              </a:cubicBezTo>
                              <a:cubicBezTo>
                                <a:pt x="147" y="100"/>
                                <a:pt x="150" y="106"/>
                                <a:pt x="153" y="113"/>
                              </a:cubicBezTo>
                              <a:cubicBezTo>
                                <a:pt x="153" y="115"/>
                                <a:pt x="154" y="117"/>
                                <a:pt x="155" y="119"/>
                              </a:cubicBezTo>
                              <a:cubicBezTo>
                                <a:pt x="157" y="121"/>
                                <a:pt x="159" y="125"/>
                                <a:pt x="162" y="128"/>
                              </a:cubicBezTo>
                              <a:cubicBezTo>
                                <a:pt x="164" y="131"/>
                                <a:pt x="167" y="134"/>
                                <a:pt x="170" y="136"/>
                              </a:cubicBezTo>
                              <a:cubicBezTo>
                                <a:pt x="170" y="136"/>
                                <a:pt x="170" y="136"/>
                                <a:pt x="170" y="136"/>
                              </a:cubicBezTo>
                              <a:cubicBezTo>
                                <a:pt x="171" y="137"/>
                                <a:pt x="172" y="137"/>
                                <a:pt x="173" y="137"/>
                              </a:cubicBezTo>
                              <a:cubicBezTo>
                                <a:pt x="173" y="137"/>
                                <a:pt x="174" y="136"/>
                                <a:pt x="175" y="135"/>
                              </a:cubicBezTo>
                              <a:cubicBezTo>
                                <a:pt x="181" y="130"/>
                                <a:pt x="189" y="123"/>
                                <a:pt x="192" y="117"/>
                              </a:cubicBezTo>
                              <a:cubicBezTo>
                                <a:pt x="193" y="116"/>
                                <a:pt x="194" y="114"/>
                                <a:pt x="194" y="113"/>
                              </a:cubicBezTo>
                              <a:cubicBezTo>
                                <a:pt x="197" y="107"/>
                                <a:pt x="198" y="104"/>
                                <a:pt x="203" y="99"/>
                              </a:cubicBezTo>
                              <a:cubicBezTo>
                                <a:pt x="209" y="93"/>
                                <a:pt x="219" y="99"/>
                                <a:pt x="229" y="105"/>
                              </a:cubicBezTo>
                              <a:cubicBezTo>
                                <a:pt x="235" y="109"/>
                                <a:pt x="241" y="113"/>
                                <a:pt x="243" y="112"/>
                              </a:cubicBezTo>
                              <a:cubicBezTo>
                                <a:pt x="244" y="112"/>
                                <a:pt x="244" y="108"/>
                                <a:pt x="244" y="105"/>
                              </a:cubicBezTo>
                              <a:cubicBezTo>
                                <a:pt x="244" y="100"/>
                                <a:pt x="245" y="95"/>
                                <a:pt x="247" y="90"/>
                              </a:cubicBezTo>
                              <a:cubicBezTo>
                                <a:pt x="251" y="84"/>
                                <a:pt x="257" y="85"/>
                                <a:pt x="262" y="85"/>
                              </a:cubicBezTo>
                              <a:cubicBezTo>
                                <a:pt x="265" y="85"/>
                                <a:pt x="267" y="85"/>
                                <a:pt x="267" y="84"/>
                              </a:cubicBezTo>
                              <a:cubicBezTo>
                                <a:pt x="267" y="83"/>
                                <a:pt x="267" y="83"/>
                                <a:pt x="267" y="83"/>
                              </a:cubicBezTo>
                              <a:cubicBezTo>
                                <a:pt x="269" y="76"/>
                                <a:pt x="270" y="71"/>
                                <a:pt x="270" y="62"/>
                              </a:cubicBezTo>
                              <a:cubicBezTo>
                                <a:pt x="269" y="61"/>
                                <a:pt x="268" y="61"/>
                                <a:pt x="267" y="62"/>
                              </a:cubicBezTo>
                              <a:cubicBezTo>
                                <a:pt x="265" y="63"/>
                                <a:pt x="264" y="64"/>
                                <a:pt x="263" y="65"/>
                              </a:cubicBezTo>
                              <a:cubicBezTo>
                                <a:pt x="260" y="69"/>
                                <a:pt x="258" y="71"/>
                                <a:pt x="248" y="70"/>
                              </a:cubicBezTo>
                              <a:cubicBezTo>
                                <a:pt x="240" y="68"/>
                                <a:pt x="235" y="64"/>
                                <a:pt x="231" y="61"/>
                              </a:cubicBezTo>
                              <a:cubicBezTo>
                                <a:pt x="229" y="60"/>
                                <a:pt x="228" y="59"/>
                                <a:pt x="226" y="58"/>
                              </a:cubicBezTo>
                              <a:cubicBezTo>
                                <a:pt x="222" y="56"/>
                                <a:pt x="219" y="53"/>
                                <a:pt x="217" y="50"/>
                              </a:cubicBezTo>
                              <a:cubicBezTo>
                                <a:pt x="214" y="46"/>
                                <a:pt x="213" y="42"/>
                                <a:pt x="214" y="38"/>
                              </a:cubicBezTo>
                              <a:cubicBezTo>
                                <a:pt x="215" y="33"/>
                                <a:pt x="216" y="24"/>
                                <a:pt x="216" y="19"/>
                              </a:cubicBezTo>
                              <a:cubicBezTo>
                                <a:pt x="214" y="18"/>
                                <a:pt x="211" y="17"/>
                                <a:pt x="207" y="16"/>
                              </a:cubicBezTo>
                              <a:cubicBezTo>
                                <a:pt x="204" y="14"/>
                                <a:pt x="199" y="12"/>
                                <a:pt x="196" y="12"/>
                              </a:cubicBezTo>
                              <a:cubicBezTo>
                                <a:pt x="192" y="11"/>
                                <a:pt x="189" y="11"/>
                                <a:pt x="187" y="11"/>
                              </a:cubicBezTo>
                              <a:cubicBezTo>
                                <a:pt x="184" y="11"/>
                                <a:pt x="181" y="10"/>
                                <a:pt x="176" y="10"/>
                              </a:cubicBezTo>
                              <a:cubicBezTo>
                                <a:pt x="170" y="9"/>
                                <a:pt x="167" y="6"/>
                                <a:pt x="164" y="4"/>
                              </a:cubicBezTo>
                              <a:cubicBezTo>
                                <a:pt x="162" y="2"/>
                                <a:pt x="161" y="0"/>
                                <a:pt x="157" y="0"/>
                              </a:cubicBezTo>
                              <a:cubicBezTo>
                                <a:pt x="153" y="1"/>
                                <a:pt x="150" y="3"/>
                                <a:pt x="147" y="5"/>
                              </a:cubicBezTo>
                              <a:cubicBezTo>
                                <a:pt x="144" y="7"/>
                                <a:pt x="141" y="9"/>
                                <a:pt x="137" y="11"/>
                              </a:cubicBezTo>
                              <a:cubicBezTo>
                                <a:pt x="126" y="17"/>
                                <a:pt x="114" y="17"/>
                                <a:pt x="104" y="17"/>
                              </a:cubicBezTo>
                              <a:cubicBezTo>
                                <a:pt x="102" y="17"/>
                                <a:pt x="102" y="17"/>
                                <a:pt x="102" y="17"/>
                              </a:cubicBezTo>
                              <a:cubicBezTo>
                                <a:pt x="102" y="17"/>
                                <a:pt x="102" y="17"/>
                                <a:pt x="102" y="17"/>
                              </a:cubicBezTo>
                              <a:cubicBezTo>
                                <a:pt x="98" y="17"/>
                                <a:pt x="95" y="19"/>
                                <a:pt x="91" y="21"/>
                              </a:cubicBezTo>
                              <a:cubicBezTo>
                                <a:pt x="88" y="23"/>
                                <a:pt x="85" y="25"/>
                                <a:pt x="80" y="26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58" name="Freeform 403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682841" y="3485647"/>
                          <a:ext cx="19050" cy="26194"/>
                        </a:xfrm>
                        <a:custGeom>
                          <a:avLst/>
                          <a:gdLst>
                            <a:gd name="T0" fmla="*/ 56 w 66"/>
                            <a:gd name="T1" fmla="*/ 19 h 94"/>
                            <a:gd name="T2" fmla="*/ 63 w 66"/>
                            <a:gd name="T3" fmla="*/ 11 h 94"/>
                            <a:gd name="T4" fmla="*/ 51 w 66"/>
                            <a:gd name="T5" fmla="*/ 3 h 94"/>
                            <a:gd name="T6" fmla="*/ 24 w 66"/>
                            <a:gd name="T7" fmla="*/ 15 h 94"/>
                            <a:gd name="T8" fmla="*/ 9 w 66"/>
                            <a:gd name="T9" fmla="*/ 30 h 94"/>
                            <a:gd name="T10" fmla="*/ 1 w 66"/>
                            <a:gd name="T11" fmla="*/ 46 h 94"/>
                            <a:gd name="T12" fmla="*/ 2 w 66"/>
                            <a:gd name="T13" fmla="*/ 64 h 94"/>
                            <a:gd name="T14" fmla="*/ 4 w 66"/>
                            <a:gd name="T15" fmla="*/ 82 h 94"/>
                            <a:gd name="T16" fmla="*/ 8 w 66"/>
                            <a:gd name="T17" fmla="*/ 88 h 94"/>
                            <a:gd name="T18" fmla="*/ 19 w 66"/>
                            <a:gd name="T19" fmla="*/ 74 h 94"/>
                            <a:gd name="T20" fmla="*/ 32 w 66"/>
                            <a:gd name="T21" fmla="*/ 64 h 94"/>
                            <a:gd name="T22" fmla="*/ 44 w 66"/>
                            <a:gd name="T23" fmla="*/ 54 h 94"/>
                            <a:gd name="T24" fmla="*/ 46 w 66"/>
                            <a:gd name="T25" fmla="*/ 43 h 94"/>
                            <a:gd name="T26" fmla="*/ 44 w 66"/>
                            <a:gd name="T27" fmla="*/ 27 h 94"/>
                            <a:gd name="T28" fmla="*/ 56 w 66"/>
                            <a:gd name="T29" fmla="*/ 19 h 9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</a:cxnLst>
                          <a:rect l="0" t="0" r="r" b="b"/>
                          <a:pathLst>
                            <a:path w="66" h="94">
                              <a:moveTo>
                                <a:pt x="56" y="19"/>
                              </a:moveTo>
                              <a:cubicBezTo>
                                <a:pt x="62" y="17"/>
                                <a:pt x="66" y="17"/>
                                <a:pt x="63" y="11"/>
                              </a:cubicBezTo>
                              <a:cubicBezTo>
                                <a:pt x="61" y="4"/>
                                <a:pt x="60" y="0"/>
                                <a:pt x="51" y="3"/>
                              </a:cubicBezTo>
                              <a:cubicBezTo>
                                <a:pt x="42" y="7"/>
                                <a:pt x="32" y="6"/>
                                <a:pt x="24" y="15"/>
                              </a:cubicBezTo>
                              <a:cubicBezTo>
                                <a:pt x="16" y="25"/>
                                <a:pt x="15" y="22"/>
                                <a:pt x="9" y="30"/>
                              </a:cubicBezTo>
                              <a:cubicBezTo>
                                <a:pt x="4" y="37"/>
                                <a:pt x="1" y="34"/>
                                <a:pt x="1" y="46"/>
                              </a:cubicBezTo>
                              <a:cubicBezTo>
                                <a:pt x="1" y="58"/>
                                <a:pt x="0" y="54"/>
                                <a:pt x="2" y="64"/>
                              </a:cubicBezTo>
                              <a:cubicBezTo>
                                <a:pt x="5" y="73"/>
                                <a:pt x="4" y="76"/>
                                <a:pt x="4" y="82"/>
                              </a:cubicBezTo>
                              <a:cubicBezTo>
                                <a:pt x="4" y="88"/>
                                <a:pt x="2" y="94"/>
                                <a:pt x="8" y="88"/>
                              </a:cubicBezTo>
                              <a:cubicBezTo>
                                <a:pt x="14" y="82"/>
                                <a:pt x="14" y="81"/>
                                <a:pt x="19" y="74"/>
                              </a:cubicBezTo>
                              <a:cubicBezTo>
                                <a:pt x="24" y="68"/>
                                <a:pt x="25" y="67"/>
                                <a:pt x="32" y="64"/>
                              </a:cubicBezTo>
                              <a:cubicBezTo>
                                <a:pt x="38" y="61"/>
                                <a:pt x="38" y="59"/>
                                <a:pt x="44" y="54"/>
                              </a:cubicBezTo>
                              <a:cubicBezTo>
                                <a:pt x="49" y="50"/>
                                <a:pt x="52" y="49"/>
                                <a:pt x="46" y="43"/>
                              </a:cubicBezTo>
                              <a:cubicBezTo>
                                <a:pt x="40" y="37"/>
                                <a:pt x="40" y="31"/>
                                <a:pt x="44" y="27"/>
                              </a:cubicBezTo>
                              <a:cubicBezTo>
                                <a:pt x="47" y="23"/>
                                <a:pt x="49" y="22"/>
                                <a:pt x="56" y="19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59" name="Freeform 425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408997" y="3645191"/>
                          <a:ext cx="65484" cy="44053"/>
                        </a:xfrm>
                        <a:custGeom>
                          <a:avLst/>
                          <a:gdLst>
                            <a:gd name="T0" fmla="*/ 13 w 225"/>
                            <a:gd name="T1" fmla="*/ 52 h 155"/>
                            <a:gd name="T2" fmla="*/ 21 w 225"/>
                            <a:gd name="T3" fmla="*/ 54 h 155"/>
                            <a:gd name="T4" fmla="*/ 31 w 225"/>
                            <a:gd name="T5" fmla="*/ 52 h 155"/>
                            <a:gd name="T6" fmla="*/ 45 w 225"/>
                            <a:gd name="T7" fmla="*/ 67 h 155"/>
                            <a:gd name="T8" fmla="*/ 45 w 225"/>
                            <a:gd name="T9" fmla="*/ 72 h 155"/>
                            <a:gd name="T10" fmla="*/ 48 w 225"/>
                            <a:gd name="T11" fmla="*/ 73 h 155"/>
                            <a:gd name="T12" fmla="*/ 58 w 225"/>
                            <a:gd name="T13" fmla="*/ 73 h 155"/>
                            <a:gd name="T14" fmla="*/ 65 w 225"/>
                            <a:gd name="T15" fmla="*/ 82 h 155"/>
                            <a:gd name="T16" fmla="*/ 68 w 225"/>
                            <a:gd name="T17" fmla="*/ 88 h 155"/>
                            <a:gd name="T18" fmla="*/ 76 w 225"/>
                            <a:gd name="T19" fmla="*/ 90 h 155"/>
                            <a:gd name="T20" fmla="*/ 88 w 225"/>
                            <a:gd name="T21" fmla="*/ 89 h 155"/>
                            <a:gd name="T22" fmla="*/ 98 w 225"/>
                            <a:gd name="T23" fmla="*/ 109 h 155"/>
                            <a:gd name="T24" fmla="*/ 98 w 225"/>
                            <a:gd name="T25" fmla="*/ 113 h 155"/>
                            <a:gd name="T26" fmla="*/ 98 w 225"/>
                            <a:gd name="T27" fmla="*/ 117 h 155"/>
                            <a:gd name="T28" fmla="*/ 109 w 225"/>
                            <a:gd name="T29" fmla="*/ 116 h 155"/>
                            <a:gd name="T30" fmla="*/ 121 w 225"/>
                            <a:gd name="T31" fmla="*/ 110 h 155"/>
                            <a:gd name="T32" fmla="*/ 133 w 225"/>
                            <a:gd name="T33" fmla="*/ 104 h 155"/>
                            <a:gd name="T34" fmla="*/ 144 w 225"/>
                            <a:gd name="T35" fmla="*/ 119 h 155"/>
                            <a:gd name="T36" fmla="*/ 146 w 225"/>
                            <a:gd name="T37" fmla="*/ 129 h 155"/>
                            <a:gd name="T38" fmla="*/ 167 w 225"/>
                            <a:gd name="T39" fmla="*/ 145 h 155"/>
                            <a:gd name="T40" fmla="*/ 176 w 225"/>
                            <a:gd name="T41" fmla="*/ 151 h 155"/>
                            <a:gd name="T42" fmla="*/ 187 w 225"/>
                            <a:gd name="T43" fmla="*/ 154 h 155"/>
                            <a:gd name="T44" fmla="*/ 194 w 225"/>
                            <a:gd name="T45" fmla="*/ 155 h 155"/>
                            <a:gd name="T46" fmla="*/ 194 w 225"/>
                            <a:gd name="T47" fmla="*/ 142 h 155"/>
                            <a:gd name="T48" fmla="*/ 194 w 225"/>
                            <a:gd name="T49" fmla="*/ 142 h 155"/>
                            <a:gd name="T50" fmla="*/ 194 w 225"/>
                            <a:gd name="T51" fmla="*/ 141 h 155"/>
                            <a:gd name="T52" fmla="*/ 194 w 225"/>
                            <a:gd name="T53" fmla="*/ 141 h 155"/>
                            <a:gd name="T54" fmla="*/ 194 w 225"/>
                            <a:gd name="T55" fmla="*/ 112 h 155"/>
                            <a:gd name="T56" fmla="*/ 211 w 225"/>
                            <a:gd name="T57" fmla="*/ 100 h 155"/>
                            <a:gd name="T58" fmla="*/ 219 w 225"/>
                            <a:gd name="T59" fmla="*/ 98 h 155"/>
                            <a:gd name="T60" fmla="*/ 222 w 225"/>
                            <a:gd name="T61" fmla="*/ 82 h 155"/>
                            <a:gd name="T62" fmla="*/ 222 w 225"/>
                            <a:gd name="T63" fmla="*/ 78 h 155"/>
                            <a:gd name="T64" fmla="*/ 212 w 225"/>
                            <a:gd name="T65" fmla="*/ 62 h 155"/>
                            <a:gd name="T66" fmla="*/ 204 w 225"/>
                            <a:gd name="T67" fmla="*/ 52 h 155"/>
                            <a:gd name="T68" fmla="*/ 202 w 225"/>
                            <a:gd name="T69" fmla="*/ 29 h 155"/>
                            <a:gd name="T70" fmla="*/ 204 w 225"/>
                            <a:gd name="T71" fmla="*/ 26 h 155"/>
                            <a:gd name="T72" fmla="*/ 183 w 225"/>
                            <a:gd name="T73" fmla="*/ 24 h 155"/>
                            <a:gd name="T74" fmla="*/ 181 w 225"/>
                            <a:gd name="T75" fmla="*/ 24 h 155"/>
                            <a:gd name="T76" fmla="*/ 155 w 225"/>
                            <a:gd name="T77" fmla="*/ 16 h 155"/>
                            <a:gd name="T78" fmla="*/ 147 w 225"/>
                            <a:gd name="T79" fmla="*/ 10 h 155"/>
                            <a:gd name="T80" fmla="*/ 136 w 225"/>
                            <a:gd name="T81" fmla="*/ 3 h 155"/>
                            <a:gd name="T82" fmla="*/ 126 w 225"/>
                            <a:gd name="T83" fmla="*/ 1 h 155"/>
                            <a:gd name="T84" fmla="*/ 117 w 225"/>
                            <a:gd name="T85" fmla="*/ 3 h 155"/>
                            <a:gd name="T86" fmla="*/ 107 w 225"/>
                            <a:gd name="T87" fmla="*/ 5 h 155"/>
                            <a:gd name="T88" fmla="*/ 100 w 225"/>
                            <a:gd name="T89" fmla="*/ 13 h 155"/>
                            <a:gd name="T90" fmla="*/ 90 w 225"/>
                            <a:gd name="T91" fmla="*/ 20 h 155"/>
                            <a:gd name="T92" fmla="*/ 76 w 225"/>
                            <a:gd name="T93" fmla="*/ 24 h 155"/>
                            <a:gd name="T94" fmla="*/ 66 w 225"/>
                            <a:gd name="T95" fmla="*/ 19 h 155"/>
                            <a:gd name="T96" fmla="*/ 52 w 225"/>
                            <a:gd name="T97" fmla="*/ 17 h 155"/>
                            <a:gd name="T98" fmla="*/ 41 w 225"/>
                            <a:gd name="T99" fmla="*/ 10 h 155"/>
                            <a:gd name="T100" fmla="*/ 25 w 225"/>
                            <a:gd name="T101" fmla="*/ 12 h 155"/>
                            <a:gd name="T102" fmla="*/ 6 w 225"/>
                            <a:gd name="T103" fmla="*/ 24 h 155"/>
                            <a:gd name="T104" fmla="*/ 0 w 225"/>
                            <a:gd name="T105" fmla="*/ 26 h 155"/>
                            <a:gd name="T106" fmla="*/ 5 w 225"/>
                            <a:gd name="T107" fmla="*/ 38 h 155"/>
                            <a:gd name="T108" fmla="*/ 13 w 225"/>
                            <a:gd name="T109" fmla="*/ 52 h 15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</a:cxnLst>
                          <a:rect l="0" t="0" r="r" b="b"/>
                          <a:pathLst>
                            <a:path w="225" h="155">
                              <a:moveTo>
                                <a:pt x="13" y="52"/>
                              </a:moveTo>
                              <a:cubicBezTo>
                                <a:pt x="17" y="55"/>
                                <a:pt x="18" y="55"/>
                                <a:pt x="21" y="54"/>
                              </a:cubicBezTo>
                              <a:cubicBezTo>
                                <a:pt x="23" y="53"/>
                                <a:pt x="26" y="52"/>
                                <a:pt x="31" y="52"/>
                              </a:cubicBezTo>
                              <a:cubicBezTo>
                                <a:pt x="43" y="53"/>
                                <a:pt x="44" y="59"/>
                                <a:pt x="45" y="67"/>
                              </a:cubicBezTo>
                              <a:cubicBezTo>
                                <a:pt x="45" y="69"/>
                                <a:pt x="45" y="71"/>
                                <a:pt x="45" y="72"/>
                              </a:cubicBezTo>
                              <a:cubicBezTo>
                                <a:pt x="46" y="74"/>
                                <a:pt x="47" y="74"/>
                                <a:pt x="48" y="73"/>
                              </a:cubicBezTo>
                              <a:cubicBezTo>
                                <a:pt x="51" y="73"/>
                                <a:pt x="54" y="73"/>
                                <a:pt x="58" y="73"/>
                              </a:cubicBezTo>
                              <a:cubicBezTo>
                                <a:pt x="65" y="75"/>
                                <a:pt x="65" y="77"/>
                                <a:pt x="65" y="82"/>
                              </a:cubicBezTo>
                              <a:cubicBezTo>
                                <a:pt x="65" y="83"/>
                                <a:pt x="65" y="85"/>
                                <a:pt x="68" y="88"/>
                              </a:cubicBezTo>
                              <a:cubicBezTo>
                                <a:pt x="71" y="91"/>
                                <a:pt x="73" y="91"/>
                                <a:pt x="76" y="90"/>
                              </a:cubicBezTo>
                              <a:cubicBezTo>
                                <a:pt x="79" y="89"/>
                                <a:pt x="83" y="87"/>
                                <a:pt x="88" y="89"/>
                              </a:cubicBezTo>
                              <a:cubicBezTo>
                                <a:pt x="100" y="91"/>
                                <a:pt x="99" y="101"/>
                                <a:pt x="98" y="109"/>
                              </a:cubicBezTo>
                              <a:cubicBezTo>
                                <a:pt x="98" y="111"/>
                                <a:pt x="98" y="112"/>
                                <a:pt x="98" y="113"/>
                              </a:cubicBezTo>
                              <a:cubicBezTo>
                                <a:pt x="98" y="115"/>
                                <a:pt x="98" y="116"/>
                                <a:pt x="98" y="117"/>
                              </a:cubicBezTo>
                              <a:cubicBezTo>
                                <a:pt x="100" y="117"/>
                                <a:pt x="103" y="117"/>
                                <a:pt x="109" y="116"/>
                              </a:cubicBezTo>
                              <a:cubicBezTo>
                                <a:pt x="115" y="115"/>
                                <a:pt x="118" y="112"/>
                                <a:pt x="121" y="110"/>
                              </a:cubicBezTo>
                              <a:cubicBezTo>
                                <a:pt x="124" y="106"/>
                                <a:pt x="128" y="103"/>
                                <a:pt x="133" y="104"/>
                              </a:cubicBezTo>
                              <a:cubicBezTo>
                                <a:pt x="142" y="104"/>
                                <a:pt x="143" y="111"/>
                                <a:pt x="144" y="119"/>
                              </a:cubicBezTo>
                              <a:cubicBezTo>
                                <a:pt x="144" y="123"/>
                                <a:pt x="145" y="127"/>
                                <a:pt x="146" y="129"/>
                              </a:cubicBezTo>
                              <a:cubicBezTo>
                                <a:pt x="149" y="134"/>
                                <a:pt x="159" y="140"/>
                                <a:pt x="167" y="145"/>
                              </a:cubicBezTo>
                              <a:cubicBezTo>
                                <a:pt x="170" y="147"/>
                                <a:pt x="173" y="149"/>
                                <a:pt x="176" y="151"/>
                              </a:cubicBezTo>
                              <a:cubicBezTo>
                                <a:pt x="179" y="153"/>
                                <a:pt x="183" y="153"/>
                                <a:pt x="187" y="154"/>
                              </a:cubicBezTo>
                              <a:cubicBezTo>
                                <a:pt x="189" y="154"/>
                                <a:pt x="191" y="154"/>
                                <a:pt x="194" y="155"/>
                              </a:cubicBezTo>
                              <a:cubicBezTo>
                                <a:pt x="194" y="152"/>
                                <a:pt x="195" y="146"/>
                                <a:pt x="194" y="142"/>
                              </a:cubicBezTo>
                              <a:cubicBezTo>
                                <a:pt x="194" y="142"/>
                                <a:pt x="194" y="142"/>
                                <a:pt x="194" y="142"/>
                              </a:cubicBezTo>
                              <a:cubicBezTo>
                                <a:pt x="194" y="141"/>
                                <a:pt x="194" y="141"/>
                                <a:pt x="194" y="141"/>
                              </a:cubicBezTo>
                              <a:cubicBezTo>
                                <a:pt x="194" y="141"/>
                                <a:pt x="194" y="141"/>
                                <a:pt x="194" y="141"/>
                              </a:cubicBezTo>
                              <a:cubicBezTo>
                                <a:pt x="191" y="132"/>
                                <a:pt x="189" y="127"/>
                                <a:pt x="194" y="112"/>
                              </a:cubicBezTo>
                              <a:cubicBezTo>
                                <a:pt x="198" y="101"/>
                                <a:pt x="204" y="101"/>
                                <a:pt x="211" y="100"/>
                              </a:cubicBezTo>
                              <a:cubicBezTo>
                                <a:pt x="214" y="100"/>
                                <a:pt x="217" y="100"/>
                                <a:pt x="219" y="98"/>
                              </a:cubicBezTo>
                              <a:cubicBezTo>
                                <a:pt x="225" y="94"/>
                                <a:pt x="224" y="90"/>
                                <a:pt x="222" y="82"/>
                              </a:cubicBezTo>
                              <a:cubicBezTo>
                                <a:pt x="222" y="81"/>
                                <a:pt x="222" y="79"/>
                                <a:pt x="222" y="78"/>
                              </a:cubicBezTo>
                              <a:cubicBezTo>
                                <a:pt x="220" y="71"/>
                                <a:pt x="217" y="67"/>
                                <a:pt x="212" y="62"/>
                              </a:cubicBezTo>
                              <a:cubicBezTo>
                                <a:pt x="210" y="60"/>
                                <a:pt x="207" y="56"/>
                                <a:pt x="204" y="52"/>
                              </a:cubicBezTo>
                              <a:cubicBezTo>
                                <a:pt x="195" y="40"/>
                                <a:pt x="197" y="37"/>
                                <a:pt x="202" y="29"/>
                              </a:cubicBezTo>
                              <a:cubicBezTo>
                                <a:pt x="202" y="28"/>
                                <a:pt x="203" y="27"/>
                                <a:pt x="204" y="26"/>
                              </a:cubicBezTo>
                              <a:cubicBezTo>
                                <a:pt x="183" y="24"/>
                                <a:pt x="183" y="24"/>
                                <a:pt x="183" y="24"/>
                              </a:cubicBezTo>
                              <a:cubicBezTo>
                                <a:pt x="181" y="24"/>
                                <a:pt x="181" y="24"/>
                                <a:pt x="181" y="24"/>
                              </a:cubicBezTo>
                              <a:cubicBezTo>
                                <a:pt x="171" y="23"/>
                                <a:pt x="165" y="23"/>
                                <a:pt x="155" y="16"/>
                              </a:cubicBezTo>
                              <a:cubicBezTo>
                                <a:pt x="151" y="14"/>
                                <a:pt x="149" y="11"/>
                                <a:pt x="147" y="10"/>
                              </a:cubicBezTo>
                              <a:cubicBezTo>
                                <a:pt x="145" y="7"/>
                                <a:pt x="143" y="5"/>
                                <a:pt x="136" y="3"/>
                              </a:cubicBezTo>
                              <a:cubicBezTo>
                                <a:pt x="130" y="0"/>
                                <a:pt x="128" y="1"/>
                                <a:pt x="126" y="1"/>
                              </a:cubicBezTo>
                              <a:cubicBezTo>
                                <a:pt x="124" y="2"/>
                                <a:pt x="121" y="3"/>
                                <a:pt x="117" y="3"/>
                              </a:cubicBezTo>
                              <a:cubicBezTo>
                                <a:pt x="113" y="3"/>
                                <a:pt x="110" y="4"/>
                                <a:pt x="107" y="5"/>
                              </a:cubicBezTo>
                              <a:cubicBezTo>
                                <a:pt x="107" y="8"/>
                                <a:pt x="102" y="12"/>
                                <a:pt x="100" y="13"/>
                              </a:cubicBezTo>
                              <a:cubicBezTo>
                                <a:pt x="98" y="15"/>
                                <a:pt x="95" y="17"/>
                                <a:pt x="90" y="20"/>
                              </a:cubicBezTo>
                              <a:cubicBezTo>
                                <a:pt x="85" y="22"/>
                                <a:pt x="78" y="25"/>
                                <a:pt x="76" y="24"/>
                              </a:cubicBezTo>
                              <a:cubicBezTo>
                                <a:pt x="73" y="22"/>
                                <a:pt x="74" y="20"/>
                                <a:pt x="66" y="19"/>
                              </a:cubicBezTo>
                              <a:cubicBezTo>
                                <a:pt x="59" y="17"/>
                                <a:pt x="56" y="20"/>
                                <a:pt x="52" y="17"/>
                              </a:cubicBezTo>
                              <a:cubicBezTo>
                                <a:pt x="48" y="13"/>
                                <a:pt x="46" y="10"/>
                                <a:pt x="41" y="10"/>
                              </a:cubicBezTo>
                              <a:cubicBezTo>
                                <a:pt x="35" y="10"/>
                                <a:pt x="31" y="7"/>
                                <a:pt x="25" y="12"/>
                              </a:cubicBezTo>
                              <a:cubicBezTo>
                                <a:pt x="19" y="17"/>
                                <a:pt x="12" y="22"/>
                                <a:pt x="6" y="24"/>
                              </a:cubicBezTo>
                              <a:cubicBezTo>
                                <a:pt x="5" y="24"/>
                                <a:pt x="3" y="25"/>
                                <a:pt x="0" y="26"/>
                              </a:cubicBezTo>
                              <a:cubicBezTo>
                                <a:pt x="1" y="30"/>
                                <a:pt x="3" y="34"/>
                                <a:pt x="5" y="38"/>
                              </a:cubicBezTo>
                              <a:cubicBezTo>
                                <a:pt x="7" y="43"/>
                                <a:pt x="10" y="48"/>
                                <a:pt x="13" y="52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60" name="Freeform 433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534013" y="3703532"/>
                          <a:ext cx="132159" cy="55959"/>
                        </a:xfrm>
                        <a:custGeom>
                          <a:avLst/>
                          <a:gdLst>
                            <a:gd name="T0" fmla="*/ 170 w 459"/>
                            <a:gd name="T1" fmla="*/ 169 h 194"/>
                            <a:gd name="T2" fmla="*/ 189 w 459"/>
                            <a:gd name="T3" fmla="*/ 179 h 194"/>
                            <a:gd name="T4" fmla="*/ 238 w 459"/>
                            <a:gd name="T5" fmla="*/ 181 h 194"/>
                            <a:gd name="T6" fmla="*/ 269 w 459"/>
                            <a:gd name="T7" fmla="*/ 185 h 194"/>
                            <a:gd name="T8" fmla="*/ 287 w 459"/>
                            <a:gd name="T9" fmla="*/ 190 h 194"/>
                            <a:gd name="T10" fmla="*/ 306 w 459"/>
                            <a:gd name="T11" fmla="*/ 193 h 194"/>
                            <a:gd name="T12" fmla="*/ 321 w 459"/>
                            <a:gd name="T13" fmla="*/ 179 h 194"/>
                            <a:gd name="T14" fmla="*/ 364 w 459"/>
                            <a:gd name="T15" fmla="*/ 172 h 194"/>
                            <a:gd name="T16" fmla="*/ 385 w 459"/>
                            <a:gd name="T17" fmla="*/ 168 h 194"/>
                            <a:gd name="T18" fmla="*/ 396 w 459"/>
                            <a:gd name="T19" fmla="*/ 157 h 194"/>
                            <a:gd name="T20" fmla="*/ 411 w 459"/>
                            <a:gd name="T21" fmla="*/ 149 h 194"/>
                            <a:gd name="T22" fmla="*/ 411 w 459"/>
                            <a:gd name="T23" fmla="*/ 135 h 194"/>
                            <a:gd name="T24" fmla="*/ 422 w 459"/>
                            <a:gd name="T25" fmla="*/ 115 h 194"/>
                            <a:gd name="T26" fmla="*/ 423 w 459"/>
                            <a:gd name="T27" fmla="*/ 106 h 194"/>
                            <a:gd name="T28" fmla="*/ 433 w 459"/>
                            <a:gd name="T29" fmla="*/ 88 h 194"/>
                            <a:gd name="T30" fmla="*/ 439 w 459"/>
                            <a:gd name="T31" fmla="*/ 91 h 194"/>
                            <a:gd name="T32" fmla="*/ 454 w 459"/>
                            <a:gd name="T33" fmla="*/ 93 h 194"/>
                            <a:gd name="T34" fmla="*/ 457 w 459"/>
                            <a:gd name="T35" fmla="*/ 87 h 194"/>
                            <a:gd name="T36" fmla="*/ 459 w 459"/>
                            <a:gd name="T37" fmla="*/ 71 h 194"/>
                            <a:gd name="T38" fmla="*/ 450 w 459"/>
                            <a:gd name="T39" fmla="*/ 60 h 194"/>
                            <a:gd name="T40" fmla="*/ 444 w 459"/>
                            <a:gd name="T41" fmla="*/ 27 h 194"/>
                            <a:gd name="T42" fmla="*/ 426 w 459"/>
                            <a:gd name="T43" fmla="*/ 14 h 194"/>
                            <a:gd name="T44" fmla="*/ 411 w 459"/>
                            <a:gd name="T45" fmla="*/ 20 h 194"/>
                            <a:gd name="T46" fmla="*/ 379 w 459"/>
                            <a:gd name="T47" fmla="*/ 10 h 194"/>
                            <a:gd name="T48" fmla="*/ 357 w 459"/>
                            <a:gd name="T49" fmla="*/ 3 h 194"/>
                            <a:gd name="T50" fmla="*/ 333 w 459"/>
                            <a:gd name="T51" fmla="*/ 3 h 194"/>
                            <a:gd name="T52" fmla="*/ 317 w 459"/>
                            <a:gd name="T53" fmla="*/ 28 h 194"/>
                            <a:gd name="T54" fmla="*/ 281 w 459"/>
                            <a:gd name="T55" fmla="*/ 31 h 194"/>
                            <a:gd name="T56" fmla="*/ 257 w 459"/>
                            <a:gd name="T57" fmla="*/ 25 h 194"/>
                            <a:gd name="T58" fmla="*/ 242 w 459"/>
                            <a:gd name="T59" fmla="*/ 37 h 194"/>
                            <a:gd name="T60" fmla="*/ 230 w 459"/>
                            <a:gd name="T61" fmla="*/ 44 h 194"/>
                            <a:gd name="T62" fmla="*/ 207 w 459"/>
                            <a:gd name="T63" fmla="*/ 62 h 194"/>
                            <a:gd name="T64" fmla="*/ 202 w 459"/>
                            <a:gd name="T65" fmla="*/ 85 h 194"/>
                            <a:gd name="T66" fmla="*/ 206 w 459"/>
                            <a:gd name="T67" fmla="*/ 100 h 194"/>
                            <a:gd name="T68" fmla="*/ 196 w 459"/>
                            <a:gd name="T69" fmla="*/ 109 h 194"/>
                            <a:gd name="T70" fmla="*/ 173 w 459"/>
                            <a:gd name="T71" fmla="*/ 103 h 194"/>
                            <a:gd name="T72" fmla="*/ 126 w 459"/>
                            <a:gd name="T73" fmla="*/ 111 h 194"/>
                            <a:gd name="T74" fmla="*/ 115 w 459"/>
                            <a:gd name="T75" fmla="*/ 113 h 194"/>
                            <a:gd name="T76" fmla="*/ 89 w 459"/>
                            <a:gd name="T77" fmla="*/ 122 h 194"/>
                            <a:gd name="T78" fmla="*/ 74 w 459"/>
                            <a:gd name="T79" fmla="*/ 115 h 194"/>
                            <a:gd name="T80" fmla="*/ 60 w 459"/>
                            <a:gd name="T81" fmla="*/ 109 h 194"/>
                            <a:gd name="T82" fmla="*/ 40 w 459"/>
                            <a:gd name="T83" fmla="*/ 130 h 194"/>
                            <a:gd name="T84" fmla="*/ 20 w 459"/>
                            <a:gd name="T85" fmla="*/ 117 h 194"/>
                            <a:gd name="T86" fmla="*/ 2 w 459"/>
                            <a:gd name="T87" fmla="*/ 114 h 194"/>
                            <a:gd name="T88" fmla="*/ 1 w 459"/>
                            <a:gd name="T89" fmla="*/ 141 h 194"/>
                            <a:gd name="T90" fmla="*/ 14 w 459"/>
                            <a:gd name="T91" fmla="*/ 150 h 194"/>
                            <a:gd name="T92" fmla="*/ 35 w 459"/>
                            <a:gd name="T93" fmla="*/ 155 h 194"/>
                            <a:gd name="T94" fmla="*/ 57 w 459"/>
                            <a:gd name="T95" fmla="*/ 154 h 194"/>
                            <a:gd name="T96" fmla="*/ 73 w 459"/>
                            <a:gd name="T97" fmla="*/ 161 h 194"/>
                            <a:gd name="T98" fmla="*/ 93 w 459"/>
                            <a:gd name="T99" fmla="*/ 156 h 194"/>
                            <a:gd name="T100" fmla="*/ 122 w 459"/>
                            <a:gd name="T101" fmla="*/ 145 h 194"/>
                            <a:gd name="T102" fmla="*/ 147 w 459"/>
                            <a:gd name="T103" fmla="*/ 142 h 194"/>
                            <a:gd name="T104" fmla="*/ 147 w 459"/>
                            <a:gd name="T105" fmla="*/ 142 h 194"/>
                            <a:gd name="T106" fmla="*/ 165 w 459"/>
                            <a:gd name="T107" fmla="*/ 161 h 194"/>
                            <a:gd name="T108" fmla="*/ 165 w 459"/>
                            <a:gd name="T109" fmla="*/ 162 h 194"/>
                            <a:gd name="T110" fmla="*/ 170 w 459"/>
                            <a:gd name="T111" fmla="*/ 169 h 19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</a:cxnLst>
                          <a:rect l="0" t="0" r="r" b="b"/>
                          <a:pathLst>
                            <a:path w="459" h="194">
                              <a:moveTo>
                                <a:pt x="170" y="169"/>
                              </a:moveTo>
                              <a:cubicBezTo>
                                <a:pt x="170" y="169"/>
                                <a:pt x="170" y="169"/>
                                <a:pt x="170" y="169"/>
                              </a:cubicBezTo>
                              <a:cubicBezTo>
                                <a:pt x="171" y="170"/>
                                <a:pt x="173" y="171"/>
                                <a:pt x="175" y="173"/>
                              </a:cubicBezTo>
                              <a:cubicBezTo>
                                <a:pt x="179" y="176"/>
                                <a:pt x="183" y="178"/>
                                <a:pt x="189" y="179"/>
                              </a:cubicBezTo>
                              <a:cubicBezTo>
                                <a:pt x="195" y="180"/>
                                <a:pt x="203" y="180"/>
                                <a:pt x="212" y="180"/>
                              </a:cubicBezTo>
                              <a:cubicBezTo>
                                <a:pt x="225" y="179"/>
                                <a:pt x="231" y="180"/>
                                <a:pt x="238" y="181"/>
                              </a:cubicBezTo>
                              <a:cubicBezTo>
                                <a:pt x="240" y="181"/>
                                <a:pt x="243" y="182"/>
                                <a:pt x="246" y="182"/>
                              </a:cubicBezTo>
                              <a:cubicBezTo>
                                <a:pt x="251" y="183"/>
                                <a:pt x="261" y="184"/>
                                <a:pt x="269" y="185"/>
                              </a:cubicBezTo>
                              <a:cubicBezTo>
                                <a:pt x="276" y="187"/>
                                <a:pt x="283" y="188"/>
                                <a:pt x="287" y="190"/>
                              </a:cubicBezTo>
                              <a:cubicBezTo>
                                <a:pt x="287" y="190"/>
                                <a:pt x="287" y="190"/>
                                <a:pt x="287" y="190"/>
                              </a:cubicBezTo>
                              <a:cubicBezTo>
                                <a:pt x="288" y="190"/>
                                <a:pt x="288" y="190"/>
                                <a:pt x="288" y="190"/>
                              </a:cubicBezTo>
                              <a:cubicBezTo>
                                <a:pt x="296" y="193"/>
                                <a:pt x="302" y="194"/>
                                <a:pt x="306" y="193"/>
                              </a:cubicBezTo>
                              <a:cubicBezTo>
                                <a:pt x="310" y="191"/>
                                <a:pt x="315" y="186"/>
                                <a:pt x="320" y="181"/>
                              </a:cubicBezTo>
                              <a:cubicBezTo>
                                <a:pt x="321" y="179"/>
                                <a:pt x="321" y="179"/>
                                <a:pt x="321" y="179"/>
                              </a:cubicBezTo>
                              <a:cubicBezTo>
                                <a:pt x="326" y="174"/>
                                <a:pt x="343" y="173"/>
                                <a:pt x="354" y="173"/>
                              </a:cubicBezTo>
                              <a:cubicBezTo>
                                <a:pt x="359" y="173"/>
                                <a:pt x="362" y="172"/>
                                <a:pt x="364" y="172"/>
                              </a:cubicBezTo>
                              <a:cubicBezTo>
                                <a:pt x="366" y="172"/>
                                <a:pt x="368" y="172"/>
                                <a:pt x="370" y="171"/>
                              </a:cubicBezTo>
                              <a:cubicBezTo>
                                <a:pt x="375" y="171"/>
                                <a:pt x="381" y="170"/>
                                <a:pt x="385" y="168"/>
                              </a:cubicBezTo>
                              <a:cubicBezTo>
                                <a:pt x="387" y="166"/>
                                <a:pt x="388" y="165"/>
                                <a:pt x="389" y="163"/>
                              </a:cubicBezTo>
                              <a:cubicBezTo>
                                <a:pt x="391" y="161"/>
                                <a:pt x="392" y="159"/>
                                <a:pt x="396" y="157"/>
                              </a:cubicBezTo>
                              <a:cubicBezTo>
                                <a:pt x="398" y="156"/>
                                <a:pt x="400" y="155"/>
                                <a:pt x="402" y="154"/>
                              </a:cubicBezTo>
                              <a:cubicBezTo>
                                <a:pt x="405" y="153"/>
                                <a:pt x="408" y="151"/>
                                <a:pt x="411" y="149"/>
                              </a:cubicBezTo>
                              <a:cubicBezTo>
                                <a:pt x="413" y="147"/>
                                <a:pt x="413" y="146"/>
                                <a:pt x="412" y="142"/>
                              </a:cubicBezTo>
                              <a:cubicBezTo>
                                <a:pt x="412" y="140"/>
                                <a:pt x="411" y="138"/>
                                <a:pt x="411" y="135"/>
                              </a:cubicBezTo>
                              <a:cubicBezTo>
                                <a:pt x="410" y="127"/>
                                <a:pt x="413" y="125"/>
                                <a:pt x="417" y="122"/>
                              </a:cubicBezTo>
                              <a:cubicBezTo>
                                <a:pt x="419" y="121"/>
                                <a:pt x="421" y="119"/>
                                <a:pt x="422" y="115"/>
                              </a:cubicBezTo>
                              <a:cubicBezTo>
                                <a:pt x="424" y="110"/>
                                <a:pt x="423" y="108"/>
                                <a:pt x="423" y="106"/>
                              </a:cubicBezTo>
                              <a:cubicBezTo>
                                <a:pt x="423" y="106"/>
                                <a:pt x="423" y="106"/>
                                <a:pt x="423" y="106"/>
                              </a:cubicBezTo>
                              <a:cubicBezTo>
                                <a:pt x="421" y="103"/>
                                <a:pt x="420" y="100"/>
                                <a:pt x="422" y="94"/>
                              </a:cubicBezTo>
                              <a:cubicBezTo>
                                <a:pt x="424" y="87"/>
                                <a:pt x="428" y="86"/>
                                <a:pt x="433" y="88"/>
                              </a:cubicBezTo>
                              <a:cubicBezTo>
                                <a:pt x="433" y="88"/>
                                <a:pt x="433" y="88"/>
                                <a:pt x="433" y="88"/>
                              </a:cubicBezTo>
                              <a:cubicBezTo>
                                <a:pt x="435" y="89"/>
                                <a:pt x="437" y="90"/>
                                <a:pt x="439" y="91"/>
                              </a:cubicBezTo>
                              <a:cubicBezTo>
                                <a:pt x="442" y="92"/>
                                <a:pt x="444" y="93"/>
                                <a:pt x="446" y="93"/>
                              </a:cubicBezTo>
                              <a:cubicBezTo>
                                <a:pt x="449" y="94"/>
                                <a:pt x="452" y="94"/>
                                <a:pt x="454" y="93"/>
                              </a:cubicBezTo>
                              <a:cubicBezTo>
                                <a:pt x="454" y="93"/>
                                <a:pt x="454" y="93"/>
                                <a:pt x="454" y="93"/>
                              </a:cubicBezTo>
                              <a:cubicBezTo>
                                <a:pt x="455" y="92"/>
                                <a:pt x="456" y="90"/>
                                <a:pt x="457" y="87"/>
                              </a:cubicBezTo>
                              <a:cubicBezTo>
                                <a:pt x="457" y="83"/>
                                <a:pt x="457" y="80"/>
                                <a:pt x="458" y="78"/>
                              </a:cubicBezTo>
                              <a:cubicBezTo>
                                <a:pt x="458" y="76"/>
                                <a:pt x="458" y="74"/>
                                <a:pt x="459" y="71"/>
                              </a:cubicBezTo>
                              <a:cubicBezTo>
                                <a:pt x="456" y="68"/>
                                <a:pt x="455" y="66"/>
                                <a:pt x="453" y="64"/>
                              </a:cubicBezTo>
                              <a:cubicBezTo>
                                <a:pt x="452" y="63"/>
                                <a:pt x="451" y="61"/>
                                <a:pt x="450" y="60"/>
                              </a:cubicBezTo>
                              <a:cubicBezTo>
                                <a:pt x="445" y="54"/>
                                <a:pt x="440" y="46"/>
                                <a:pt x="441" y="38"/>
                              </a:cubicBezTo>
                              <a:cubicBezTo>
                                <a:pt x="442" y="33"/>
                                <a:pt x="443" y="30"/>
                                <a:pt x="444" y="27"/>
                              </a:cubicBezTo>
                              <a:cubicBezTo>
                                <a:pt x="444" y="26"/>
                                <a:pt x="444" y="25"/>
                                <a:pt x="445" y="24"/>
                              </a:cubicBezTo>
                              <a:cubicBezTo>
                                <a:pt x="440" y="21"/>
                                <a:pt x="432" y="16"/>
                                <a:pt x="426" y="14"/>
                              </a:cubicBezTo>
                              <a:cubicBezTo>
                                <a:pt x="421" y="13"/>
                                <a:pt x="419" y="15"/>
                                <a:pt x="416" y="16"/>
                              </a:cubicBezTo>
                              <a:cubicBezTo>
                                <a:pt x="414" y="18"/>
                                <a:pt x="413" y="19"/>
                                <a:pt x="411" y="20"/>
                              </a:cubicBezTo>
                              <a:cubicBezTo>
                                <a:pt x="404" y="23"/>
                                <a:pt x="399" y="20"/>
                                <a:pt x="388" y="15"/>
                              </a:cubicBezTo>
                              <a:cubicBezTo>
                                <a:pt x="385" y="13"/>
                                <a:pt x="382" y="12"/>
                                <a:pt x="379" y="10"/>
                              </a:cubicBezTo>
                              <a:cubicBezTo>
                                <a:pt x="370" y="6"/>
                                <a:pt x="368" y="6"/>
                                <a:pt x="367" y="6"/>
                              </a:cubicBezTo>
                              <a:cubicBezTo>
                                <a:pt x="364" y="6"/>
                                <a:pt x="363" y="6"/>
                                <a:pt x="357" y="3"/>
                              </a:cubicBezTo>
                              <a:cubicBezTo>
                                <a:pt x="352" y="1"/>
                                <a:pt x="348" y="0"/>
                                <a:pt x="344" y="0"/>
                              </a:cubicBezTo>
                              <a:cubicBezTo>
                                <a:pt x="340" y="0"/>
                                <a:pt x="336" y="1"/>
                                <a:pt x="333" y="3"/>
                              </a:cubicBezTo>
                              <a:cubicBezTo>
                                <a:pt x="330" y="4"/>
                                <a:pt x="329" y="8"/>
                                <a:pt x="327" y="12"/>
                              </a:cubicBezTo>
                              <a:cubicBezTo>
                                <a:pt x="325" y="18"/>
                                <a:pt x="323" y="23"/>
                                <a:pt x="317" y="28"/>
                              </a:cubicBezTo>
                              <a:cubicBezTo>
                                <a:pt x="309" y="35"/>
                                <a:pt x="302" y="34"/>
                                <a:pt x="292" y="32"/>
                              </a:cubicBezTo>
                              <a:cubicBezTo>
                                <a:pt x="289" y="32"/>
                                <a:pt x="285" y="31"/>
                                <a:pt x="281" y="31"/>
                              </a:cubicBezTo>
                              <a:cubicBezTo>
                                <a:pt x="272" y="30"/>
                                <a:pt x="265" y="26"/>
                                <a:pt x="259" y="21"/>
                              </a:cubicBezTo>
                              <a:cubicBezTo>
                                <a:pt x="258" y="22"/>
                                <a:pt x="258" y="24"/>
                                <a:pt x="257" y="25"/>
                              </a:cubicBezTo>
                              <a:cubicBezTo>
                                <a:pt x="256" y="29"/>
                                <a:pt x="255" y="32"/>
                                <a:pt x="253" y="34"/>
                              </a:cubicBezTo>
                              <a:cubicBezTo>
                                <a:pt x="250" y="37"/>
                                <a:pt x="246" y="37"/>
                                <a:pt x="242" y="37"/>
                              </a:cubicBezTo>
                              <a:cubicBezTo>
                                <a:pt x="238" y="37"/>
                                <a:pt x="234" y="37"/>
                                <a:pt x="233" y="38"/>
                              </a:cubicBezTo>
                              <a:cubicBezTo>
                                <a:pt x="231" y="40"/>
                                <a:pt x="231" y="42"/>
                                <a:pt x="230" y="44"/>
                              </a:cubicBezTo>
                              <a:cubicBezTo>
                                <a:pt x="228" y="49"/>
                                <a:pt x="227" y="54"/>
                                <a:pt x="219" y="58"/>
                              </a:cubicBezTo>
                              <a:cubicBezTo>
                                <a:pt x="215" y="60"/>
                                <a:pt x="211" y="61"/>
                                <a:pt x="207" y="62"/>
                              </a:cubicBezTo>
                              <a:cubicBezTo>
                                <a:pt x="201" y="63"/>
                                <a:pt x="197" y="64"/>
                                <a:pt x="196" y="67"/>
                              </a:cubicBezTo>
                              <a:cubicBezTo>
                                <a:pt x="196" y="71"/>
                                <a:pt x="199" y="78"/>
                                <a:pt x="202" y="85"/>
                              </a:cubicBezTo>
                              <a:cubicBezTo>
                                <a:pt x="203" y="88"/>
                                <a:pt x="204" y="91"/>
                                <a:pt x="205" y="94"/>
                              </a:cubicBezTo>
                              <a:cubicBezTo>
                                <a:pt x="206" y="96"/>
                                <a:pt x="206" y="98"/>
                                <a:pt x="206" y="100"/>
                              </a:cubicBezTo>
                              <a:cubicBezTo>
                                <a:pt x="206" y="103"/>
                                <a:pt x="205" y="105"/>
                                <a:pt x="203" y="107"/>
                              </a:cubicBezTo>
                              <a:cubicBezTo>
                                <a:pt x="201" y="108"/>
                                <a:pt x="199" y="109"/>
                                <a:pt x="196" y="109"/>
                              </a:cubicBezTo>
                              <a:cubicBezTo>
                                <a:pt x="193" y="110"/>
                                <a:pt x="189" y="109"/>
                                <a:pt x="184" y="108"/>
                              </a:cubicBezTo>
                              <a:cubicBezTo>
                                <a:pt x="178" y="107"/>
                                <a:pt x="175" y="105"/>
                                <a:pt x="173" y="103"/>
                              </a:cubicBezTo>
                              <a:cubicBezTo>
                                <a:pt x="170" y="101"/>
                                <a:pt x="169" y="100"/>
                                <a:pt x="161" y="104"/>
                              </a:cubicBezTo>
                              <a:cubicBezTo>
                                <a:pt x="146" y="110"/>
                                <a:pt x="135" y="110"/>
                                <a:pt x="126" y="111"/>
                              </a:cubicBezTo>
                              <a:cubicBezTo>
                                <a:pt x="125" y="111"/>
                                <a:pt x="125" y="111"/>
                                <a:pt x="125" y="111"/>
                              </a:cubicBezTo>
                              <a:cubicBezTo>
                                <a:pt x="121" y="111"/>
                                <a:pt x="118" y="111"/>
                                <a:pt x="115" y="113"/>
                              </a:cubicBezTo>
                              <a:cubicBezTo>
                                <a:pt x="111" y="114"/>
                                <a:pt x="107" y="116"/>
                                <a:pt x="103" y="118"/>
                              </a:cubicBezTo>
                              <a:cubicBezTo>
                                <a:pt x="98" y="121"/>
                                <a:pt x="93" y="123"/>
                                <a:pt x="89" y="122"/>
                              </a:cubicBezTo>
                              <a:cubicBezTo>
                                <a:pt x="84" y="122"/>
                                <a:pt x="80" y="120"/>
                                <a:pt x="77" y="117"/>
                              </a:cubicBezTo>
                              <a:cubicBezTo>
                                <a:pt x="76" y="116"/>
                                <a:pt x="75" y="116"/>
                                <a:pt x="74" y="115"/>
                              </a:cubicBezTo>
                              <a:cubicBezTo>
                                <a:pt x="74" y="115"/>
                                <a:pt x="74" y="115"/>
                                <a:pt x="74" y="115"/>
                              </a:cubicBezTo>
                              <a:cubicBezTo>
                                <a:pt x="70" y="111"/>
                                <a:pt x="64" y="106"/>
                                <a:pt x="60" y="109"/>
                              </a:cubicBezTo>
                              <a:cubicBezTo>
                                <a:pt x="56" y="111"/>
                                <a:pt x="53" y="116"/>
                                <a:pt x="50" y="120"/>
                              </a:cubicBezTo>
                              <a:cubicBezTo>
                                <a:pt x="47" y="124"/>
                                <a:pt x="44" y="128"/>
                                <a:pt x="40" y="130"/>
                              </a:cubicBezTo>
                              <a:cubicBezTo>
                                <a:pt x="34" y="133"/>
                                <a:pt x="30" y="128"/>
                                <a:pt x="27" y="123"/>
                              </a:cubicBezTo>
                              <a:cubicBezTo>
                                <a:pt x="25" y="120"/>
                                <a:pt x="22" y="117"/>
                                <a:pt x="20" y="117"/>
                              </a:cubicBezTo>
                              <a:cubicBezTo>
                                <a:pt x="17" y="116"/>
                                <a:pt x="12" y="115"/>
                                <a:pt x="8" y="115"/>
                              </a:cubicBezTo>
                              <a:cubicBezTo>
                                <a:pt x="6" y="115"/>
                                <a:pt x="4" y="114"/>
                                <a:pt x="2" y="114"/>
                              </a:cubicBezTo>
                              <a:cubicBezTo>
                                <a:pt x="2" y="120"/>
                                <a:pt x="1" y="130"/>
                                <a:pt x="0" y="134"/>
                              </a:cubicBezTo>
                              <a:cubicBezTo>
                                <a:pt x="0" y="136"/>
                                <a:pt x="0" y="138"/>
                                <a:pt x="1" y="141"/>
                              </a:cubicBezTo>
                              <a:cubicBezTo>
                                <a:pt x="3" y="143"/>
                                <a:pt x="5" y="145"/>
                                <a:pt x="7" y="146"/>
                              </a:cubicBezTo>
                              <a:cubicBezTo>
                                <a:pt x="10" y="147"/>
                                <a:pt x="12" y="148"/>
                                <a:pt x="14" y="150"/>
                              </a:cubicBezTo>
                              <a:cubicBezTo>
                                <a:pt x="17" y="153"/>
                                <a:pt x="21" y="156"/>
                                <a:pt x="28" y="157"/>
                              </a:cubicBezTo>
                              <a:cubicBezTo>
                                <a:pt x="33" y="158"/>
                                <a:pt x="34" y="157"/>
                                <a:pt x="35" y="155"/>
                              </a:cubicBezTo>
                              <a:cubicBezTo>
                                <a:pt x="36" y="153"/>
                                <a:pt x="38" y="152"/>
                                <a:pt x="41" y="150"/>
                              </a:cubicBezTo>
                              <a:cubicBezTo>
                                <a:pt x="48" y="146"/>
                                <a:pt x="52" y="150"/>
                                <a:pt x="57" y="154"/>
                              </a:cubicBezTo>
                              <a:cubicBezTo>
                                <a:pt x="58" y="155"/>
                                <a:pt x="60" y="157"/>
                                <a:pt x="62" y="158"/>
                              </a:cubicBezTo>
                              <a:cubicBezTo>
                                <a:pt x="65" y="160"/>
                                <a:pt x="69" y="161"/>
                                <a:pt x="73" y="161"/>
                              </a:cubicBezTo>
                              <a:cubicBezTo>
                                <a:pt x="77" y="162"/>
                                <a:pt x="81" y="162"/>
                                <a:pt x="85" y="161"/>
                              </a:cubicBezTo>
                              <a:cubicBezTo>
                                <a:pt x="89" y="160"/>
                                <a:pt x="91" y="158"/>
                                <a:pt x="93" y="156"/>
                              </a:cubicBezTo>
                              <a:cubicBezTo>
                                <a:pt x="95" y="154"/>
                                <a:pt x="98" y="152"/>
                                <a:pt x="103" y="150"/>
                              </a:cubicBezTo>
                              <a:cubicBezTo>
                                <a:pt x="108" y="148"/>
                                <a:pt x="115" y="146"/>
                                <a:pt x="122" y="145"/>
                              </a:cubicBezTo>
                              <a:cubicBezTo>
                                <a:pt x="131" y="143"/>
                                <a:pt x="141" y="142"/>
                                <a:pt x="146" y="142"/>
                              </a:cubicBezTo>
                              <a:cubicBezTo>
                                <a:pt x="147" y="142"/>
                                <a:pt x="147" y="142"/>
                                <a:pt x="147" y="142"/>
                              </a:cubicBezTo>
                              <a:cubicBezTo>
                                <a:pt x="147" y="142"/>
                                <a:pt x="147" y="142"/>
                                <a:pt x="147" y="142"/>
                              </a:cubicBezTo>
                              <a:cubicBezTo>
                                <a:pt x="147" y="142"/>
                                <a:pt x="147" y="142"/>
                                <a:pt x="147" y="142"/>
                              </a:cubicBezTo>
                              <a:cubicBezTo>
                                <a:pt x="153" y="142"/>
                                <a:pt x="157" y="144"/>
                                <a:pt x="160" y="148"/>
                              </a:cubicBezTo>
                              <a:cubicBezTo>
                                <a:pt x="163" y="151"/>
                                <a:pt x="165" y="156"/>
                                <a:pt x="165" y="161"/>
                              </a:cubicBezTo>
                              <a:cubicBezTo>
                                <a:pt x="165" y="161"/>
                                <a:pt x="165" y="161"/>
                                <a:pt x="165" y="161"/>
                              </a:cubicBezTo>
                              <a:cubicBezTo>
                                <a:pt x="165" y="162"/>
                                <a:pt x="165" y="162"/>
                                <a:pt x="165" y="162"/>
                              </a:cubicBezTo>
                              <a:cubicBezTo>
                                <a:pt x="165" y="162"/>
                                <a:pt x="165" y="162"/>
                                <a:pt x="165" y="162"/>
                              </a:cubicBezTo>
                              <a:cubicBezTo>
                                <a:pt x="166" y="167"/>
                                <a:pt x="167" y="167"/>
                                <a:pt x="170" y="169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61" name="Freeform 442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581638" y="3934513"/>
                          <a:ext cx="55959" cy="34528"/>
                        </a:xfrm>
                        <a:custGeom>
                          <a:avLst/>
                          <a:gdLst>
                            <a:gd name="T0" fmla="*/ 192 w 197"/>
                            <a:gd name="T1" fmla="*/ 17 h 120"/>
                            <a:gd name="T2" fmla="*/ 197 w 197"/>
                            <a:gd name="T3" fmla="*/ 4 h 120"/>
                            <a:gd name="T4" fmla="*/ 185 w 197"/>
                            <a:gd name="T5" fmla="*/ 7 h 120"/>
                            <a:gd name="T6" fmla="*/ 158 w 197"/>
                            <a:gd name="T7" fmla="*/ 12 h 120"/>
                            <a:gd name="T8" fmla="*/ 132 w 197"/>
                            <a:gd name="T9" fmla="*/ 16 h 120"/>
                            <a:gd name="T10" fmla="*/ 109 w 197"/>
                            <a:gd name="T11" fmla="*/ 19 h 120"/>
                            <a:gd name="T12" fmla="*/ 87 w 197"/>
                            <a:gd name="T13" fmla="*/ 12 h 120"/>
                            <a:gd name="T14" fmla="*/ 63 w 197"/>
                            <a:gd name="T15" fmla="*/ 8 h 120"/>
                            <a:gd name="T16" fmla="*/ 49 w 197"/>
                            <a:gd name="T17" fmla="*/ 14 h 120"/>
                            <a:gd name="T18" fmla="*/ 35 w 197"/>
                            <a:gd name="T19" fmla="*/ 12 h 120"/>
                            <a:gd name="T20" fmla="*/ 23 w 197"/>
                            <a:gd name="T21" fmla="*/ 12 h 120"/>
                            <a:gd name="T22" fmla="*/ 14 w 197"/>
                            <a:gd name="T23" fmla="*/ 25 h 120"/>
                            <a:gd name="T24" fmla="*/ 7 w 197"/>
                            <a:gd name="T25" fmla="*/ 40 h 120"/>
                            <a:gd name="T26" fmla="*/ 22 w 197"/>
                            <a:gd name="T27" fmla="*/ 48 h 120"/>
                            <a:gd name="T28" fmla="*/ 34 w 197"/>
                            <a:gd name="T29" fmla="*/ 53 h 120"/>
                            <a:gd name="T30" fmla="*/ 52 w 197"/>
                            <a:gd name="T31" fmla="*/ 55 h 120"/>
                            <a:gd name="T32" fmla="*/ 81 w 197"/>
                            <a:gd name="T33" fmla="*/ 72 h 120"/>
                            <a:gd name="T34" fmla="*/ 113 w 197"/>
                            <a:gd name="T35" fmla="*/ 85 h 120"/>
                            <a:gd name="T36" fmla="*/ 129 w 197"/>
                            <a:gd name="T37" fmla="*/ 100 h 120"/>
                            <a:gd name="T38" fmla="*/ 142 w 197"/>
                            <a:gd name="T39" fmla="*/ 110 h 120"/>
                            <a:gd name="T40" fmla="*/ 162 w 197"/>
                            <a:gd name="T41" fmla="*/ 115 h 120"/>
                            <a:gd name="T42" fmla="*/ 173 w 197"/>
                            <a:gd name="T43" fmla="*/ 111 h 120"/>
                            <a:gd name="T44" fmla="*/ 178 w 197"/>
                            <a:gd name="T45" fmla="*/ 94 h 120"/>
                            <a:gd name="T46" fmla="*/ 186 w 197"/>
                            <a:gd name="T47" fmla="*/ 90 h 120"/>
                            <a:gd name="T48" fmla="*/ 176 w 197"/>
                            <a:gd name="T49" fmla="*/ 78 h 120"/>
                            <a:gd name="T50" fmla="*/ 172 w 197"/>
                            <a:gd name="T51" fmla="*/ 61 h 120"/>
                            <a:gd name="T52" fmla="*/ 178 w 197"/>
                            <a:gd name="T53" fmla="*/ 46 h 120"/>
                            <a:gd name="T54" fmla="*/ 180 w 197"/>
                            <a:gd name="T55" fmla="*/ 30 h 120"/>
                            <a:gd name="T56" fmla="*/ 192 w 197"/>
                            <a:gd name="T57" fmla="*/ 17 h 12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</a:cxnLst>
                          <a:rect l="0" t="0" r="r" b="b"/>
                          <a:pathLst>
                            <a:path w="197" h="120">
                              <a:moveTo>
                                <a:pt x="192" y="17"/>
                              </a:moveTo>
                              <a:cubicBezTo>
                                <a:pt x="192" y="12"/>
                                <a:pt x="197" y="9"/>
                                <a:pt x="197" y="4"/>
                              </a:cubicBezTo>
                              <a:cubicBezTo>
                                <a:pt x="196" y="0"/>
                                <a:pt x="196" y="1"/>
                                <a:pt x="185" y="7"/>
                              </a:cubicBezTo>
                              <a:cubicBezTo>
                                <a:pt x="175" y="12"/>
                                <a:pt x="173" y="12"/>
                                <a:pt x="158" y="12"/>
                              </a:cubicBezTo>
                              <a:cubicBezTo>
                                <a:pt x="144" y="12"/>
                                <a:pt x="142" y="13"/>
                                <a:pt x="132" y="16"/>
                              </a:cubicBezTo>
                              <a:cubicBezTo>
                                <a:pt x="122" y="19"/>
                                <a:pt x="120" y="22"/>
                                <a:pt x="109" y="19"/>
                              </a:cubicBezTo>
                              <a:cubicBezTo>
                                <a:pt x="98" y="17"/>
                                <a:pt x="99" y="13"/>
                                <a:pt x="87" y="12"/>
                              </a:cubicBezTo>
                              <a:cubicBezTo>
                                <a:pt x="75" y="11"/>
                                <a:pt x="70" y="8"/>
                                <a:pt x="63" y="8"/>
                              </a:cubicBezTo>
                              <a:cubicBezTo>
                                <a:pt x="57" y="8"/>
                                <a:pt x="58" y="12"/>
                                <a:pt x="49" y="14"/>
                              </a:cubicBezTo>
                              <a:cubicBezTo>
                                <a:pt x="41" y="16"/>
                                <a:pt x="41" y="15"/>
                                <a:pt x="35" y="12"/>
                              </a:cubicBezTo>
                              <a:cubicBezTo>
                                <a:pt x="29" y="9"/>
                                <a:pt x="29" y="7"/>
                                <a:pt x="23" y="12"/>
                              </a:cubicBezTo>
                              <a:cubicBezTo>
                                <a:pt x="18" y="17"/>
                                <a:pt x="22" y="20"/>
                                <a:pt x="14" y="25"/>
                              </a:cubicBezTo>
                              <a:cubicBezTo>
                                <a:pt x="6" y="30"/>
                                <a:pt x="0" y="37"/>
                                <a:pt x="7" y="40"/>
                              </a:cubicBezTo>
                              <a:cubicBezTo>
                                <a:pt x="13" y="43"/>
                                <a:pt x="20" y="46"/>
                                <a:pt x="22" y="48"/>
                              </a:cubicBezTo>
                              <a:cubicBezTo>
                                <a:pt x="23" y="51"/>
                                <a:pt x="26" y="53"/>
                                <a:pt x="34" y="53"/>
                              </a:cubicBezTo>
                              <a:cubicBezTo>
                                <a:pt x="42" y="53"/>
                                <a:pt x="46" y="49"/>
                                <a:pt x="52" y="55"/>
                              </a:cubicBezTo>
                              <a:cubicBezTo>
                                <a:pt x="58" y="61"/>
                                <a:pt x="64" y="68"/>
                                <a:pt x="81" y="72"/>
                              </a:cubicBezTo>
                              <a:cubicBezTo>
                                <a:pt x="91" y="74"/>
                                <a:pt x="104" y="78"/>
                                <a:pt x="113" y="85"/>
                              </a:cubicBezTo>
                              <a:cubicBezTo>
                                <a:pt x="121" y="93"/>
                                <a:pt x="125" y="91"/>
                                <a:pt x="129" y="100"/>
                              </a:cubicBezTo>
                              <a:cubicBezTo>
                                <a:pt x="133" y="108"/>
                                <a:pt x="134" y="106"/>
                                <a:pt x="142" y="110"/>
                              </a:cubicBezTo>
                              <a:cubicBezTo>
                                <a:pt x="151" y="114"/>
                                <a:pt x="155" y="111"/>
                                <a:pt x="162" y="115"/>
                              </a:cubicBezTo>
                              <a:cubicBezTo>
                                <a:pt x="170" y="120"/>
                                <a:pt x="173" y="118"/>
                                <a:pt x="173" y="111"/>
                              </a:cubicBezTo>
                              <a:cubicBezTo>
                                <a:pt x="173" y="103"/>
                                <a:pt x="173" y="95"/>
                                <a:pt x="178" y="94"/>
                              </a:cubicBezTo>
                              <a:cubicBezTo>
                                <a:pt x="182" y="94"/>
                                <a:pt x="186" y="96"/>
                                <a:pt x="186" y="90"/>
                              </a:cubicBezTo>
                              <a:cubicBezTo>
                                <a:pt x="186" y="85"/>
                                <a:pt x="181" y="83"/>
                                <a:pt x="176" y="78"/>
                              </a:cubicBezTo>
                              <a:cubicBezTo>
                                <a:pt x="172" y="73"/>
                                <a:pt x="172" y="69"/>
                                <a:pt x="172" y="61"/>
                              </a:cubicBezTo>
                              <a:cubicBezTo>
                                <a:pt x="172" y="54"/>
                                <a:pt x="178" y="55"/>
                                <a:pt x="178" y="46"/>
                              </a:cubicBezTo>
                              <a:cubicBezTo>
                                <a:pt x="178" y="36"/>
                                <a:pt x="176" y="36"/>
                                <a:pt x="180" y="30"/>
                              </a:cubicBezTo>
                              <a:cubicBezTo>
                                <a:pt x="184" y="24"/>
                                <a:pt x="191" y="22"/>
                                <a:pt x="192" y="17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62" name="Freeform 447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718559" y="3863075"/>
                          <a:ext cx="116681" cy="83344"/>
                        </a:xfrm>
                        <a:custGeom>
                          <a:avLst/>
                          <a:gdLst>
                            <a:gd name="T0" fmla="*/ 377 w 404"/>
                            <a:gd name="T1" fmla="*/ 59 h 290"/>
                            <a:gd name="T2" fmla="*/ 399 w 404"/>
                            <a:gd name="T3" fmla="*/ 25 h 290"/>
                            <a:gd name="T4" fmla="*/ 403 w 404"/>
                            <a:gd name="T5" fmla="*/ 20 h 290"/>
                            <a:gd name="T6" fmla="*/ 375 w 404"/>
                            <a:gd name="T7" fmla="*/ 5 h 290"/>
                            <a:gd name="T8" fmla="*/ 350 w 404"/>
                            <a:gd name="T9" fmla="*/ 29 h 290"/>
                            <a:gd name="T10" fmla="*/ 281 w 404"/>
                            <a:gd name="T11" fmla="*/ 21 h 290"/>
                            <a:gd name="T12" fmla="*/ 280 w 404"/>
                            <a:gd name="T13" fmla="*/ 20 h 290"/>
                            <a:gd name="T14" fmla="*/ 221 w 404"/>
                            <a:gd name="T15" fmla="*/ 24 h 290"/>
                            <a:gd name="T16" fmla="*/ 176 w 404"/>
                            <a:gd name="T17" fmla="*/ 24 h 290"/>
                            <a:gd name="T18" fmla="*/ 165 w 404"/>
                            <a:gd name="T19" fmla="*/ 34 h 290"/>
                            <a:gd name="T20" fmla="*/ 140 w 404"/>
                            <a:gd name="T21" fmla="*/ 45 h 290"/>
                            <a:gd name="T22" fmla="*/ 111 w 404"/>
                            <a:gd name="T23" fmla="*/ 56 h 290"/>
                            <a:gd name="T24" fmla="*/ 68 w 404"/>
                            <a:gd name="T25" fmla="*/ 63 h 290"/>
                            <a:gd name="T26" fmla="*/ 60 w 404"/>
                            <a:gd name="T27" fmla="*/ 80 h 290"/>
                            <a:gd name="T28" fmla="*/ 47 w 404"/>
                            <a:gd name="T29" fmla="*/ 97 h 290"/>
                            <a:gd name="T30" fmla="*/ 23 w 404"/>
                            <a:gd name="T31" fmla="*/ 124 h 290"/>
                            <a:gd name="T32" fmla="*/ 17 w 404"/>
                            <a:gd name="T33" fmla="*/ 135 h 290"/>
                            <a:gd name="T34" fmla="*/ 0 w 404"/>
                            <a:gd name="T35" fmla="*/ 153 h 290"/>
                            <a:gd name="T36" fmla="*/ 36 w 404"/>
                            <a:gd name="T37" fmla="*/ 190 h 290"/>
                            <a:gd name="T38" fmla="*/ 60 w 404"/>
                            <a:gd name="T39" fmla="*/ 203 h 290"/>
                            <a:gd name="T40" fmla="*/ 60 w 404"/>
                            <a:gd name="T41" fmla="*/ 223 h 290"/>
                            <a:gd name="T42" fmla="*/ 114 w 404"/>
                            <a:gd name="T43" fmla="*/ 238 h 290"/>
                            <a:gd name="T44" fmla="*/ 181 w 404"/>
                            <a:gd name="T45" fmla="*/ 249 h 290"/>
                            <a:gd name="T46" fmla="*/ 192 w 404"/>
                            <a:gd name="T47" fmla="*/ 271 h 290"/>
                            <a:gd name="T48" fmla="*/ 229 w 404"/>
                            <a:gd name="T49" fmla="*/ 277 h 290"/>
                            <a:gd name="T50" fmla="*/ 230 w 404"/>
                            <a:gd name="T51" fmla="*/ 253 h 290"/>
                            <a:gd name="T52" fmla="*/ 186 w 404"/>
                            <a:gd name="T53" fmla="*/ 224 h 290"/>
                            <a:gd name="T54" fmla="*/ 149 w 404"/>
                            <a:gd name="T55" fmla="*/ 207 h 290"/>
                            <a:gd name="T56" fmla="*/ 170 w 404"/>
                            <a:gd name="T57" fmla="*/ 189 h 290"/>
                            <a:gd name="T58" fmla="*/ 182 w 404"/>
                            <a:gd name="T59" fmla="*/ 176 h 290"/>
                            <a:gd name="T60" fmla="*/ 187 w 404"/>
                            <a:gd name="T61" fmla="*/ 174 h 290"/>
                            <a:gd name="T62" fmla="*/ 161 w 404"/>
                            <a:gd name="T63" fmla="*/ 132 h 290"/>
                            <a:gd name="T64" fmla="*/ 157 w 404"/>
                            <a:gd name="T65" fmla="*/ 92 h 290"/>
                            <a:gd name="T66" fmla="*/ 174 w 404"/>
                            <a:gd name="T67" fmla="*/ 87 h 290"/>
                            <a:gd name="T68" fmla="*/ 197 w 404"/>
                            <a:gd name="T69" fmla="*/ 105 h 290"/>
                            <a:gd name="T70" fmla="*/ 216 w 404"/>
                            <a:gd name="T71" fmla="*/ 130 h 290"/>
                            <a:gd name="T72" fmla="*/ 208 w 404"/>
                            <a:gd name="T73" fmla="*/ 112 h 290"/>
                            <a:gd name="T74" fmla="*/ 225 w 404"/>
                            <a:gd name="T75" fmla="*/ 117 h 290"/>
                            <a:gd name="T76" fmla="*/ 229 w 404"/>
                            <a:gd name="T77" fmla="*/ 114 h 290"/>
                            <a:gd name="T78" fmla="*/ 235 w 404"/>
                            <a:gd name="T79" fmla="*/ 101 h 290"/>
                            <a:gd name="T80" fmla="*/ 263 w 404"/>
                            <a:gd name="T81" fmla="*/ 109 h 290"/>
                            <a:gd name="T82" fmla="*/ 233 w 404"/>
                            <a:gd name="T83" fmla="*/ 85 h 290"/>
                            <a:gd name="T84" fmla="*/ 240 w 404"/>
                            <a:gd name="T85" fmla="*/ 65 h 290"/>
                            <a:gd name="T86" fmla="*/ 282 w 404"/>
                            <a:gd name="T87" fmla="*/ 55 h 290"/>
                            <a:gd name="T88" fmla="*/ 329 w 404"/>
                            <a:gd name="T89" fmla="*/ 54 h 290"/>
                            <a:gd name="T90" fmla="*/ 365 w 404"/>
                            <a:gd name="T91" fmla="*/ 72 h 29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</a:cxnLst>
                          <a:rect l="0" t="0" r="r" b="b"/>
                          <a:pathLst>
                            <a:path w="404" h="290">
                              <a:moveTo>
                                <a:pt x="365" y="72"/>
                              </a:moveTo>
                              <a:cubicBezTo>
                                <a:pt x="366" y="71"/>
                                <a:pt x="367" y="70"/>
                                <a:pt x="368" y="69"/>
                              </a:cubicBezTo>
                              <a:cubicBezTo>
                                <a:pt x="371" y="66"/>
                                <a:pt x="375" y="62"/>
                                <a:pt x="377" y="59"/>
                              </a:cubicBezTo>
                              <a:cubicBezTo>
                                <a:pt x="380" y="54"/>
                                <a:pt x="382" y="47"/>
                                <a:pt x="383" y="42"/>
                              </a:cubicBezTo>
                              <a:cubicBezTo>
                                <a:pt x="384" y="35"/>
                                <a:pt x="392" y="30"/>
                                <a:pt x="397" y="26"/>
                              </a:cubicBezTo>
                              <a:cubicBezTo>
                                <a:pt x="399" y="25"/>
                                <a:pt x="399" y="25"/>
                                <a:pt x="399" y="25"/>
                              </a:cubicBezTo>
                              <a:cubicBezTo>
                                <a:pt x="400" y="24"/>
                                <a:pt x="400" y="24"/>
                                <a:pt x="400" y="24"/>
                              </a:cubicBezTo>
                              <a:cubicBezTo>
                                <a:pt x="400" y="24"/>
                                <a:pt x="400" y="24"/>
                                <a:pt x="400" y="24"/>
                              </a:cubicBezTo>
                              <a:cubicBezTo>
                                <a:pt x="403" y="22"/>
                                <a:pt x="404" y="22"/>
                                <a:pt x="403" y="20"/>
                              </a:cubicBezTo>
                              <a:cubicBezTo>
                                <a:pt x="402" y="16"/>
                                <a:pt x="397" y="5"/>
                                <a:pt x="394" y="0"/>
                              </a:cubicBezTo>
                              <a:cubicBezTo>
                                <a:pt x="392" y="1"/>
                                <a:pt x="389" y="1"/>
                                <a:pt x="387" y="2"/>
                              </a:cubicBezTo>
                              <a:cubicBezTo>
                                <a:pt x="381" y="3"/>
                                <a:pt x="376" y="5"/>
                                <a:pt x="375" y="5"/>
                              </a:cubicBezTo>
                              <a:cubicBezTo>
                                <a:pt x="375" y="6"/>
                                <a:pt x="374" y="9"/>
                                <a:pt x="373" y="11"/>
                              </a:cubicBezTo>
                              <a:cubicBezTo>
                                <a:pt x="372" y="16"/>
                                <a:pt x="371" y="22"/>
                                <a:pt x="367" y="24"/>
                              </a:cubicBezTo>
                              <a:cubicBezTo>
                                <a:pt x="365" y="26"/>
                                <a:pt x="358" y="28"/>
                                <a:pt x="350" y="29"/>
                              </a:cubicBezTo>
                              <a:cubicBezTo>
                                <a:pt x="340" y="30"/>
                                <a:pt x="327" y="31"/>
                                <a:pt x="322" y="31"/>
                              </a:cubicBezTo>
                              <a:cubicBezTo>
                                <a:pt x="316" y="31"/>
                                <a:pt x="307" y="30"/>
                                <a:pt x="298" y="28"/>
                              </a:cubicBezTo>
                              <a:cubicBezTo>
                                <a:pt x="291" y="26"/>
                                <a:pt x="285" y="24"/>
                                <a:pt x="281" y="21"/>
                              </a:cubicBezTo>
                              <a:cubicBezTo>
                                <a:pt x="281" y="21"/>
                                <a:pt x="281" y="21"/>
                                <a:pt x="281" y="21"/>
                              </a:cubicBezTo>
                              <a:cubicBezTo>
                                <a:pt x="280" y="20"/>
                                <a:pt x="280" y="20"/>
                                <a:pt x="280" y="20"/>
                              </a:cubicBezTo>
                              <a:cubicBezTo>
                                <a:pt x="280" y="20"/>
                                <a:pt x="280" y="20"/>
                                <a:pt x="280" y="20"/>
                              </a:cubicBezTo>
                              <a:cubicBezTo>
                                <a:pt x="274" y="16"/>
                                <a:pt x="268" y="11"/>
                                <a:pt x="256" y="14"/>
                              </a:cubicBezTo>
                              <a:cubicBezTo>
                                <a:pt x="248" y="16"/>
                                <a:pt x="242" y="18"/>
                                <a:pt x="236" y="20"/>
                              </a:cubicBezTo>
                              <a:cubicBezTo>
                                <a:pt x="231" y="21"/>
                                <a:pt x="226" y="23"/>
                                <a:pt x="221" y="24"/>
                              </a:cubicBezTo>
                              <a:cubicBezTo>
                                <a:pt x="216" y="25"/>
                                <a:pt x="212" y="26"/>
                                <a:pt x="208" y="27"/>
                              </a:cubicBezTo>
                              <a:cubicBezTo>
                                <a:pt x="204" y="27"/>
                                <a:pt x="200" y="28"/>
                                <a:pt x="197" y="28"/>
                              </a:cubicBezTo>
                              <a:cubicBezTo>
                                <a:pt x="192" y="27"/>
                                <a:pt x="181" y="25"/>
                                <a:pt x="176" y="24"/>
                              </a:cubicBezTo>
                              <a:cubicBezTo>
                                <a:pt x="176" y="25"/>
                                <a:pt x="175" y="26"/>
                                <a:pt x="175" y="26"/>
                              </a:cubicBezTo>
                              <a:cubicBezTo>
                                <a:pt x="173" y="29"/>
                                <a:pt x="171" y="30"/>
                                <a:pt x="170" y="31"/>
                              </a:cubicBezTo>
                              <a:cubicBezTo>
                                <a:pt x="168" y="32"/>
                                <a:pt x="167" y="32"/>
                                <a:pt x="165" y="34"/>
                              </a:cubicBezTo>
                              <a:cubicBezTo>
                                <a:pt x="165" y="35"/>
                                <a:pt x="164" y="36"/>
                                <a:pt x="163" y="37"/>
                              </a:cubicBezTo>
                              <a:cubicBezTo>
                                <a:pt x="159" y="41"/>
                                <a:pt x="155" y="46"/>
                                <a:pt x="149" y="47"/>
                              </a:cubicBezTo>
                              <a:cubicBezTo>
                                <a:pt x="146" y="47"/>
                                <a:pt x="143" y="46"/>
                                <a:pt x="140" y="45"/>
                              </a:cubicBezTo>
                              <a:cubicBezTo>
                                <a:pt x="137" y="45"/>
                                <a:pt x="134" y="44"/>
                                <a:pt x="131" y="44"/>
                              </a:cubicBezTo>
                              <a:cubicBezTo>
                                <a:pt x="127" y="44"/>
                                <a:pt x="122" y="48"/>
                                <a:pt x="117" y="51"/>
                              </a:cubicBezTo>
                              <a:cubicBezTo>
                                <a:pt x="115" y="53"/>
                                <a:pt x="113" y="55"/>
                                <a:pt x="111" y="56"/>
                              </a:cubicBezTo>
                              <a:cubicBezTo>
                                <a:pt x="106" y="59"/>
                                <a:pt x="97" y="59"/>
                                <a:pt x="90" y="59"/>
                              </a:cubicBezTo>
                              <a:cubicBezTo>
                                <a:pt x="86" y="59"/>
                                <a:pt x="83" y="59"/>
                                <a:pt x="81" y="60"/>
                              </a:cubicBezTo>
                              <a:cubicBezTo>
                                <a:pt x="77" y="60"/>
                                <a:pt x="72" y="61"/>
                                <a:pt x="68" y="63"/>
                              </a:cubicBezTo>
                              <a:cubicBezTo>
                                <a:pt x="64" y="64"/>
                                <a:pt x="61" y="66"/>
                                <a:pt x="60" y="67"/>
                              </a:cubicBezTo>
                              <a:cubicBezTo>
                                <a:pt x="60" y="68"/>
                                <a:pt x="60" y="71"/>
                                <a:pt x="60" y="74"/>
                              </a:cubicBezTo>
                              <a:cubicBezTo>
                                <a:pt x="60" y="76"/>
                                <a:pt x="60" y="78"/>
                                <a:pt x="60" y="80"/>
                              </a:cubicBezTo>
                              <a:cubicBezTo>
                                <a:pt x="60" y="87"/>
                                <a:pt x="56" y="90"/>
                                <a:pt x="48" y="96"/>
                              </a:cubicBezTo>
                              <a:cubicBezTo>
                                <a:pt x="47" y="97"/>
                                <a:pt x="47" y="97"/>
                                <a:pt x="47" y="97"/>
                              </a:cubicBezTo>
                              <a:cubicBezTo>
                                <a:pt x="47" y="97"/>
                                <a:pt x="47" y="97"/>
                                <a:pt x="47" y="97"/>
                              </a:cubicBezTo>
                              <a:cubicBezTo>
                                <a:pt x="44" y="99"/>
                                <a:pt x="42" y="102"/>
                                <a:pt x="40" y="105"/>
                              </a:cubicBezTo>
                              <a:cubicBezTo>
                                <a:pt x="39" y="108"/>
                                <a:pt x="38" y="111"/>
                                <a:pt x="38" y="114"/>
                              </a:cubicBezTo>
                              <a:cubicBezTo>
                                <a:pt x="37" y="121"/>
                                <a:pt x="30" y="122"/>
                                <a:pt x="23" y="124"/>
                              </a:cubicBezTo>
                              <a:cubicBezTo>
                                <a:pt x="21" y="124"/>
                                <a:pt x="19" y="124"/>
                                <a:pt x="18" y="125"/>
                              </a:cubicBezTo>
                              <a:cubicBezTo>
                                <a:pt x="17" y="125"/>
                                <a:pt x="17" y="126"/>
                                <a:pt x="17" y="128"/>
                              </a:cubicBezTo>
                              <a:cubicBezTo>
                                <a:pt x="17" y="130"/>
                                <a:pt x="17" y="133"/>
                                <a:pt x="17" y="135"/>
                              </a:cubicBezTo>
                              <a:cubicBezTo>
                                <a:pt x="18" y="138"/>
                                <a:pt x="17" y="140"/>
                                <a:pt x="16" y="143"/>
                              </a:cubicBezTo>
                              <a:cubicBezTo>
                                <a:pt x="15" y="145"/>
                                <a:pt x="13" y="147"/>
                                <a:pt x="11" y="148"/>
                              </a:cubicBezTo>
                              <a:cubicBezTo>
                                <a:pt x="9" y="149"/>
                                <a:pt x="5" y="151"/>
                                <a:pt x="0" y="153"/>
                              </a:cubicBezTo>
                              <a:cubicBezTo>
                                <a:pt x="3" y="156"/>
                                <a:pt x="5" y="159"/>
                                <a:pt x="7" y="163"/>
                              </a:cubicBezTo>
                              <a:cubicBezTo>
                                <a:pt x="11" y="168"/>
                                <a:pt x="20" y="175"/>
                                <a:pt x="23" y="178"/>
                              </a:cubicBezTo>
                              <a:cubicBezTo>
                                <a:pt x="26" y="180"/>
                                <a:pt x="32" y="188"/>
                                <a:pt x="36" y="190"/>
                              </a:cubicBezTo>
                              <a:cubicBezTo>
                                <a:pt x="41" y="191"/>
                                <a:pt x="43" y="190"/>
                                <a:pt x="50" y="190"/>
                              </a:cubicBezTo>
                              <a:cubicBezTo>
                                <a:pt x="56" y="189"/>
                                <a:pt x="61" y="190"/>
                                <a:pt x="62" y="194"/>
                              </a:cubicBezTo>
                              <a:cubicBezTo>
                                <a:pt x="63" y="197"/>
                                <a:pt x="63" y="202"/>
                                <a:pt x="60" y="203"/>
                              </a:cubicBezTo>
                              <a:cubicBezTo>
                                <a:pt x="56" y="204"/>
                                <a:pt x="53" y="202"/>
                                <a:pt x="50" y="205"/>
                              </a:cubicBezTo>
                              <a:cubicBezTo>
                                <a:pt x="46" y="207"/>
                                <a:pt x="45" y="215"/>
                                <a:pt x="47" y="217"/>
                              </a:cubicBezTo>
                              <a:cubicBezTo>
                                <a:pt x="50" y="219"/>
                                <a:pt x="53" y="216"/>
                                <a:pt x="60" y="223"/>
                              </a:cubicBezTo>
                              <a:cubicBezTo>
                                <a:pt x="66" y="230"/>
                                <a:pt x="64" y="232"/>
                                <a:pt x="73" y="234"/>
                              </a:cubicBezTo>
                              <a:cubicBezTo>
                                <a:pt x="81" y="236"/>
                                <a:pt x="81" y="237"/>
                                <a:pt x="89" y="238"/>
                              </a:cubicBezTo>
                              <a:cubicBezTo>
                                <a:pt x="98" y="238"/>
                                <a:pt x="100" y="238"/>
                                <a:pt x="114" y="238"/>
                              </a:cubicBezTo>
                              <a:cubicBezTo>
                                <a:pt x="127" y="238"/>
                                <a:pt x="145" y="238"/>
                                <a:pt x="149" y="238"/>
                              </a:cubicBezTo>
                              <a:cubicBezTo>
                                <a:pt x="154" y="239"/>
                                <a:pt x="160" y="238"/>
                                <a:pt x="165" y="241"/>
                              </a:cubicBezTo>
                              <a:cubicBezTo>
                                <a:pt x="171" y="244"/>
                                <a:pt x="177" y="246"/>
                                <a:pt x="181" y="249"/>
                              </a:cubicBezTo>
                              <a:cubicBezTo>
                                <a:pt x="184" y="251"/>
                                <a:pt x="189" y="251"/>
                                <a:pt x="190" y="255"/>
                              </a:cubicBezTo>
                              <a:cubicBezTo>
                                <a:pt x="192" y="258"/>
                                <a:pt x="188" y="257"/>
                                <a:pt x="187" y="263"/>
                              </a:cubicBezTo>
                              <a:cubicBezTo>
                                <a:pt x="187" y="269"/>
                                <a:pt x="185" y="271"/>
                                <a:pt x="192" y="271"/>
                              </a:cubicBezTo>
                              <a:cubicBezTo>
                                <a:pt x="199" y="271"/>
                                <a:pt x="201" y="269"/>
                                <a:pt x="205" y="268"/>
                              </a:cubicBezTo>
                              <a:cubicBezTo>
                                <a:pt x="210" y="267"/>
                                <a:pt x="213" y="267"/>
                                <a:pt x="216" y="268"/>
                              </a:cubicBezTo>
                              <a:cubicBezTo>
                                <a:pt x="219" y="269"/>
                                <a:pt x="227" y="274"/>
                                <a:pt x="229" y="277"/>
                              </a:cubicBezTo>
                              <a:cubicBezTo>
                                <a:pt x="230" y="279"/>
                                <a:pt x="237" y="290"/>
                                <a:pt x="240" y="287"/>
                              </a:cubicBezTo>
                              <a:cubicBezTo>
                                <a:pt x="242" y="283"/>
                                <a:pt x="237" y="266"/>
                                <a:pt x="236" y="262"/>
                              </a:cubicBezTo>
                              <a:cubicBezTo>
                                <a:pt x="236" y="258"/>
                                <a:pt x="234" y="255"/>
                                <a:pt x="230" y="253"/>
                              </a:cubicBezTo>
                              <a:cubicBezTo>
                                <a:pt x="226" y="250"/>
                                <a:pt x="223" y="251"/>
                                <a:pt x="218" y="246"/>
                              </a:cubicBezTo>
                              <a:cubicBezTo>
                                <a:pt x="212" y="241"/>
                                <a:pt x="216" y="244"/>
                                <a:pt x="206" y="238"/>
                              </a:cubicBezTo>
                              <a:cubicBezTo>
                                <a:pt x="197" y="233"/>
                                <a:pt x="186" y="227"/>
                                <a:pt x="186" y="224"/>
                              </a:cubicBezTo>
                              <a:cubicBezTo>
                                <a:pt x="185" y="220"/>
                                <a:pt x="178" y="217"/>
                                <a:pt x="173" y="217"/>
                              </a:cubicBezTo>
                              <a:cubicBezTo>
                                <a:pt x="168" y="216"/>
                                <a:pt x="164" y="218"/>
                                <a:pt x="159" y="215"/>
                              </a:cubicBezTo>
                              <a:cubicBezTo>
                                <a:pt x="155" y="211"/>
                                <a:pt x="148" y="208"/>
                                <a:pt x="149" y="207"/>
                              </a:cubicBezTo>
                              <a:cubicBezTo>
                                <a:pt x="151" y="205"/>
                                <a:pt x="157" y="202"/>
                                <a:pt x="162" y="202"/>
                              </a:cubicBezTo>
                              <a:cubicBezTo>
                                <a:pt x="168" y="201"/>
                                <a:pt x="170" y="202"/>
                                <a:pt x="171" y="199"/>
                              </a:cubicBezTo>
                              <a:cubicBezTo>
                                <a:pt x="172" y="195"/>
                                <a:pt x="173" y="193"/>
                                <a:pt x="170" y="189"/>
                              </a:cubicBezTo>
                              <a:cubicBezTo>
                                <a:pt x="166" y="185"/>
                                <a:pt x="163" y="183"/>
                                <a:pt x="165" y="180"/>
                              </a:cubicBezTo>
                              <a:cubicBezTo>
                                <a:pt x="168" y="178"/>
                                <a:pt x="168" y="176"/>
                                <a:pt x="172" y="176"/>
                              </a:cubicBezTo>
                              <a:cubicBezTo>
                                <a:pt x="176" y="176"/>
                                <a:pt x="178" y="173"/>
                                <a:pt x="182" y="176"/>
                              </a:cubicBezTo>
                              <a:cubicBezTo>
                                <a:pt x="186" y="180"/>
                                <a:pt x="187" y="186"/>
                                <a:pt x="190" y="186"/>
                              </a:cubicBezTo>
                              <a:cubicBezTo>
                                <a:pt x="193" y="186"/>
                                <a:pt x="196" y="187"/>
                                <a:pt x="196" y="184"/>
                              </a:cubicBezTo>
                              <a:cubicBezTo>
                                <a:pt x="196" y="181"/>
                                <a:pt x="190" y="177"/>
                                <a:pt x="187" y="174"/>
                              </a:cubicBezTo>
                              <a:cubicBezTo>
                                <a:pt x="184" y="171"/>
                                <a:pt x="182" y="168"/>
                                <a:pt x="180" y="163"/>
                              </a:cubicBezTo>
                              <a:cubicBezTo>
                                <a:pt x="178" y="159"/>
                                <a:pt x="170" y="153"/>
                                <a:pt x="168" y="150"/>
                              </a:cubicBezTo>
                              <a:cubicBezTo>
                                <a:pt x="165" y="147"/>
                                <a:pt x="164" y="138"/>
                                <a:pt x="161" y="132"/>
                              </a:cubicBezTo>
                              <a:cubicBezTo>
                                <a:pt x="157" y="126"/>
                                <a:pt x="153" y="122"/>
                                <a:pt x="152" y="118"/>
                              </a:cubicBezTo>
                              <a:cubicBezTo>
                                <a:pt x="151" y="113"/>
                                <a:pt x="148" y="109"/>
                                <a:pt x="151" y="104"/>
                              </a:cubicBezTo>
                              <a:cubicBezTo>
                                <a:pt x="154" y="99"/>
                                <a:pt x="156" y="97"/>
                                <a:pt x="157" y="92"/>
                              </a:cubicBezTo>
                              <a:cubicBezTo>
                                <a:pt x="159" y="87"/>
                                <a:pt x="157" y="83"/>
                                <a:pt x="163" y="81"/>
                              </a:cubicBezTo>
                              <a:cubicBezTo>
                                <a:pt x="168" y="79"/>
                                <a:pt x="172" y="75"/>
                                <a:pt x="174" y="77"/>
                              </a:cubicBezTo>
                              <a:cubicBezTo>
                                <a:pt x="177" y="79"/>
                                <a:pt x="175" y="83"/>
                                <a:pt x="174" y="87"/>
                              </a:cubicBezTo>
                              <a:cubicBezTo>
                                <a:pt x="173" y="90"/>
                                <a:pt x="173" y="93"/>
                                <a:pt x="178" y="95"/>
                              </a:cubicBezTo>
                              <a:cubicBezTo>
                                <a:pt x="183" y="98"/>
                                <a:pt x="189" y="97"/>
                                <a:pt x="192" y="99"/>
                              </a:cubicBezTo>
                              <a:cubicBezTo>
                                <a:pt x="195" y="101"/>
                                <a:pt x="195" y="98"/>
                                <a:pt x="197" y="105"/>
                              </a:cubicBezTo>
                              <a:cubicBezTo>
                                <a:pt x="198" y="112"/>
                                <a:pt x="196" y="111"/>
                                <a:pt x="198" y="116"/>
                              </a:cubicBezTo>
                              <a:cubicBezTo>
                                <a:pt x="199" y="121"/>
                                <a:pt x="199" y="122"/>
                                <a:pt x="203" y="125"/>
                              </a:cubicBezTo>
                              <a:cubicBezTo>
                                <a:pt x="207" y="128"/>
                                <a:pt x="213" y="130"/>
                                <a:pt x="216" y="130"/>
                              </a:cubicBezTo>
                              <a:cubicBezTo>
                                <a:pt x="220" y="130"/>
                                <a:pt x="225" y="134"/>
                                <a:pt x="223" y="130"/>
                              </a:cubicBezTo>
                              <a:cubicBezTo>
                                <a:pt x="220" y="126"/>
                                <a:pt x="219" y="124"/>
                                <a:pt x="215" y="121"/>
                              </a:cubicBezTo>
                              <a:cubicBezTo>
                                <a:pt x="210" y="119"/>
                                <a:pt x="208" y="116"/>
                                <a:pt x="208" y="112"/>
                              </a:cubicBezTo>
                              <a:cubicBezTo>
                                <a:pt x="208" y="109"/>
                                <a:pt x="208" y="108"/>
                                <a:pt x="211" y="108"/>
                              </a:cubicBezTo>
                              <a:cubicBezTo>
                                <a:pt x="214" y="108"/>
                                <a:pt x="217" y="107"/>
                                <a:pt x="219" y="109"/>
                              </a:cubicBezTo>
                              <a:cubicBezTo>
                                <a:pt x="221" y="111"/>
                                <a:pt x="222" y="114"/>
                                <a:pt x="225" y="117"/>
                              </a:cubicBezTo>
                              <a:cubicBezTo>
                                <a:pt x="229" y="120"/>
                                <a:pt x="234" y="123"/>
                                <a:pt x="235" y="124"/>
                              </a:cubicBezTo>
                              <a:cubicBezTo>
                                <a:pt x="237" y="124"/>
                                <a:pt x="239" y="126"/>
                                <a:pt x="238" y="123"/>
                              </a:cubicBezTo>
                              <a:cubicBezTo>
                                <a:pt x="237" y="120"/>
                                <a:pt x="232" y="116"/>
                                <a:pt x="229" y="114"/>
                              </a:cubicBezTo>
                              <a:cubicBezTo>
                                <a:pt x="227" y="112"/>
                                <a:pt x="225" y="109"/>
                                <a:pt x="225" y="107"/>
                              </a:cubicBezTo>
                              <a:cubicBezTo>
                                <a:pt x="225" y="104"/>
                                <a:pt x="225" y="102"/>
                                <a:pt x="228" y="102"/>
                              </a:cubicBezTo>
                              <a:cubicBezTo>
                                <a:pt x="230" y="101"/>
                                <a:pt x="231" y="100"/>
                                <a:pt x="235" y="101"/>
                              </a:cubicBezTo>
                              <a:cubicBezTo>
                                <a:pt x="238" y="103"/>
                                <a:pt x="247" y="107"/>
                                <a:pt x="250" y="109"/>
                              </a:cubicBezTo>
                              <a:cubicBezTo>
                                <a:pt x="253" y="110"/>
                                <a:pt x="262" y="112"/>
                                <a:pt x="262" y="112"/>
                              </a:cubicBezTo>
                              <a:cubicBezTo>
                                <a:pt x="262" y="112"/>
                                <a:pt x="266" y="111"/>
                                <a:pt x="263" y="109"/>
                              </a:cubicBezTo>
                              <a:cubicBezTo>
                                <a:pt x="261" y="107"/>
                                <a:pt x="255" y="107"/>
                                <a:pt x="251" y="104"/>
                              </a:cubicBezTo>
                              <a:cubicBezTo>
                                <a:pt x="247" y="101"/>
                                <a:pt x="239" y="94"/>
                                <a:pt x="236" y="93"/>
                              </a:cubicBezTo>
                              <a:cubicBezTo>
                                <a:pt x="234" y="91"/>
                                <a:pt x="234" y="88"/>
                                <a:pt x="233" y="85"/>
                              </a:cubicBezTo>
                              <a:cubicBezTo>
                                <a:pt x="232" y="82"/>
                                <a:pt x="230" y="82"/>
                                <a:pt x="228" y="78"/>
                              </a:cubicBezTo>
                              <a:cubicBezTo>
                                <a:pt x="227" y="73"/>
                                <a:pt x="224" y="73"/>
                                <a:pt x="228" y="70"/>
                              </a:cubicBezTo>
                              <a:cubicBezTo>
                                <a:pt x="232" y="67"/>
                                <a:pt x="234" y="67"/>
                                <a:pt x="240" y="65"/>
                              </a:cubicBezTo>
                              <a:cubicBezTo>
                                <a:pt x="245" y="63"/>
                                <a:pt x="248" y="63"/>
                                <a:pt x="252" y="60"/>
                              </a:cubicBezTo>
                              <a:cubicBezTo>
                                <a:pt x="257" y="57"/>
                                <a:pt x="258" y="55"/>
                                <a:pt x="265" y="54"/>
                              </a:cubicBezTo>
                              <a:cubicBezTo>
                                <a:pt x="272" y="54"/>
                                <a:pt x="276" y="53"/>
                                <a:pt x="282" y="55"/>
                              </a:cubicBezTo>
                              <a:cubicBezTo>
                                <a:pt x="288" y="58"/>
                                <a:pt x="292" y="58"/>
                                <a:pt x="297" y="57"/>
                              </a:cubicBezTo>
                              <a:cubicBezTo>
                                <a:pt x="302" y="55"/>
                                <a:pt x="303" y="52"/>
                                <a:pt x="310" y="51"/>
                              </a:cubicBezTo>
                              <a:cubicBezTo>
                                <a:pt x="316" y="51"/>
                                <a:pt x="322" y="51"/>
                                <a:pt x="329" y="54"/>
                              </a:cubicBezTo>
                              <a:cubicBezTo>
                                <a:pt x="335" y="57"/>
                                <a:pt x="341" y="61"/>
                                <a:pt x="347" y="62"/>
                              </a:cubicBezTo>
                              <a:cubicBezTo>
                                <a:pt x="353" y="63"/>
                                <a:pt x="357" y="63"/>
                                <a:pt x="362" y="69"/>
                              </a:cubicBezTo>
                              <a:cubicBezTo>
                                <a:pt x="364" y="70"/>
                                <a:pt x="365" y="71"/>
                                <a:pt x="365" y="72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grpSp>
                      <p:nvGrpSpPr>
                        <p:cNvPr id="463" name="Gruppieren 462"/>
                        <p:cNvGrpSpPr/>
                        <p:nvPr/>
                      </p:nvGrpSpPr>
                      <p:grpSpPr>
                        <a:xfrm>
                          <a:off x="3927985" y="2709360"/>
                          <a:ext cx="3830240" cy="2021681"/>
                          <a:chOff x="3927985" y="2709360"/>
                          <a:chExt cx="3830240" cy="2021681"/>
                        </a:xfrm>
                        <a:grpFill/>
                      </p:grpSpPr>
                      <p:sp>
                        <p:nvSpPr>
                          <p:cNvPr id="464" name="Freeform 211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468528" y="3563038"/>
                            <a:ext cx="158353" cy="176212"/>
                          </a:xfrm>
                          <a:custGeom>
                            <a:avLst/>
                            <a:gdLst>
                              <a:gd name="T0" fmla="*/ 106 w 553"/>
                              <a:gd name="T1" fmla="*/ 593 h 614"/>
                              <a:gd name="T2" fmla="*/ 110 w 553"/>
                              <a:gd name="T3" fmla="*/ 595 h 614"/>
                              <a:gd name="T4" fmla="*/ 164 w 553"/>
                              <a:gd name="T5" fmla="*/ 579 h 614"/>
                              <a:gd name="T6" fmla="*/ 205 w 553"/>
                              <a:gd name="T7" fmla="*/ 590 h 614"/>
                              <a:gd name="T8" fmla="*/ 252 w 553"/>
                              <a:gd name="T9" fmla="*/ 600 h 614"/>
                              <a:gd name="T10" fmla="*/ 285 w 553"/>
                              <a:gd name="T11" fmla="*/ 593 h 614"/>
                              <a:gd name="T12" fmla="*/ 319 w 553"/>
                              <a:gd name="T13" fmla="*/ 605 h 614"/>
                              <a:gd name="T14" fmla="*/ 356 w 553"/>
                              <a:gd name="T15" fmla="*/ 594 h 614"/>
                              <a:gd name="T16" fmla="*/ 425 w 553"/>
                              <a:gd name="T17" fmla="*/ 592 h 614"/>
                              <a:gd name="T18" fmla="*/ 424 w 553"/>
                              <a:gd name="T19" fmla="*/ 579 h 614"/>
                              <a:gd name="T20" fmla="*/ 452 w 553"/>
                              <a:gd name="T21" fmla="*/ 533 h 614"/>
                              <a:gd name="T22" fmla="*/ 480 w 553"/>
                              <a:gd name="T23" fmla="*/ 514 h 614"/>
                              <a:gd name="T24" fmla="*/ 454 w 553"/>
                              <a:gd name="T25" fmla="*/ 482 h 614"/>
                              <a:gd name="T26" fmla="*/ 399 w 553"/>
                              <a:gd name="T27" fmla="*/ 434 h 614"/>
                              <a:gd name="T28" fmla="*/ 384 w 553"/>
                              <a:gd name="T29" fmla="*/ 390 h 614"/>
                              <a:gd name="T30" fmla="*/ 407 w 553"/>
                              <a:gd name="T31" fmla="*/ 368 h 614"/>
                              <a:gd name="T32" fmla="*/ 471 w 553"/>
                              <a:gd name="T33" fmla="*/ 344 h 614"/>
                              <a:gd name="T34" fmla="*/ 508 w 553"/>
                              <a:gd name="T35" fmla="*/ 331 h 614"/>
                              <a:gd name="T36" fmla="*/ 538 w 553"/>
                              <a:gd name="T37" fmla="*/ 321 h 614"/>
                              <a:gd name="T38" fmla="*/ 543 w 553"/>
                              <a:gd name="T39" fmla="*/ 285 h 614"/>
                              <a:gd name="T40" fmla="*/ 536 w 553"/>
                              <a:gd name="T41" fmla="*/ 234 h 614"/>
                              <a:gd name="T42" fmla="*/ 528 w 553"/>
                              <a:gd name="T43" fmla="*/ 192 h 614"/>
                              <a:gd name="T44" fmla="*/ 515 w 553"/>
                              <a:gd name="T45" fmla="*/ 148 h 614"/>
                              <a:gd name="T46" fmla="*/ 503 w 553"/>
                              <a:gd name="T47" fmla="*/ 97 h 614"/>
                              <a:gd name="T48" fmla="*/ 487 w 553"/>
                              <a:gd name="T49" fmla="*/ 68 h 614"/>
                              <a:gd name="T50" fmla="*/ 422 w 553"/>
                              <a:gd name="T51" fmla="*/ 42 h 614"/>
                              <a:gd name="T52" fmla="*/ 339 w 553"/>
                              <a:gd name="T53" fmla="*/ 72 h 614"/>
                              <a:gd name="T54" fmla="*/ 314 w 553"/>
                              <a:gd name="T55" fmla="*/ 45 h 614"/>
                              <a:gd name="T56" fmla="*/ 261 w 553"/>
                              <a:gd name="T57" fmla="*/ 44 h 614"/>
                              <a:gd name="T58" fmla="*/ 250 w 553"/>
                              <a:gd name="T59" fmla="*/ 21 h 614"/>
                              <a:gd name="T60" fmla="*/ 208 w 553"/>
                              <a:gd name="T61" fmla="*/ 6 h 614"/>
                              <a:gd name="T62" fmla="*/ 174 w 553"/>
                              <a:gd name="T63" fmla="*/ 10 h 614"/>
                              <a:gd name="T64" fmla="*/ 168 w 553"/>
                              <a:gd name="T65" fmla="*/ 42 h 614"/>
                              <a:gd name="T66" fmla="*/ 180 w 553"/>
                              <a:gd name="T67" fmla="*/ 58 h 614"/>
                              <a:gd name="T68" fmla="*/ 212 w 553"/>
                              <a:gd name="T69" fmla="*/ 87 h 614"/>
                              <a:gd name="T70" fmla="*/ 205 w 553"/>
                              <a:gd name="T71" fmla="*/ 92 h 614"/>
                              <a:gd name="T72" fmla="*/ 160 w 553"/>
                              <a:gd name="T73" fmla="*/ 102 h 614"/>
                              <a:gd name="T74" fmla="*/ 154 w 553"/>
                              <a:gd name="T75" fmla="*/ 121 h 614"/>
                              <a:gd name="T76" fmla="*/ 135 w 553"/>
                              <a:gd name="T77" fmla="*/ 122 h 614"/>
                              <a:gd name="T78" fmla="*/ 108 w 553"/>
                              <a:gd name="T79" fmla="*/ 100 h 614"/>
                              <a:gd name="T80" fmla="*/ 73 w 553"/>
                              <a:gd name="T81" fmla="*/ 111 h 614"/>
                              <a:gd name="T82" fmla="*/ 80 w 553"/>
                              <a:gd name="T83" fmla="*/ 136 h 614"/>
                              <a:gd name="T84" fmla="*/ 71 w 553"/>
                              <a:gd name="T85" fmla="*/ 175 h 614"/>
                              <a:gd name="T86" fmla="*/ 62 w 553"/>
                              <a:gd name="T87" fmla="*/ 204 h 614"/>
                              <a:gd name="T88" fmla="*/ 51 w 553"/>
                              <a:gd name="T89" fmla="*/ 239 h 614"/>
                              <a:gd name="T90" fmla="*/ 13 w 553"/>
                              <a:gd name="T91" fmla="*/ 255 h 614"/>
                              <a:gd name="T92" fmla="*/ 10 w 553"/>
                              <a:gd name="T93" fmla="*/ 267 h 614"/>
                              <a:gd name="T94" fmla="*/ 4 w 553"/>
                              <a:gd name="T95" fmla="*/ 320 h 614"/>
                              <a:gd name="T96" fmla="*/ 25 w 553"/>
                              <a:gd name="T97" fmla="*/ 368 h 614"/>
                              <a:gd name="T98" fmla="*/ 17 w 553"/>
                              <a:gd name="T99" fmla="*/ 404 h 614"/>
                              <a:gd name="T100" fmla="*/ 52 w 553"/>
                              <a:gd name="T101" fmla="*/ 465 h 614"/>
                              <a:gd name="T102" fmla="*/ 104 w 553"/>
                              <a:gd name="T103" fmla="*/ 477 h 614"/>
                              <a:gd name="T104" fmla="*/ 132 w 553"/>
                              <a:gd name="T105" fmla="*/ 507 h 614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</a:cxnLst>
                            <a:rect l="0" t="0" r="r" b="b"/>
                            <a:pathLst>
                              <a:path w="553" h="614">
                                <a:moveTo>
                                  <a:pt x="115" y="528"/>
                                </a:moveTo>
                                <a:cubicBezTo>
                                  <a:pt x="105" y="538"/>
                                  <a:pt x="105" y="542"/>
                                  <a:pt x="105" y="548"/>
                                </a:cubicBezTo>
                                <a:cubicBezTo>
                                  <a:pt x="105" y="552"/>
                                  <a:pt x="105" y="557"/>
                                  <a:pt x="104" y="563"/>
                                </a:cubicBezTo>
                                <a:cubicBezTo>
                                  <a:pt x="100" y="576"/>
                                  <a:pt x="103" y="584"/>
                                  <a:pt x="106" y="593"/>
                                </a:cubicBezTo>
                                <a:cubicBezTo>
                                  <a:pt x="106" y="593"/>
                                  <a:pt x="106" y="593"/>
                                  <a:pt x="106" y="593"/>
                                </a:cubicBezTo>
                                <a:cubicBezTo>
                                  <a:pt x="107" y="595"/>
                                  <a:pt x="107" y="595"/>
                                  <a:pt x="107" y="595"/>
                                </a:cubicBezTo>
                                <a:cubicBezTo>
                                  <a:pt x="108" y="595"/>
                                  <a:pt x="109" y="595"/>
                                  <a:pt x="110" y="595"/>
                                </a:cubicBezTo>
                                <a:cubicBezTo>
                                  <a:pt x="110" y="595"/>
                                  <a:pt x="110" y="595"/>
                                  <a:pt x="110" y="595"/>
                                </a:cubicBezTo>
                                <a:cubicBezTo>
                                  <a:pt x="112" y="595"/>
                                  <a:pt x="112" y="595"/>
                                  <a:pt x="112" y="595"/>
                                </a:cubicBezTo>
                                <a:cubicBezTo>
                                  <a:pt x="121" y="595"/>
                                  <a:pt x="132" y="595"/>
                                  <a:pt x="141" y="590"/>
                                </a:cubicBezTo>
                                <a:cubicBezTo>
                                  <a:pt x="145" y="588"/>
                                  <a:pt x="148" y="586"/>
                                  <a:pt x="150" y="585"/>
                                </a:cubicBezTo>
                                <a:cubicBezTo>
                                  <a:pt x="155" y="581"/>
                                  <a:pt x="158" y="579"/>
                                  <a:pt x="164" y="579"/>
                                </a:cubicBezTo>
                                <a:cubicBezTo>
                                  <a:pt x="171" y="578"/>
                                  <a:pt x="174" y="581"/>
                                  <a:pt x="178" y="584"/>
                                </a:cubicBezTo>
                                <a:cubicBezTo>
                                  <a:pt x="180" y="585"/>
                                  <a:pt x="182" y="587"/>
                                  <a:pt x="185" y="588"/>
                                </a:cubicBezTo>
                                <a:cubicBezTo>
                                  <a:pt x="190" y="589"/>
                                  <a:pt x="192" y="589"/>
                                  <a:pt x="195" y="589"/>
                                </a:cubicBezTo>
                                <a:cubicBezTo>
                                  <a:pt x="198" y="589"/>
                                  <a:pt x="201" y="589"/>
                                  <a:pt x="205" y="590"/>
                                </a:cubicBezTo>
                                <a:cubicBezTo>
                                  <a:pt x="210" y="591"/>
                                  <a:pt x="214" y="593"/>
                                  <a:pt x="218" y="594"/>
                                </a:cubicBezTo>
                                <a:cubicBezTo>
                                  <a:pt x="222" y="596"/>
                                  <a:pt x="225" y="597"/>
                                  <a:pt x="227" y="597"/>
                                </a:cubicBezTo>
                                <a:cubicBezTo>
                                  <a:pt x="230" y="597"/>
                                  <a:pt x="234" y="597"/>
                                  <a:pt x="239" y="598"/>
                                </a:cubicBezTo>
                                <a:cubicBezTo>
                                  <a:pt x="243" y="598"/>
                                  <a:pt x="248" y="599"/>
                                  <a:pt x="252" y="600"/>
                                </a:cubicBezTo>
                                <a:cubicBezTo>
                                  <a:pt x="257" y="601"/>
                                  <a:pt x="260" y="606"/>
                                  <a:pt x="263" y="609"/>
                                </a:cubicBezTo>
                                <a:cubicBezTo>
                                  <a:pt x="265" y="612"/>
                                  <a:pt x="266" y="614"/>
                                  <a:pt x="266" y="613"/>
                                </a:cubicBezTo>
                                <a:cubicBezTo>
                                  <a:pt x="268" y="613"/>
                                  <a:pt x="271" y="609"/>
                                  <a:pt x="273" y="606"/>
                                </a:cubicBezTo>
                                <a:cubicBezTo>
                                  <a:pt x="277" y="601"/>
                                  <a:pt x="280" y="597"/>
                                  <a:pt x="285" y="593"/>
                                </a:cubicBezTo>
                                <a:cubicBezTo>
                                  <a:pt x="295" y="587"/>
                                  <a:pt x="303" y="594"/>
                                  <a:pt x="310" y="600"/>
                                </a:cubicBezTo>
                                <a:cubicBezTo>
                                  <a:pt x="310" y="600"/>
                                  <a:pt x="310" y="600"/>
                                  <a:pt x="310" y="600"/>
                                </a:cubicBezTo>
                                <a:cubicBezTo>
                                  <a:pt x="310" y="601"/>
                                  <a:pt x="311" y="601"/>
                                  <a:pt x="312" y="602"/>
                                </a:cubicBezTo>
                                <a:cubicBezTo>
                                  <a:pt x="314" y="604"/>
                                  <a:pt x="317" y="605"/>
                                  <a:pt x="319" y="605"/>
                                </a:cubicBezTo>
                                <a:cubicBezTo>
                                  <a:pt x="322" y="606"/>
                                  <a:pt x="325" y="605"/>
                                  <a:pt x="329" y="602"/>
                                </a:cubicBezTo>
                                <a:cubicBezTo>
                                  <a:pt x="334" y="600"/>
                                  <a:pt x="338" y="597"/>
                                  <a:pt x="342" y="596"/>
                                </a:cubicBezTo>
                                <a:cubicBezTo>
                                  <a:pt x="346" y="595"/>
                                  <a:pt x="350" y="594"/>
                                  <a:pt x="355" y="594"/>
                                </a:cubicBezTo>
                                <a:cubicBezTo>
                                  <a:pt x="356" y="594"/>
                                  <a:pt x="356" y="594"/>
                                  <a:pt x="356" y="594"/>
                                </a:cubicBezTo>
                                <a:cubicBezTo>
                                  <a:pt x="364" y="593"/>
                                  <a:pt x="375" y="593"/>
                                  <a:pt x="388" y="587"/>
                                </a:cubicBezTo>
                                <a:cubicBezTo>
                                  <a:pt x="399" y="582"/>
                                  <a:pt x="402" y="584"/>
                                  <a:pt x="407" y="587"/>
                                </a:cubicBezTo>
                                <a:cubicBezTo>
                                  <a:pt x="409" y="589"/>
                                  <a:pt x="411" y="590"/>
                                  <a:pt x="416" y="591"/>
                                </a:cubicBezTo>
                                <a:cubicBezTo>
                                  <a:pt x="420" y="592"/>
                                  <a:pt x="423" y="593"/>
                                  <a:pt x="425" y="592"/>
                                </a:cubicBezTo>
                                <a:cubicBezTo>
                                  <a:pt x="426" y="592"/>
                                  <a:pt x="427" y="592"/>
                                  <a:pt x="428" y="592"/>
                                </a:cubicBezTo>
                                <a:cubicBezTo>
                                  <a:pt x="428" y="591"/>
                                  <a:pt x="428" y="591"/>
                                  <a:pt x="428" y="591"/>
                                </a:cubicBezTo>
                                <a:cubicBezTo>
                                  <a:pt x="428" y="590"/>
                                  <a:pt x="428" y="589"/>
                                  <a:pt x="428" y="587"/>
                                </a:cubicBezTo>
                                <a:cubicBezTo>
                                  <a:pt x="427" y="585"/>
                                  <a:pt x="425" y="582"/>
                                  <a:pt x="424" y="579"/>
                                </a:cubicBezTo>
                                <a:cubicBezTo>
                                  <a:pt x="421" y="572"/>
                                  <a:pt x="417" y="563"/>
                                  <a:pt x="418" y="557"/>
                                </a:cubicBezTo>
                                <a:cubicBezTo>
                                  <a:pt x="419" y="549"/>
                                  <a:pt x="427" y="547"/>
                                  <a:pt x="435" y="545"/>
                                </a:cubicBezTo>
                                <a:cubicBezTo>
                                  <a:pt x="438" y="544"/>
                                  <a:pt x="442" y="543"/>
                                  <a:pt x="445" y="542"/>
                                </a:cubicBezTo>
                                <a:cubicBezTo>
                                  <a:pt x="450" y="540"/>
                                  <a:pt x="451" y="536"/>
                                  <a:pt x="452" y="533"/>
                                </a:cubicBezTo>
                                <a:cubicBezTo>
                                  <a:pt x="453" y="530"/>
                                  <a:pt x="454" y="527"/>
                                  <a:pt x="457" y="524"/>
                                </a:cubicBezTo>
                                <a:cubicBezTo>
                                  <a:pt x="460" y="520"/>
                                  <a:pt x="466" y="520"/>
                                  <a:pt x="472" y="520"/>
                                </a:cubicBezTo>
                                <a:cubicBezTo>
                                  <a:pt x="474" y="520"/>
                                  <a:pt x="477" y="520"/>
                                  <a:pt x="477" y="519"/>
                                </a:cubicBezTo>
                                <a:cubicBezTo>
                                  <a:pt x="478" y="519"/>
                                  <a:pt x="479" y="516"/>
                                  <a:pt x="480" y="514"/>
                                </a:cubicBezTo>
                                <a:cubicBezTo>
                                  <a:pt x="481" y="511"/>
                                  <a:pt x="482" y="509"/>
                                  <a:pt x="483" y="506"/>
                                </a:cubicBezTo>
                                <a:cubicBezTo>
                                  <a:pt x="482" y="505"/>
                                  <a:pt x="482" y="505"/>
                                  <a:pt x="481" y="504"/>
                                </a:cubicBezTo>
                                <a:cubicBezTo>
                                  <a:pt x="480" y="503"/>
                                  <a:pt x="479" y="502"/>
                                  <a:pt x="478" y="501"/>
                                </a:cubicBezTo>
                                <a:cubicBezTo>
                                  <a:pt x="474" y="497"/>
                                  <a:pt x="464" y="490"/>
                                  <a:pt x="454" y="482"/>
                                </a:cubicBezTo>
                                <a:cubicBezTo>
                                  <a:pt x="454" y="482"/>
                                  <a:pt x="454" y="482"/>
                                  <a:pt x="454" y="482"/>
                                </a:cubicBezTo>
                                <a:cubicBezTo>
                                  <a:pt x="451" y="480"/>
                                  <a:pt x="447" y="477"/>
                                  <a:pt x="443" y="475"/>
                                </a:cubicBezTo>
                                <a:cubicBezTo>
                                  <a:pt x="435" y="469"/>
                                  <a:pt x="424" y="462"/>
                                  <a:pt x="414" y="452"/>
                                </a:cubicBezTo>
                                <a:cubicBezTo>
                                  <a:pt x="405" y="445"/>
                                  <a:pt x="401" y="439"/>
                                  <a:pt x="399" y="434"/>
                                </a:cubicBezTo>
                                <a:cubicBezTo>
                                  <a:pt x="396" y="429"/>
                                  <a:pt x="396" y="424"/>
                                  <a:pt x="397" y="419"/>
                                </a:cubicBezTo>
                                <a:cubicBezTo>
                                  <a:pt x="397" y="415"/>
                                  <a:pt x="397" y="412"/>
                                  <a:pt x="397" y="410"/>
                                </a:cubicBezTo>
                                <a:cubicBezTo>
                                  <a:pt x="396" y="408"/>
                                  <a:pt x="395" y="406"/>
                                  <a:pt x="392" y="404"/>
                                </a:cubicBezTo>
                                <a:cubicBezTo>
                                  <a:pt x="384" y="397"/>
                                  <a:pt x="384" y="396"/>
                                  <a:pt x="384" y="390"/>
                                </a:cubicBezTo>
                                <a:cubicBezTo>
                                  <a:pt x="384" y="390"/>
                                  <a:pt x="384" y="389"/>
                                  <a:pt x="384" y="388"/>
                                </a:cubicBezTo>
                                <a:cubicBezTo>
                                  <a:pt x="384" y="383"/>
                                  <a:pt x="386" y="382"/>
                                  <a:pt x="389" y="381"/>
                                </a:cubicBezTo>
                                <a:cubicBezTo>
                                  <a:pt x="390" y="380"/>
                                  <a:pt x="391" y="380"/>
                                  <a:pt x="392" y="378"/>
                                </a:cubicBezTo>
                                <a:cubicBezTo>
                                  <a:pt x="395" y="374"/>
                                  <a:pt x="400" y="370"/>
                                  <a:pt x="407" y="368"/>
                                </a:cubicBezTo>
                                <a:cubicBezTo>
                                  <a:pt x="413" y="366"/>
                                  <a:pt x="420" y="364"/>
                                  <a:pt x="428" y="364"/>
                                </a:cubicBezTo>
                                <a:cubicBezTo>
                                  <a:pt x="439" y="364"/>
                                  <a:pt x="443" y="362"/>
                                  <a:pt x="448" y="358"/>
                                </a:cubicBezTo>
                                <a:cubicBezTo>
                                  <a:pt x="450" y="356"/>
                                  <a:pt x="452" y="355"/>
                                  <a:pt x="455" y="353"/>
                                </a:cubicBezTo>
                                <a:cubicBezTo>
                                  <a:pt x="460" y="349"/>
                                  <a:pt x="465" y="346"/>
                                  <a:pt x="471" y="344"/>
                                </a:cubicBezTo>
                                <a:cubicBezTo>
                                  <a:pt x="476" y="341"/>
                                  <a:pt x="483" y="339"/>
                                  <a:pt x="492" y="336"/>
                                </a:cubicBezTo>
                                <a:cubicBezTo>
                                  <a:pt x="493" y="336"/>
                                  <a:pt x="496" y="336"/>
                                  <a:pt x="498" y="335"/>
                                </a:cubicBezTo>
                                <a:cubicBezTo>
                                  <a:pt x="502" y="334"/>
                                  <a:pt x="504" y="334"/>
                                  <a:pt x="505" y="333"/>
                                </a:cubicBezTo>
                                <a:cubicBezTo>
                                  <a:pt x="506" y="333"/>
                                  <a:pt x="507" y="332"/>
                                  <a:pt x="508" y="331"/>
                                </a:cubicBezTo>
                                <a:cubicBezTo>
                                  <a:pt x="509" y="331"/>
                                  <a:pt x="510" y="330"/>
                                  <a:pt x="512" y="329"/>
                                </a:cubicBezTo>
                                <a:cubicBezTo>
                                  <a:pt x="515" y="327"/>
                                  <a:pt x="516" y="325"/>
                                  <a:pt x="517" y="323"/>
                                </a:cubicBezTo>
                                <a:cubicBezTo>
                                  <a:pt x="520" y="318"/>
                                  <a:pt x="521" y="314"/>
                                  <a:pt x="530" y="317"/>
                                </a:cubicBezTo>
                                <a:cubicBezTo>
                                  <a:pt x="533" y="319"/>
                                  <a:pt x="536" y="320"/>
                                  <a:pt x="538" y="321"/>
                                </a:cubicBezTo>
                                <a:cubicBezTo>
                                  <a:pt x="542" y="322"/>
                                  <a:pt x="544" y="324"/>
                                  <a:pt x="547" y="324"/>
                                </a:cubicBezTo>
                                <a:cubicBezTo>
                                  <a:pt x="549" y="319"/>
                                  <a:pt x="553" y="306"/>
                                  <a:pt x="553" y="302"/>
                                </a:cubicBezTo>
                                <a:cubicBezTo>
                                  <a:pt x="553" y="300"/>
                                  <a:pt x="553" y="298"/>
                                  <a:pt x="551" y="295"/>
                                </a:cubicBezTo>
                                <a:cubicBezTo>
                                  <a:pt x="550" y="292"/>
                                  <a:pt x="548" y="289"/>
                                  <a:pt x="543" y="285"/>
                                </a:cubicBezTo>
                                <a:cubicBezTo>
                                  <a:pt x="536" y="278"/>
                                  <a:pt x="536" y="274"/>
                                  <a:pt x="535" y="268"/>
                                </a:cubicBezTo>
                                <a:cubicBezTo>
                                  <a:pt x="535" y="266"/>
                                  <a:pt x="534" y="263"/>
                                  <a:pt x="533" y="259"/>
                                </a:cubicBezTo>
                                <a:cubicBezTo>
                                  <a:pt x="531" y="251"/>
                                  <a:pt x="532" y="248"/>
                                  <a:pt x="534" y="245"/>
                                </a:cubicBezTo>
                                <a:cubicBezTo>
                                  <a:pt x="535" y="242"/>
                                  <a:pt x="536" y="239"/>
                                  <a:pt x="536" y="234"/>
                                </a:cubicBezTo>
                                <a:cubicBezTo>
                                  <a:pt x="537" y="226"/>
                                  <a:pt x="534" y="224"/>
                                  <a:pt x="532" y="221"/>
                                </a:cubicBezTo>
                                <a:cubicBezTo>
                                  <a:pt x="530" y="218"/>
                                  <a:pt x="528" y="216"/>
                                  <a:pt x="527" y="211"/>
                                </a:cubicBezTo>
                                <a:cubicBezTo>
                                  <a:pt x="526" y="205"/>
                                  <a:pt x="528" y="202"/>
                                  <a:pt x="529" y="199"/>
                                </a:cubicBezTo>
                                <a:cubicBezTo>
                                  <a:pt x="529" y="197"/>
                                  <a:pt x="530" y="195"/>
                                  <a:pt x="528" y="192"/>
                                </a:cubicBezTo>
                                <a:cubicBezTo>
                                  <a:pt x="526" y="189"/>
                                  <a:pt x="522" y="186"/>
                                  <a:pt x="518" y="182"/>
                                </a:cubicBezTo>
                                <a:cubicBezTo>
                                  <a:pt x="513" y="178"/>
                                  <a:pt x="508" y="174"/>
                                  <a:pt x="505" y="169"/>
                                </a:cubicBezTo>
                                <a:cubicBezTo>
                                  <a:pt x="500" y="161"/>
                                  <a:pt x="504" y="158"/>
                                  <a:pt x="510" y="152"/>
                                </a:cubicBezTo>
                                <a:cubicBezTo>
                                  <a:pt x="512" y="151"/>
                                  <a:pt x="513" y="150"/>
                                  <a:pt x="515" y="148"/>
                                </a:cubicBezTo>
                                <a:cubicBezTo>
                                  <a:pt x="518" y="145"/>
                                  <a:pt x="518" y="141"/>
                                  <a:pt x="518" y="136"/>
                                </a:cubicBezTo>
                                <a:cubicBezTo>
                                  <a:pt x="518" y="131"/>
                                  <a:pt x="516" y="124"/>
                                  <a:pt x="515" y="119"/>
                                </a:cubicBezTo>
                                <a:cubicBezTo>
                                  <a:pt x="513" y="113"/>
                                  <a:pt x="512" y="106"/>
                                  <a:pt x="511" y="101"/>
                                </a:cubicBezTo>
                                <a:cubicBezTo>
                                  <a:pt x="508" y="100"/>
                                  <a:pt x="505" y="99"/>
                                  <a:pt x="503" y="97"/>
                                </a:cubicBezTo>
                                <a:cubicBezTo>
                                  <a:pt x="500" y="94"/>
                                  <a:pt x="487" y="94"/>
                                  <a:pt x="491" y="88"/>
                                </a:cubicBezTo>
                                <a:cubicBezTo>
                                  <a:pt x="495" y="82"/>
                                  <a:pt x="499" y="85"/>
                                  <a:pt x="502" y="83"/>
                                </a:cubicBezTo>
                                <a:cubicBezTo>
                                  <a:pt x="505" y="81"/>
                                  <a:pt x="508" y="81"/>
                                  <a:pt x="502" y="77"/>
                                </a:cubicBezTo>
                                <a:cubicBezTo>
                                  <a:pt x="496" y="73"/>
                                  <a:pt x="491" y="71"/>
                                  <a:pt x="487" y="68"/>
                                </a:cubicBezTo>
                                <a:cubicBezTo>
                                  <a:pt x="484" y="65"/>
                                  <a:pt x="479" y="63"/>
                                  <a:pt x="470" y="63"/>
                                </a:cubicBezTo>
                                <a:cubicBezTo>
                                  <a:pt x="461" y="63"/>
                                  <a:pt x="459" y="66"/>
                                  <a:pt x="450" y="57"/>
                                </a:cubicBezTo>
                                <a:cubicBezTo>
                                  <a:pt x="441" y="48"/>
                                  <a:pt x="442" y="40"/>
                                  <a:pt x="437" y="40"/>
                                </a:cubicBezTo>
                                <a:cubicBezTo>
                                  <a:pt x="432" y="39"/>
                                  <a:pt x="431" y="39"/>
                                  <a:pt x="422" y="42"/>
                                </a:cubicBezTo>
                                <a:cubicBezTo>
                                  <a:pt x="414" y="46"/>
                                  <a:pt x="405" y="45"/>
                                  <a:pt x="395" y="46"/>
                                </a:cubicBezTo>
                                <a:cubicBezTo>
                                  <a:pt x="386" y="47"/>
                                  <a:pt x="382" y="59"/>
                                  <a:pt x="380" y="62"/>
                                </a:cubicBezTo>
                                <a:cubicBezTo>
                                  <a:pt x="379" y="65"/>
                                  <a:pt x="368" y="64"/>
                                  <a:pt x="365" y="64"/>
                                </a:cubicBezTo>
                                <a:cubicBezTo>
                                  <a:pt x="361" y="64"/>
                                  <a:pt x="346" y="68"/>
                                  <a:pt x="339" y="72"/>
                                </a:cubicBezTo>
                                <a:cubicBezTo>
                                  <a:pt x="332" y="77"/>
                                  <a:pt x="329" y="78"/>
                                  <a:pt x="319" y="78"/>
                                </a:cubicBezTo>
                                <a:cubicBezTo>
                                  <a:pt x="309" y="78"/>
                                  <a:pt x="303" y="81"/>
                                  <a:pt x="302" y="75"/>
                                </a:cubicBezTo>
                                <a:cubicBezTo>
                                  <a:pt x="301" y="69"/>
                                  <a:pt x="303" y="64"/>
                                  <a:pt x="307" y="59"/>
                                </a:cubicBezTo>
                                <a:cubicBezTo>
                                  <a:pt x="311" y="54"/>
                                  <a:pt x="317" y="48"/>
                                  <a:pt x="314" y="45"/>
                                </a:cubicBezTo>
                                <a:cubicBezTo>
                                  <a:pt x="312" y="43"/>
                                  <a:pt x="306" y="44"/>
                                  <a:pt x="300" y="47"/>
                                </a:cubicBezTo>
                                <a:cubicBezTo>
                                  <a:pt x="295" y="49"/>
                                  <a:pt x="291" y="45"/>
                                  <a:pt x="286" y="43"/>
                                </a:cubicBezTo>
                                <a:cubicBezTo>
                                  <a:pt x="280" y="41"/>
                                  <a:pt x="274" y="39"/>
                                  <a:pt x="269" y="41"/>
                                </a:cubicBezTo>
                                <a:cubicBezTo>
                                  <a:pt x="265" y="43"/>
                                  <a:pt x="266" y="46"/>
                                  <a:pt x="261" y="44"/>
                                </a:cubicBezTo>
                                <a:cubicBezTo>
                                  <a:pt x="257" y="42"/>
                                  <a:pt x="258" y="37"/>
                                  <a:pt x="254" y="37"/>
                                </a:cubicBezTo>
                                <a:cubicBezTo>
                                  <a:pt x="250" y="36"/>
                                  <a:pt x="245" y="38"/>
                                  <a:pt x="244" y="36"/>
                                </a:cubicBezTo>
                                <a:cubicBezTo>
                                  <a:pt x="242" y="34"/>
                                  <a:pt x="241" y="33"/>
                                  <a:pt x="244" y="29"/>
                                </a:cubicBezTo>
                                <a:cubicBezTo>
                                  <a:pt x="248" y="25"/>
                                  <a:pt x="249" y="26"/>
                                  <a:pt x="250" y="21"/>
                                </a:cubicBezTo>
                                <a:cubicBezTo>
                                  <a:pt x="250" y="16"/>
                                  <a:pt x="251" y="17"/>
                                  <a:pt x="247" y="12"/>
                                </a:cubicBezTo>
                                <a:cubicBezTo>
                                  <a:pt x="244" y="13"/>
                                  <a:pt x="240" y="13"/>
                                  <a:pt x="236" y="13"/>
                                </a:cubicBezTo>
                                <a:cubicBezTo>
                                  <a:pt x="226" y="13"/>
                                  <a:pt x="223" y="12"/>
                                  <a:pt x="209" y="6"/>
                                </a:cubicBezTo>
                                <a:cubicBezTo>
                                  <a:pt x="208" y="6"/>
                                  <a:pt x="208" y="6"/>
                                  <a:pt x="208" y="6"/>
                                </a:cubicBezTo>
                                <a:cubicBezTo>
                                  <a:pt x="201" y="3"/>
                                  <a:pt x="198" y="3"/>
                                  <a:pt x="193" y="3"/>
                                </a:cubicBezTo>
                                <a:cubicBezTo>
                                  <a:pt x="189" y="3"/>
                                  <a:pt x="184" y="3"/>
                                  <a:pt x="176" y="2"/>
                                </a:cubicBezTo>
                                <a:cubicBezTo>
                                  <a:pt x="172" y="1"/>
                                  <a:pt x="169" y="1"/>
                                  <a:pt x="167" y="0"/>
                                </a:cubicBezTo>
                                <a:cubicBezTo>
                                  <a:pt x="171" y="6"/>
                                  <a:pt x="172" y="7"/>
                                  <a:pt x="174" y="10"/>
                                </a:cubicBezTo>
                                <a:cubicBezTo>
                                  <a:pt x="176" y="13"/>
                                  <a:pt x="178" y="16"/>
                                  <a:pt x="182" y="21"/>
                                </a:cubicBezTo>
                                <a:cubicBezTo>
                                  <a:pt x="185" y="25"/>
                                  <a:pt x="187" y="23"/>
                                  <a:pt x="187" y="27"/>
                                </a:cubicBezTo>
                                <a:cubicBezTo>
                                  <a:pt x="186" y="32"/>
                                  <a:pt x="179" y="35"/>
                                  <a:pt x="177" y="36"/>
                                </a:cubicBezTo>
                                <a:cubicBezTo>
                                  <a:pt x="175" y="38"/>
                                  <a:pt x="170" y="37"/>
                                  <a:pt x="168" y="42"/>
                                </a:cubicBezTo>
                                <a:cubicBezTo>
                                  <a:pt x="166" y="46"/>
                                  <a:pt x="166" y="51"/>
                                  <a:pt x="169" y="51"/>
                                </a:cubicBezTo>
                                <a:cubicBezTo>
                                  <a:pt x="172" y="51"/>
                                  <a:pt x="175" y="50"/>
                                  <a:pt x="178" y="49"/>
                                </a:cubicBezTo>
                                <a:cubicBezTo>
                                  <a:pt x="182" y="48"/>
                                  <a:pt x="183" y="50"/>
                                  <a:pt x="183" y="52"/>
                                </a:cubicBezTo>
                                <a:cubicBezTo>
                                  <a:pt x="183" y="54"/>
                                  <a:pt x="181" y="54"/>
                                  <a:pt x="180" y="58"/>
                                </a:cubicBezTo>
                                <a:cubicBezTo>
                                  <a:pt x="179" y="62"/>
                                  <a:pt x="178" y="68"/>
                                  <a:pt x="181" y="70"/>
                                </a:cubicBezTo>
                                <a:cubicBezTo>
                                  <a:pt x="183" y="73"/>
                                  <a:pt x="183" y="73"/>
                                  <a:pt x="188" y="75"/>
                                </a:cubicBezTo>
                                <a:cubicBezTo>
                                  <a:pt x="193" y="76"/>
                                  <a:pt x="197" y="76"/>
                                  <a:pt x="199" y="79"/>
                                </a:cubicBezTo>
                                <a:cubicBezTo>
                                  <a:pt x="201" y="81"/>
                                  <a:pt x="209" y="84"/>
                                  <a:pt x="212" y="87"/>
                                </a:cubicBezTo>
                                <a:cubicBezTo>
                                  <a:pt x="215" y="91"/>
                                  <a:pt x="221" y="93"/>
                                  <a:pt x="226" y="100"/>
                                </a:cubicBezTo>
                                <a:cubicBezTo>
                                  <a:pt x="231" y="107"/>
                                  <a:pt x="231" y="110"/>
                                  <a:pt x="229" y="109"/>
                                </a:cubicBezTo>
                                <a:cubicBezTo>
                                  <a:pt x="227" y="108"/>
                                  <a:pt x="221" y="102"/>
                                  <a:pt x="217" y="99"/>
                                </a:cubicBezTo>
                                <a:cubicBezTo>
                                  <a:pt x="213" y="97"/>
                                  <a:pt x="210" y="94"/>
                                  <a:pt x="205" y="92"/>
                                </a:cubicBezTo>
                                <a:cubicBezTo>
                                  <a:pt x="201" y="89"/>
                                  <a:pt x="200" y="88"/>
                                  <a:pt x="193" y="88"/>
                                </a:cubicBezTo>
                                <a:cubicBezTo>
                                  <a:pt x="187" y="88"/>
                                  <a:pt x="177" y="88"/>
                                  <a:pt x="173" y="88"/>
                                </a:cubicBezTo>
                                <a:cubicBezTo>
                                  <a:pt x="170" y="87"/>
                                  <a:pt x="161" y="85"/>
                                  <a:pt x="159" y="88"/>
                                </a:cubicBezTo>
                                <a:cubicBezTo>
                                  <a:pt x="157" y="92"/>
                                  <a:pt x="157" y="97"/>
                                  <a:pt x="160" y="102"/>
                                </a:cubicBezTo>
                                <a:cubicBezTo>
                                  <a:pt x="162" y="106"/>
                                  <a:pt x="161" y="107"/>
                                  <a:pt x="163" y="112"/>
                                </a:cubicBezTo>
                                <a:cubicBezTo>
                                  <a:pt x="165" y="116"/>
                                  <a:pt x="164" y="123"/>
                                  <a:pt x="162" y="125"/>
                                </a:cubicBezTo>
                                <a:cubicBezTo>
                                  <a:pt x="160" y="126"/>
                                  <a:pt x="156" y="129"/>
                                  <a:pt x="155" y="128"/>
                                </a:cubicBezTo>
                                <a:cubicBezTo>
                                  <a:pt x="153" y="126"/>
                                  <a:pt x="153" y="123"/>
                                  <a:pt x="154" y="121"/>
                                </a:cubicBezTo>
                                <a:cubicBezTo>
                                  <a:pt x="155" y="118"/>
                                  <a:pt x="156" y="115"/>
                                  <a:pt x="153" y="114"/>
                                </a:cubicBezTo>
                                <a:cubicBezTo>
                                  <a:pt x="150" y="112"/>
                                  <a:pt x="148" y="111"/>
                                  <a:pt x="146" y="113"/>
                                </a:cubicBezTo>
                                <a:cubicBezTo>
                                  <a:pt x="144" y="115"/>
                                  <a:pt x="144" y="118"/>
                                  <a:pt x="142" y="120"/>
                                </a:cubicBezTo>
                                <a:cubicBezTo>
                                  <a:pt x="140" y="122"/>
                                  <a:pt x="137" y="124"/>
                                  <a:pt x="135" y="122"/>
                                </a:cubicBezTo>
                                <a:cubicBezTo>
                                  <a:pt x="133" y="121"/>
                                  <a:pt x="130" y="120"/>
                                  <a:pt x="130" y="117"/>
                                </a:cubicBezTo>
                                <a:cubicBezTo>
                                  <a:pt x="130" y="114"/>
                                  <a:pt x="132" y="110"/>
                                  <a:pt x="128" y="107"/>
                                </a:cubicBezTo>
                                <a:cubicBezTo>
                                  <a:pt x="125" y="105"/>
                                  <a:pt x="123" y="101"/>
                                  <a:pt x="118" y="100"/>
                                </a:cubicBezTo>
                                <a:cubicBezTo>
                                  <a:pt x="112" y="100"/>
                                  <a:pt x="111" y="103"/>
                                  <a:pt x="108" y="100"/>
                                </a:cubicBezTo>
                                <a:cubicBezTo>
                                  <a:pt x="106" y="97"/>
                                  <a:pt x="103" y="95"/>
                                  <a:pt x="100" y="97"/>
                                </a:cubicBezTo>
                                <a:cubicBezTo>
                                  <a:pt x="96" y="98"/>
                                  <a:pt x="91" y="100"/>
                                  <a:pt x="90" y="103"/>
                                </a:cubicBezTo>
                                <a:cubicBezTo>
                                  <a:pt x="90" y="106"/>
                                  <a:pt x="86" y="108"/>
                                  <a:pt x="82" y="108"/>
                                </a:cubicBezTo>
                                <a:cubicBezTo>
                                  <a:pt x="78" y="108"/>
                                  <a:pt x="74" y="107"/>
                                  <a:pt x="73" y="111"/>
                                </a:cubicBezTo>
                                <a:cubicBezTo>
                                  <a:pt x="72" y="114"/>
                                  <a:pt x="69" y="119"/>
                                  <a:pt x="71" y="122"/>
                                </a:cubicBezTo>
                                <a:cubicBezTo>
                                  <a:pt x="73" y="125"/>
                                  <a:pt x="78" y="127"/>
                                  <a:pt x="80" y="130"/>
                                </a:cubicBezTo>
                                <a:cubicBezTo>
                                  <a:pt x="82" y="132"/>
                                  <a:pt x="82" y="135"/>
                                  <a:pt x="81" y="136"/>
                                </a:cubicBezTo>
                                <a:cubicBezTo>
                                  <a:pt x="80" y="136"/>
                                  <a:pt x="80" y="136"/>
                                  <a:pt x="80" y="136"/>
                                </a:cubicBezTo>
                                <a:cubicBezTo>
                                  <a:pt x="80" y="138"/>
                                  <a:pt x="80" y="141"/>
                                  <a:pt x="81" y="144"/>
                                </a:cubicBezTo>
                                <a:cubicBezTo>
                                  <a:pt x="81" y="150"/>
                                  <a:pt x="81" y="153"/>
                                  <a:pt x="80" y="157"/>
                                </a:cubicBezTo>
                                <a:cubicBezTo>
                                  <a:pt x="79" y="160"/>
                                  <a:pt x="78" y="163"/>
                                  <a:pt x="75" y="168"/>
                                </a:cubicBezTo>
                                <a:cubicBezTo>
                                  <a:pt x="74" y="171"/>
                                  <a:pt x="72" y="173"/>
                                  <a:pt x="71" y="175"/>
                                </a:cubicBezTo>
                                <a:cubicBezTo>
                                  <a:pt x="68" y="182"/>
                                  <a:pt x="65" y="188"/>
                                  <a:pt x="58" y="192"/>
                                </a:cubicBezTo>
                                <a:cubicBezTo>
                                  <a:pt x="56" y="194"/>
                                  <a:pt x="57" y="196"/>
                                  <a:pt x="58" y="198"/>
                                </a:cubicBezTo>
                                <a:cubicBezTo>
                                  <a:pt x="58" y="199"/>
                                  <a:pt x="59" y="200"/>
                                  <a:pt x="59" y="200"/>
                                </a:cubicBezTo>
                                <a:cubicBezTo>
                                  <a:pt x="60" y="201"/>
                                  <a:pt x="61" y="202"/>
                                  <a:pt x="62" y="204"/>
                                </a:cubicBezTo>
                                <a:cubicBezTo>
                                  <a:pt x="62" y="204"/>
                                  <a:pt x="62" y="205"/>
                                  <a:pt x="63" y="206"/>
                                </a:cubicBezTo>
                                <a:cubicBezTo>
                                  <a:pt x="66" y="209"/>
                                  <a:pt x="70" y="214"/>
                                  <a:pt x="68" y="221"/>
                                </a:cubicBezTo>
                                <a:cubicBezTo>
                                  <a:pt x="66" y="227"/>
                                  <a:pt x="62" y="230"/>
                                  <a:pt x="57" y="234"/>
                                </a:cubicBezTo>
                                <a:cubicBezTo>
                                  <a:pt x="55" y="235"/>
                                  <a:pt x="52" y="237"/>
                                  <a:pt x="51" y="239"/>
                                </a:cubicBezTo>
                                <a:cubicBezTo>
                                  <a:pt x="50" y="241"/>
                                  <a:pt x="49" y="243"/>
                                  <a:pt x="48" y="246"/>
                                </a:cubicBezTo>
                                <a:cubicBezTo>
                                  <a:pt x="46" y="250"/>
                                  <a:pt x="45" y="253"/>
                                  <a:pt x="42" y="256"/>
                                </a:cubicBezTo>
                                <a:cubicBezTo>
                                  <a:pt x="39" y="258"/>
                                  <a:pt x="33" y="257"/>
                                  <a:pt x="26" y="256"/>
                                </a:cubicBezTo>
                                <a:cubicBezTo>
                                  <a:pt x="21" y="255"/>
                                  <a:pt x="15" y="254"/>
                                  <a:pt x="13" y="255"/>
                                </a:cubicBezTo>
                                <a:cubicBezTo>
                                  <a:pt x="11" y="255"/>
                                  <a:pt x="11" y="257"/>
                                  <a:pt x="10" y="258"/>
                                </a:cubicBezTo>
                                <a:cubicBezTo>
                                  <a:pt x="9" y="260"/>
                                  <a:pt x="9" y="262"/>
                                  <a:pt x="9" y="264"/>
                                </a:cubicBezTo>
                                <a:cubicBezTo>
                                  <a:pt x="9" y="264"/>
                                  <a:pt x="10" y="265"/>
                                  <a:pt x="10" y="267"/>
                                </a:cubicBezTo>
                                <a:cubicBezTo>
                                  <a:pt x="10" y="267"/>
                                  <a:pt x="10" y="267"/>
                                  <a:pt x="10" y="267"/>
                                </a:cubicBezTo>
                                <a:cubicBezTo>
                                  <a:pt x="14" y="273"/>
                                  <a:pt x="19" y="281"/>
                                  <a:pt x="16" y="293"/>
                                </a:cubicBezTo>
                                <a:cubicBezTo>
                                  <a:pt x="14" y="302"/>
                                  <a:pt x="12" y="304"/>
                                  <a:pt x="10" y="307"/>
                                </a:cubicBezTo>
                                <a:cubicBezTo>
                                  <a:pt x="10" y="309"/>
                                  <a:pt x="8" y="311"/>
                                  <a:pt x="7" y="314"/>
                                </a:cubicBezTo>
                                <a:cubicBezTo>
                                  <a:pt x="6" y="317"/>
                                  <a:pt x="4" y="319"/>
                                  <a:pt x="4" y="320"/>
                                </a:cubicBezTo>
                                <a:cubicBezTo>
                                  <a:pt x="1" y="325"/>
                                  <a:pt x="0" y="327"/>
                                  <a:pt x="5" y="334"/>
                                </a:cubicBezTo>
                                <a:cubicBezTo>
                                  <a:pt x="8" y="338"/>
                                  <a:pt x="11" y="341"/>
                                  <a:pt x="13" y="344"/>
                                </a:cubicBezTo>
                                <a:cubicBezTo>
                                  <a:pt x="19" y="350"/>
                                  <a:pt x="23" y="354"/>
                                  <a:pt x="24" y="363"/>
                                </a:cubicBezTo>
                                <a:cubicBezTo>
                                  <a:pt x="25" y="365"/>
                                  <a:pt x="25" y="367"/>
                                  <a:pt x="25" y="368"/>
                                </a:cubicBezTo>
                                <a:cubicBezTo>
                                  <a:pt x="27" y="379"/>
                                  <a:pt x="29" y="385"/>
                                  <a:pt x="19" y="392"/>
                                </a:cubicBezTo>
                                <a:cubicBezTo>
                                  <a:pt x="17" y="393"/>
                                  <a:pt x="15" y="394"/>
                                  <a:pt x="13" y="394"/>
                                </a:cubicBezTo>
                                <a:cubicBezTo>
                                  <a:pt x="13" y="395"/>
                                  <a:pt x="13" y="396"/>
                                  <a:pt x="13" y="397"/>
                                </a:cubicBezTo>
                                <a:cubicBezTo>
                                  <a:pt x="13" y="399"/>
                                  <a:pt x="13" y="400"/>
                                  <a:pt x="17" y="404"/>
                                </a:cubicBezTo>
                                <a:cubicBezTo>
                                  <a:pt x="20" y="406"/>
                                  <a:pt x="23" y="408"/>
                                  <a:pt x="25" y="409"/>
                                </a:cubicBezTo>
                                <a:cubicBezTo>
                                  <a:pt x="31" y="413"/>
                                  <a:pt x="35" y="415"/>
                                  <a:pt x="35" y="426"/>
                                </a:cubicBezTo>
                                <a:cubicBezTo>
                                  <a:pt x="36" y="435"/>
                                  <a:pt x="33" y="443"/>
                                  <a:pt x="30" y="448"/>
                                </a:cubicBezTo>
                                <a:cubicBezTo>
                                  <a:pt x="37" y="451"/>
                                  <a:pt x="45" y="459"/>
                                  <a:pt x="52" y="465"/>
                                </a:cubicBezTo>
                                <a:cubicBezTo>
                                  <a:pt x="54" y="467"/>
                                  <a:pt x="56" y="469"/>
                                  <a:pt x="57" y="471"/>
                                </a:cubicBezTo>
                                <a:cubicBezTo>
                                  <a:pt x="61" y="474"/>
                                  <a:pt x="66" y="473"/>
                                  <a:pt x="72" y="472"/>
                                </a:cubicBezTo>
                                <a:cubicBezTo>
                                  <a:pt x="77" y="471"/>
                                  <a:pt x="82" y="470"/>
                                  <a:pt x="89" y="471"/>
                                </a:cubicBezTo>
                                <a:cubicBezTo>
                                  <a:pt x="99" y="472"/>
                                  <a:pt x="101" y="474"/>
                                  <a:pt x="104" y="477"/>
                                </a:cubicBezTo>
                                <a:cubicBezTo>
                                  <a:pt x="106" y="478"/>
                                  <a:pt x="107" y="480"/>
                                  <a:pt x="112" y="481"/>
                                </a:cubicBezTo>
                                <a:cubicBezTo>
                                  <a:pt x="116" y="483"/>
                                  <a:pt x="121" y="483"/>
                                  <a:pt x="124" y="483"/>
                                </a:cubicBezTo>
                                <a:cubicBezTo>
                                  <a:pt x="131" y="484"/>
                                  <a:pt x="136" y="484"/>
                                  <a:pt x="137" y="492"/>
                                </a:cubicBezTo>
                                <a:cubicBezTo>
                                  <a:pt x="137" y="497"/>
                                  <a:pt x="136" y="501"/>
                                  <a:pt x="132" y="507"/>
                                </a:cubicBezTo>
                                <a:cubicBezTo>
                                  <a:pt x="128" y="513"/>
                                  <a:pt x="123" y="519"/>
                                  <a:pt x="115" y="528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65" name="Freeform 214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485197" y="3746394"/>
                            <a:ext cx="205978" cy="195262"/>
                          </a:xfrm>
                          <a:custGeom>
                            <a:avLst/>
                            <a:gdLst>
                              <a:gd name="T0" fmla="*/ 76 w 717"/>
                              <a:gd name="T1" fmla="*/ 240 h 679"/>
                              <a:gd name="T2" fmla="*/ 129 w 717"/>
                              <a:gd name="T3" fmla="*/ 207 h 679"/>
                              <a:gd name="T4" fmla="*/ 201 w 717"/>
                              <a:gd name="T5" fmla="*/ 236 h 679"/>
                              <a:gd name="T6" fmla="*/ 237 w 717"/>
                              <a:gd name="T7" fmla="*/ 312 h 679"/>
                              <a:gd name="T8" fmla="*/ 274 w 717"/>
                              <a:gd name="T9" fmla="*/ 355 h 679"/>
                              <a:gd name="T10" fmla="*/ 325 w 717"/>
                              <a:gd name="T11" fmla="*/ 392 h 679"/>
                              <a:gd name="T12" fmla="*/ 382 w 717"/>
                              <a:gd name="T13" fmla="*/ 434 h 679"/>
                              <a:gd name="T14" fmla="*/ 437 w 717"/>
                              <a:gd name="T15" fmla="*/ 457 h 679"/>
                              <a:gd name="T16" fmla="*/ 479 w 717"/>
                              <a:gd name="T17" fmla="*/ 481 h 679"/>
                              <a:gd name="T18" fmla="*/ 504 w 717"/>
                              <a:gd name="T19" fmla="*/ 520 h 679"/>
                              <a:gd name="T20" fmla="*/ 540 w 717"/>
                              <a:gd name="T21" fmla="*/ 529 h 679"/>
                              <a:gd name="T22" fmla="*/ 562 w 717"/>
                              <a:gd name="T23" fmla="*/ 576 h 679"/>
                              <a:gd name="T24" fmla="*/ 565 w 717"/>
                              <a:gd name="T25" fmla="*/ 620 h 679"/>
                              <a:gd name="T26" fmla="*/ 549 w 717"/>
                              <a:gd name="T27" fmla="*/ 652 h 679"/>
                              <a:gd name="T28" fmla="*/ 564 w 717"/>
                              <a:gd name="T29" fmla="*/ 678 h 679"/>
                              <a:gd name="T30" fmla="*/ 596 w 717"/>
                              <a:gd name="T31" fmla="*/ 644 h 679"/>
                              <a:gd name="T32" fmla="*/ 619 w 717"/>
                              <a:gd name="T33" fmla="*/ 609 h 679"/>
                              <a:gd name="T34" fmla="*/ 624 w 717"/>
                              <a:gd name="T35" fmla="*/ 569 h 679"/>
                              <a:gd name="T36" fmla="*/ 599 w 717"/>
                              <a:gd name="T37" fmla="*/ 528 h 679"/>
                              <a:gd name="T38" fmla="*/ 638 w 717"/>
                              <a:gd name="T39" fmla="*/ 492 h 679"/>
                              <a:gd name="T40" fmla="*/ 673 w 717"/>
                              <a:gd name="T41" fmla="*/ 511 h 679"/>
                              <a:gd name="T42" fmla="*/ 713 w 717"/>
                              <a:gd name="T43" fmla="*/ 532 h 679"/>
                              <a:gd name="T44" fmla="*/ 685 w 717"/>
                              <a:gd name="T45" fmla="*/ 484 h 679"/>
                              <a:gd name="T46" fmla="*/ 598 w 717"/>
                              <a:gd name="T47" fmla="*/ 442 h 679"/>
                              <a:gd name="T48" fmla="*/ 571 w 717"/>
                              <a:gd name="T49" fmla="*/ 404 h 679"/>
                              <a:gd name="T50" fmla="*/ 526 w 717"/>
                              <a:gd name="T51" fmla="*/ 389 h 679"/>
                              <a:gd name="T52" fmla="*/ 445 w 717"/>
                              <a:gd name="T53" fmla="*/ 339 h 679"/>
                              <a:gd name="T54" fmla="*/ 400 w 717"/>
                              <a:gd name="T55" fmla="*/ 263 h 679"/>
                              <a:gd name="T56" fmla="*/ 333 w 717"/>
                              <a:gd name="T57" fmla="*/ 193 h 679"/>
                              <a:gd name="T58" fmla="*/ 347 w 717"/>
                              <a:gd name="T59" fmla="*/ 163 h 679"/>
                              <a:gd name="T60" fmla="*/ 338 w 717"/>
                              <a:gd name="T61" fmla="*/ 119 h 679"/>
                              <a:gd name="T62" fmla="*/ 378 w 717"/>
                              <a:gd name="T63" fmla="*/ 110 h 679"/>
                              <a:gd name="T64" fmla="*/ 388 w 717"/>
                              <a:gd name="T65" fmla="*/ 87 h 679"/>
                              <a:gd name="T66" fmla="*/ 398 w 717"/>
                              <a:gd name="T67" fmla="*/ 55 h 679"/>
                              <a:gd name="T68" fmla="*/ 384 w 717"/>
                              <a:gd name="T69" fmla="*/ 38 h 679"/>
                              <a:gd name="T70" fmla="*/ 337 w 717"/>
                              <a:gd name="T71" fmla="*/ 26 h 679"/>
                              <a:gd name="T72" fmla="*/ 329 w 717"/>
                              <a:gd name="T73" fmla="*/ 12 h 679"/>
                              <a:gd name="T74" fmla="*/ 319 w 717"/>
                              <a:gd name="T75" fmla="*/ 0 h 679"/>
                              <a:gd name="T76" fmla="*/ 279 w 717"/>
                              <a:gd name="T77" fmla="*/ 7 h 679"/>
                              <a:gd name="T78" fmla="*/ 244 w 717"/>
                              <a:gd name="T79" fmla="*/ 19 h 679"/>
                              <a:gd name="T80" fmla="*/ 225 w 717"/>
                              <a:gd name="T81" fmla="*/ 30 h 679"/>
                              <a:gd name="T82" fmla="*/ 204 w 717"/>
                              <a:gd name="T83" fmla="*/ 39 h 679"/>
                              <a:gd name="T84" fmla="*/ 174 w 717"/>
                              <a:gd name="T85" fmla="*/ 57 h 679"/>
                              <a:gd name="T86" fmla="*/ 149 w 717"/>
                              <a:gd name="T87" fmla="*/ 66 h 679"/>
                              <a:gd name="T88" fmla="*/ 127 w 717"/>
                              <a:gd name="T89" fmla="*/ 89 h 679"/>
                              <a:gd name="T90" fmla="*/ 115 w 717"/>
                              <a:gd name="T91" fmla="*/ 87 h 679"/>
                              <a:gd name="T92" fmla="*/ 95 w 717"/>
                              <a:gd name="T93" fmla="*/ 61 h 679"/>
                              <a:gd name="T94" fmla="*/ 74 w 717"/>
                              <a:gd name="T95" fmla="*/ 75 h 679"/>
                              <a:gd name="T96" fmla="*/ 31 w 717"/>
                              <a:gd name="T97" fmla="*/ 83 h 679"/>
                              <a:gd name="T98" fmla="*/ 7 w 717"/>
                              <a:gd name="T99" fmla="*/ 90 h 679"/>
                              <a:gd name="T100" fmla="*/ 11 w 717"/>
                              <a:gd name="T101" fmla="*/ 110 h 679"/>
                              <a:gd name="T102" fmla="*/ 9 w 717"/>
                              <a:gd name="T103" fmla="*/ 143 h 679"/>
                              <a:gd name="T104" fmla="*/ 1 w 717"/>
                              <a:gd name="T105" fmla="*/ 152 h 679"/>
                              <a:gd name="T106" fmla="*/ 3 w 717"/>
                              <a:gd name="T107" fmla="*/ 162 h 679"/>
                              <a:gd name="T108" fmla="*/ 4 w 717"/>
                              <a:gd name="T109" fmla="*/ 191 h 679"/>
                              <a:gd name="T110" fmla="*/ 49 w 717"/>
                              <a:gd name="T111" fmla="*/ 223 h 679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</a:cxnLst>
                            <a:rect l="0" t="0" r="r" b="b"/>
                            <a:pathLst>
                              <a:path w="717" h="679">
                                <a:moveTo>
                                  <a:pt x="43" y="250"/>
                                </a:moveTo>
                                <a:cubicBezTo>
                                  <a:pt x="48" y="247"/>
                                  <a:pt x="53" y="245"/>
                                  <a:pt x="56" y="244"/>
                                </a:cubicBezTo>
                                <a:cubicBezTo>
                                  <a:pt x="65" y="242"/>
                                  <a:pt x="72" y="244"/>
                                  <a:pt x="76" y="240"/>
                                </a:cubicBezTo>
                                <a:cubicBezTo>
                                  <a:pt x="80" y="236"/>
                                  <a:pt x="86" y="227"/>
                                  <a:pt x="91" y="220"/>
                                </a:cubicBezTo>
                                <a:cubicBezTo>
                                  <a:pt x="96" y="214"/>
                                  <a:pt x="96" y="209"/>
                                  <a:pt x="104" y="207"/>
                                </a:cubicBezTo>
                                <a:cubicBezTo>
                                  <a:pt x="111" y="205"/>
                                  <a:pt x="121" y="205"/>
                                  <a:pt x="129" y="207"/>
                                </a:cubicBezTo>
                                <a:cubicBezTo>
                                  <a:pt x="137" y="209"/>
                                  <a:pt x="141" y="210"/>
                                  <a:pt x="152" y="213"/>
                                </a:cubicBezTo>
                                <a:cubicBezTo>
                                  <a:pt x="163" y="216"/>
                                  <a:pt x="175" y="221"/>
                                  <a:pt x="183" y="225"/>
                                </a:cubicBezTo>
                                <a:cubicBezTo>
                                  <a:pt x="191" y="228"/>
                                  <a:pt x="198" y="229"/>
                                  <a:pt x="201" y="236"/>
                                </a:cubicBezTo>
                                <a:cubicBezTo>
                                  <a:pt x="204" y="243"/>
                                  <a:pt x="207" y="260"/>
                                  <a:pt x="210" y="274"/>
                                </a:cubicBezTo>
                                <a:cubicBezTo>
                                  <a:pt x="213" y="287"/>
                                  <a:pt x="213" y="300"/>
                                  <a:pt x="218" y="305"/>
                                </a:cubicBezTo>
                                <a:cubicBezTo>
                                  <a:pt x="223" y="311"/>
                                  <a:pt x="233" y="307"/>
                                  <a:pt x="237" y="312"/>
                                </a:cubicBezTo>
                                <a:cubicBezTo>
                                  <a:pt x="242" y="316"/>
                                  <a:pt x="246" y="322"/>
                                  <a:pt x="250" y="327"/>
                                </a:cubicBezTo>
                                <a:cubicBezTo>
                                  <a:pt x="253" y="333"/>
                                  <a:pt x="258" y="339"/>
                                  <a:pt x="260" y="345"/>
                                </a:cubicBezTo>
                                <a:cubicBezTo>
                                  <a:pt x="262" y="352"/>
                                  <a:pt x="268" y="355"/>
                                  <a:pt x="274" y="355"/>
                                </a:cubicBezTo>
                                <a:cubicBezTo>
                                  <a:pt x="279" y="356"/>
                                  <a:pt x="283" y="354"/>
                                  <a:pt x="287" y="358"/>
                                </a:cubicBezTo>
                                <a:cubicBezTo>
                                  <a:pt x="291" y="362"/>
                                  <a:pt x="305" y="373"/>
                                  <a:pt x="307" y="377"/>
                                </a:cubicBezTo>
                                <a:cubicBezTo>
                                  <a:pt x="309" y="381"/>
                                  <a:pt x="318" y="389"/>
                                  <a:pt x="325" y="392"/>
                                </a:cubicBezTo>
                                <a:cubicBezTo>
                                  <a:pt x="331" y="395"/>
                                  <a:pt x="337" y="403"/>
                                  <a:pt x="341" y="409"/>
                                </a:cubicBezTo>
                                <a:cubicBezTo>
                                  <a:pt x="346" y="414"/>
                                  <a:pt x="358" y="419"/>
                                  <a:pt x="364" y="423"/>
                                </a:cubicBezTo>
                                <a:cubicBezTo>
                                  <a:pt x="369" y="427"/>
                                  <a:pt x="375" y="432"/>
                                  <a:pt x="382" y="434"/>
                                </a:cubicBezTo>
                                <a:cubicBezTo>
                                  <a:pt x="388" y="437"/>
                                  <a:pt x="396" y="437"/>
                                  <a:pt x="403" y="438"/>
                                </a:cubicBezTo>
                                <a:cubicBezTo>
                                  <a:pt x="409" y="438"/>
                                  <a:pt x="418" y="435"/>
                                  <a:pt x="424" y="441"/>
                                </a:cubicBezTo>
                                <a:cubicBezTo>
                                  <a:pt x="430" y="448"/>
                                  <a:pt x="425" y="450"/>
                                  <a:pt x="437" y="457"/>
                                </a:cubicBezTo>
                                <a:cubicBezTo>
                                  <a:pt x="449" y="465"/>
                                  <a:pt x="454" y="466"/>
                                  <a:pt x="457" y="470"/>
                                </a:cubicBezTo>
                                <a:cubicBezTo>
                                  <a:pt x="460" y="475"/>
                                  <a:pt x="450" y="479"/>
                                  <a:pt x="459" y="483"/>
                                </a:cubicBezTo>
                                <a:cubicBezTo>
                                  <a:pt x="467" y="487"/>
                                  <a:pt x="472" y="482"/>
                                  <a:pt x="479" y="481"/>
                                </a:cubicBezTo>
                                <a:cubicBezTo>
                                  <a:pt x="487" y="481"/>
                                  <a:pt x="490" y="488"/>
                                  <a:pt x="493" y="493"/>
                                </a:cubicBezTo>
                                <a:cubicBezTo>
                                  <a:pt x="496" y="497"/>
                                  <a:pt x="497" y="501"/>
                                  <a:pt x="497" y="508"/>
                                </a:cubicBezTo>
                                <a:cubicBezTo>
                                  <a:pt x="497" y="514"/>
                                  <a:pt x="498" y="518"/>
                                  <a:pt x="504" y="520"/>
                                </a:cubicBezTo>
                                <a:cubicBezTo>
                                  <a:pt x="511" y="522"/>
                                  <a:pt x="511" y="526"/>
                                  <a:pt x="516" y="528"/>
                                </a:cubicBezTo>
                                <a:cubicBezTo>
                                  <a:pt x="521" y="529"/>
                                  <a:pt x="521" y="529"/>
                                  <a:pt x="529" y="529"/>
                                </a:cubicBezTo>
                                <a:cubicBezTo>
                                  <a:pt x="536" y="528"/>
                                  <a:pt x="535" y="526"/>
                                  <a:pt x="540" y="529"/>
                                </a:cubicBezTo>
                                <a:cubicBezTo>
                                  <a:pt x="545" y="532"/>
                                  <a:pt x="549" y="537"/>
                                  <a:pt x="550" y="543"/>
                                </a:cubicBezTo>
                                <a:cubicBezTo>
                                  <a:pt x="550" y="550"/>
                                  <a:pt x="551" y="553"/>
                                  <a:pt x="556" y="560"/>
                                </a:cubicBezTo>
                                <a:cubicBezTo>
                                  <a:pt x="561" y="566"/>
                                  <a:pt x="561" y="567"/>
                                  <a:pt x="562" y="576"/>
                                </a:cubicBezTo>
                                <a:cubicBezTo>
                                  <a:pt x="563" y="586"/>
                                  <a:pt x="565" y="592"/>
                                  <a:pt x="568" y="596"/>
                                </a:cubicBezTo>
                                <a:cubicBezTo>
                                  <a:pt x="572" y="600"/>
                                  <a:pt x="574" y="606"/>
                                  <a:pt x="574" y="610"/>
                                </a:cubicBezTo>
                                <a:cubicBezTo>
                                  <a:pt x="573" y="614"/>
                                  <a:pt x="568" y="619"/>
                                  <a:pt x="565" y="620"/>
                                </a:cubicBezTo>
                                <a:cubicBezTo>
                                  <a:pt x="562" y="620"/>
                                  <a:pt x="555" y="624"/>
                                  <a:pt x="555" y="629"/>
                                </a:cubicBezTo>
                                <a:cubicBezTo>
                                  <a:pt x="555" y="633"/>
                                  <a:pt x="556" y="636"/>
                                  <a:pt x="554" y="639"/>
                                </a:cubicBezTo>
                                <a:cubicBezTo>
                                  <a:pt x="552" y="643"/>
                                  <a:pt x="551" y="649"/>
                                  <a:pt x="549" y="652"/>
                                </a:cubicBezTo>
                                <a:cubicBezTo>
                                  <a:pt x="547" y="656"/>
                                  <a:pt x="545" y="663"/>
                                  <a:pt x="545" y="668"/>
                                </a:cubicBezTo>
                                <a:cubicBezTo>
                                  <a:pt x="545" y="673"/>
                                  <a:pt x="546" y="677"/>
                                  <a:pt x="550" y="678"/>
                                </a:cubicBezTo>
                                <a:cubicBezTo>
                                  <a:pt x="554" y="679"/>
                                  <a:pt x="562" y="678"/>
                                  <a:pt x="564" y="678"/>
                                </a:cubicBezTo>
                                <a:cubicBezTo>
                                  <a:pt x="567" y="677"/>
                                  <a:pt x="571" y="669"/>
                                  <a:pt x="575" y="665"/>
                                </a:cubicBezTo>
                                <a:cubicBezTo>
                                  <a:pt x="578" y="661"/>
                                  <a:pt x="581" y="660"/>
                                  <a:pt x="587" y="655"/>
                                </a:cubicBezTo>
                                <a:cubicBezTo>
                                  <a:pt x="593" y="651"/>
                                  <a:pt x="596" y="651"/>
                                  <a:pt x="596" y="644"/>
                                </a:cubicBezTo>
                                <a:cubicBezTo>
                                  <a:pt x="597" y="637"/>
                                  <a:pt x="594" y="630"/>
                                  <a:pt x="597" y="624"/>
                                </a:cubicBezTo>
                                <a:cubicBezTo>
                                  <a:pt x="600" y="618"/>
                                  <a:pt x="601" y="615"/>
                                  <a:pt x="605" y="612"/>
                                </a:cubicBezTo>
                                <a:cubicBezTo>
                                  <a:pt x="610" y="610"/>
                                  <a:pt x="612" y="609"/>
                                  <a:pt x="619" y="609"/>
                                </a:cubicBezTo>
                                <a:cubicBezTo>
                                  <a:pt x="625" y="609"/>
                                  <a:pt x="628" y="610"/>
                                  <a:pt x="631" y="605"/>
                                </a:cubicBezTo>
                                <a:cubicBezTo>
                                  <a:pt x="635" y="600"/>
                                  <a:pt x="634" y="590"/>
                                  <a:pt x="633" y="584"/>
                                </a:cubicBezTo>
                                <a:cubicBezTo>
                                  <a:pt x="632" y="577"/>
                                  <a:pt x="631" y="574"/>
                                  <a:pt x="624" y="569"/>
                                </a:cubicBezTo>
                                <a:cubicBezTo>
                                  <a:pt x="617" y="564"/>
                                  <a:pt x="612" y="561"/>
                                  <a:pt x="606" y="558"/>
                                </a:cubicBezTo>
                                <a:cubicBezTo>
                                  <a:pt x="600" y="556"/>
                                  <a:pt x="595" y="552"/>
                                  <a:pt x="595" y="546"/>
                                </a:cubicBezTo>
                                <a:cubicBezTo>
                                  <a:pt x="595" y="541"/>
                                  <a:pt x="598" y="530"/>
                                  <a:pt x="599" y="528"/>
                                </a:cubicBezTo>
                                <a:cubicBezTo>
                                  <a:pt x="600" y="526"/>
                                  <a:pt x="603" y="518"/>
                                  <a:pt x="607" y="512"/>
                                </a:cubicBezTo>
                                <a:cubicBezTo>
                                  <a:pt x="611" y="505"/>
                                  <a:pt x="616" y="499"/>
                                  <a:pt x="622" y="496"/>
                                </a:cubicBezTo>
                                <a:cubicBezTo>
                                  <a:pt x="628" y="492"/>
                                  <a:pt x="634" y="489"/>
                                  <a:pt x="638" y="492"/>
                                </a:cubicBezTo>
                                <a:cubicBezTo>
                                  <a:pt x="643" y="494"/>
                                  <a:pt x="639" y="500"/>
                                  <a:pt x="645" y="501"/>
                                </a:cubicBezTo>
                                <a:cubicBezTo>
                                  <a:pt x="651" y="503"/>
                                  <a:pt x="653" y="501"/>
                                  <a:pt x="661" y="503"/>
                                </a:cubicBezTo>
                                <a:cubicBezTo>
                                  <a:pt x="668" y="505"/>
                                  <a:pt x="671" y="507"/>
                                  <a:pt x="673" y="511"/>
                                </a:cubicBezTo>
                                <a:cubicBezTo>
                                  <a:pt x="676" y="515"/>
                                  <a:pt x="675" y="518"/>
                                  <a:pt x="681" y="525"/>
                                </a:cubicBezTo>
                                <a:cubicBezTo>
                                  <a:pt x="687" y="532"/>
                                  <a:pt x="694" y="536"/>
                                  <a:pt x="699" y="536"/>
                                </a:cubicBezTo>
                                <a:cubicBezTo>
                                  <a:pt x="703" y="537"/>
                                  <a:pt x="711" y="538"/>
                                  <a:pt x="713" y="532"/>
                                </a:cubicBezTo>
                                <a:cubicBezTo>
                                  <a:pt x="715" y="527"/>
                                  <a:pt x="717" y="523"/>
                                  <a:pt x="717" y="519"/>
                                </a:cubicBezTo>
                                <a:cubicBezTo>
                                  <a:pt x="717" y="515"/>
                                  <a:pt x="708" y="508"/>
                                  <a:pt x="702" y="501"/>
                                </a:cubicBezTo>
                                <a:cubicBezTo>
                                  <a:pt x="696" y="495"/>
                                  <a:pt x="692" y="488"/>
                                  <a:pt x="685" y="484"/>
                                </a:cubicBezTo>
                                <a:cubicBezTo>
                                  <a:pt x="679" y="480"/>
                                  <a:pt x="664" y="472"/>
                                  <a:pt x="658" y="468"/>
                                </a:cubicBezTo>
                                <a:cubicBezTo>
                                  <a:pt x="651" y="465"/>
                                  <a:pt x="636" y="459"/>
                                  <a:pt x="629" y="455"/>
                                </a:cubicBezTo>
                                <a:cubicBezTo>
                                  <a:pt x="621" y="450"/>
                                  <a:pt x="608" y="448"/>
                                  <a:pt x="598" y="442"/>
                                </a:cubicBezTo>
                                <a:cubicBezTo>
                                  <a:pt x="588" y="437"/>
                                  <a:pt x="570" y="427"/>
                                  <a:pt x="567" y="422"/>
                                </a:cubicBezTo>
                                <a:cubicBezTo>
                                  <a:pt x="564" y="416"/>
                                  <a:pt x="559" y="413"/>
                                  <a:pt x="562" y="410"/>
                                </a:cubicBezTo>
                                <a:cubicBezTo>
                                  <a:pt x="564" y="407"/>
                                  <a:pt x="567" y="408"/>
                                  <a:pt x="571" y="404"/>
                                </a:cubicBezTo>
                                <a:cubicBezTo>
                                  <a:pt x="574" y="400"/>
                                  <a:pt x="575" y="395"/>
                                  <a:pt x="573" y="392"/>
                                </a:cubicBezTo>
                                <a:cubicBezTo>
                                  <a:pt x="571" y="389"/>
                                  <a:pt x="563" y="388"/>
                                  <a:pt x="554" y="388"/>
                                </a:cubicBezTo>
                                <a:cubicBezTo>
                                  <a:pt x="545" y="389"/>
                                  <a:pt x="535" y="389"/>
                                  <a:pt x="526" y="389"/>
                                </a:cubicBezTo>
                                <a:cubicBezTo>
                                  <a:pt x="516" y="389"/>
                                  <a:pt x="505" y="387"/>
                                  <a:pt x="502" y="386"/>
                                </a:cubicBezTo>
                                <a:cubicBezTo>
                                  <a:pt x="498" y="385"/>
                                  <a:pt x="483" y="377"/>
                                  <a:pt x="471" y="366"/>
                                </a:cubicBezTo>
                                <a:cubicBezTo>
                                  <a:pt x="459" y="355"/>
                                  <a:pt x="450" y="346"/>
                                  <a:pt x="445" y="339"/>
                                </a:cubicBezTo>
                                <a:cubicBezTo>
                                  <a:pt x="441" y="333"/>
                                  <a:pt x="439" y="330"/>
                                  <a:pt x="434" y="318"/>
                                </a:cubicBezTo>
                                <a:cubicBezTo>
                                  <a:pt x="428" y="306"/>
                                  <a:pt x="431" y="302"/>
                                  <a:pt x="425" y="288"/>
                                </a:cubicBezTo>
                                <a:cubicBezTo>
                                  <a:pt x="418" y="275"/>
                                  <a:pt x="408" y="269"/>
                                  <a:pt x="400" y="263"/>
                                </a:cubicBezTo>
                                <a:cubicBezTo>
                                  <a:pt x="392" y="256"/>
                                  <a:pt x="384" y="252"/>
                                  <a:pt x="377" y="246"/>
                                </a:cubicBezTo>
                                <a:cubicBezTo>
                                  <a:pt x="370" y="240"/>
                                  <a:pt x="347" y="224"/>
                                  <a:pt x="341" y="217"/>
                                </a:cubicBezTo>
                                <a:cubicBezTo>
                                  <a:pt x="336" y="211"/>
                                  <a:pt x="334" y="199"/>
                                  <a:pt x="333" y="193"/>
                                </a:cubicBezTo>
                                <a:cubicBezTo>
                                  <a:pt x="332" y="188"/>
                                  <a:pt x="329" y="182"/>
                                  <a:pt x="331" y="179"/>
                                </a:cubicBezTo>
                                <a:cubicBezTo>
                                  <a:pt x="333" y="176"/>
                                  <a:pt x="334" y="174"/>
                                  <a:pt x="338" y="173"/>
                                </a:cubicBezTo>
                                <a:cubicBezTo>
                                  <a:pt x="341" y="172"/>
                                  <a:pt x="346" y="166"/>
                                  <a:pt x="347" y="163"/>
                                </a:cubicBezTo>
                                <a:cubicBezTo>
                                  <a:pt x="347" y="160"/>
                                  <a:pt x="351" y="157"/>
                                  <a:pt x="342" y="148"/>
                                </a:cubicBezTo>
                                <a:cubicBezTo>
                                  <a:pt x="332" y="139"/>
                                  <a:pt x="330" y="138"/>
                                  <a:pt x="330" y="131"/>
                                </a:cubicBezTo>
                                <a:cubicBezTo>
                                  <a:pt x="330" y="125"/>
                                  <a:pt x="334" y="121"/>
                                  <a:pt x="338" y="119"/>
                                </a:cubicBezTo>
                                <a:cubicBezTo>
                                  <a:pt x="342" y="117"/>
                                  <a:pt x="345" y="121"/>
                                  <a:pt x="348" y="121"/>
                                </a:cubicBezTo>
                                <a:cubicBezTo>
                                  <a:pt x="350" y="121"/>
                                  <a:pt x="363" y="118"/>
                                  <a:pt x="366" y="115"/>
                                </a:cubicBezTo>
                                <a:cubicBezTo>
                                  <a:pt x="369" y="112"/>
                                  <a:pt x="373" y="114"/>
                                  <a:pt x="378" y="110"/>
                                </a:cubicBezTo>
                                <a:cubicBezTo>
                                  <a:pt x="382" y="107"/>
                                  <a:pt x="385" y="104"/>
                                  <a:pt x="387" y="100"/>
                                </a:cubicBezTo>
                                <a:cubicBezTo>
                                  <a:pt x="388" y="100"/>
                                  <a:pt x="388" y="99"/>
                                  <a:pt x="389" y="99"/>
                                </a:cubicBezTo>
                                <a:cubicBezTo>
                                  <a:pt x="389" y="95"/>
                                  <a:pt x="388" y="91"/>
                                  <a:pt x="388" y="87"/>
                                </a:cubicBezTo>
                                <a:cubicBezTo>
                                  <a:pt x="387" y="82"/>
                                  <a:pt x="387" y="78"/>
                                  <a:pt x="388" y="75"/>
                                </a:cubicBezTo>
                                <a:cubicBezTo>
                                  <a:pt x="389" y="74"/>
                                  <a:pt x="389" y="72"/>
                                  <a:pt x="389" y="71"/>
                                </a:cubicBezTo>
                                <a:cubicBezTo>
                                  <a:pt x="389" y="66"/>
                                  <a:pt x="389" y="61"/>
                                  <a:pt x="398" y="55"/>
                                </a:cubicBezTo>
                                <a:cubicBezTo>
                                  <a:pt x="404" y="51"/>
                                  <a:pt x="410" y="44"/>
                                  <a:pt x="413" y="40"/>
                                </a:cubicBezTo>
                                <a:cubicBezTo>
                                  <a:pt x="412" y="39"/>
                                  <a:pt x="410" y="39"/>
                                  <a:pt x="409" y="39"/>
                                </a:cubicBezTo>
                                <a:cubicBezTo>
                                  <a:pt x="403" y="38"/>
                                  <a:pt x="397" y="37"/>
                                  <a:pt x="384" y="38"/>
                                </a:cubicBezTo>
                                <a:cubicBezTo>
                                  <a:pt x="375" y="38"/>
                                  <a:pt x="367" y="38"/>
                                  <a:pt x="360" y="37"/>
                                </a:cubicBezTo>
                                <a:cubicBezTo>
                                  <a:pt x="353" y="35"/>
                                  <a:pt x="347" y="33"/>
                                  <a:pt x="342" y="29"/>
                                </a:cubicBezTo>
                                <a:cubicBezTo>
                                  <a:pt x="340" y="28"/>
                                  <a:pt x="339" y="27"/>
                                  <a:pt x="337" y="26"/>
                                </a:cubicBezTo>
                                <a:cubicBezTo>
                                  <a:pt x="337" y="26"/>
                                  <a:pt x="337" y="26"/>
                                  <a:pt x="337" y="26"/>
                                </a:cubicBezTo>
                                <a:cubicBezTo>
                                  <a:pt x="332" y="22"/>
                                  <a:pt x="330" y="21"/>
                                  <a:pt x="329" y="12"/>
                                </a:cubicBezTo>
                                <a:cubicBezTo>
                                  <a:pt x="329" y="12"/>
                                  <a:pt x="329" y="12"/>
                                  <a:pt x="329" y="12"/>
                                </a:cubicBezTo>
                                <a:cubicBezTo>
                                  <a:pt x="329" y="12"/>
                                  <a:pt x="329" y="12"/>
                                  <a:pt x="329" y="12"/>
                                </a:cubicBezTo>
                                <a:cubicBezTo>
                                  <a:pt x="329" y="8"/>
                                  <a:pt x="328" y="5"/>
                                  <a:pt x="326" y="3"/>
                                </a:cubicBezTo>
                                <a:cubicBezTo>
                                  <a:pt x="325" y="1"/>
                                  <a:pt x="322" y="0"/>
                                  <a:pt x="319" y="0"/>
                                </a:cubicBezTo>
                                <a:cubicBezTo>
                                  <a:pt x="319" y="0"/>
                                  <a:pt x="319" y="0"/>
                                  <a:pt x="319" y="0"/>
                                </a:cubicBezTo>
                                <a:cubicBezTo>
                                  <a:pt x="314" y="0"/>
                                  <a:pt x="304" y="1"/>
                                  <a:pt x="295" y="3"/>
                                </a:cubicBezTo>
                                <a:cubicBezTo>
                                  <a:pt x="289" y="4"/>
                                  <a:pt x="283" y="6"/>
                                  <a:pt x="279" y="7"/>
                                </a:cubicBezTo>
                                <a:cubicBezTo>
                                  <a:pt x="274" y="9"/>
                                  <a:pt x="272" y="11"/>
                                  <a:pt x="270" y="13"/>
                                </a:cubicBezTo>
                                <a:cubicBezTo>
                                  <a:pt x="267" y="15"/>
                                  <a:pt x="265" y="17"/>
                                  <a:pt x="259" y="18"/>
                                </a:cubicBezTo>
                                <a:cubicBezTo>
                                  <a:pt x="254" y="20"/>
                                  <a:pt x="249" y="20"/>
                                  <a:pt x="244" y="19"/>
                                </a:cubicBezTo>
                                <a:cubicBezTo>
                                  <a:pt x="239" y="19"/>
                                  <a:pt x="234" y="17"/>
                                  <a:pt x="230" y="15"/>
                                </a:cubicBezTo>
                                <a:cubicBezTo>
                                  <a:pt x="229" y="15"/>
                                  <a:pt x="228" y="14"/>
                                  <a:pt x="228" y="13"/>
                                </a:cubicBezTo>
                                <a:cubicBezTo>
                                  <a:pt x="227" y="19"/>
                                  <a:pt x="226" y="24"/>
                                  <a:pt x="225" y="30"/>
                                </a:cubicBezTo>
                                <a:cubicBezTo>
                                  <a:pt x="225" y="31"/>
                                  <a:pt x="225" y="31"/>
                                  <a:pt x="225" y="31"/>
                                </a:cubicBezTo>
                                <a:cubicBezTo>
                                  <a:pt x="224" y="38"/>
                                  <a:pt x="218" y="38"/>
                                  <a:pt x="212" y="38"/>
                                </a:cubicBezTo>
                                <a:cubicBezTo>
                                  <a:pt x="209" y="38"/>
                                  <a:pt x="205" y="37"/>
                                  <a:pt x="204" y="39"/>
                                </a:cubicBezTo>
                                <a:cubicBezTo>
                                  <a:pt x="202" y="42"/>
                                  <a:pt x="202" y="46"/>
                                  <a:pt x="202" y="50"/>
                                </a:cubicBezTo>
                                <a:cubicBezTo>
                                  <a:pt x="202" y="57"/>
                                  <a:pt x="202" y="63"/>
                                  <a:pt x="194" y="65"/>
                                </a:cubicBezTo>
                                <a:cubicBezTo>
                                  <a:pt x="189" y="66"/>
                                  <a:pt x="182" y="62"/>
                                  <a:pt x="174" y="57"/>
                                </a:cubicBezTo>
                                <a:cubicBezTo>
                                  <a:pt x="167" y="53"/>
                                  <a:pt x="160" y="48"/>
                                  <a:pt x="159" y="49"/>
                                </a:cubicBezTo>
                                <a:cubicBezTo>
                                  <a:pt x="155" y="53"/>
                                  <a:pt x="154" y="56"/>
                                  <a:pt x="152" y="61"/>
                                </a:cubicBezTo>
                                <a:cubicBezTo>
                                  <a:pt x="151" y="62"/>
                                  <a:pt x="150" y="64"/>
                                  <a:pt x="149" y="66"/>
                                </a:cubicBezTo>
                                <a:cubicBezTo>
                                  <a:pt x="146" y="73"/>
                                  <a:pt x="136" y="81"/>
                                  <a:pt x="130" y="86"/>
                                </a:cubicBezTo>
                                <a:cubicBezTo>
                                  <a:pt x="129" y="87"/>
                                  <a:pt x="129" y="87"/>
                                  <a:pt x="128" y="88"/>
                                </a:cubicBezTo>
                                <a:cubicBezTo>
                                  <a:pt x="127" y="89"/>
                                  <a:pt x="127" y="89"/>
                                  <a:pt x="127" y="89"/>
                                </a:cubicBezTo>
                                <a:cubicBezTo>
                                  <a:pt x="127" y="89"/>
                                  <a:pt x="127" y="89"/>
                                  <a:pt x="127" y="89"/>
                                </a:cubicBezTo>
                                <a:cubicBezTo>
                                  <a:pt x="123" y="91"/>
                                  <a:pt x="119" y="90"/>
                                  <a:pt x="115" y="87"/>
                                </a:cubicBezTo>
                                <a:cubicBezTo>
                                  <a:pt x="115" y="87"/>
                                  <a:pt x="115" y="87"/>
                                  <a:pt x="115" y="87"/>
                                </a:cubicBezTo>
                                <a:cubicBezTo>
                                  <a:pt x="112" y="85"/>
                                  <a:pt x="109" y="82"/>
                                  <a:pt x="106" y="78"/>
                                </a:cubicBezTo>
                                <a:cubicBezTo>
                                  <a:pt x="103" y="75"/>
                                  <a:pt x="100" y="71"/>
                                  <a:pt x="98" y="68"/>
                                </a:cubicBezTo>
                                <a:cubicBezTo>
                                  <a:pt x="97" y="66"/>
                                  <a:pt x="96" y="63"/>
                                  <a:pt x="95" y="61"/>
                                </a:cubicBezTo>
                                <a:cubicBezTo>
                                  <a:pt x="94" y="58"/>
                                  <a:pt x="93" y="54"/>
                                  <a:pt x="89" y="55"/>
                                </a:cubicBezTo>
                                <a:cubicBezTo>
                                  <a:pt x="86" y="56"/>
                                  <a:pt x="83" y="60"/>
                                  <a:pt x="80" y="65"/>
                                </a:cubicBezTo>
                                <a:cubicBezTo>
                                  <a:pt x="78" y="68"/>
                                  <a:pt x="76" y="72"/>
                                  <a:pt x="74" y="75"/>
                                </a:cubicBezTo>
                                <a:cubicBezTo>
                                  <a:pt x="70" y="79"/>
                                  <a:pt x="67" y="82"/>
                                  <a:pt x="62" y="83"/>
                                </a:cubicBezTo>
                                <a:cubicBezTo>
                                  <a:pt x="58" y="84"/>
                                  <a:pt x="54" y="84"/>
                                  <a:pt x="47" y="84"/>
                                </a:cubicBezTo>
                                <a:cubicBezTo>
                                  <a:pt x="40" y="83"/>
                                  <a:pt x="35" y="83"/>
                                  <a:pt x="31" y="83"/>
                                </a:cubicBezTo>
                                <a:cubicBezTo>
                                  <a:pt x="28" y="83"/>
                                  <a:pt x="25" y="84"/>
                                  <a:pt x="23" y="85"/>
                                </a:cubicBezTo>
                                <a:cubicBezTo>
                                  <a:pt x="18" y="87"/>
                                  <a:pt x="12" y="87"/>
                                  <a:pt x="8" y="87"/>
                                </a:cubicBezTo>
                                <a:cubicBezTo>
                                  <a:pt x="8" y="88"/>
                                  <a:pt x="8" y="89"/>
                                  <a:pt x="7" y="90"/>
                                </a:cubicBezTo>
                                <a:cubicBezTo>
                                  <a:pt x="7" y="91"/>
                                  <a:pt x="7" y="93"/>
                                  <a:pt x="6" y="94"/>
                                </a:cubicBezTo>
                                <a:cubicBezTo>
                                  <a:pt x="5" y="98"/>
                                  <a:pt x="4" y="101"/>
                                  <a:pt x="8" y="105"/>
                                </a:cubicBezTo>
                                <a:cubicBezTo>
                                  <a:pt x="9" y="106"/>
                                  <a:pt x="10" y="108"/>
                                  <a:pt x="11" y="110"/>
                                </a:cubicBezTo>
                                <a:cubicBezTo>
                                  <a:pt x="14" y="114"/>
                                  <a:pt x="16" y="120"/>
                                  <a:pt x="16" y="125"/>
                                </a:cubicBezTo>
                                <a:cubicBezTo>
                                  <a:pt x="17" y="131"/>
                                  <a:pt x="16" y="137"/>
                                  <a:pt x="11" y="141"/>
                                </a:cubicBezTo>
                                <a:cubicBezTo>
                                  <a:pt x="11" y="142"/>
                                  <a:pt x="10" y="142"/>
                                  <a:pt x="9" y="143"/>
                                </a:cubicBezTo>
                                <a:cubicBezTo>
                                  <a:pt x="9" y="143"/>
                                  <a:pt x="8" y="143"/>
                                  <a:pt x="8" y="143"/>
                                </a:cubicBezTo>
                                <a:cubicBezTo>
                                  <a:pt x="8" y="143"/>
                                  <a:pt x="8" y="143"/>
                                  <a:pt x="8" y="143"/>
                                </a:cubicBezTo>
                                <a:cubicBezTo>
                                  <a:pt x="4" y="146"/>
                                  <a:pt x="2" y="149"/>
                                  <a:pt x="1" y="152"/>
                                </a:cubicBezTo>
                                <a:cubicBezTo>
                                  <a:pt x="0" y="154"/>
                                  <a:pt x="1" y="157"/>
                                  <a:pt x="3" y="161"/>
                                </a:cubicBezTo>
                                <a:cubicBezTo>
                                  <a:pt x="3" y="161"/>
                                  <a:pt x="3" y="161"/>
                                  <a:pt x="3" y="162"/>
                                </a:cubicBezTo>
                                <a:cubicBezTo>
                                  <a:pt x="3" y="162"/>
                                  <a:pt x="3" y="162"/>
                                  <a:pt x="3" y="162"/>
                                </a:cubicBezTo>
                                <a:cubicBezTo>
                                  <a:pt x="10" y="171"/>
                                  <a:pt x="9" y="174"/>
                                  <a:pt x="7" y="183"/>
                                </a:cubicBezTo>
                                <a:cubicBezTo>
                                  <a:pt x="6" y="184"/>
                                  <a:pt x="6" y="185"/>
                                  <a:pt x="6" y="186"/>
                                </a:cubicBezTo>
                                <a:cubicBezTo>
                                  <a:pt x="5" y="188"/>
                                  <a:pt x="5" y="190"/>
                                  <a:pt x="4" y="191"/>
                                </a:cubicBezTo>
                                <a:cubicBezTo>
                                  <a:pt x="3" y="197"/>
                                  <a:pt x="2" y="201"/>
                                  <a:pt x="9" y="204"/>
                                </a:cubicBezTo>
                                <a:cubicBezTo>
                                  <a:pt x="13" y="206"/>
                                  <a:pt x="17" y="207"/>
                                  <a:pt x="22" y="209"/>
                                </a:cubicBezTo>
                                <a:cubicBezTo>
                                  <a:pt x="33" y="213"/>
                                  <a:pt x="45" y="217"/>
                                  <a:pt x="49" y="223"/>
                                </a:cubicBezTo>
                                <a:cubicBezTo>
                                  <a:pt x="53" y="228"/>
                                  <a:pt x="48" y="237"/>
                                  <a:pt x="44" y="247"/>
                                </a:cubicBezTo>
                                <a:cubicBezTo>
                                  <a:pt x="43" y="248"/>
                                  <a:pt x="43" y="249"/>
                                  <a:pt x="43" y="250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66" name="Freeform 218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614975" y="3561847"/>
                            <a:ext cx="173831" cy="138112"/>
                          </a:xfrm>
                          <a:custGeom>
                            <a:avLst/>
                            <a:gdLst>
                              <a:gd name="T0" fmla="*/ 578 w 605"/>
                              <a:gd name="T1" fmla="*/ 195 h 482"/>
                              <a:gd name="T2" fmla="*/ 597 w 605"/>
                              <a:gd name="T3" fmla="*/ 164 h 482"/>
                              <a:gd name="T4" fmla="*/ 588 w 605"/>
                              <a:gd name="T5" fmla="*/ 130 h 482"/>
                              <a:gd name="T6" fmla="*/ 570 w 605"/>
                              <a:gd name="T7" fmla="*/ 93 h 482"/>
                              <a:gd name="T8" fmla="*/ 557 w 605"/>
                              <a:gd name="T9" fmla="*/ 58 h 482"/>
                              <a:gd name="T10" fmla="*/ 528 w 605"/>
                              <a:gd name="T11" fmla="*/ 51 h 482"/>
                              <a:gd name="T12" fmla="*/ 454 w 605"/>
                              <a:gd name="T13" fmla="*/ 51 h 482"/>
                              <a:gd name="T14" fmla="*/ 360 w 605"/>
                              <a:gd name="T15" fmla="*/ 44 h 482"/>
                              <a:gd name="T16" fmla="*/ 340 w 605"/>
                              <a:gd name="T17" fmla="*/ 40 h 482"/>
                              <a:gd name="T18" fmla="*/ 316 w 605"/>
                              <a:gd name="T19" fmla="*/ 55 h 482"/>
                              <a:gd name="T20" fmla="*/ 296 w 605"/>
                              <a:gd name="T21" fmla="*/ 44 h 482"/>
                              <a:gd name="T22" fmla="*/ 264 w 605"/>
                              <a:gd name="T23" fmla="*/ 23 h 482"/>
                              <a:gd name="T24" fmla="*/ 276 w 605"/>
                              <a:gd name="T25" fmla="*/ 16 h 482"/>
                              <a:gd name="T26" fmla="*/ 216 w 605"/>
                              <a:gd name="T27" fmla="*/ 7 h 482"/>
                              <a:gd name="T28" fmla="*/ 137 w 605"/>
                              <a:gd name="T29" fmla="*/ 38 h 482"/>
                              <a:gd name="T30" fmla="*/ 79 w 605"/>
                              <a:gd name="T31" fmla="*/ 61 h 482"/>
                              <a:gd name="T32" fmla="*/ 21 w 605"/>
                              <a:gd name="T33" fmla="*/ 74 h 482"/>
                              <a:gd name="T34" fmla="*/ 18 w 605"/>
                              <a:gd name="T35" fmla="*/ 89 h 482"/>
                              <a:gd name="T36" fmla="*/ 13 w 605"/>
                              <a:gd name="T37" fmla="*/ 107 h 482"/>
                              <a:gd name="T38" fmla="*/ 12 w 605"/>
                              <a:gd name="T39" fmla="*/ 120 h 482"/>
                              <a:gd name="T40" fmla="*/ 10 w 605"/>
                              <a:gd name="T41" fmla="*/ 157 h 482"/>
                              <a:gd name="T42" fmla="*/ 2 w 605"/>
                              <a:gd name="T43" fmla="*/ 168 h 482"/>
                              <a:gd name="T44" fmla="*/ 25 w 605"/>
                              <a:gd name="T45" fmla="*/ 191 h 482"/>
                              <a:gd name="T46" fmla="*/ 25 w 605"/>
                              <a:gd name="T47" fmla="*/ 213 h 482"/>
                              <a:gd name="T48" fmla="*/ 34 w 605"/>
                              <a:gd name="T49" fmla="*/ 237 h 482"/>
                              <a:gd name="T50" fmla="*/ 31 w 605"/>
                              <a:gd name="T51" fmla="*/ 260 h 482"/>
                              <a:gd name="T52" fmla="*/ 39 w 605"/>
                              <a:gd name="T53" fmla="*/ 282 h 482"/>
                              <a:gd name="T54" fmla="*/ 51 w 605"/>
                              <a:gd name="T55" fmla="*/ 305 h 482"/>
                              <a:gd name="T56" fmla="*/ 48 w 605"/>
                              <a:gd name="T57" fmla="*/ 327 h 482"/>
                              <a:gd name="T58" fmla="*/ 92 w 605"/>
                              <a:gd name="T59" fmla="*/ 345 h 482"/>
                              <a:gd name="T60" fmla="*/ 109 w 605"/>
                              <a:gd name="T61" fmla="*/ 347 h 482"/>
                              <a:gd name="T62" fmla="*/ 135 w 605"/>
                              <a:gd name="T63" fmla="*/ 368 h 482"/>
                              <a:gd name="T64" fmla="*/ 139 w 605"/>
                              <a:gd name="T65" fmla="*/ 384 h 482"/>
                              <a:gd name="T66" fmla="*/ 165 w 605"/>
                              <a:gd name="T67" fmla="*/ 380 h 482"/>
                              <a:gd name="T68" fmla="*/ 193 w 605"/>
                              <a:gd name="T69" fmla="*/ 374 h 482"/>
                              <a:gd name="T70" fmla="*/ 218 w 605"/>
                              <a:gd name="T71" fmla="*/ 394 h 482"/>
                              <a:gd name="T72" fmla="*/ 237 w 605"/>
                              <a:gd name="T73" fmla="*/ 404 h 482"/>
                              <a:gd name="T74" fmla="*/ 270 w 605"/>
                              <a:gd name="T75" fmla="*/ 420 h 482"/>
                              <a:gd name="T76" fmla="*/ 295 w 605"/>
                              <a:gd name="T77" fmla="*/ 451 h 482"/>
                              <a:gd name="T78" fmla="*/ 325 w 605"/>
                              <a:gd name="T79" fmla="*/ 443 h 482"/>
                              <a:gd name="T80" fmla="*/ 339 w 605"/>
                              <a:gd name="T81" fmla="*/ 449 h 482"/>
                              <a:gd name="T82" fmla="*/ 363 w 605"/>
                              <a:gd name="T83" fmla="*/ 463 h 482"/>
                              <a:gd name="T84" fmla="*/ 397 w 605"/>
                              <a:gd name="T85" fmla="*/ 459 h 482"/>
                              <a:gd name="T86" fmla="*/ 430 w 605"/>
                              <a:gd name="T87" fmla="*/ 459 h 482"/>
                              <a:gd name="T88" fmla="*/ 463 w 605"/>
                              <a:gd name="T89" fmla="*/ 454 h 482"/>
                              <a:gd name="T90" fmla="*/ 500 w 605"/>
                              <a:gd name="T91" fmla="*/ 471 h 482"/>
                              <a:gd name="T92" fmla="*/ 526 w 605"/>
                              <a:gd name="T93" fmla="*/ 480 h 482"/>
                              <a:gd name="T94" fmla="*/ 522 w 605"/>
                              <a:gd name="T95" fmla="*/ 468 h 482"/>
                              <a:gd name="T96" fmla="*/ 527 w 605"/>
                              <a:gd name="T97" fmla="*/ 435 h 482"/>
                              <a:gd name="T98" fmla="*/ 527 w 605"/>
                              <a:gd name="T99" fmla="*/ 435 h 482"/>
                              <a:gd name="T100" fmla="*/ 552 w 605"/>
                              <a:gd name="T101" fmla="*/ 409 h 482"/>
                              <a:gd name="T102" fmla="*/ 587 w 605"/>
                              <a:gd name="T103" fmla="*/ 380 h 482"/>
                              <a:gd name="T104" fmla="*/ 604 w 605"/>
                              <a:gd name="T105" fmla="*/ 366 h 482"/>
                              <a:gd name="T106" fmla="*/ 601 w 605"/>
                              <a:gd name="T107" fmla="*/ 347 h 482"/>
                              <a:gd name="T108" fmla="*/ 604 w 605"/>
                              <a:gd name="T109" fmla="*/ 333 h 482"/>
                              <a:gd name="T110" fmla="*/ 585 w 605"/>
                              <a:gd name="T111" fmla="*/ 303 h 482"/>
                              <a:gd name="T112" fmla="*/ 574 w 605"/>
                              <a:gd name="T113" fmla="*/ 261 h 482"/>
                              <a:gd name="T114" fmla="*/ 570 w 605"/>
                              <a:gd name="T115" fmla="*/ 236 h 482"/>
                              <a:gd name="T116" fmla="*/ 556 w 605"/>
                              <a:gd name="T117" fmla="*/ 216 h 482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</a:cxnLst>
                            <a:rect l="0" t="0" r="r" b="b"/>
                            <a:pathLst>
                              <a:path w="605" h="482">
                                <a:moveTo>
                                  <a:pt x="572" y="199"/>
                                </a:moveTo>
                                <a:cubicBezTo>
                                  <a:pt x="574" y="198"/>
                                  <a:pt x="576" y="197"/>
                                  <a:pt x="578" y="195"/>
                                </a:cubicBezTo>
                                <a:cubicBezTo>
                                  <a:pt x="578" y="195"/>
                                  <a:pt x="578" y="195"/>
                                  <a:pt x="578" y="195"/>
                                </a:cubicBezTo>
                                <a:cubicBezTo>
                                  <a:pt x="586" y="189"/>
                                  <a:pt x="596" y="181"/>
                                  <a:pt x="597" y="164"/>
                                </a:cubicBezTo>
                                <a:cubicBezTo>
                                  <a:pt x="597" y="155"/>
                                  <a:pt x="597" y="149"/>
                                  <a:pt x="596" y="144"/>
                                </a:cubicBezTo>
                                <a:cubicBezTo>
                                  <a:pt x="594" y="139"/>
                                  <a:pt x="592" y="135"/>
                                  <a:pt x="588" y="130"/>
                                </a:cubicBezTo>
                                <a:cubicBezTo>
                                  <a:pt x="581" y="123"/>
                                  <a:pt x="578" y="115"/>
                                  <a:pt x="575" y="105"/>
                                </a:cubicBezTo>
                                <a:cubicBezTo>
                                  <a:pt x="573" y="101"/>
                                  <a:pt x="572" y="97"/>
                                  <a:pt x="570" y="93"/>
                                </a:cubicBezTo>
                                <a:cubicBezTo>
                                  <a:pt x="567" y="87"/>
                                  <a:pt x="566" y="81"/>
                                  <a:pt x="565" y="76"/>
                                </a:cubicBezTo>
                                <a:cubicBezTo>
                                  <a:pt x="563" y="69"/>
                                  <a:pt x="562" y="63"/>
                                  <a:pt x="557" y="58"/>
                                </a:cubicBezTo>
                                <a:cubicBezTo>
                                  <a:pt x="548" y="50"/>
                                  <a:pt x="544" y="50"/>
                                  <a:pt x="530" y="51"/>
                                </a:cubicBezTo>
                                <a:cubicBezTo>
                                  <a:pt x="528" y="51"/>
                                  <a:pt x="528" y="51"/>
                                  <a:pt x="528" y="51"/>
                                </a:cubicBezTo>
                                <a:cubicBezTo>
                                  <a:pt x="517" y="51"/>
                                  <a:pt x="500" y="51"/>
                                  <a:pt x="483" y="51"/>
                                </a:cubicBezTo>
                                <a:cubicBezTo>
                                  <a:pt x="475" y="51"/>
                                  <a:pt x="466" y="51"/>
                                  <a:pt x="454" y="51"/>
                                </a:cubicBezTo>
                                <a:cubicBezTo>
                                  <a:pt x="440" y="51"/>
                                  <a:pt x="423" y="51"/>
                                  <a:pt x="407" y="50"/>
                                </a:cubicBezTo>
                                <a:cubicBezTo>
                                  <a:pt x="390" y="49"/>
                                  <a:pt x="373" y="47"/>
                                  <a:pt x="360" y="44"/>
                                </a:cubicBezTo>
                                <a:cubicBezTo>
                                  <a:pt x="355" y="43"/>
                                  <a:pt x="352" y="42"/>
                                  <a:pt x="348" y="42"/>
                                </a:cubicBezTo>
                                <a:cubicBezTo>
                                  <a:pt x="345" y="41"/>
                                  <a:pt x="343" y="40"/>
                                  <a:pt x="340" y="40"/>
                                </a:cubicBezTo>
                                <a:cubicBezTo>
                                  <a:pt x="339" y="43"/>
                                  <a:pt x="336" y="51"/>
                                  <a:pt x="331" y="53"/>
                                </a:cubicBezTo>
                                <a:cubicBezTo>
                                  <a:pt x="326" y="55"/>
                                  <a:pt x="317" y="59"/>
                                  <a:pt x="316" y="55"/>
                                </a:cubicBezTo>
                                <a:cubicBezTo>
                                  <a:pt x="314" y="50"/>
                                  <a:pt x="320" y="45"/>
                                  <a:pt x="315" y="44"/>
                                </a:cubicBezTo>
                                <a:cubicBezTo>
                                  <a:pt x="311" y="43"/>
                                  <a:pt x="302" y="42"/>
                                  <a:pt x="296" y="44"/>
                                </a:cubicBezTo>
                                <a:cubicBezTo>
                                  <a:pt x="291" y="45"/>
                                  <a:pt x="281" y="46"/>
                                  <a:pt x="276" y="40"/>
                                </a:cubicBezTo>
                                <a:cubicBezTo>
                                  <a:pt x="271" y="35"/>
                                  <a:pt x="264" y="27"/>
                                  <a:pt x="264" y="23"/>
                                </a:cubicBezTo>
                                <a:cubicBezTo>
                                  <a:pt x="264" y="18"/>
                                  <a:pt x="266" y="13"/>
                                  <a:pt x="271" y="16"/>
                                </a:cubicBezTo>
                                <a:cubicBezTo>
                                  <a:pt x="276" y="20"/>
                                  <a:pt x="280" y="20"/>
                                  <a:pt x="276" y="16"/>
                                </a:cubicBezTo>
                                <a:cubicBezTo>
                                  <a:pt x="272" y="12"/>
                                  <a:pt x="268" y="5"/>
                                  <a:pt x="260" y="4"/>
                                </a:cubicBezTo>
                                <a:cubicBezTo>
                                  <a:pt x="251" y="3"/>
                                  <a:pt x="238" y="0"/>
                                  <a:pt x="216" y="7"/>
                                </a:cubicBezTo>
                                <a:cubicBezTo>
                                  <a:pt x="194" y="14"/>
                                  <a:pt x="177" y="22"/>
                                  <a:pt x="165" y="26"/>
                                </a:cubicBezTo>
                                <a:cubicBezTo>
                                  <a:pt x="154" y="31"/>
                                  <a:pt x="146" y="28"/>
                                  <a:pt x="137" y="38"/>
                                </a:cubicBezTo>
                                <a:cubicBezTo>
                                  <a:pt x="129" y="48"/>
                                  <a:pt x="122" y="52"/>
                                  <a:pt x="113" y="55"/>
                                </a:cubicBezTo>
                                <a:cubicBezTo>
                                  <a:pt x="103" y="58"/>
                                  <a:pt x="86" y="58"/>
                                  <a:pt x="79" y="61"/>
                                </a:cubicBezTo>
                                <a:cubicBezTo>
                                  <a:pt x="71" y="64"/>
                                  <a:pt x="70" y="68"/>
                                  <a:pt x="53" y="70"/>
                                </a:cubicBezTo>
                                <a:cubicBezTo>
                                  <a:pt x="36" y="72"/>
                                  <a:pt x="27" y="69"/>
                                  <a:pt x="21" y="74"/>
                                </a:cubicBezTo>
                                <a:cubicBezTo>
                                  <a:pt x="16" y="78"/>
                                  <a:pt x="9" y="78"/>
                                  <a:pt x="9" y="82"/>
                                </a:cubicBezTo>
                                <a:cubicBezTo>
                                  <a:pt x="9" y="85"/>
                                  <a:pt x="13" y="89"/>
                                  <a:pt x="18" y="89"/>
                                </a:cubicBezTo>
                                <a:cubicBezTo>
                                  <a:pt x="23" y="89"/>
                                  <a:pt x="26" y="94"/>
                                  <a:pt x="24" y="100"/>
                                </a:cubicBezTo>
                                <a:cubicBezTo>
                                  <a:pt x="22" y="106"/>
                                  <a:pt x="23" y="109"/>
                                  <a:pt x="13" y="107"/>
                                </a:cubicBezTo>
                                <a:cubicBezTo>
                                  <a:pt x="10" y="106"/>
                                  <a:pt x="10" y="106"/>
                                  <a:pt x="10" y="106"/>
                                </a:cubicBezTo>
                                <a:cubicBezTo>
                                  <a:pt x="10" y="110"/>
                                  <a:pt x="11" y="115"/>
                                  <a:pt x="12" y="120"/>
                                </a:cubicBezTo>
                                <a:cubicBezTo>
                                  <a:pt x="14" y="126"/>
                                  <a:pt x="16" y="132"/>
                                  <a:pt x="16" y="139"/>
                                </a:cubicBezTo>
                                <a:cubicBezTo>
                                  <a:pt x="16" y="146"/>
                                  <a:pt x="15" y="152"/>
                                  <a:pt x="10" y="157"/>
                                </a:cubicBezTo>
                                <a:cubicBezTo>
                                  <a:pt x="9" y="158"/>
                                  <a:pt x="7" y="160"/>
                                  <a:pt x="5" y="161"/>
                                </a:cubicBezTo>
                                <a:cubicBezTo>
                                  <a:pt x="2" y="164"/>
                                  <a:pt x="0" y="165"/>
                                  <a:pt x="2" y="168"/>
                                </a:cubicBezTo>
                                <a:cubicBezTo>
                                  <a:pt x="4" y="172"/>
                                  <a:pt x="9" y="176"/>
                                  <a:pt x="13" y="179"/>
                                </a:cubicBezTo>
                                <a:cubicBezTo>
                                  <a:pt x="18" y="183"/>
                                  <a:pt x="22" y="187"/>
                                  <a:pt x="25" y="191"/>
                                </a:cubicBezTo>
                                <a:cubicBezTo>
                                  <a:pt x="29" y="196"/>
                                  <a:pt x="28" y="200"/>
                                  <a:pt x="26" y="204"/>
                                </a:cubicBezTo>
                                <a:cubicBezTo>
                                  <a:pt x="25" y="207"/>
                                  <a:pt x="24" y="209"/>
                                  <a:pt x="25" y="213"/>
                                </a:cubicBezTo>
                                <a:cubicBezTo>
                                  <a:pt x="25" y="215"/>
                                  <a:pt x="27" y="217"/>
                                  <a:pt x="28" y="219"/>
                                </a:cubicBezTo>
                                <a:cubicBezTo>
                                  <a:pt x="31" y="223"/>
                                  <a:pt x="35" y="227"/>
                                  <a:pt x="34" y="237"/>
                                </a:cubicBezTo>
                                <a:cubicBezTo>
                                  <a:pt x="34" y="244"/>
                                  <a:pt x="32" y="248"/>
                                  <a:pt x="31" y="251"/>
                                </a:cubicBezTo>
                                <a:cubicBezTo>
                                  <a:pt x="30" y="253"/>
                                  <a:pt x="29" y="255"/>
                                  <a:pt x="31" y="260"/>
                                </a:cubicBezTo>
                                <a:cubicBezTo>
                                  <a:pt x="32" y="264"/>
                                  <a:pt x="32" y="267"/>
                                  <a:pt x="33" y="270"/>
                                </a:cubicBezTo>
                                <a:cubicBezTo>
                                  <a:pt x="33" y="274"/>
                                  <a:pt x="34" y="277"/>
                                  <a:pt x="39" y="282"/>
                                </a:cubicBezTo>
                                <a:cubicBezTo>
                                  <a:pt x="44" y="287"/>
                                  <a:pt x="47" y="291"/>
                                  <a:pt x="49" y="295"/>
                                </a:cubicBezTo>
                                <a:cubicBezTo>
                                  <a:pt x="50" y="299"/>
                                  <a:pt x="51" y="302"/>
                                  <a:pt x="51" y="305"/>
                                </a:cubicBezTo>
                                <a:cubicBezTo>
                                  <a:pt x="50" y="309"/>
                                  <a:pt x="47" y="321"/>
                                  <a:pt x="46" y="327"/>
                                </a:cubicBezTo>
                                <a:cubicBezTo>
                                  <a:pt x="46" y="327"/>
                                  <a:pt x="47" y="327"/>
                                  <a:pt x="48" y="327"/>
                                </a:cubicBezTo>
                                <a:cubicBezTo>
                                  <a:pt x="57" y="327"/>
                                  <a:pt x="66" y="326"/>
                                  <a:pt x="68" y="335"/>
                                </a:cubicBezTo>
                                <a:cubicBezTo>
                                  <a:pt x="69" y="340"/>
                                  <a:pt x="80" y="342"/>
                                  <a:pt x="92" y="345"/>
                                </a:cubicBezTo>
                                <a:cubicBezTo>
                                  <a:pt x="95" y="345"/>
                                  <a:pt x="95" y="345"/>
                                  <a:pt x="95" y="345"/>
                                </a:cubicBezTo>
                                <a:cubicBezTo>
                                  <a:pt x="100" y="346"/>
                                  <a:pt x="105" y="347"/>
                                  <a:pt x="109" y="347"/>
                                </a:cubicBezTo>
                                <a:cubicBezTo>
                                  <a:pt x="117" y="347"/>
                                  <a:pt x="123" y="348"/>
                                  <a:pt x="131" y="352"/>
                                </a:cubicBezTo>
                                <a:cubicBezTo>
                                  <a:pt x="140" y="358"/>
                                  <a:pt x="138" y="362"/>
                                  <a:pt x="135" y="368"/>
                                </a:cubicBezTo>
                                <a:cubicBezTo>
                                  <a:pt x="134" y="370"/>
                                  <a:pt x="132" y="372"/>
                                  <a:pt x="133" y="375"/>
                                </a:cubicBezTo>
                                <a:cubicBezTo>
                                  <a:pt x="133" y="378"/>
                                  <a:pt x="136" y="381"/>
                                  <a:pt x="139" y="384"/>
                                </a:cubicBezTo>
                                <a:cubicBezTo>
                                  <a:pt x="144" y="388"/>
                                  <a:pt x="149" y="390"/>
                                  <a:pt x="151" y="390"/>
                                </a:cubicBezTo>
                                <a:cubicBezTo>
                                  <a:pt x="153" y="390"/>
                                  <a:pt x="160" y="385"/>
                                  <a:pt x="165" y="380"/>
                                </a:cubicBezTo>
                                <a:cubicBezTo>
                                  <a:pt x="168" y="378"/>
                                  <a:pt x="171" y="375"/>
                                  <a:pt x="172" y="374"/>
                                </a:cubicBezTo>
                                <a:cubicBezTo>
                                  <a:pt x="176" y="372"/>
                                  <a:pt x="185" y="372"/>
                                  <a:pt x="193" y="374"/>
                                </a:cubicBezTo>
                                <a:cubicBezTo>
                                  <a:pt x="200" y="375"/>
                                  <a:pt x="207" y="378"/>
                                  <a:pt x="211" y="382"/>
                                </a:cubicBezTo>
                                <a:cubicBezTo>
                                  <a:pt x="216" y="386"/>
                                  <a:pt x="217" y="390"/>
                                  <a:pt x="218" y="394"/>
                                </a:cubicBezTo>
                                <a:cubicBezTo>
                                  <a:pt x="219" y="397"/>
                                  <a:pt x="220" y="400"/>
                                  <a:pt x="224" y="404"/>
                                </a:cubicBezTo>
                                <a:cubicBezTo>
                                  <a:pt x="227" y="407"/>
                                  <a:pt x="232" y="406"/>
                                  <a:pt x="237" y="404"/>
                                </a:cubicBezTo>
                                <a:cubicBezTo>
                                  <a:pt x="243" y="403"/>
                                  <a:pt x="249" y="402"/>
                                  <a:pt x="255" y="405"/>
                                </a:cubicBezTo>
                                <a:cubicBezTo>
                                  <a:pt x="260" y="408"/>
                                  <a:pt x="265" y="414"/>
                                  <a:pt x="270" y="420"/>
                                </a:cubicBezTo>
                                <a:cubicBezTo>
                                  <a:pt x="276" y="428"/>
                                  <a:pt x="282" y="436"/>
                                  <a:pt x="286" y="443"/>
                                </a:cubicBezTo>
                                <a:cubicBezTo>
                                  <a:pt x="288" y="448"/>
                                  <a:pt x="291" y="450"/>
                                  <a:pt x="295" y="451"/>
                                </a:cubicBezTo>
                                <a:cubicBezTo>
                                  <a:pt x="299" y="452"/>
                                  <a:pt x="305" y="450"/>
                                  <a:pt x="310" y="448"/>
                                </a:cubicBezTo>
                                <a:cubicBezTo>
                                  <a:pt x="315" y="445"/>
                                  <a:pt x="321" y="443"/>
                                  <a:pt x="325" y="443"/>
                                </a:cubicBezTo>
                                <a:cubicBezTo>
                                  <a:pt x="325" y="443"/>
                                  <a:pt x="325" y="443"/>
                                  <a:pt x="325" y="443"/>
                                </a:cubicBezTo>
                                <a:cubicBezTo>
                                  <a:pt x="331" y="443"/>
                                  <a:pt x="335" y="445"/>
                                  <a:pt x="339" y="449"/>
                                </a:cubicBezTo>
                                <a:cubicBezTo>
                                  <a:pt x="341" y="453"/>
                                  <a:pt x="345" y="457"/>
                                  <a:pt x="349" y="460"/>
                                </a:cubicBezTo>
                                <a:cubicBezTo>
                                  <a:pt x="353" y="463"/>
                                  <a:pt x="358" y="465"/>
                                  <a:pt x="363" y="463"/>
                                </a:cubicBezTo>
                                <a:cubicBezTo>
                                  <a:pt x="369" y="461"/>
                                  <a:pt x="375" y="459"/>
                                  <a:pt x="380" y="458"/>
                                </a:cubicBezTo>
                                <a:cubicBezTo>
                                  <a:pt x="385" y="457"/>
                                  <a:pt x="391" y="457"/>
                                  <a:pt x="397" y="459"/>
                                </a:cubicBezTo>
                                <a:cubicBezTo>
                                  <a:pt x="403" y="460"/>
                                  <a:pt x="409" y="461"/>
                                  <a:pt x="414" y="461"/>
                                </a:cubicBezTo>
                                <a:cubicBezTo>
                                  <a:pt x="420" y="461"/>
                                  <a:pt x="425" y="460"/>
                                  <a:pt x="430" y="459"/>
                                </a:cubicBezTo>
                                <a:cubicBezTo>
                                  <a:pt x="433" y="458"/>
                                  <a:pt x="435" y="457"/>
                                  <a:pt x="437" y="457"/>
                                </a:cubicBezTo>
                                <a:cubicBezTo>
                                  <a:pt x="444" y="454"/>
                                  <a:pt x="450" y="452"/>
                                  <a:pt x="463" y="454"/>
                                </a:cubicBezTo>
                                <a:cubicBezTo>
                                  <a:pt x="474" y="455"/>
                                  <a:pt x="479" y="459"/>
                                  <a:pt x="485" y="463"/>
                                </a:cubicBezTo>
                                <a:cubicBezTo>
                                  <a:pt x="489" y="466"/>
                                  <a:pt x="493" y="469"/>
                                  <a:pt x="500" y="471"/>
                                </a:cubicBezTo>
                                <a:cubicBezTo>
                                  <a:pt x="515" y="477"/>
                                  <a:pt x="519" y="479"/>
                                  <a:pt x="525" y="482"/>
                                </a:cubicBezTo>
                                <a:cubicBezTo>
                                  <a:pt x="526" y="481"/>
                                  <a:pt x="526" y="480"/>
                                  <a:pt x="526" y="480"/>
                                </a:cubicBezTo>
                                <a:cubicBezTo>
                                  <a:pt x="524" y="476"/>
                                  <a:pt x="523" y="472"/>
                                  <a:pt x="522" y="468"/>
                                </a:cubicBezTo>
                                <a:cubicBezTo>
                                  <a:pt x="522" y="468"/>
                                  <a:pt x="522" y="468"/>
                                  <a:pt x="522" y="468"/>
                                </a:cubicBezTo>
                                <a:cubicBezTo>
                                  <a:pt x="521" y="463"/>
                                  <a:pt x="520" y="459"/>
                                  <a:pt x="520" y="453"/>
                                </a:cubicBezTo>
                                <a:cubicBezTo>
                                  <a:pt x="520" y="441"/>
                                  <a:pt x="523" y="439"/>
                                  <a:pt x="527" y="435"/>
                                </a:cubicBezTo>
                                <a:cubicBezTo>
                                  <a:pt x="527" y="435"/>
                                  <a:pt x="527" y="435"/>
                                  <a:pt x="527" y="435"/>
                                </a:cubicBezTo>
                                <a:cubicBezTo>
                                  <a:pt x="527" y="435"/>
                                  <a:pt x="527" y="435"/>
                                  <a:pt x="527" y="435"/>
                                </a:cubicBezTo>
                                <a:cubicBezTo>
                                  <a:pt x="529" y="434"/>
                                  <a:pt x="536" y="427"/>
                                  <a:pt x="542" y="421"/>
                                </a:cubicBezTo>
                                <a:cubicBezTo>
                                  <a:pt x="546" y="416"/>
                                  <a:pt x="550" y="412"/>
                                  <a:pt x="552" y="409"/>
                                </a:cubicBezTo>
                                <a:cubicBezTo>
                                  <a:pt x="555" y="405"/>
                                  <a:pt x="562" y="398"/>
                                  <a:pt x="570" y="391"/>
                                </a:cubicBezTo>
                                <a:cubicBezTo>
                                  <a:pt x="576" y="386"/>
                                  <a:pt x="583" y="382"/>
                                  <a:pt x="587" y="380"/>
                                </a:cubicBezTo>
                                <a:cubicBezTo>
                                  <a:pt x="591" y="378"/>
                                  <a:pt x="596" y="376"/>
                                  <a:pt x="599" y="373"/>
                                </a:cubicBezTo>
                                <a:cubicBezTo>
                                  <a:pt x="602" y="371"/>
                                  <a:pt x="604" y="368"/>
                                  <a:pt x="604" y="366"/>
                                </a:cubicBezTo>
                                <a:cubicBezTo>
                                  <a:pt x="605" y="362"/>
                                  <a:pt x="604" y="359"/>
                                  <a:pt x="603" y="355"/>
                                </a:cubicBezTo>
                                <a:cubicBezTo>
                                  <a:pt x="602" y="353"/>
                                  <a:pt x="602" y="350"/>
                                  <a:pt x="601" y="347"/>
                                </a:cubicBezTo>
                                <a:cubicBezTo>
                                  <a:pt x="600" y="340"/>
                                  <a:pt x="602" y="338"/>
                                  <a:pt x="603" y="335"/>
                                </a:cubicBezTo>
                                <a:cubicBezTo>
                                  <a:pt x="604" y="334"/>
                                  <a:pt x="604" y="334"/>
                                  <a:pt x="604" y="333"/>
                                </a:cubicBezTo>
                                <a:cubicBezTo>
                                  <a:pt x="603" y="329"/>
                                  <a:pt x="598" y="322"/>
                                  <a:pt x="593" y="315"/>
                                </a:cubicBezTo>
                                <a:cubicBezTo>
                                  <a:pt x="590" y="311"/>
                                  <a:pt x="587" y="307"/>
                                  <a:pt x="585" y="303"/>
                                </a:cubicBezTo>
                                <a:cubicBezTo>
                                  <a:pt x="582" y="297"/>
                                  <a:pt x="578" y="290"/>
                                  <a:pt x="576" y="282"/>
                                </a:cubicBezTo>
                                <a:cubicBezTo>
                                  <a:pt x="575" y="276"/>
                                  <a:pt x="574" y="268"/>
                                  <a:pt x="574" y="261"/>
                                </a:cubicBezTo>
                                <a:cubicBezTo>
                                  <a:pt x="574" y="258"/>
                                  <a:pt x="574" y="255"/>
                                  <a:pt x="574" y="253"/>
                                </a:cubicBezTo>
                                <a:cubicBezTo>
                                  <a:pt x="575" y="244"/>
                                  <a:pt x="575" y="240"/>
                                  <a:pt x="570" y="236"/>
                                </a:cubicBezTo>
                                <a:cubicBezTo>
                                  <a:pt x="569" y="234"/>
                                  <a:pt x="567" y="233"/>
                                  <a:pt x="566" y="231"/>
                                </a:cubicBezTo>
                                <a:cubicBezTo>
                                  <a:pt x="560" y="226"/>
                                  <a:pt x="555" y="221"/>
                                  <a:pt x="556" y="216"/>
                                </a:cubicBezTo>
                                <a:cubicBezTo>
                                  <a:pt x="557" y="210"/>
                                  <a:pt x="564" y="205"/>
                                  <a:pt x="572" y="199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67" name="Freeform 240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826906" y="3854741"/>
                            <a:ext cx="329803" cy="128587"/>
                          </a:xfrm>
                          <a:custGeom>
                            <a:avLst/>
                            <a:gdLst>
                              <a:gd name="T0" fmla="*/ 733 w 1150"/>
                              <a:gd name="T1" fmla="*/ 77 h 446"/>
                              <a:gd name="T2" fmla="*/ 658 w 1150"/>
                              <a:gd name="T3" fmla="*/ 51 h 446"/>
                              <a:gd name="T4" fmla="*/ 598 w 1150"/>
                              <a:gd name="T5" fmla="*/ 26 h 446"/>
                              <a:gd name="T6" fmla="*/ 539 w 1150"/>
                              <a:gd name="T7" fmla="*/ 6 h 446"/>
                              <a:gd name="T8" fmla="*/ 415 w 1150"/>
                              <a:gd name="T9" fmla="*/ 13 h 446"/>
                              <a:gd name="T10" fmla="*/ 304 w 1150"/>
                              <a:gd name="T11" fmla="*/ 72 h 446"/>
                              <a:gd name="T12" fmla="*/ 217 w 1150"/>
                              <a:gd name="T13" fmla="*/ 64 h 446"/>
                              <a:gd name="T14" fmla="*/ 190 w 1150"/>
                              <a:gd name="T15" fmla="*/ 87 h 446"/>
                              <a:gd name="T16" fmla="*/ 189 w 1150"/>
                              <a:gd name="T17" fmla="*/ 104 h 446"/>
                              <a:gd name="T18" fmla="*/ 175 w 1150"/>
                              <a:gd name="T19" fmla="*/ 126 h 446"/>
                              <a:gd name="T20" fmla="*/ 109 w 1150"/>
                              <a:gd name="T21" fmla="*/ 116 h 446"/>
                              <a:gd name="T22" fmla="*/ 73 w 1150"/>
                              <a:gd name="T23" fmla="*/ 124 h 446"/>
                              <a:gd name="T24" fmla="*/ 5 w 1150"/>
                              <a:gd name="T25" fmla="*/ 156 h 446"/>
                              <a:gd name="T26" fmla="*/ 30 w 1150"/>
                              <a:gd name="T27" fmla="*/ 183 h 446"/>
                              <a:gd name="T28" fmla="*/ 39 w 1150"/>
                              <a:gd name="T29" fmla="*/ 215 h 446"/>
                              <a:gd name="T30" fmla="*/ 39 w 1150"/>
                              <a:gd name="T31" fmla="*/ 248 h 446"/>
                              <a:gd name="T32" fmla="*/ 27 w 1150"/>
                              <a:gd name="T33" fmla="*/ 262 h 446"/>
                              <a:gd name="T34" fmla="*/ 21 w 1150"/>
                              <a:gd name="T35" fmla="*/ 281 h 446"/>
                              <a:gd name="T36" fmla="*/ 66 w 1150"/>
                              <a:gd name="T37" fmla="*/ 315 h 446"/>
                              <a:gd name="T38" fmla="*/ 69 w 1150"/>
                              <a:gd name="T39" fmla="*/ 343 h 446"/>
                              <a:gd name="T40" fmla="*/ 69 w 1150"/>
                              <a:gd name="T41" fmla="*/ 360 h 446"/>
                              <a:gd name="T42" fmla="*/ 126 w 1150"/>
                              <a:gd name="T43" fmla="*/ 368 h 446"/>
                              <a:gd name="T44" fmla="*/ 151 w 1150"/>
                              <a:gd name="T45" fmla="*/ 384 h 446"/>
                              <a:gd name="T46" fmla="*/ 200 w 1150"/>
                              <a:gd name="T47" fmla="*/ 421 h 446"/>
                              <a:gd name="T48" fmla="*/ 272 w 1150"/>
                              <a:gd name="T49" fmla="*/ 399 h 446"/>
                              <a:gd name="T50" fmla="*/ 389 w 1150"/>
                              <a:gd name="T51" fmla="*/ 426 h 446"/>
                              <a:gd name="T52" fmla="*/ 492 w 1150"/>
                              <a:gd name="T53" fmla="*/ 409 h 446"/>
                              <a:gd name="T54" fmla="*/ 594 w 1150"/>
                              <a:gd name="T55" fmla="*/ 383 h 446"/>
                              <a:gd name="T56" fmla="*/ 602 w 1150"/>
                              <a:gd name="T57" fmla="*/ 428 h 446"/>
                              <a:gd name="T58" fmla="*/ 638 w 1150"/>
                              <a:gd name="T59" fmla="*/ 417 h 446"/>
                              <a:gd name="T60" fmla="*/ 678 w 1150"/>
                              <a:gd name="T61" fmla="*/ 390 h 446"/>
                              <a:gd name="T62" fmla="*/ 772 w 1150"/>
                              <a:gd name="T63" fmla="*/ 376 h 446"/>
                              <a:gd name="T64" fmla="*/ 895 w 1150"/>
                              <a:gd name="T65" fmla="*/ 358 h 446"/>
                              <a:gd name="T66" fmla="*/ 987 w 1150"/>
                              <a:gd name="T67" fmla="*/ 345 h 446"/>
                              <a:gd name="T68" fmla="*/ 1056 w 1150"/>
                              <a:gd name="T69" fmla="*/ 338 h 446"/>
                              <a:gd name="T70" fmla="*/ 1115 w 1150"/>
                              <a:gd name="T71" fmla="*/ 343 h 446"/>
                              <a:gd name="T72" fmla="*/ 1147 w 1150"/>
                              <a:gd name="T73" fmla="*/ 348 h 446"/>
                              <a:gd name="T74" fmla="*/ 1132 w 1150"/>
                              <a:gd name="T75" fmla="*/ 317 h 446"/>
                              <a:gd name="T76" fmla="*/ 1132 w 1150"/>
                              <a:gd name="T77" fmla="*/ 275 h 446"/>
                              <a:gd name="T78" fmla="*/ 1119 w 1150"/>
                              <a:gd name="T79" fmla="*/ 236 h 446"/>
                              <a:gd name="T80" fmla="*/ 1104 w 1150"/>
                              <a:gd name="T81" fmla="*/ 211 h 446"/>
                              <a:gd name="T82" fmla="*/ 1129 w 1150"/>
                              <a:gd name="T83" fmla="*/ 179 h 446"/>
                              <a:gd name="T84" fmla="*/ 1136 w 1150"/>
                              <a:gd name="T85" fmla="*/ 160 h 446"/>
                              <a:gd name="T86" fmla="*/ 1088 w 1150"/>
                              <a:gd name="T87" fmla="*/ 146 h 446"/>
                              <a:gd name="T88" fmla="*/ 1080 w 1150"/>
                              <a:gd name="T89" fmla="*/ 94 h 446"/>
                              <a:gd name="T90" fmla="*/ 1040 w 1150"/>
                              <a:gd name="T91" fmla="*/ 46 h 446"/>
                              <a:gd name="T92" fmla="*/ 995 w 1150"/>
                              <a:gd name="T93" fmla="*/ 47 h 446"/>
                              <a:gd name="T94" fmla="*/ 942 w 1150"/>
                              <a:gd name="T95" fmla="*/ 45 h 446"/>
                              <a:gd name="T96" fmla="*/ 871 w 1150"/>
                              <a:gd name="T97" fmla="*/ 82 h 446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</a:cxnLst>
                            <a:rect l="0" t="0" r="r" b="b"/>
                            <a:pathLst>
                              <a:path w="1150" h="446">
                                <a:moveTo>
                                  <a:pt x="808" y="70"/>
                                </a:moveTo>
                                <a:cubicBezTo>
                                  <a:pt x="801" y="70"/>
                                  <a:pt x="790" y="73"/>
                                  <a:pt x="777" y="77"/>
                                </a:cubicBezTo>
                                <a:cubicBezTo>
                                  <a:pt x="764" y="82"/>
                                  <a:pt x="764" y="82"/>
                                  <a:pt x="754" y="82"/>
                                </a:cubicBezTo>
                                <a:cubicBezTo>
                                  <a:pt x="744" y="82"/>
                                  <a:pt x="742" y="81"/>
                                  <a:pt x="733" y="77"/>
                                </a:cubicBezTo>
                                <a:cubicBezTo>
                                  <a:pt x="725" y="72"/>
                                  <a:pt x="723" y="74"/>
                                  <a:pt x="713" y="71"/>
                                </a:cubicBezTo>
                                <a:cubicBezTo>
                                  <a:pt x="704" y="68"/>
                                  <a:pt x="702" y="70"/>
                                  <a:pt x="689" y="69"/>
                                </a:cubicBezTo>
                                <a:cubicBezTo>
                                  <a:pt x="675" y="69"/>
                                  <a:pt x="677" y="65"/>
                                  <a:pt x="671" y="61"/>
                                </a:cubicBezTo>
                                <a:cubicBezTo>
                                  <a:pt x="665" y="56"/>
                                  <a:pt x="663" y="52"/>
                                  <a:pt x="658" y="51"/>
                                </a:cubicBezTo>
                                <a:cubicBezTo>
                                  <a:pt x="652" y="50"/>
                                  <a:pt x="652" y="56"/>
                                  <a:pt x="639" y="58"/>
                                </a:cubicBezTo>
                                <a:cubicBezTo>
                                  <a:pt x="627" y="60"/>
                                  <a:pt x="631" y="57"/>
                                  <a:pt x="626" y="53"/>
                                </a:cubicBezTo>
                                <a:cubicBezTo>
                                  <a:pt x="621" y="49"/>
                                  <a:pt x="619" y="41"/>
                                  <a:pt x="615" y="34"/>
                                </a:cubicBezTo>
                                <a:cubicBezTo>
                                  <a:pt x="612" y="27"/>
                                  <a:pt x="605" y="23"/>
                                  <a:pt x="598" y="26"/>
                                </a:cubicBezTo>
                                <a:cubicBezTo>
                                  <a:pt x="591" y="30"/>
                                  <a:pt x="585" y="29"/>
                                  <a:pt x="576" y="29"/>
                                </a:cubicBezTo>
                                <a:cubicBezTo>
                                  <a:pt x="567" y="28"/>
                                  <a:pt x="567" y="24"/>
                                  <a:pt x="560" y="18"/>
                                </a:cubicBezTo>
                                <a:cubicBezTo>
                                  <a:pt x="553" y="13"/>
                                  <a:pt x="560" y="5"/>
                                  <a:pt x="554" y="3"/>
                                </a:cubicBezTo>
                                <a:cubicBezTo>
                                  <a:pt x="549" y="0"/>
                                  <a:pt x="545" y="2"/>
                                  <a:pt x="539" y="6"/>
                                </a:cubicBezTo>
                                <a:cubicBezTo>
                                  <a:pt x="533" y="9"/>
                                  <a:pt x="513" y="8"/>
                                  <a:pt x="504" y="8"/>
                                </a:cubicBezTo>
                                <a:cubicBezTo>
                                  <a:pt x="494" y="8"/>
                                  <a:pt x="486" y="8"/>
                                  <a:pt x="475" y="7"/>
                                </a:cubicBezTo>
                                <a:cubicBezTo>
                                  <a:pt x="463" y="6"/>
                                  <a:pt x="454" y="4"/>
                                  <a:pt x="442" y="4"/>
                                </a:cubicBezTo>
                                <a:cubicBezTo>
                                  <a:pt x="429" y="5"/>
                                  <a:pt x="430" y="9"/>
                                  <a:pt x="415" y="13"/>
                                </a:cubicBezTo>
                                <a:cubicBezTo>
                                  <a:pt x="399" y="16"/>
                                  <a:pt x="398" y="15"/>
                                  <a:pt x="388" y="21"/>
                                </a:cubicBezTo>
                                <a:cubicBezTo>
                                  <a:pt x="378" y="27"/>
                                  <a:pt x="373" y="29"/>
                                  <a:pt x="364" y="34"/>
                                </a:cubicBezTo>
                                <a:cubicBezTo>
                                  <a:pt x="354" y="39"/>
                                  <a:pt x="336" y="50"/>
                                  <a:pt x="331" y="54"/>
                                </a:cubicBezTo>
                                <a:cubicBezTo>
                                  <a:pt x="326" y="58"/>
                                  <a:pt x="318" y="66"/>
                                  <a:pt x="304" y="72"/>
                                </a:cubicBezTo>
                                <a:cubicBezTo>
                                  <a:pt x="291" y="78"/>
                                  <a:pt x="291" y="72"/>
                                  <a:pt x="282" y="69"/>
                                </a:cubicBezTo>
                                <a:cubicBezTo>
                                  <a:pt x="273" y="66"/>
                                  <a:pt x="267" y="64"/>
                                  <a:pt x="261" y="63"/>
                                </a:cubicBezTo>
                                <a:cubicBezTo>
                                  <a:pt x="254" y="62"/>
                                  <a:pt x="252" y="64"/>
                                  <a:pt x="241" y="65"/>
                                </a:cubicBezTo>
                                <a:cubicBezTo>
                                  <a:pt x="230" y="66"/>
                                  <a:pt x="226" y="65"/>
                                  <a:pt x="217" y="64"/>
                                </a:cubicBezTo>
                                <a:cubicBezTo>
                                  <a:pt x="208" y="63"/>
                                  <a:pt x="200" y="60"/>
                                  <a:pt x="192" y="60"/>
                                </a:cubicBezTo>
                                <a:cubicBezTo>
                                  <a:pt x="184" y="60"/>
                                  <a:pt x="186" y="64"/>
                                  <a:pt x="185" y="69"/>
                                </a:cubicBezTo>
                                <a:cubicBezTo>
                                  <a:pt x="184" y="73"/>
                                  <a:pt x="187" y="72"/>
                                  <a:pt x="188" y="77"/>
                                </a:cubicBezTo>
                                <a:cubicBezTo>
                                  <a:pt x="189" y="81"/>
                                  <a:pt x="188" y="82"/>
                                  <a:pt x="190" y="87"/>
                                </a:cubicBezTo>
                                <a:cubicBezTo>
                                  <a:pt x="192" y="91"/>
                                  <a:pt x="201" y="93"/>
                                  <a:pt x="211" y="95"/>
                                </a:cubicBezTo>
                                <a:cubicBezTo>
                                  <a:pt x="220" y="96"/>
                                  <a:pt x="223" y="96"/>
                                  <a:pt x="223" y="99"/>
                                </a:cubicBezTo>
                                <a:cubicBezTo>
                                  <a:pt x="222" y="102"/>
                                  <a:pt x="215" y="101"/>
                                  <a:pt x="206" y="102"/>
                                </a:cubicBezTo>
                                <a:cubicBezTo>
                                  <a:pt x="198" y="103"/>
                                  <a:pt x="197" y="104"/>
                                  <a:pt x="189" y="104"/>
                                </a:cubicBezTo>
                                <a:cubicBezTo>
                                  <a:pt x="181" y="104"/>
                                  <a:pt x="178" y="106"/>
                                  <a:pt x="174" y="106"/>
                                </a:cubicBezTo>
                                <a:cubicBezTo>
                                  <a:pt x="170" y="107"/>
                                  <a:pt x="167" y="114"/>
                                  <a:pt x="172" y="116"/>
                                </a:cubicBezTo>
                                <a:cubicBezTo>
                                  <a:pt x="177" y="118"/>
                                  <a:pt x="180" y="117"/>
                                  <a:pt x="183" y="120"/>
                                </a:cubicBezTo>
                                <a:cubicBezTo>
                                  <a:pt x="185" y="123"/>
                                  <a:pt x="181" y="123"/>
                                  <a:pt x="175" y="126"/>
                                </a:cubicBezTo>
                                <a:cubicBezTo>
                                  <a:pt x="170" y="129"/>
                                  <a:pt x="163" y="126"/>
                                  <a:pt x="156" y="124"/>
                                </a:cubicBezTo>
                                <a:cubicBezTo>
                                  <a:pt x="148" y="122"/>
                                  <a:pt x="147" y="123"/>
                                  <a:pt x="137" y="124"/>
                                </a:cubicBezTo>
                                <a:cubicBezTo>
                                  <a:pt x="127" y="125"/>
                                  <a:pt x="127" y="124"/>
                                  <a:pt x="117" y="124"/>
                                </a:cubicBezTo>
                                <a:cubicBezTo>
                                  <a:pt x="107" y="124"/>
                                  <a:pt x="112" y="120"/>
                                  <a:pt x="109" y="116"/>
                                </a:cubicBezTo>
                                <a:cubicBezTo>
                                  <a:pt x="106" y="112"/>
                                  <a:pt x="101" y="114"/>
                                  <a:pt x="102" y="118"/>
                                </a:cubicBezTo>
                                <a:cubicBezTo>
                                  <a:pt x="103" y="122"/>
                                  <a:pt x="104" y="123"/>
                                  <a:pt x="100" y="125"/>
                                </a:cubicBezTo>
                                <a:cubicBezTo>
                                  <a:pt x="96" y="128"/>
                                  <a:pt x="94" y="128"/>
                                  <a:pt x="88" y="130"/>
                                </a:cubicBezTo>
                                <a:cubicBezTo>
                                  <a:pt x="81" y="132"/>
                                  <a:pt x="79" y="128"/>
                                  <a:pt x="73" y="124"/>
                                </a:cubicBezTo>
                                <a:cubicBezTo>
                                  <a:pt x="68" y="120"/>
                                  <a:pt x="65" y="121"/>
                                  <a:pt x="61" y="121"/>
                                </a:cubicBezTo>
                                <a:cubicBezTo>
                                  <a:pt x="57" y="121"/>
                                  <a:pt x="46" y="127"/>
                                  <a:pt x="40" y="129"/>
                                </a:cubicBezTo>
                                <a:cubicBezTo>
                                  <a:pt x="34" y="132"/>
                                  <a:pt x="26" y="137"/>
                                  <a:pt x="22" y="140"/>
                                </a:cubicBezTo>
                                <a:cubicBezTo>
                                  <a:pt x="18" y="142"/>
                                  <a:pt x="8" y="151"/>
                                  <a:pt x="5" y="156"/>
                                </a:cubicBezTo>
                                <a:cubicBezTo>
                                  <a:pt x="1" y="160"/>
                                  <a:pt x="2" y="163"/>
                                  <a:pt x="2" y="171"/>
                                </a:cubicBezTo>
                                <a:cubicBezTo>
                                  <a:pt x="1" y="180"/>
                                  <a:pt x="0" y="181"/>
                                  <a:pt x="0" y="186"/>
                                </a:cubicBezTo>
                                <a:cubicBezTo>
                                  <a:pt x="0" y="190"/>
                                  <a:pt x="4" y="187"/>
                                  <a:pt x="11" y="186"/>
                                </a:cubicBezTo>
                                <a:cubicBezTo>
                                  <a:pt x="19" y="185"/>
                                  <a:pt x="24" y="183"/>
                                  <a:pt x="30" y="183"/>
                                </a:cubicBezTo>
                                <a:cubicBezTo>
                                  <a:pt x="36" y="182"/>
                                  <a:pt x="45" y="184"/>
                                  <a:pt x="47" y="187"/>
                                </a:cubicBezTo>
                                <a:cubicBezTo>
                                  <a:pt x="49" y="190"/>
                                  <a:pt x="44" y="192"/>
                                  <a:pt x="39" y="196"/>
                                </a:cubicBezTo>
                                <a:cubicBezTo>
                                  <a:pt x="35" y="200"/>
                                  <a:pt x="33" y="201"/>
                                  <a:pt x="34" y="205"/>
                                </a:cubicBezTo>
                                <a:cubicBezTo>
                                  <a:pt x="34" y="209"/>
                                  <a:pt x="37" y="208"/>
                                  <a:pt x="39" y="215"/>
                                </a:cubicBezTo>
                                <a:cubicBezTo>
                                  <a:pt x="42" y="221"/>
                                  <a:pt x="41" y="223"/>
                                  <a:pt x="45" y="226"/>
                                </a:cubicBezTo>
                                <a:cubicBezTo>
                                  <a:pt x="49" y="228"/>
                                  <a:pt x="55" y="228"/>
                                  <a:pt x="56" y="232"/>
                                </a:cubicBezTo>
                                <a:cubicBezTo>
                                  <a:pt x="57" y="236"/>
                                  <a:pt x="54" y="236"/>
                                  <a:pt x="49" y="238"/>
                                </a:cubicBezTo>
                                <a:cubicBezTo>
                                  <a:pt x="44" y="241"/>
                                  <a:pt x="40" y="243"/>
                                  <a:pt x="39" y="248"/>
                                </a:cubicBezTo>
                                <a:cubicBezTo>
                                  <a:pt x="39" y="252"/>
                                  <a:pt x="47" y="258"/>
                                  <a:pt x="49" y="259"/>
                                </a:cubicBezTo>
                                <a:cubicBezTo>
                                  <a:pt x="51" y="260"/>
                                  <a:pt x="53" y="262"/>
                                  <a:pt x="53" y="268"/>
                                </a:cubicBezTo>
                                <a:cubicBezTo>
                                  <a:pt x="54" y="273"/>
                                  <a:pt x="43" y="270"/>
                                  <a:pt x="38" y="269"/>
                                </a:cubicBezTo>
                                <a:cubicBezTo>
                                  <a:pt x="33" y="268"/>
                                  <a:pt x="31" y="266"/>
                                  <a:pt x="27" y="262"/>
                                </a:cubicBezTo>
                                <a:cubicBezTo>
                                  <a:pt x="24" y="259"/>
                                  <a:pt x="18" y="255"/>
                                  <a:pt x="18" y="260"/>
                                </a:cubicBezTo>
                                <a:cubicBezTo>
                                  <a:pt x="18" y="265"/>
                                  <a:pt x="18" y="269"/>
                                  <a:pt x="15" y="272"/>
                                </a:cubicBezTo>
                                <a:cubicBezTo>
                                  <a:pt x="13" y="275"/>
                                  <a:pt x="9" y="274"/>
                                  <a:pt x="9" y="277"/>
                                </a:cubicBezTo>
                                <a:cubicBezTo>
                                  <a:pt x="10" y="280"/>
                                  <a:pt x="15" y="280"/>
                                  <a:pt x="21" y="281"/>
                                </a:cubicBezTo>
                                <a:cubicBezTo>
                                  <a:pt x="27" y="282"/>
                                  <a:pt x="34" y="280"/>
                                  <a:pt x="39" y="281"/>
                                </a:cubicBezTo>
                                <a:cubicBezTo>
                                  <a:pt x="44" y="283"/>
                                  <a:pt x="40" y="288"/>
                                  <a:pt x="49" y="294"/>
                                </a:cubicBezTo>
                                <a:cubicBezTo>
                                  <a:pt x="58" y="300"/>
                                  <a:pt x="66" y="300"/>
                                  <a:pt x="68" y="301"/>
                                </a:cubicBezTo>
                                <a:cubicBezTo>
                                  <a:pt x="71" y="303"/>
                                  <a:pt x="68" y="312"/>
                                  <a:pt x="66" y="315"/>
                                </a:cubicBezTo>
                                <a:cubicBezTo>
                                  <a:pt x="63" y="318"/>
                                  <a:pt x="58" y="317"/>
                                  <a:pt x="56" y="320"/>
                                </a:cubicBezTo>
                                <a:cubicBezTo>
                                  <a:pt x="54" y="323"/>
                                  <a:pt x="57" y="323"/>
                                  <a:pt x="61" y="325"/>
                                </a:cubicBezTo>
                                <a:cubicBezTo>
                                  <a:pt x="65" y="328"/>
                                  <a:pt x="65" y="332"/>
                                  <a:pt x="65" y="335"/>
                                </a:cubicBezTo>
                                <a:cubicBezTo>
                                  <a:pt x="65" y="339"/>
                                  <a:pt x="66" y="340"/>
                                  <a:pt x="69" y="343"/>
                                </a:cubicBezTo>
                                <a:cubicBezTo>
                                  <a:pt x="72" y="347"/>
                                  <a:pt x="76" y="345"/>
                                  <a:pt x="83" y="345"/>
                                </a:cubicBezTo>
                                <a:cubicBezTo>
                                  <a:pt x="91" y="345"/>
                                  <a:pt x="87" y="347"/>
                                  <a:pt x="87" y="352"/>
                                </a:cubicBezTo>
                                <a:cubicBezTo>
                                  <a:pt x="88" y="357"/>
                                  <a:pt x="85" y="356"/>
                                  <a:pt x="83" y="357"/>
                                </a:cubicBezTo>
                                <a:cubicBezTo>
                                  <a:pt x="80" y="359"/>
                                  <a:pt x="74" y="357"/>
                                  <a:pt x="69" y="360"/>
                                </a:cubicBezTo>
                                <a:cubicBezTo>
                                  <a:pt x="64" y="362"/>
                                  <a:pt x="67" y="367"/>
                                  <a:pt x="69" y="369"/>
                                </a:cubicBezTo>
                                <a:cubicBezTo>
                                  <a:pt x="71" y="371"/>
                                  <a:pt x="86" y="369"/>
                                  <a:pt x="94" y="368"/>
                                </a:cubicBezTo>
                                <a:cubicBezTo>
                                  <a:pt x="102" y="367"/>
                                  <a:pt x="103" y="365"/>
                                  <a:pt x="112" y="365"/>
                                </a:cubicBezTo>
                                <a:cubicBezTo>
                                  <a:pt x="122" y="365"/>
                                  <a:pt x="124" y="365"/>
                                  <a:pt x="126" y="368"/>
                                </a:cubicBezTo>
                                <a:cubicBezTo>
                                  <a:pt x="127" y="371"/>
                                  <a:pt x="119" y="377"/>
                                  <a:pt x="116" y="382"/>
                                </a:cubicBezTo>
                                <a:cubicBezTo>
                                  <a:pt x="113" y="386"/>
                                  <a:pt x="119" y="389"/>
                                  <a:pt x="122" y="389"/>
                                </a:cubicBezTo>
                                <a:cubicBezTo>
                                  <a:pt x="126" y="389"/>
                                  <a:pt x="130" y="383"/>
                                  <a:pt x="135" y="379"/>
                                </a:cubicBezTo>
                                <a:cubicBezTo>
                                  <a:pt x="140" y="375"/>
                                  <a:pt x="149" y="379"/>
                                  <a:pt x="151" y="384"/>
                                </a:cubicBezTo>
                                <a:cubicBezTo>
                                  <a:pt x="152" y="389"/>
                                  <a:pt x="156" y="391"/>
                                  <a:pt x="162" y="393"/>
                                </a:cubicBezTo>
                                <a:cubicBezTo>
                                  <a:pt x="168" y="395"/>
                                  <a:pt x="173" y="388"/>
                                  <a:pt x="177" y="391"/>
                                </a:cubicBezTo>
                                <a:cubicBezTo>
                                  <a:pt x="181" y="394"/>
                                  <a:pt x="183" y="403"/>
                                  <a:pt x="184" y="408"/>
                                </a:cubicBezTo>
                                <a:cubicBezTo>
                                  <a:pt x="186" y="412"/>
                                  <a:pt x="194" y="418"/>
                                  <a:pt x="200" y="421"/>
                                </a:cubicBezTo>
                                <a:cubicBezTo>
                                  <a:pt x="206" y="424"/>
                                  <a:pt x="222" y="426"/>
                                  <a:pt x="234" y="423"/>
                                </a:cubicBezTo>
                                <a:cubicBezTo>
                                  <a:pt x="245" y="421"/>
                                  <a:pt x="242" y="418"/>
                                  <a:pt x="253" y="419"/>
                                </a:cubicBezTo>
                                <a:cubicBezTo>
                                  <a:pt x="264" y="419"/>
                                  <a:pt x="262" y="426"/>
                                  <a:pt x="267" y="418"/>
                                </a:cubicBezTo>
                                <a:cubicBezTo>
                                  <a:pt x="272" y="409"/>
                                  <a:pt x="272" y="406"/>
                                  <a:pt x="272" y="399"/>
                                </a:cubicBezTo>
                                <a:cubicBezTo>
                                  <a:pt x="273" y="391"/>
                                  <a:pt x="271" y="382"/>
                                  <a:pt x="278" y="378"/>
                                </a:cubicBezTo>
                                <a:cubicBezTo>
                                  <a:pt x="285" y="375"/>
                                  <a:pt x="297" y="378"/>
                                  <a:pt x="308" y="378"/>
                                </a:cubicBezTo>
                                <a:cubicBezTo>
                                  <a:pt x="319" y="379"/>
                                  <a:pt x="337" y="390"/>
                                  <a:pt x="345" y="396"/>
                                </a:cubicBezTo>
                                <a:cubicBezTo>
                                  <a:pt x="353" y="403"/>
                                  <a:pt x="382" y="422"/>
                                  <a:pt x="389" y="426"/>
                                </a:cubicBezTo>
                                <a:cubicBezTo>
                                  <a:pt x="395" y="431"/>
                                  <a:pt x="401" y="433"/>
                                  <a:pt x="411" y="432"/>
                                </a:cubicBezTo>
                                <a:cubicBezTo>
                                  <a:pt x="421" y="431"/>
                                  <a:pt x="431" y="433"/>
                                  <a:pt x="447" y="431"/>
                                </a:cubicBezTo>
                                <a:cubicBezTo>
                                  <a:pt x="462" y="428"/>
                                  <a:pt x="461" y="430"/>
                                  <a:pt x="474" y="425"/>
                                </a:cubicBezTo>
                                <a:cubicBezTo>
                                  <a:pt x="488" y="421"/>
                                  <a:pt x="485" y="422"/>
                                  <a:pt x="492" y="409"/>
                                </a:cubicBezTo>
                                <a:cubicBezTo>
                                  <a:pt x="500" y="395"/>
                                  <a:pt x="523" y="386"/>
                                  <a:pt x="533" y="386"/>
                                </a:cubicBezTo>
                                <a:cubicBezTo>
                                  <a:pt x="542" y="385"/>
                                  <a:pt x="542" y="388"/>
                                  <a:pt x="550" y="393"/>
                                </a:cubicBezTo>
                                <a:cubicBezTo>
                                  <a:pt x="558" y="398"/>
                                  <a:pt x="565" y="401"/>
                                  <a:pt x="570" y="398"/>
                                </a:cubicBezTo>
                                <a:cubicBezTo>
                                  <a:pt x="575" y="396"/>
                                  <a:pt x="590" y="389"/>
                                  <a:pt x="594" y="383"/>
                                </a:cubicBezTo>
                                <a:cubicBezTo>
                                  <a:pt x="598" y="376"/>
                                  <a:pt x="613" y="377"/>
                                  <a:pt x="616" y="383"/>
                                </a:cubicBezTo>
                                <a:cubicBezTo>
                                  <a:pt x="618" y="389"/>
                                  <a:pt x="615" y="396"/>
                                  <a:pt x="610" y="402"/>
                                </a:cubicBezTo>
                                <a:cubicBezTo>
                                  <a:pt x="605" y="408"/>
                                  <a:pt x="601" y="415"/>
                                  <a:pt x="599" y="418"/>
                                </a:cubicBezTo>
                                <a:cubicBezTo>
                                  <a:pt x="598" y="422"/>
                                  <a:pt x="601" y="423"/>
                                  <a:pt x="602" y="428"/>
                                </a:cubicBezTo>
                                <a:cubicBezTo>
                                  <a:pt x="604" y="433"/>
                                  <a:pt x="605" y="436"/>
                                  <a:pt x="604" y="444"/>
                                </a:cubicBezTo>
                                <a:cubicBezTo>
                                  <a:pt x="606" y="445"/>
                                  <a:pt x="609" y="446"/>
                                  <a:pt x="611" y="445"/>
                                </a:cubicBezTo>
                                <a:cubicBezTo>
                                  <a:pt x="614" y="444"/>
                                  <a:pt x="621" y="438"/>
                                  <a:pt x="628" y="432"/>
                                </a:cubicBezTo>
                                <a:cubicBezTo>
                                  <a:pt x="633" y="426"/>
                                  <a:pt x="637" y="421"/>
                                  <a:pt x="638" y="417"/>
                                </a:cubicBezTo>
                                <a:cubicBezTo>
                                  <a:pt x="639" y="415"/>
                                  <a:pt x="639" y="411"/>
                                  <a:pt x="639" y="407"/>
                                </a:cubicBezTo>
                                <a:cubicBezTo>
                                  <a:pt x="639" y="398"/>
                                  <a:pt x="638" y="389"/>
                                  <a:pt x="645" y="383"/>
                                </a:cubicBezTo>
                                <a:cubicBezTo>
                                  <a:pt x="651" y="378"/>
                                  <a:pt x="657" y="381"/>
                                  <a:pt x="665" y="385"/>
                                </a:cubicBezTo>
                                <a:cubicBezTo>
                                  <a:pt x="669" y="387"/>
                                  <a:pt x="674" y="390"/>
                                  <a:pt x="678" y="390"/>
                                </a:cubicBezTo>
                                <a:cubicBezTo>
                                  <a:pt x="687" y="392"/>
                                  <a:pt x="704" y="384"/>
                                  <a:pt x="716" y="378"/>
                                </a:cubicBezTo>
                                <a:cubicBezTo>
                                  <a:pt x="720" y="376"/>
                                  <a:pt x="724" y="374"/>
                                  <a:pt x="726" y="374"/>
                                </a:cubicBezTo>
                                <a:cubicBezTo>
                                  <a:pt x="731" y="372"/>
                                  <a:pt x="739" y="370"/>
                                  <a:pt x="749" y="371"/>
                                </a:cubicBezTo>
                                <a:cubicBezTo>
                                  <a:pt x="756" y="371"/>
                                  <a:pt x="764" y="373"/>
                                  <a:pt x="772" y="376"/>
                                </a:cubicBezTo>
                                <a:cubicBezTo>
                                  <a:pt x="774" y="376"/>
                                  <a:pt x="774" y="376"/>
                                  <a:pt x="774" y="376"/>
                                </a:cubicBezTo>
                                <a:cubicBezTo>
                                  <a:pt x="791" y="383"/>
                                  <a:pt x="804" y="388"/>
                                  <a:pt x="823" y="383"/>
                                </a:cubicBezTo>
                                <a:cubicBezTo>
                                  <a:pt x="835" y="381"/>
                                  <a:pt x="853" y="374"/>
                                  <a:pt x="868" y="368"/>
                                </a:cubicBezTo>
                                <a:cubicBezTo>
                                  <a:pt x="879" y="364"/>
                                  <a:pt x="888" y="360"/>
                                  <a:pt x="895" y="358"/>
                                </a:cubicBezTo>
                                <a:cubicBezTo>
                                  <a:pt x="906" y="355"/>
                                  <a:pt x="922" y="354"/>
                                  <a:pt x="936" y="354"/>
                                </a:cubicBezTo>
                                <a:cubicBezTo>
                                  <a:pt x="946" y="354"/>
                                  <a:pt x="954" y="354"/>
                                  <a:pt x="958" y="353"/>
                                </a:cubicBezTo>
                                <a:cubicBezTo>
                                  <a:pt x="963" y="352"/>
                                  <a:pt x="967" y="350"/>
                                  <a:pt x="971" y="349"/>
                                </a:cubicBezTo>
                                <a:cubicBezTo>
                                  <a:pt x="976" y="347"/>
                                  <a:pt x="981" y="345"/>
                                  <a:pt x="987" y="345"/>
                                </a:cubicBezTo>
                                <a:cubicBezTo>
                                  <a:pt x="995" y="345"/>
                                  <a:pt x="1006" y="349"/>
                                  <a:pt x="1011" y="351"/>
                                </a:cubicBezTo>
                                <a:cubicBezTo>
                                  <a:pt x="1015" y="346"/>
                                  <a:pt x="1018" y="343"/>
                                  <a:pt x="1020" y="342"/>
                                </a:cubicBezTo>
                                <a:cubicBezTo>
                                  <a:pt x="1025" y="339"/>
                                  <a:pt x="1031" y="337"/>
                                  <a:pt x="1037" y="336"/>
                                </a:cubicBezTo>
                                <a:cubicBezTo>
                                  <a:pt x="1043" y="335"/>
                                  <a:pt x="1050" y="336"/>
                                  <a:pt x="1056" y="338"/>
                                </a:cubicBezTo>
                                <a:cubicBezTo>
                                  <a:pt x="1064" y="342"/>
                                  <a:pt x="1065" y="342"/>
                                  <a:pt x="1075" y="342"/>
                                </a:cubicBezTo>
                                <a:cubicBezTo>
                                  <a:pt x="1077" y="342"/>
                                  <a:pt x="1079" y="342"/>
                                  <a:pt x="1081" y="342"/>
                                </a:cubicBezTo>
                                <a:cubicBezTo>
                                  <a:pt x="1088" y="342"/>
                                  <a:pt x="1094" y="342"/>
                                  <a:pt x="1099" y="342"/>
                                </a:cubicBezTo>
                                <a:cubicBezTo>
                                  <a:pt x="1106" y="342"/>
                                  <a:pt x="1112" y="341"/>
                                  <a:pt x="1115" y="343"/>
                                </a:cubicBezTo>
                                <a:cubicBezTo>
                                  <a:pt x="1118" y="345"/>
                                  <a:pt x="1119" y="348"/>
                                  <a:pt x="1120" y="352"/>
                                </a:cubicBezTo>
                                <a:cubicBezTo>
                                  <a:pt x="1121" y="355"/>
                                  <a:pt x="1122" y="360"/>
                                  <a:pt x="1126" y="361"/>
                                </a:cubicBezTo>
                                <a:cubicBezTo>
                                  <a:pt x="1132" y="362"/>
                                  <a:pt x="1146" y="356"/>
                                  <a:pt x="1150" y="354"/>
                                </a:cubicBezTo>
                                <a:cubicBezTo>
                                  <a:pt x="1149" y="352"/>
                                  <a:pt x="1149" y="350"/>
                                  <a:pt x="1147" y="348"/>
                                </a:cubicBezTo>
                                <a:cubicBezTo>
                                  <a:pt x="1146" y="346"/>
                                  <a:pt x="1144" y="345"/>
                                  <a:pt x="1142" y="345"/>
                                </a:cubicBezTo>
                                <a:cubicBezTo>
                                  <a:pt x="1138" y="343"/>
                                  <a:pt x="1134" y="342"/>
                                  <a:pt x="1134" y="334"/>
                                </a:cubicBezTo>
                                <a:cubicBezTo>
                                  <a:pt x="1134" y="332"/>
                                  <a:pt x="1134" y="330"/>
                                  <a:pt x="1134" y="328"/>
                                </a:cubicBezTo>
                                <a:cubicBezTo>
                                  <a:pt x="1134" y="324"/>
                                  <a:pt x="1134" y="321"/>
                                  <a:pt x="1132" y="317"/>
                                </a:cubicBezTo>
                                <a:cubicBezTo>
                                  <a:pt x="1131" y="315"/>
                                  <a:pt x="1128" y="313"/>
                                  <a:pt x="1126" y="312"/>
                                </a:cubicBezTo>
                                <a:cubicBezTo>
                                  <a:pt x="1121" y="309"/>
                                  <a:pt x="1117" y="306"/>
                                  <a:pt x="1116" y="301"/>
                                </a:cubicBezTo>
                                <a:cubicBezTo>
                                  <a:pt x="1116" y="295"/>
                                  <a:pt x="1121" y="287"/>
                                  <a:pt x="1126" y="281"/>
                                </a:cubicBezTo>
                                <a:cubicBezTo>
                                  <a:pt x="1129" y="277"/>
                                  <a:pt x="1132" y="275"/>
                                  <a:pt x="1132" y="275"/>
                                </a:cubicBezTo>
                                <a:cubicBezTo>
                                  <a:pt x="1132" y="275"/>
                                  <a:pt x="1131" y="274"/>
                                  <a:pt x="1130" y="274"/>
                                </a:cubicBezTo>
                                <a:cubicBezTo>
                                  <a:pt x="1126" y="273"/>
                                  <a:pt x="1121" y="271"/>
                                  <a:pt x="1120" y="264"/>
                                </a:cubicBezTo>
                                <a:cubicBezTo>
                                  <a:pt x="1120" y="261"/>
                                  <a:pt x="1120" y="258"/>
                                  <a:pt x="1121" y="254"/>
                                </a:cubicBezTo>
                                <a:cubicBezTo>
                                  <a:pt x="1121" y="248"/>
                                  <a:pt x="1122" y="241"/>
                                  <a:pt x="1119" y="236"/>
                                </a:cubicBezTo>
                                <a:cubicBezTo>
                                  <a:pt x="1117" y="233"/>
                                  <a:pt x="1115" y="231"/>
                                  <a:pt x="1113" y="230"/>
                                </a:cubicBezTo>
                                <a:cubicBezTo>
                                  <a:pt x="1110" y="227"/>
                                  <a:pt x="1108" y="225"/>
                                  <a:pt x="1106" y="218"/>
                                </a:cubicBezTo>
                                <a:cubicBezTo>
                                  <a:pt x="1105" y="216"/>
                                  <a:pt x="1104" y="213"/>
                                  <a:pt x="1104" y="211"/>
                                </a:cubicBezTo>
                                <a:cubicBezTo>
                                  <a:pt x="1104" y="211"/>
                                  <a:pt x="1104" y="211"/>
                                  <a:pt x="1104" y="211"/>
                                </a:cubicBezTo>
                                <a:cubicBezTo>
                                  <a:pt x="1101" y="205"/>
                                  <a:pt x="1100" y="201"/>
                                  <a:pt x="1105" y="196"/>
                                </a:cubicBezTo>
                                <a:cubicBezTo>
                                  <a:pt x="1109" y="192"/>
                                  <a:pt x="1112" y="193"/>
                                  <a:pt x="1115" y="194"/>
                                </a:cubicBezTo>
                                <a:cubicBezTo>
                                  <a:pt x="1117" y="195"/>
                                  <a:pt x="1119" y="195"/>
                                  <a:pt x="1123" y="192"/>
                                </a:cubicBezTo>
                                <a:cubicBezTo>
                                  <a:pt x="1128" y="188"/>
                                  <a:pt x="1128" y="183"/>
                                  <a:pt x="1129" y="179"/>
                                </a:cubicBezTo>
                                <a:cubicBezTo>
                                  <a:pt x="1130" y="175"/>
                                  <a:pt x="1131" y="171"/>
                                  <a:pt x="1135" y="169"/>
                                </a:cubicBezTo>
                                <a:cubicBezTo>
                                  <a:pt x="1136" y="169"/>
                                  <a:pt x="1137" y="168"/>
                                  <a:pt x="1139" y="168"/>
                                </a:cubicBezTo>
                                <a:cubicBezTo>
                                  <a:pt x="1138" y="167"/>
                                  <a:pt x="1138" y="166"/>
                                  <a:pt x="1138" y="165"/>
                                </a:cubicBezTo>
                                <a:cubicBezTo>
                                  <a:pt x="1137" y="163"/>
                                  <a:pt x="1137" y="161"/>
                                  <a:pt x="1136" y="160"/>
                                </a:cubicBezTo>
                                <a:cubicBezTo>
                                  <a:pt x="1135" y="159"/>
                                  <a:pt x="1134" y="158"/>
                                  <a:pt x="1132" y="157"/>
                                </a:cubicBezTo>
                                <a:cubicBezTo>
                                  <a:pt x="1129" y="157"/>
                                  <a:pt x="1125" y="156"/>
                                  <a:pt x="1118" y="155"/>
                                </a:cubicBezTo>
                                <a:cubicBezTo>
                                  <a:pt x="1104" y="154"/>
                                  <a:pt x="1099" y="151"/>
                                  <a:pt x="1088" y="146"/>
                                </a:cubicBezTo>
                                <a:cubicBezTo>
                                  <a:pt x="1088" y="146"/>
                                  <a:pt x="1088" y="146"/>
                                  <a:pt x="1088" y="146"/>
                                </a:cubicBezTo>
                                <a:cubicBezTo>
                                  <a:pt x="1078" y="141"/>
                                  <a:pt x="1078" y="137"/>
                                  <a:pt x="1079" y="131"/>
                                </a:cubicBezTo>
                                <a:cubicBezTo>
                                  <a:pt x="1079" y="129"/>
                                  <a:pt x="1080" y="127"/>
                                  <a:pt x="1079" y="125"/>
                                </a:cubicBezTo>
                                <a:cubicBezTo>
                                  <a:pt x="1079" y="119"/>
                                  <a:pt x="1079" y="114"/>
                                  <a:pt x="1080" y="109"/>
                                </a:cubicBezTo>
                                <a:cubicBezTo>
                                  <a:pt x="1080" y="104"/>
                                  <a:pt x="1080" y="99"/>
                                  <a:pt x="1080" y="94"/>
                                </a:cubicBezTo>
                                <a:cubicBezTo>
                                  <a:pt x="1080" y="89"/>
                                  <a:pt x="1079" y="85"/>
                                  <a:pt x="1077" y="81"/>
                                </a:cubicBezTo>
                                <a:cubicBezTo>
                                  <a:pt x="1075" y="78"/>
                                  <a:pt x="1071" y="74"/>
                                  <a:pt x="1066" y="69"/>
                                </a:cubicBezTo>
                                <a:cubicBezTo>
                                  <a:pt x="1061" y="64"/>
                                  <a:pt x="1056" y="60"/>
                                  <a:pt x="1052" y="57"/>
                                </a:cubicBezTo>
                                <a:cubicBezTo>
                                  <a:pt x="1048" y="53"/>
                                  <a:pt x="1044" y="50"/>
                                  <a:pt x="1040" y="46"/>
                                </a:cubicBezTo>
                                <a:cubicBezTo>
                                  <a:pt x="1037" y="44"/>
                                  <a:pt x="1034" y="42"/>
                                  <a:pt x="1031" y="41"/>
                                </a:cubicBezTo>
                                <a:cubicBezTo>
                                  <a:pt x="1027" y="40"/>
                                  <a:pt x="1023" y="40"/>
                                  <a:pt x="1018" y="41"/>
                                </a:cubicBezTo>
                                <a:cubicBezTo>
                                  <a:pt x="1015" y="42"/>
                                  <a:pt x="1013" y="44"/>
                                  <a:pt x="1011" y="45"/>
                                </a:cubicBezTo>
                                <a:cubicBezTo>
                                  <a:pt x="1008" y="48"/>
                                  <a:pt x="1005" y="50"/>
                                  <a:pt x="995" y="47"/>
                                </a:cubicBezTo>
                                <a:cubicBezTo>
                                  <a:pt x="987" y="44"/>
                                  <a:pt x="983" y="45"/>
                                  <a:pt x="977" y="46"/>
                                </a:cubicBezTo>
                                <a:cubicBezTo>
                                  <a:pt x="973" y="46"/>
                                  <a:pt x="968" y="47"/>
                                  <a:pt x="962" y="47"/>
                                </a:cubicBezTo>
                                <a:cubicBezTo>
                                  <a:pt x="950" y="47"/>
                                  <a:pt x="947" y="46"/>
                                  <a:pt x="943" y="44"/>
                                </a:cubicBezTo>
                                <a:cubicBezTo>
                                  <a:pt x="942" y="44"/>
                                  <a:pt x="942" y="44"/>
                                  <a:pt x="942" y="45"/>
                                </a:cubicBezTo>
                                <a:cubicBezTo>
                                  <a:pt x="935" y="51"/>
                                  <a:pt x="935" y="51"/>
                                  <a:pt x="931" y="55"/>
                                </a:cubicBezTo>
                                <a:cubicBezTo>
                                  <a:pt x="926" y="59"/>
                                  <a:pt x="921" y="61"/>
                                  <a:pt x="909" y="64"/>
                                </a:cubicBezTo>
                                <a:cubicBezTo>
                                  <a:pt x="896" y="67"/>
                                  <a:pt x="896" y="71"/>
                                  <a:pt x="889" y="75"/>
                                </a:cubicBezTo>
                                <a:cubicBezTo>
                                  <a:pt x="881" y="80"/>
                                  <a:pt x="878" y="80"/>
                                  <a:pt x="871" y="82"/>
                                </a:cubicBezTo>
                                <a:cubicBezTo>
                                  <a:pt x="864" y="84"/>
                                  <a:pt x="860" y="81"/>
                                  <a:pt x="854" y="80"/>
                                </a:cubicBezTo>
                                <a:cubicBezTo>
                                  <a:pt x="848" y="80"/>
                                  <a:pt x="833" y="78"/>
                                  <a:pt x="828" y="75"/>
                                </a:cubicBezTo>
                                <a:cubicBezTo>
                                  <a:pt x="822" y="72"/>
                                  <a:pt x="815" y="70"/>
                                  <a:pt x="808" y="70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68" name="Freeform 247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887628" y="4576260"/>
                            <a:ext cx="94059" cy="96441"/>
                          </a:xfrm>
                          <a:custGeom>
                            <a:avLst/>
                            <a:gdLst>
                              <a:gd name="T0" fmla="*/ 269 w 326"/>
                              <a:gd name="T1" fmla="*/ 1 h 339"/>
                              <a:gd name="T2" fmla="*/ 264 w 326"/>
                              <a:gd name="T3" fmla="*/ 4 h 339"/>
                              <a:gd name="T4" fmla="*/ 261 w 326"/>
                              <a:gd name="T5" fmla="*/ 8 h 339"/>
                              <a:gd name="T6" fmla="*/ 236 w 326"/>
                              <a:gd name="T7" fmla="*/ 25 h 339"/>
                              <a:gd name="T8" fmla="*/ 219 w 326"/>
                              <a:gd name="T9" fmla="*/ 22 h 339"/>
                              <a:gd name="T10" fmla="*/ 194 w 326"/>
                              <a:gd name="T11" fmla="*/ 21 h 339"/>
                              <a:gd name="T12" fmla="*/ 168 w 326"/>
                              <a:gd name="T13" fmla="*/ 32 h 339"/>
                              <a:gd name="T14" fmla="*/ 139 w 326"/>
                              <a:gd name="T15" fmla="*/ 28 h 339"/>
                              <a:gd name="T16" fmla="*/ 128 w 326"/>
                              <a:gd name="T17" fmla="*/ 28 h 339"/>
                              <a:gd name="T18" fmla="*/ 99 w 326"/>
                              <a:gd name="T19" fmla="*/ 28 h 339"/>
                              <a:gd name="T20" fmla="*/ 80 w 326"/>
                              <a:gd name="T21" fmla="*/ 37 h 339"/>
                              <a:gd name="T22" fmla="*/ 78 w 326"/>
                              <a:gd name="T23" fmla="*/ 50 h 339"/>
                              <a:gd name="T24" fmla="*/ 74 w 326"/>
                              <a:gd name="T25" fmla="*/ 70 h 339"/>
                              <a:gd name="T26" fmla="*/ 83 w 326"/>
                              <a:gd name="T27" fmla="*/ 100 h 339"/>
                              <a:gd name="T28" fmla="*/ 102 w 326"/>
                              <a:gd name="T29" fmla="*/ 112 h 339"/>
                              <a:gd name="T30" fmla="*/ 96 w 326"/>
                              <a:gd name="T31" fmla="*/ 136 h 339"/>
                              <a:gd name="T32" fmla="*/ 60 w 326"/>
                              <a:gd name="T33" fmla="*/ 172 h 339"/>
                              <a:gd name="T34" fmla="*/ 31 w 326"/>
                              <a:gd name="T35" fmla="*/ 201 h 339"/>
                              <a:gd name="T36" fmla="*/ 16 w 326"/>
                              <a:gd name="T37" fmla="*/ 234 h 339"/>
                              <a:gd name="T38" fmla="*/ 5 w 326"/>
                              <a:gd name="T39" fmla="*/ 286 h 339"/>
                              <a:gd name="T40" fmla="*/ 0 w 326"/>
                              <a:gd name="T41" fmla="*/ 324 h 339"/>
                              <a:gd name="T42" fmla="*/ 13 w 326"/>
                              <a:gd name="T43" fmla="*/ 335 h 339"/>
                              <a:gd name="T44" fmla="*/ 25 w 326"/>
                              <a:gd name="T45" fmla="*/ 339 h 339"/>
                              <a:gd name="T46" fmla="*/ 42 w 326"/>
                              <a:gd name="T47" fmla="*/ 324 h 339"/>
                              <a:gd name="T48" fmla="*/ 67 w 326"/>
                              <a:gd name="T49" fmla="*/ 313 h 339"/>
                              <a:gd name="T50" fmla="*/ 134 w 326"/>
                              <a:gd name="T51" fmla="*/ 312 h 339"/>
                              <a:gd name="T52" fmla="*/ 147 w 326"/>
                              <a:gd name="T53" fmla="*/ 271 h 339"/>
                              <a:gd name="T54" fmla="*/ 166 w 326"/>
                              <a:gd name="T55" fmla="*/ 253 h 339"/>
                              <a:gd name="T56" fmla="*/ 202 w 326"/>
                              <a:gd name="T57" fmla="*/ 247 h 339"/>
                              <a:gd name="T58" fmla="*/ 234 w 326"/>
                              <a:gd name="T59" fmla="*/ 232 h 339"/>
                              <a:gd name="T60" fmla="*/ 264 w 326"/>
                              <a:gd name="T61" fmla="*/ 244 h 339"/>
                              <a:gd name="T62" fmla="*/ 272 w 326"/>
                              <a:gd name="T63" fmla="*/ 231 h 339"/>
                              <a:gd name="T64" fmla="*/ 303 w 326"/>
                              <a:gd name="T65" fmla="*/ 179 h 339"/>
                              <a:gd name="T66" fmla="*/ 326 w 326"/>
                              <a:gd name="T67" fmla="*/ 132 h 339"/>
                              <a:gd name="T68" fmla="*/ 324 w 326"/>
                              <a:gd name="T69" fmla="*/ 105 h 339"/>
                              <a:gd name="T70" fmla="*/ 308 w 326"/>
                              <a:gd name="T71" fmla="*/ 76 h 339"/>
                              <a:gd name="T72" fmla="*/ 300 w 326"/>
                              <a:gd name="T73" fmla="*/ 46 h 339"/>
                              <a:gd name="T74" fmla="*/ 291 w 326"/>
                              <a:gd name="T75" fmla="*/ 30 h 339"/>
                              <a:gd name="T76" fmla="*/ 290 w 326"/>
                              <a:gd name="T77" fmla="*/ 29 h 339"/>
                              <a:gd name="T78" fmla="*/ 274 w 326"/>
                              <a:gd name="T79" fmla="*/ 10 h 339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</a:cxnLst>
                            <a:rect l="0" t="0" r="r" b="b"/>
                            <a:pathLst>
                              <a:path w="326" h="339">
                                <a:moveTo>
                                  <a:pt x="274" y="10"/>
                                </a:moveTo>
                                <a:cubicBezTo>
                                  <a:pt x="272" y="4"/>
                                  <a:pt x="270" y="3"/>
                                  <a:pt x="269" y="1"/>
                                </a:cubicBezTo>
                                <a:cubicBezTo>
                                  <a:pt x="268" y="1"/>
                                  <a:pt x="268" y="0"/>
                                  <a:pt x="267" y="0"/>
                                </a:cubicBezTo>
                                <a:cubicBezTo>
                                  <a:pt x="266" y="1"/>
                                  <a:pt x="265" y="3"/>
                                  <a:pt x="264" y="4"/>
                                </a:cubicBezTo>
                                <a:cubicBezTo>
                                  <a:pt x="262" y="6"/>
                                  <a:pt x="262" y="6"/>
                                  <a:pt x="262" y="6"/>
                                </a:cubicBezTo>
                                <a:cubicBezTo>
                                  <a:pt x="261" y="8"/>
                                  <a:pt x="261" y="8"/>
                                  <a:pt x="261" y="8"/>
                                </a:cubicBezTo>
                                <a:cubicBezTo>
                                  <a:pt x="261" y="7"/>
                                  <a:pt x="261" y="7"/>
                                  <a:pt x="261" y="7"/>
                                </a:cubicBezTo>
                                <a:cubicBezTo>
                                  <a:pt x="254" y="16"/>
                                  <a:pt x="246" y="25"/>
                                  <a:pt x="236" y="25"/>
                                </a:cubicBezTo>
                                <a:cubicBezTo>
                                  <a:pt x="231" y="25"/>
                                  <a:pt x="225" y="23"/>
                                  <a:pt x="219" y="22"/>
                                </a:cubicBezTo>
                                <a:cubicBezTo>
                                  <a:pt x="219" y="22"/>
                                  <a:pt x="219" y="22"/>
                                  <a:pt x="219" y="22"/>
                                </a:cubicBezTo>
                                <a:cubicBezTo>
                                  <a:pt x="214" y="21"/>
                                  <a:pt x="210" y="20"/>
                                  <a:pt x="207" y="19"/>
                                </a:cubicBezTo>
                                <a:cubicBezTo>
                                  <a:pt x="203" y="19"/>
                                  <a:pt x="199" y="20"/>
                                  <a:pt x="194" y="21"/>
                                </a:cubicBezTo>
                                <a:cubicBezTo>
                                  <a:pt x="189" y="22"/>
                                  <a:pt x="184" y="23"/>
                                  <a:pt x="178" y="26"/>
                                </a:cubicBezTo>
                                <a:cubicBezTo>
                                  <a:pt x="174" y="28"/>
                                  <a:pt x="171" y="30"/>
                                  <a:pt x="168" y="32"/>
                                </a:cubicBezTo>
                                <a:cubicBezTo>
                                  <a:pt x="163" y="36"/>
                                  <a:pt x="160" y="39"/>
                                  <a:pt x="153" y="38"/>
                                </a:cubicBezTo>
                                <a:cubicBezTo>
                                  <a:pt x="146" y="38"/>
                                  <a:pt x="143" y="33"/>
                                  <a:pt x="139" y="28"/>
                                </a:cubicBezTo>
                                <a:cubicBezTo>
                                  <a:pt x="137" y="26"/>
                                  <a:pt x="136" y="24"/>
                                  <a:pt x="135" y="24"/>
                                </a:cubicBezTo>
                                <a:cubicBezTo>
                                  <a:pt x="133" y="24"/>
                                  <a:pt x="131" y="26"/>
                                  <a:pt x="128" y="28"/>
                                </a:cubicBezTo>
                                <a:cubicBezTo>
                                  <a:pt x="124" y="31"/>
                                  <a:pt x="120" y="35"/>
                                  <a:pt x="112" y="34"/>
                                </a:cubicBezTo>
                                <a:cubicBezTo>
                                  <a:pt x="107" y="33"/>
                                  <a:pt x="103" y="30"/>
                                  <a:pt x="99" y="28"/>
                                </a:cubicBezTo>
                                <a:cubicBezTo>
                                  <a:pt x="97" y="27"/>
                                  <a:pt x="94" y="25"/>
                                  <a:pt x="93" y="26"/>
                                </a:cubicBezTo>
                                <a:cubicBezTo>
                                  <a:pt x="90" y="27"/>
                                  <a:pt x="84" y="33"/>
                                  <a:pt x="80" y="37"/>
                                </a:cubicBezTo>
                                <a:cubicBezTo>
                                  <a:pt x="80" y="37"/>
                                  <a:pt x="80" y="38"/>
                                  <a:pt x="80" y="38"/>
                                </a:cubicBezTo>
                                <a:cubicBezTo>
                                  <a:pt x="82" y="42"/>
                                  <a:pt x="80" y="46"/>
                                  <a:pt x="78" y="50"/>
                                </a:cubicBezTo>
                                <a:cubicBezTo>
                                  <a:pt x="76" y="53"/>
                                  <a:pt x="75" y="56"/>
                                  <a:pt x="75" y="59"/>
                                </a:cubicBezTo>
                                <a:cubicBezTo>
                                  <a:pt x="75" y="61"/>
                                  <a:pt x="74" y="65"/>
                                  <a:pt x="74" y="70"/>
                                </a:cubicBezTo>
                                <a:cubicBezTo>
                                  <a:pt x="74" y="79"/>
                                  <a:pt x="73" y="90"/>
                                  <a:pt x="74" y="93"/>
                                </a:cubicBezTo>
                                <a:cubicBezTo>
                                  <a:pt x="74" y="95"/>
                                  <a:pt x="78" y="98"/>
                                  <a:pt x="83" y="100"/>
                                </a:cubicBezTo>
                                <a:cubicBezTo>
                                  <a:pt x="85" y="102"/>
                                  <a:pt x="88" y="103"/>
                                  <a:pt x="91" y="105"/>
                                </a:cubicBezTo>
                                <a:cubicBezTo>
                                  <a:pt x="96" y="108"/>
                                  <a:pt x="99" y="110"/>
                                  <a:pt x="102" y="112"/>
                                </a:cubicBezTo>
                                <a:cubicBezTo>
                                  <a:pt x="105" y="115"/>
                                  <a:pt x="106" y="118"/>
                                  <a:pt x="106" y="121"/>
                                </a:cubicBezTo>
                                <a:cubicBezTo>
                                  <a:pt x="105" y="123"/>
                                  <a:pt x="101" y="129"/>
                                  <a:pt x="96" y="136"/>
                                </a:cubicBezTo>
                                <a:cubicBezTo>
                                  <a:pt x="91" y="142"/>
                                  <a:pt x="86" y="148"/>
                                  <a:pt x="81" y="152"/>
                                </a:cubicBezTo>
                                <a:cubicBezTo>
                                  <a:pt x="76" y="157"/>
                                  <a:pt x="68" y="164"/>
                                  <a:pt x="60" y="172"/>
                                </a:cubicBezTo>
                                <a:cubicBezTo>
                                  <a:pt x="54" y="178"/>
                                  <a:pt x="48" y="184"/>
                                  <a:pt x="44" y="188"/>
                                </a:cubicBezTo>
                                <a:cubicBezTo>
                                  <a:pt x="39" y="193"/>
                                  <a:pt x="34" y="197"/>
                                  <a:pt x="31" y="201"/>
                                </a:cubicBezTo>
                                <a:cubicBezTo>
                                  <a:pt x="28" y="204"/>
                                  <a:pt x="26" y="207"/>
                                  <a:pt x="25" y="210"/>
                                </a:cubicBezTo>
                                <a:cubicBezTo>
                                  <a:pt x="23" y="213"/>
                                  <a:pt x="19" y="223"/>
                                  <a:pt x="16" y="234"/>
                                </a:cubicBezTo>
                                <a:cubicBezTo>
                                  <a:pt x="14" y="241"/>
                                  <a:pt x="12" y="248"/>
                                  <a:pt x="11" y="255"/>
                                </a:cubicBezTo>
                                <a:cubicBezTo>
                                  <a:pt x="10" y="264"/>
                                  <a:pt x="7" y="275"/>
                                  <a:pt x="5" y="286"/>
                                </a:cubicBezTo>
                                <a:cubicBezTo>
                                  <a:pt x="2" y="298"/>
                                  <a:pt x="0" y="309"/>
                                  <a:pt x="0" y="314"/>
                                </a:cubicBezTo>
                                <a:cubicBezTo>
                                  <a:pt x="0" y="318"/>
                                  <a:pt x="0" y="321"/>
                                  <a:pt x="0" y="324"/>
                                </a:cubicBezTo>
                                <a:cubicBezTo>
                                  <a:pt x="0" y="327"/>
                                  <a:pt x="0" y="330"/>
                                  <a:pt x="0" y="333"/>
                                </a:cubicBezTo>
                                <a:cubicBezTo>
                                  <a:pt x="3" y="333"/>
                                  <a:pt x="8" y="333"/>
                                  <a:pt x="13" y="335"/>
                                </a:cubicBezTo>
                                <a:cubicBezTo>
                                  <a:pt x="17" y="336"/>
                                  <a:pt x="19" y="337"/>
                                  <a:pt x="20" y="338"/>
                                </a:cubicBezTo>
                                <a:cubicBezTo>
                                  <a:pt x="22" y="339"/>
                                  <a:pt x="23" y="339"/>
                                  <a:pt x="25" y="339"/>
                                </a:cubicBezTo>
                                <a:cubicBezTo>
                                  <a:pt x="28" y="338"/>
                                  <a:pt x="34" y="332"/>
                                  <a:pt x="39" y="327"/>
                                </a:cubicBezTo>
                                <a:cubicBezTo>
                                  <a:pt x="40" y="326"/>
                                  <a:pt x="41" y="325"/>
                                  <a:pt x="42" y="324"/>
                                </a:cubicBezTo>
                                <a:cubicBezTo>
                                  <a:pt x="46" y="320"/>
                                  <a:pt x="50" y="318"/>
                                  <a:pt x="54" y="316"/>
                                </a:cubicBezTo>
                                <a:cubicBezTo>
                                  <a:pt x="58" y="314"/>
                                  <a:pt x="62" y="313"/>
                                  <a:pt x="67" y="313"/>
                                </a:cubicBezTo>
                                <a:cubicBezTo>
                                  <a:pt x="70" y="313"/>
                                  <a:pt x="100" y="313"/>
                                  <a:pt x="134" y="314"/>
                                </a:cubicBezTo>
                                <a:cubicBezTo>
                                  <a:pt x="134" y="313"/>
                                  <a:pt x="134" y="313"/>
                                  <a:pt x="134" y="312"/>
                                </a:cubicBezTo>
                                <a:cubicBezTo>
                                  <a:pt x="131" y="304"/>
                                  <a:pt x="129" y="301"/>
                                  <a:pt x="137" y="290"/>
                                </a:cubicBezTo>
                                <a:cubicBezTo>
                                  <a:pt x="140" y="285"/>
                                  <a:pt x="148" y="277"/>
                                  <a:pt x="147" y="271"/>
                                </a:cubicBezTo>
                                <a:cubicBezTo>
                                  <a:pt x="146" y="265"/>
                                  <a:pt x="146" y="263"/>
                                  <a:pt x="149" y="256"/>
                                </a:cubicBezTo>
                                <a:cubicBezTo>
                                  <a:pt x="152" y="248"/>
                                  <a:pt x="162" y="255"/>
                                  <a:pt x="166" y="253"/>
                                </a:cubicBezTo>
                                <a:cubicBezTo>
                                  <a:pt x="171" y="252"/>
                                  <a:pt x="177" y="242"/>
                                  <a:pt x="187" y="240"/>
                                </a:cubicBezTo>
                                <a:cubicBezTo>
                                  <a:pt x="196" y="238"/>
                                  <a:pt x="196" y="244"/>
                                  <a:pt x="202" y="247"/>
                                </a:cubicBezTo>
                                <a:cubicBezTo>
                                  <a:pt x="209" y="249"/>
                                  <a:pt x="215" y="242"/>
                                  <a:pt x="217" y="233"/>
                                </a:cubicBezTo>
                                <a:cubicBezTo>
                                  <a:pt x="219" y="225"/>
                                  <a:pt x="230" y="227"/>
                                  <a:pt x="234" y="232"/>
                                </a:cubicBezTo>
                                <a:cubicBezTo>
                                  <a:pt x="237" y="237"/>
                                  <a:pt x="243" y="238"/>
                                  <a:pt x="246" y="242"/>
                                </a:cubicBezTo>
                                <a:cubicBezTo>
                                  <a:pt x="249" y="246"/>
                                  <a:pt x="255" y="244"/>
                                  <a:pt x="264" y="244"/>
                                </a:cubicBezTo>
                                <a:cubicBezTo>
                                  <a:pt x="264" y="243"/>
                                  <a:pt x="265" y="243"/>
                                  <a:pt x="266" y="242"/>
                                </a:cubicBezTo>
                                <a:cubicBezTo>
                                  <a:pt x="268" y="239"/>
                                  <a:pt x="270" y="236"/>
                                  <a:pt x="272" y="231"/>
                                </a:cubicBezTo>
                                <a:cubicBezTo>
                                  <a:pt x="274" y="225"/>
                                  <a:pt x="278" y="217"/>
                                  <a:pt x="283" y="209"/>
                                </a:cubicBezTo>
                                <a:cubicBezTo>
                                  <a:pt x="289" y="198"/>
                                  <a:pt x="297" y="187"/>
                                  <a:pt x="303" y="179"/>
                                </a:cubicBezTo>
                                <a:cubicBezTo>
                                  <a:pt x="308" y="173"/>
                                  <a:pt x="314" y="163"/>
                                  <a:pt x="319" y="153"/>
                                </a:cubicBezTo>
                                <a:cubicBezTo>
                                  <a:pt x="323" y="144"/>
                                  <a:pt x="326" y="136"/>
                                  <a:pt x="326" y="132"/>
                                </a:cubicBezTo>
                                <a:cubicBezTo>
                                  <a:pt x="326" y="127"/>
                                  <a:pt x="326" y="124"/>
                                  <a:pt x="325" y="119"/>
                                </a:cubicBezTo>
                                <a:cubicBezTo>
                                  <a:pt x="325" y="115"/>
                                  <a:pt x="324" y="111"/>
                                  <a:pt x="324" y="105"/>
                                </a:cubicBezTo>
                                <a:cubicBezTo>
                                  <a:pt x="324" y="98"/>
                                  <a:pt x="322" y="95"/>
                                  <a:pt x="316" y="87"/>
                                </a:cubicBezTo>
                                <a:cubicBezTo>
                                  <a:pt x="314" y="84"/>
                                  <a:pt x="311" y="81"/>
                                  <a:pt x="308" y="76"/>
                                </a:cubicBezTo>
                                <a:cubicBezTo>
                                  <a:pt x="299" y="62"/>
                                  <a:pt x="299" y="60"/>
                                  <a:pt x="300" y="54"/>
                                </a:cubicBezTo>
                                <a:cubicBezTo>
                                  <a:pt x="300" y="52"/>
                                  <a:pt x="300" y="49"/>
                                  <a:pt x="300" y="46"/>
                                </a:cubicBezTo>
                                <a:cubicBezTo>
                                  <a:pt x="300" y="35"/>
                                  <a:pt x="298" y="34"/>
                                  <a:pt x="293" y="31"/>
                                </a:cubicBezTo>
                                <a:cubicBezTo>
                                  <a:pt x="293" y="31"/>
                                  <a:pt x="292" y="30"/>
                                  <a:pt x="291" y="30"/>
                                </a:cubicBezTo>
                                <a:cubicBezTo>
                                  <a:pt x="291" y="30"/>
                                  <a:pt x="291" y="30"/>
                                  <a:pt x="291" y="30"/>
                                </a:cubicBezTo>
                                <a:cubicBezTo>
                                  <a:pt x="290" y="29"/>
                                  <a:pt x="290" y="29"/>
                                  <a:pt x="290" y="29"/>
                                </a:cubicBezTo>
                                <a:cubicBezTo>
                                  <a:pt x="290" y="29"/>
                                  <a:pt x="290" y="29"/>
                                  <a:pt x="290" y="29"/>
                                </a:cubicBezTo>
                                <a:cubicBezTo>
                                  <a:pt x="283" y="24"/>
                                  <a:pt x="278" y="21"/>
                                  <a:pt x="274" y="10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69" name="Freeform 262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776900" y="3532082"/>
                            <a:ext cx="164306" cy="115491"/>
                          </a:xfrm>
                          <a:custGeom>
                            <a:avLst/>
                            <a:gdLst>
                              <a:gd name="T0" fmla="*/ 446 w 574"/>
                              <a:gd name="T1" fmla="*/ 37 h 402"/>
                              <a:gd name="T2" fmla="*/ 428 w 574"/>
                              <a:gd name="T3" fmla="*/ 29 h 402"/>
                              <a:gd name="T4" fmla="*/ 390 w 574"/>
                              <a:gd name="T5" fmla="*/ 35 h 402"/>
                              <a:gd name="T6" fmla="*/ 361 w 574"/>
                              <a:gd name="T7" fmla="*/ 19 h 402"/>
                              <a:gd name="T8" fmla="*/ 353 w 574"/>
                              <a:gd name="T9" fmla="*/ 17 h 402"/>
                              <a:gd name="T10" fmla="*/ 320 w 574"/>
                              <a:gd name="T11" fmla="*/ 14 h 402"/>
                              <a:gd name="T12" fmla="*/ 279 w 574"/>
                              <a:gd name="T13" fmla="*/ 11 h 402"/>
                              <a:gd name="T14" fmla="*/ 267 w 574"/>
                              <a:gd name="T15" fmla="*/ 24 h 402"/>
                              <a:gd name="T16" fmla="*/ 230 w 574"/>
                              <a:gd name="T17" fmla="*/ 32 h 402"/>
                              <a:gd name="T18" fmla="*/ 210 w 574"/>
                              <a:gd name="T19" fmla="*/ 45 h 402"/>
                              <a:gd name="T20" fmla="*/ 201 w 574"/>
                              <a:gd name="T21" fmla="*/ 69 h 402"/>
                              <a:gd name="T22" fmla="*/ 202 w 574"/>
                              <a:gd name="T23" fmla="*/ 74 h 402"/>
                              <a:gd name="T24" fmla="*/ 181 w 574"/>
                              <a:gd name="T25" fmla="*/ 100 h 402"/>
                              <a:gd name="T26" fmla="*/ 150 w 574"/>
                              <a:gd name="T27" fmla="*/ 134 h 402"/>
                              <a:gd name="T28" fmla="*/ 150 w 574"/>
                              <a:gd name="T29" fmla="*/ 142 h 402"/>
                              <a:gd name="T30" fmla="*/ 151 w 574"/>
                              <a:gd name="T31" fmla="*/ 162 h 402"/>
                              <a:gd name="T32" fmla="*/ 120 w 574"/>
                              <a:gd name="T33" fmla="*/ 172 h 402"/>
                              <a:gd name="T34" fmla="*/ 97 w 574"/>
                              <a:gd name="T35" fmla="*/ 179 h 402"/>
                              <a:gd name="T36" fmla="*/ 91 w 574"/>
                              <a:gd name="T37" fmla="*/ 189 h 402"/>
                              <a:gd name="T38" fmla="*/ 52 w 574"/>
                              <a:gd name="T39" fmla="*/ 193 h 402"/>
                              <a:gd name="T40" fmla="*/ 11 w 574"/>
                              <a:gd name="T41" fmla="*/ 189 h 402"/>
                              <a:gd name="T42" fmla="*/ 18 w 574"/>
                              <a:gd name="T43" fmla="*/ 208 h 402"/>
                              <a:gd name="T44" fmla="*/ 39 w 574"/>
                              <a:gd name="T45" fmla="*/ 248 h 402"/>
                              <a:gd name="T46" fmla="*/ 19 w 574"/>
                              <a:gd name="T47" fmla="*/ 307 h 402"/>
                              <a:gd name="T48" fmla="*/ 13 w 574"/>
                              <a:gd name="T49" fmla="*/ 312 h 402"/>
                              <a:gd name="T50" fmla="*/ 7 w 574"/>
                              <a:gd name="T51" fmla="*/ 331 h 402"/>
                              <a:gd name="T52" fmla="*/ 18 w 574"/>
                              <a:gd name="T53" fmla="*/ 359 h 402"/>
                              <a:gd name="T54" fmla="*/ 20 w 574"/>
                              <a:gd name="T55" fmla="*/ 384 h 402"/>
                              <a:gd name="T56" fmla="*/ 46 w 574"/>
                              <a:gd name="T57" fmla="*/ 375 h 402"/>
                              <a:gd name="T58" fmla="*/ 76 w 574"/>
                              <a:gd name="T59" fmla="*/ 357 h 402"/>
                              <a:gd name="T60" fmla="*/ 130 w 574"/>
                              <a:gd name="T61" fmla="*/ 353 h 402"/>
                              <a:gd name="T62" fmla="*/ 218 w 574"/>
                              <a:gd name="T63" fmla="*/ 367 h 402"/>
                              <a:gd name="T64" fmla="*/ 261 w 574"/>
                              <a:gd name="T65" fmla="*/ 383 h 402"/>
                              <a:gd name="T66" fmla="*/ 298 w 574"/>
                              <a:gd name="T67" fmla="*/ 376 h 402"/>
                              <a:gd name="T68" fmla="*/ 325 w 574"/>
                              <a:gd name="T69" fmla="*/ 391 h 402"/>
                              <a:gd name="T70" fmla="*/ 350 w 574"/>
                              <a:gd name="T71" fmla="*/ 379 h 402"/>
                              <a:gd name="T72" fmla="*/ 374 w 574"/>
                              <a:gd name="T73" fmla="*/ 396 h 402"/>
                              <a:gd name="T74" fmla="*/ 423 w 574"/>
                              <a:gd name="T75" fmla="*/ 390 h 402"/>
                              <a:gd name="T76" fmla="*/ 434 w 574"/>
                              <a:gd name="T77" fmla="*/ 397 h 402"/>
                              <a:gd name="T78" fmla="*/ 444 w 574"/>
                              <a:gd name="T79" fmla="*/ 389 h 402"/>
                              <a:gd name="T80" fmla="*/ 447 w 574"/>
                              <a:gd name="T81" fmla="*/ 370 h 402"/>
                              <a:gd name="T82" fmla="*/ 448 w 574"/>
                              <a:gd name="T83" fmla="*/ 369 h 402"/>
                              <a:gd name="T84" fmla="*/ 501 w 574"/>
                              <a:gd name="T85" fmla="*/ 340 h 402"/>
                              <a:gd name="T86" fmla="*/ 514 w 574"/>
                              <a:gd name="T87" fmla="*/ 336 h 402"/>
                              <a:gd name="T88" fmla="*/ 505 w 574"/>
                              <a:gd name="T89" fmla="*/ 311 h 402"/>
                              <a:gd name="T90" fmla="*/ 499 w 574"/>
                              <a:gd name="T91" fmla="*/ 279 h 402"/>
                              <a:gd name="T92" fmla="*/ 493 w 574"/>
                              <a:gd name="T93" fmla="*/ 270 h 402"/>
                              <a:gd name="T94" fmla="*/ 502 w 574"/>
                              <a:gd name="T95" fmla="*/ 252 h 402"/>
                              <a:gd name="T96" fmla="*/ 527 w 574"/>
                              <a:gd name="T97" fmla="*/ 251 h 402"/>
                              <a:gd name="T98" fmla="*/ 568 w 574"/>
                              <a:gd name="T99" fmla="*/ 242 h 402"/>
                              <a:gd name="T100" fmla="*/ 572 w 574"/>
                              <a:gd name="T101" fmla="*/ 229 h 402"/>
                              <a:gd name="T102" fmla="*/ 557 w 574"/>
                              <a:gd name="T103" fmla="*/ 211 h 402"/>
                              <a:gd name="T104" fmla="*/ 546 w 574"/>
                              <a:gd name="T105" fmla="*/ 208 h 402"/>
                              <a:gd name="T106" fmla="*/ 521 w 574"/>
                              <a:gd name="T107" fmla="*/ 191 h 402"/>
                              <a:gd name="T108" fmla="*/ 506 w 574"/>
                              <a:gd name="T109" fmla="*/ 168 h 402"/>
                              <a:gd name="T110" fmla="*/ 503 w 574"/>
                              <a:gd name="T111" fmla="*/ 166 h 402"/>
                              <a:gd name="T112" fmla="*/ 503 w 574"/>
                              <a:gd name="T113" fmla="*/ 166 h 402"/>
                              <a:gd name="T114" fmla="*/ 482 w 574"/>
                              <a:gd name="T115" fmla="*/ 138 h 402"/>
                              <a:gd name="T116" fmla="*/ 477 w 574"/>
                              <a:gd name="T117" fmla="*/ 126 h 402"/>
                              <a:gd name="T118" fmla="*/ 462 w 574"/>
                              <a:gd name="T119" fmla="*/ 100 h 402"/>
                              <a:gd name="T120" fmla="*/ 469 w 574"/>
                              <a:gd name="T121" fmla="*/ 96 h 402"/>
                              <a:gd name="T122" fmla="*/ 460 w 574"/>
                              <a:gd name="T123" fmla="*/ 78 h 402"/>
                              <a:gd name="T124" fmla="*/ 466 w 574"/>
                              <a:gd name="T125" fmla="*/ 54 h 402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  <a:cxn ang="0">
                                <a:pos x="T118" y="T119"/>
                              </a:cxn>
                              <a:cxn ang="0">
                                <a:pos x="T120" y="T121"/>
                              </a:cxn>
                              <a:cxn ang="0">
                                <a:pos x="T122" y="T123"/>
                              </a:cxn>
                              <a:cxn ang="0">
                                <a:pos x="T124" y="T125"/>
                              </a:cxn>
                            </a:cxnLst>
                            <a:rect l="0" t="0" r="r" b="b"/>
                            <a:pathLst>
                              <a:path w="574" h="402">
                                <a:moveTo>
                                  <a:pt x="466" y="54"/>
                                </a:moveTo>
                                <a:cubicBezTo>
                                  <a:pt x="466" y="50"/>
                                  <a:pt x="456" y="44"/>
                                  <a:pt x="446" y="37"/>
                                </a:cubicBezTo>
                                <a:cubicBezTo>
                                  <a:pt x="445" y="37"/>
                                  <a:pt x="444" y="36"/>
                                  <a:pt x="442" y="35"/>
                                </a:cubicBezTo>
                                <a:cubicBezTo>
                                  <a:pt x="437" y="31"/>
                                  <a:pt x="433" y="30"/>
                                  <a:pt x="428" y="29"/>
                                </a:cubicBezTo>
                                <a:cubicBezTo>
                                  <a:pt x="423" y="29"/>
                                  <a:pt x="417" y="30"/>
                                  <a:pt x="413" y="31"/>
                                </a:cubicBezTo>
                                <a:cubicBezTo>
                                  <a:pt x="407" y="34"/>
                                  <a:pt x="399" y="36"/>
                                  <a:pt x="390" y="35"/>
                                </a:cubicBezTo>
                                <a:cubicBezTo>
                                  <a:pt x="384" y="35"/>
                                  <a:pt x="378" y="33"/>
                                  <a:pt x="373" y="28"/>
                                </a:cubicBezTo>
                                <a:cubicBezTo>
                                  <a:pt x="368" y="24"/>
                                  <a:pt x="364" y="21"/>
                                  <a:pt x="361" y="19"/>
                                </a:cubicBezTo>
                                <a:cubicBezTo>
                                  <a:pt x="359" y="18"/>
                                  <a:pt x="356" y="17"/>
                                  <a:pt x="353" y="17"/>
                                </a:cubicBezTo>
                                <a:cubicBezTo>
                                  <a:pt x="353" y="17"/>
                                  <a:pt x="353" y="17"/>
                                  <a:pt x="353" y="17"/>
                                </a:cubicBezTo>
                                <a:cubicBezTo>
                                  <a:pt x="352" y="17"/>
                                  <a:pt x="351" y="17"/>
                                  <a:pt x="349" y="17"/>
                                </a:cubicBezTo>
                                <a:cubicBezTo>
                                  <a:pt x="342" y="18"/>
                                  <a:pt x="335" y="19"/>
                                  <a:pt x="320" y="14"/>
                                </a:cubicBezTo>
                                <a:cubicBezTo>
                                  <a:pt x="308" y="11"/>
                                  <a:pt x="303" y="6"/>
                                  <a:pt x="300" y="0"/>
                                </a:cubicBezTo>
                                <a:cubicBezTo>
                                  <a:pt x="279" y="11"/>
                                  <a:pt x="279" y="11"/>
                                  <a:pt x="279" y="11"/>
                                </a:cubicBezTo>
                                <a:cubicBezTo>
                                  <a:pt x="272" y="15"/>
                                  <a:pt x="271" y="17"/>
                                  <a:pt x="270" y="20"/>
                                </a:cubicBezTo>
                                <a:cubicBezTo>
                                  <a:pt x="269" y="21"/>
                                  <a:pt x="268" y="22"/>
                                  <a:pt x="267" y="24"/>
                                </a:cubicBezTo>
                                <a:cubicBezTo>
                                  <a:pt x="262" y="31"/>
                                  <a:pt x="250" y="31"/>
                                  <a:pt x="236" y="32"/>
                                </a:cubicBezTo>
                                <a:cubicBezTo>
                                  <a:pt x="234" y="32"/>
                                  <a:pt x="232" y="32"/>
                                  <a:pt x="230" y="32"/>
                                </a:cubicBezTo>
                                <a:cubicBezTo>
                                  <a:pt x="221" y="32"/>
                                  <a:pt x="219" y="34"/>
                                  <a:pt x="217" y="38"/>
                                </a:cubicBezTo>
                                <a:cubicBezTo>
                                  <a:pt x="215" y="40"/>
                                  <a:pt x="213" y="42"/>
                                  <a:pt x="210" y="45"/>
                                </a:cubicBezTo>
                                <a:cubicBezTo>
                                  <a:pt x="207" y="47"/>
                                  <a:pt x="204" y="51"/>
                                  <a:pt x="203" y="56"/>
                                </a:cubicBezTo>
                                <a:cubicBezTo>
                                  <a:pt x="201" y="61"/>
                                  <a:pt x="200" y="66"/>
                                  <a:pt x="201" y="69"/>
                                </a:cubicBezTo>
                                <a:cubicBezTo>
                                  <a:pt x="201" y="71"/>
                                  <a:pt x="202" y="73"/>
                                  <a:pt x="202" y="74"/>
                                </a:cubicBezTo>
                                <a:cubicBezTo>
                                  <a:pt x="202" y="74"/>
                                  <a:pt x="202" y="74"/>
                                  <a:pt x="202" y="74"/>
                                </a:cubicBezTo>
                                <a:cubicBezTo>
                                  <a:pt x="205" y="79"/>
                                  <a:pt x="207" y="82"/>
                                  <a:pt x="199" y="88"/>
                                </a:cubicBezTo>
                                <a:cubicBezTo>
                                  <a:pt x="195" y="91"/>
                                  <a:pt x="189" y="95"/>
                                  <a:pt x="181" y="100"/>
                                </a:cubicBezTo>
                                <a:cubicBezTo>
                                  <a:pt x="173" y="105"/>
                                  <a:pt x="163" y="110"/>
                                  <a:pt x="157" y="113"/>
                                </a:cubicBezTo>
                                <a:cubicBezTo>
                                  <a:pt x="149" y="117"/>
                                  <a:pt x="149" y="124"/>
                                  <a:pt x="150" y="134"/>
                                </a:cubicBezTo>
                                <a:cubicBezTo>
                                  <a:pt x="150" y="137"/>
                                  <a:pt x="150" y="139"/>
                                  <a:pt x="150" y="142"/>
                                </a:cubicBezTo>
                                <a:cubicBezTo>
                                  <a:pt x="150" y="142"/>
                                  <a:pt x="150" y="142"/>
                                  <a:pt x="150" y="142"/>
                                </a:cubicBezTo>
                                <a:cubicBezTo>
                                  <a:pt x="150" y="146"/>
                                  <a:pt x="150" y="149"/>
                                  <a:pt x="151" y="153"/>
                                </a:cubicBezTo>
                                <a:cubicBezTo>
                                  <a:pt x="151" y="156"/>
                                  <a:pt x="152" y="159"/>
                                  <a:pt x="151" y="162"/>
                                </a:cubicBezTo>
                                <a:cubicBezTo>
                                  <a:pt x="150" y="168"/>
                                  <a:pt x="147" y="171"/>
                                  <a:pt x="137" y="170"/>
                                </a:cubicBezTo>
                                <a:cubicBezTo>
                                  <a:pt x="130" y="169"/>
                                  <a:pt x="125" y="170"/>
                                  <a:pt x="120" y="172"/>
                                </a:cubicBezTo>
                                <a:cubicBezTo>
                                  <a:pt x="115" y="173"/>
                                  <a:pt x="111" y="174"/>
                                  <a:pt x="105" y="175"/>
                                </a:cubicBezTo>
                                <a:cubicBezTo>
                                  <a:pt x="99" y="175"/>
                                  <a:pt x="98" y="177"/>
                                  <a:pt x="97" y="179"/>
                                </a:cubicBezTo>
                                <a:cubicBezTo>
                                  <a:pt x="97" y="179"/>
                                  <a:pt x="97" y="179"/>
                                  <a:pt x="97" y="179"/>
                                </a:cubicBezTo>
                                <a:cubicBezTo>
                                  <a:pt x="96" y="182"/>
                                  <a:pt x="95" y="185"/>
                                  <a:pt x="91" y="189"/>
                                </a:cubicBezTo>
                                <a:cubicBezTo>
                                  <a:pt x="87" y="192"/>
                                  <a:pt x="82" y="195"/>
                                  <a:pt x="76" y="195"/>
                                </a:cubicBezTo>
                                <a:cubicBezTo>
                                  <a:pt x="70" y="196"/>
                                  <a:pt x="62" y="195"/>
                                  <a:pt x="52" y="193"/>
                                </a:cubicBezTo>
                                <a:cubicBezTo>
                                  <a:pt x="36" y="191"/>
                                  <a:pt x="23" y="190"/>
                                  <a:pt x="13" y="190"/>
                                </a:cubicBezTo>
                                <a:cubicBezTo>
                                  <a:pt x="11" y="189"/>
                                  <a:pt x="11" y="189"/>
                                  <a:pt x="11" y="189"/>
                                </a:cubicBezTo>
                                <a:cubicBezTo>
                                  <a:pt x="12" y="192"/>
                                  <a:pt x="12" y="194"/>
                                  <a:pt x="13" y="196"/>
                                </a:cubicBezTo>
                                <a:cubicBezTo>
                                  <a:pt x="15" y="200"/>
                                  <a:pt x="17" y="204"/>
                                  <a:pt x="18" y="208"/>
                                </a:cubicBezTo>
                                <a:cubicBezTo>
                                  <a:pt x="22" y="217"/>
                                  <a:pt x="24" y="224"/>
                                  <a:pt x="30" y="231"/>
                                </a:cubicBezTo>
                                <a:cubicBezTo>
                                  <a:pt x="35" y="237"/>
                                  <a:pt x="38" y="242"/>
                                  <a:pt x="39" y="248"/>
                                </a:cubicBezTo>
                                <a:cubicBezTo>
                                  <a:pt x="41" y="254"/>
                                  <a:pt x="41" y="261"/>
                                  <a:pt x="41" y="270"/>
                                </a:cubicBezTo>
                                <a:cubicBezTo>
                                  <a:pt x="40" y="291"/>
                                  <a:pt x="28" y="300"/>
                                  <a:pt x="19" y="307"/>
                                </a:cubicBezTo>
                                <a:cubicBezTo>
                                  <a:pt x="19" y="307"/>
                                  <a:pt x="19" y="307"/>
                                  <a:pt x="19" y="307"/>
                                </a:cubicBezTo>
                                <a:cubicBezTo>
                                  <a:pt x="17" y="309"/>
                                  <a:pt x="15" y="310"/>
                                  <a:pt x="13" y="312"/>
                                </a:cubicBezTo>
                                <a:cubicBezTo>
                                  <a:pt x="6" y="316"/>
                                  <a:pt x="0" y="321"/>
                                  <a:pt x="0" y="323"/>
                                </a:cubicBezTo>
                                <a:cubicBezTo>
                                  <a:pt x="0" y="325"/>
                                  <a:pt x="3" y="328"/>
                                  <a:pt x="7" y="331"/>
                                </a:cubicBezTo>
                                <a:cubicBezTo>
                                  <a:pt x="9" y="333"/>
                                  <a:pt x="10" y="335"/>
                                  <a:pt x="12" y="336"/>
                                </a:cubicBezTo>
                                <a:cubicBezTo>
                                  <a:pt x="19" y="343"/>
                                  <a:pt x="19" y="348"/>
                                  <a:pt x="18" y="359"/>
                                </a:cubicBezTo>
                                <a:cubicBezTo>
                                  <a:pt x="18" y="362"/>
                                  <a:pt x="18" y="364"/>
                                  <a:pt x="18" y="367"/>
                                </a:cubicBezTo>
                                <a:cubicBezTo>
                                  <a:pt x="18" y="373"/>
                                  <a:pt x="18" y="379"/>
                                  <a:pt x="20" y="384"/>
                                </a:cubicBezTo>
                                <a:cubicBezTo>
                                  <a:pt x="23" y="384"/>
                                  <a:pt x="27" y="383"/>
                                  <a:pt x="32" y="382"/>
                                </a:cubicBezTo>
                                <a:cubicBezTo>
                                  <a:pt x="37" y="380"/>
                                  <a:pt x="42" y="378"/>
                                  <a:pt x="46" y="375"/>
                                </a:cubicBezTo>
                                <a:cubicBezTo>
                                  <a:pt x="49" y="373"/>
                                  <a:pt x="52" y="371"/>
                                  <a:pt x="55" y="369"/>
                                </a:cubicBezTo>
                                <a:cubicBezTo>
                                  <a:pt x="61" y="364"/>
                                  <a:pt x="67" y="359"/>
                                  <a:pt x="76" y="357"/>
                                </a:cubicBezTo>
                                <a:cubicBezTo>
                                  <a:pt x="82" y="355"/>
                                  <a:pt x="90" y="354"/>
                                  <a:pt x="99" y="353"/>
                                </a:cubicBezTo>
                                <a:cubicBezTo>
                                  <a:pt x="108" y="352"/>
                                  <a:pt x="118" y="352"/>
                                  <a:pt x="130" y="353"/>
                                </a:cubicBezTo>
                                <a:cubicBezTo>
                                  <a:pt x="143" y="354"/>
                                  <a:pt x="161" y="355"/>
                                  <a:pt x="179" y="358"/>
                                </a:cubicBezTo>
                                <a:cubicBezTo>
                                  <a:pt x="193" y="360"/>
                                  <a:pt x="207" y="363"/>
                                  <a:pt x="218" y="367"/>
                                </a:cubicBezTo>
                                <a:cubicBezTo>
                                  <a:pt x="230" y="371"/>
                                  <a:pt x="236" y="374"/>
                                  <a:pt x="242" y="376"/>
                                </a:cubicBezTo>
                                <a:cubicBezTo>
                                  <a:pt x="249" y="379"/>
                                  <a:pt x="253" y="380"/>
                                  <a:pt x="261" y="383"/>
                                </a:cubicBezTo>
                                <a:cubicBezTo>
                                  <a:pt x="268" y="385"/>
                                  <a:pt x="275" y="382"/>
                                  <a:pt x="280" y="379"/>
                                </a:cubicBezTo>
                                <a:cubicBezTo>
                                  <a:pt x="286" y="377"/>
                                  <a:pt x="292" y="374"/>
                                  <a:pt x="298" y="376"/>
                                </a:cubicBezTo>
                                <a:cubicBezTo>
                                  <a:pt x="305" y="377"/>
                                  <a:pt x="309" y="381"/>
                                  <a:pt x="313" y="384"/>
                                </a:cubicBezTo>
                                <a:cubicBezTo>
                                  <a:pt x="317" y="388"/>
                                  <a:pt x="321" y="391"/>
                                  <a:pt x="325" y="391"/>
                                </a:cubicBezTo>
                                <a:cubicBezTo>
                                  <a:pt x="329" y="391"/>
                                  <a:pt x="332" y="388"/>
                                  <a:pt x="335" y="385"/>
                                </a:cubicBezTo>
                                <a:cubicBezTo>
                                  <a:pt x="340" y="382"/>
                                  <a:pt x="344" y="378"/>
                                  <a:pt x="350" y="379"/>
                                </a:cubicBezTo>
                                <a:cubicBezTo>
                                  <a:pt x="356" y="379"/>
                                  <a:pt x="358" y="382"/>
                                  <a:pt x="362" y="386"/>
                                </a:cubicBezTo>
                                <a:cubicBezTo>
                                  <a:pt x="364" y="388"/>
                                  <a:pt x="367" y="392"/>
                                  <a:pt x="374" y="396"/>
                                </a:cubicBezTo>
                                <a:cubicBezTo>
                                  <a:pt x="382" y="399"/>
                                  <a:pt x="393" y="396"/>
                                  <a:pt x="403" y="393"/>
                                </a:cubicBezTo>
                                <a:cubicBezTo>
                                  <a:pt x="411" y="390"/>
                                  <a:pt x="418" y="388"/>
                                  <a:pt x="423" y="390"/>
                                </a:cubicBezTo>
                                <a:cubicBezTo>
                                  <a:pt x="427" y="391"/>
                                  <a:pt x="430" y="394"/>
                                  <a:pt x="434" y="397"/>
                                </a:cubicBezTo>
                                <a:cubicBezTo>
                                  <a:pt x="434" y="397"/>
                                  <a:pt x="434" y="397"/>
                                  <a:pt x="434" y="397"/>
                                </a:cubicBezTo>
                                <a:cubicBezTo>
                                  <a:pt x="438" y="400"/>
                                  <a:pt x="442" y="402"/>
                                  <a:pt x="442" y="402"/>
                                </a:cubicBezTo>
                                <a:cubicBezTo>
                                  <a:pt x="443" y="401"/>
                                  <a:pt x="444" y="395"/>
                                  <a:pt x="444" y="389"/>
                                </a:cubicBezTo>
                                <a:cubicBezTo>
                                  <a:pt x="444" y="382"/>
                                  <a:pt x="445" y="374"/>
                                  <a:pt x="447" y="370"/>
                                </a:cubicBezTo>
                                <a:cubicBezTo>
                                  <a:pt x="447" y="370"/>
                                  <a:pt x="447" y="370"/>
                                  <a:pt x="447" y="370"/>
                                </a:cubicBezTo>
                                <a:cubicBezTo>
                                  <a:pt x="448" y="369"/>
                                  <a:pt x="448" y="369"/>
                                  <a:pt x="448" y="369"/>
                                </a:cubicBezTo>
                                <a:cubicBezTo>
                                  <a:pt x="448" y="369"/>
                                  <a:pt x="448" y="369"/>
                                  <a:pt x="448" y="369"/>
                                </a:cubicBezTo>
                                <a:cubicBezTo>
                                  <a:pt x="453" y="361"/>
                                  <a:pt x="463" y="346"/>
                                  <a:pt x="477" y="342"/>
                                </a:cubicBezTo>
                                <a:cubicBezTo>
                                  <a:pt x="486" y="340"/>
                                  <a:pt x="495" y="340"/>
                                  <a:pt x="501" y="340"/>
                                </a:cubicBezTo>
                                <a:cubicBezTo>
                                  <a:pt x="503" y="340"/>
                                  <a:pt x="506" y="340"/>
                                  <a:pt x="507" y="339"/>
                                </a:cubicBezTo>
                                <a:cubicBezTo>
                                  <a:pt x="509" y="339"/>
                                  <a:pt x="512" y="338"/>
                                  <a:pt x="514" y="336"/>
                                </a:cubicBezTo>
                                <a:cubicBezTo>
                                  <a:pt x="513" y="335"/>
                                  <a:pt x="511" y="334"/>
                                  <a:pt x="510" y="333"/>
                                </a:cubicBezTo>
                                <a:cubicBezTo>
                                  <a:pt x="502" y="324"/>
                                  <a:pt x="503" y="319"/>
                                  <a:pt x="505" y="311"/>
                                </a:cubicBezTo>
                                <a:cubicBezTo>
                                  <a:pt x="505" y="308"/>
                                  <a:pt x="506" y="305"/>
                                  <a:pt x="506" y="302"/>
                                </a:cubicBezTo>
                                <a:cubicBezTo>
                                  <a:pt x="506" y="292"/>
                                  <a:pt x="504" y="287"/>
                                  <a:pt x="499" y="279"/>
                                </a:cubicBezTo>
                                <a:cubicBezTo>
                                  <a:pt x="497" y="277"/>
                                  <a:pt x="497" y="277"/>
                                  <a:pt x="497" y="277"/>
                                </a:cubicBezTo>
                                <a:cubicBezTo>
                                  <a:pt x="496" y="274"/>
                                  <a:pt x="494" y="272"/>
                                  <a:pt x="493" y="270"/>
                                </a:cubicBezTo>
                                <a:cubicBezTo>
                                  <a:pt x="489" y="264"/>
                                  <a:pt x="487" y="262"/>
                                  <a:pt x="491" y="257"/>
                                </a:cubicBezTo>
                                <a:cubicBezTo>
                                  <a:pt x="493" y="255"/>
                                  <a:pt x="497" y="253"/>
                                  <a:pt x="502" y="252"/>
                                </a:cubicBezTo>
                                <a:cubicBezTo>
                                  <a:pt x="506" y="251"/>
                                  <a:pt x="512" y="250"/>
                                  <a:pt x="517" y="251"/>
                                </a:cubicBezTo>
                                <a:cubicBezTo>
                                  <a:pt x="521" y="251"/>
                                  <a:pt x="524" y="251"/>
                                  <a:pt x="527" y="251"/>
                                </a:cubicBezTo>
                                <a:cubicBezTo>
                                  <a:pt x="535" y="252"/>
                                  <a:pt x="544" y="253"/>
                                  <a:pt x="551" y="251"/>
                                </a:cubicBezTo>
                                <a:cubicBezTo>
                                  <a:pt x="557" y="249"/>
                                  <a:pt x="564" y="246"/>
                                  <a:pt x="568" y="242"/>
                                </a:cubicBezTo>
                                <a:cubicBezTo>
                                  <a:pt x="572" y="239"/>
                                  <a:pt x="574" y="235"/>
                                  <a:pt x="574" y="233"/>
                                </a:cubicBezTo>
                                <a:cubicBezTo>
                                  <a:pt x="574" y="230"/>
                                  <a:pt x="573" y="230"/>
                                  <a:pt x="572" y="229"/>
                                </a:cubicBezTo>
                                <a:cubicBezTo>
                                  <a:pt x="569" y="228"/>
                                  <a:pt x="566" y="227"/>
                                  <a:pt x="562" y="223"/>
                                </a:cubicBezTo>
                                <a:cubicBezTo>
                                  <a:pt x="557" y="218"/>
                                  <a:pt x="557" y="214"/>
                                  <a:pt x="557" y="211"/>
                                </a:cubicBezTo>
                                <a:cubicBezTo>
                                  <a:pt x="557" y="211"/>
                                  <a:pt x="557" y="210"/>
                                  <a:pt x="556" y="210"/>
                                </a:cubicBezTo>
                                <a:cubicBezTo>
                                  <a:pt x="553" y="208"/>
                                  <a:pt x="550" y="208"/>
                                  <a:pt x="546" y="208"/>
                                </a:cubicBezTo>
                                <a:cubicBezTo>
                                  <a:pt x="539" y="207"/>
                                  <a:pt x="533" y="206"/>
                                  <a:pt x="526" y="203"/>
                                </a:cubicBezTo>
                                <a:cubicBezTo>
                                  <a:pt x="517" y="198"/>
                                  <a:pt x="518" y="196"/>
                                  <a:pt x="521" y="191"/>
                                </a:cubicBezTo>
                                <a:cubicBezTo>
                                  <a:pt x="521" y="189"/>
                                  <a:pt x="522" y="188"/>
                                  <a:pt x="522" y="184"/>
                                </a:cubicBezTo>
                                <a:cubicBezTo>
                                  <a:pt x="521" y="177"/>
                                  <a:pt x="512" y="171"/>
                                  <a:pt x="506" y="168"/>
                                </a:cubicBezTo>
                                <a:cubicBezTo>
                                  <a:pt x="505" y="167"/>
                                  <a:pt x="503" y="166"/>
                                  <a:pt x="503" y="166"/>
                                </a:cubicBezTo>
                                <a:cubicBezTo>
                                  <a:pt x="503" y="166"/>
                                  <a:pt x="503" y="166"/>
                                  <a:pt x="503" y="166"/>
                                </a:cubicBezTo>
                                <a:cubicBezTo>
                                  <a:pt x="503" y="166"/>
                                  <a:pt x="503" y="166"/>
                                  <a:pt x="503" y="166"/>
                                </a:cubicBezTo>
                                <a:cubicBezTo>
                                  <a:pt x="503" y="166"/>
                                  <a:pt x="503" y="166"/>
                                  <a:pt x="503" y="166"/>
                                </a:cubicBezTo>
                                <a:cubicBezTo>
                                  <a:pt x="498" y="163"/>
                                  <a:pt x="492" y="159"/>
                                  <a:pt x="485" y="153"/>
                                </a:cubicBezTo>
                                <a:cubicBezTo>
                                  <a:pt x="480" y="148"/>
                                  <a:pt x="481" y="143"/>
                                  <a:pt x="482" y="138"/>
                                </a:cubicBezTo>
                                <a:cubicBezTo>
                                  <a:pt x="483" y="136"/>
                                  <a:pt x="484" y="133"/>
                                  <a:pt x="483" y="130"/>
                                </a:cubicBezTo>
                                <a:cubicBezTo>
                                  <a:pt x="481" y="127"/>
                                  <a:pt x="480" y="126"/>
                                  <a:pt x="477" y="126"/>
                                </a:cubicBezTo>
                                <a:cubicBezTo>
                                  <a:pt x="473" y="124"/>
                                  <a:pt x="469" y="122"/>
                                  <a:pt x="463" y="117"/>
                                </a:cubicBezTo>
                                <a:cubicBezTo>
                                  <a:pt x="456" y="109"/>
                                  <a:pt x="458" y="104"/>
                                  <a:pt x="462" y="100"/>
                                </a:cubicBezTo>
                                <a:cubicBezTo>
                                  <a:pt x="464" y="99"/>
                                  <a:pt x="465" y="98"/>
                                  <a:pt x="466" y="97"/>
                                </a:cubicBezTo>
                                <a:cubicBezTo>
                                  <a:pt x="468" y="96"/>
                                  <a:pt x="469" y="96"/>
                                  <a:pt x="469" y="96"/>
                                </a:cubicBezTo>
                                <a:cubicBezTo>
                                  <a:pt x="469" y="94"/>
                                  <a:pt x="467" y="90"/>
                                  <a:pt x="464" y="85"/>
                                </a:cubicBezTo>
                                <a:cubicBezTo>
                                  <a:pt x="463" y="83"/>
                                  <a:pt x="461" y="81"/>
                                  <a:pt x="460" y="78"/>
                                </a:cubicBezTo>
                                <a:cubicBezTo>
                                  <a:pt x="456" y="70"/>
                                  <a:pt x="459" y="65"/>
                                  <a:pt x="463" y="60"/>
                                </a:cubicBezTo>
                                <a:cubicBezTo>
                                  <a:pt x="464" y="58"/>
                                  <a:pt x="466" y="56"/>
                                  <a:pt x="466" y="54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70" name="Freeform 263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757850" y="3623760"/>
                            <a:ext cx="316706" cy="180975"/>
                          </a:xfrm>
                          <a:custGeom>
                            <a:avLst/>
                            <a:gdLst>
                              <a:gd name="T0" fmla="*/ 589 w 1103"/>
                              <a:gd name="T1" fmla="*/ 24 h 630"/>
                              <a:gd name="T2" fmla="*/ 520 w 1103"/>
                              <a:gd name="T3" fmla="*/ 52 h 630"/>
                              <a:gd name="T4" fmla="*/ 513 w 1103"/>
                              <a:gd name="T5" fmla="*/ 87 h 630"/>
                              <a:gd name="T6" fmla="*/ 436 w 1103"/>
                              <a:gd name="T7" fmla="*/ 82 h 630"/>
                              <a:gd name="T8" fmla="*/ 373 w 1103"/>
                              <a:gd name="T9" fmla="*/ 70 h 630"/>
                              <a:gd name="T10" fmla="*/ 280 w 1103"/>
                              <a:gd name="T11" fmla="*/ 54 h 630"/>
                              <a:gd name="T12" fmla="*/ 125 w 1103"/>
                              <a:gd name="T13" fmla="*/ 54 h 630"/>
                              <a:gd name="T14" fmla="*/ 101 w 1103"/>
                              <a:gd name="T15" fmla="*/ 96 h 630"/>
                              <a:gd name="T16" fmla="*/ 113 w 1103"/>
                              <a:gd name="T17" fmla="*/ 153 h 630"/>
                              <a:gd name="T18" fmla="*/ 49 w 1103"/>
                              <a:gd name="T19" fmla="*/ 211 h 630"/>
                              <a:gd name="T20" fmla="*/ 31 w 1103"/>
                              <a:gd name="T21" fmla="*/ 251 h 630"/>
                              <a:gd name="T22" fmla="*/ 21 w 1103"/>
                              <a:gd name="T23" fmla="*/ 279 h 630"/>
                              <a:gd name="T24" fmla="*/ 4 w 1103"/>
                              <a:gd name="T25" fmla="*/ 322 h 630"/>
                              <a:gd name="T26" fmla="*/ 30 w 1103"/>
                              <a:gd name="T27" fmla="*/ 346 h 630"/>
                              <a:gd name="T28" fmla="*/ 66 w 1103"/>
                              <a:gd name="T29" fmla="*/ 346 h 630"/>
                              <a:gd name="T30" fmla="*/ 163 w 1103"/>
                              <a:gd name="T31" fmla="*/ 368 h 630"/>
                              <a:gd name="T32" fmla="*/ 255 w 1103"/>
                              <a:gd name="T33" fmla="*/ 341 h 630"/>
                              <a:gd name="T34" fmla="*/ 299 w 1103"/>
                              <a:gd name="T35" fmla="*/ 321 h 630"/>
                              <a:gd name="T36" fmla="*/ 380 w 1103"/>
                              <a:gd name="T37" fmla="*/ 335 h 630"/>
                              <a:gd name="T38" fmla="*/ 437 w 1103"/>
                              <a:gd name="T39" fmla="*/ 386 h 630"/>
                              <a:gd name="T40" fmla="*/ 471 w 1103"/>
                              <a:gd name="T41" fmla="*/ 469 h 630"/>
                              <a:gd name="T42" fmla="*/ 427 w 1103"/>
                              <a:gd name="T43" fmla="*/ 485 h 630"/>
                              <a:gd name="T44" fmla="*/ 411 w 1103"/>
                              <a:gd name="T45" fmla="*/ 509 h 630"/>
                              <a:gd name="T46" fmla="*/ 443 w 1103"/>
                              <a:gd name="T47" fmla="*/ 549 h 630"/>
                              <a:gd name="T48" fmla="*/ 468 w 1103"/>
                              <a:gd name="T49" fmla="*/ 532 h 630"/>
                              <a:gd name="T50" fmla="*/ 503 w 1103"/>
                              <a:gd name="T51" fmla="*/ 484 h 630"/>
                              <a:gd name="T52" fmla="*/ 589 w 1103"/>
                              <a:gd name="T53" fmla="*/ 453 h 630"/>
                              <a:gd name="T54" fmla="*/ 626 w 1103"/>
                              <a:gd name="T55" fmla="*/ 458 h 630"/>
                              <a:gd name="T56" fmla="*/ 595 w 1103"/>
                              <a:gd name="T57" fmla="*/ 471 h 630"/>
                              <a:gd name="T58" fmla="*/ 654 w 1103"/>
                              <a:gd name="T59" fmla="*/ 496 h 630"/>
                              <a:gd name="T60" fmla="*/ 703 w 1103"/>
                              <a:gd name="T61" fmla="*/ 516 h 630"/>
                              <a:gd name="T62" fmla="*/ 636 w 1103"/>
                              <a:gd name="T63" fmla="*/ 552 h 630"/>
                              <a:gd name="T64" fmla="*/ 698 w 1103"/>
                              <a:gd name="T65" fmla="*/ 594 h 630"/>
                              <a:gd name="T66" fmla="*/ 721 w 1103"/>
                              <a:gd name="T67" fmla="*/ 624 h 630"/>
                              <a:gd name="T68" fmla="*/ 788 w 1103"/>
                              <a:gd name="T69" fmla="*/ 587 h 630"/>
                              <a:gd name="T70" fmla="*/ 859 w 1103"/>
                              <a:gd name="T71" fmla="*/ 577 h 630"/>
                              <a:gd name="T72" fmla="*/ 840 w 1103"/>
                              <a:gd name="T73" fmla="*/ 556 h 630"/>
                              <a:gd name="T74" fmla="*/ 786 w 1103"/>
                              <a:gd name="T75" fmla="*/ 520 h 630"/>
                              <a:gd name="T76" fmla="*/ 800 w 1103"/>
                              <a:gd name="T77" fmla="*/ 547 h 630"/>
                              <a:gd name="T78" fmla="*/ 783 w 1103"/>
                              <a:gd name="T79" fmla="*/ 533 h 630"/>
                              <a:gd name="T80" fmla="*/ 739 w 1103"/>
                              <a:gd name="T81" fmla="*/ 507 h 630"/>
                              <a:gd name="T82" fmla="*/ 735 w 1103"/>
                              <a:gd name="T83" fmla="*/ 491 h 630"/>
                              <a:gd name="T84" fmla="*/ 793 w 1103"/>
                              <a:gd name="T85" fmla="*/ 479 h 630"/>
                              <a:gd name="T86" fmla="*/ 824 w 1103"/>
                              <a:gd name="T87" fmla="*/ 472 h 630"/>
                              <a:gd name="T88" fmla="*/ 895 w 1103"/>
                              <a:gd name="T89" fmla="*/ 458 h 630"/>
                              <a:gd name="T90" fmla="*/ 959 w 1103"/>
                              <a:gd name="T91" fmla="*/ 422 h 630"/>
                              <a:gd name="T92" fmla="*/ 1034 w 1103"/>
                              <a:gd name="T93" fmla="*/ 359 h 630"/>
                              <a:gd name="T94" fmla="*/ 1081 w 1103"/>
                              <a:gd name="T95" fmla="*/ 351 h 630"/>
                              <a:gd name="T96" fmla="*/ 1087 w 1103"/>
                              <a:gd name="T97" fmla="*/ 323 h 630"/>
                              <a:gd name="T98" fmla="*/ 1087 w 1103"/>
                              <a:gd name="T99" fmla="*/ 288 h 630"/>
                              <a:gd name="T100" fmla="*/ 1093 w 1103"/>
                              <a:gd name="T101" fmla="*/ 258 h 630"/>
                              <a:gd name="T102" fmla="*/ 1080 w 1103"/>
                              <a:gd name="T103" fmla="*/ 230 h 630"/>
                              <a:gd name="T104" fmla="*/ 1016 w 1103"/>
                              <a:gd name="T105" fmla="*/ 200 h 630"/>
                              <a:gd name="T106" fmla="*/ 951 w 1103"/>
                              <a:gd name="T107" fmla="*/ 177 h 630"/>
                              <a:gd name="T108" fmla="*/ 862 w 1103"/>
                              <a:gd name="T109" fmla="*/ 167 h 630"/>
                              <a:gd name="T110" fmla="*/ 809 w 1103"/>
                              <a:gd name="T111" fmla="*/ 137 h 630"/>
                              <a:gd name="T112" fmla="*/ 759 w 1103"/>
                              <a:gd name="T113" fmla="*/ 98 h 630"/>
                              <a:gd name="T114" fmla="*/ 736 w 1103"/>
                              <a:gd name="T115" fmla="*/ 54 h 630"/>
                              <a:gd name="T116" fmla="*/ 725 w 1103"/>
                              <a:gd name="T117" fmla="*/ 22 h 630"/>
                              <a:gd name="T118" fmla="*/ 714 w 1103"/>
                              <a:gd name="T119" fmla="*/ 8 h 630"/>
                              <a:gd name="T120" fmla="*/ 689 w 1103"/>
                              <a:gd name="T121" fmla="*/ 3 h 630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  <a:cxn ang="0">
                                <a:pos x="T118" y="T119"/>
                              </a:cxn>
                              <a:cxn ang="0">
                                <a:pos x="T120" y="T121"/>
                              </a:cxn>
                            </a:cxnLst>
                            <a:rect l="0" t="0" r="r" b="b"/>
                            <a:pathLst>
                              <a:path w="1103" h="630">
                                <a:moveTo>
                                  <a:pt x="652" y="8"/>
                                </a:moveTo>
                                <a:cubicBezTo>
                                  <a:pt x="643" y="7"/>
                                  <a:pt x="637" y="7"/>
                                  <a:pt x="631" y="10"/>
                                </a:cubicBezTo>
                                <a:cubicBezTo>
                                  <a:pt x="628" y="11"/>
                                  <a:pt x="625" y="14"/>
                                  <a:pt x="622" y="18"/>
                                </a:cubicBezTo>
                                <a:cubicBezTo>
                                  <a:pt x="617" y="23"/>
                                  <a:pt x="612" y="28"/>
                                  <a:pt x="605" y="28"/>
                                </a:cubicBezTo>
                                <a:cubicBezTo>
                                  <a:pt x="599" y="29"/>
                                  <a:pt x="594" y="27"/>
                                  <a:pt x="589" y="24"/>
                                </a:cubicBezTo>
                                <a:cubicBezTo>
                                  <a:pt x="588" y="23"/>
                                  <a:pt x="586" y="22"/>
                                  <a:pt x="585" y="21"/>
                                </a:cubicBezTo>
                                <a:cubicBezTo>
                                  <a:pt x="582" y="23"/>
                                  <a:pt x="577" y="26"/>
                                  <a:pt x="573" y="26"/>
                                </a:cubicBezTo>
                                <a:cubicBezTo>
                                  <a:pt x="571" y="27"/>
                                  <a:pt x="569" y="27"/>
                                  <a:pt x="566" y="27"/>
                                </a:cubicBezTo>
                                <a:cubicBezTo>
                                  <a:pt x="560" y="27"/>
                                  <a:pt x="552" y="27"/>
                                  <a:pt x="544" y="29"/>
                                </a:cubicBezTo>
                                <a:cubicBezTo>
                                  <a:pt x="533" y="32"/>
                                  <a:pt x="524" y="45"/>
                                  <a:pt x="520" y="52"/>
                                </a:cubicBezTo>
                                <a:cubicBezTo>
                                  <a:pt x="520" y="52"/>
                                  <a:pt x="520" y="52"/>
                                  <a:pt x="520" y="52"/>
                                </a:cubicBezTo>
                                <a:cubicBezTo>
                                  <a:pt x="519" y="54"/>
                                  <a:pt x="519" y="54"/>
                                  <a:pt x="519" y="54"/>
                                </a:cubicBezTo>
                                <a:cubicBezTo>
                                  <a:pt x="519" y="54"/>
                                  <a:pt x="519" y="54"/>
                                  <a:pt x="519" y="54"/>
                                </a:cubicBezTo>
                                <a:cubicBezTo>
                                  <a:pt x="518" y="56"/>
                                  <a:pt x="517" y="62"/>
                                  <a:pt x="517" y="68"/>
                                </a:cubicBezTo>
                                <a:cubicBezTo>
                                  <a:pt x="517" y="76"/>
                                  <a:pt x="516" y="83"/>
                                  <a:pt x="513" y="87"/>
                                </a:cubicBezTo>
                                <a:cubicBezTo>
                                  <a:pt x="507" y="91"/>
                                  <a:pt x="501" y="87"/>
                                  <a:pt x="494" y="82"/>
                                </a:cubicBezTo>
                                <a:cubicBezTo>
                                  <a:pt x="494" y="82"/>
                                  <a:pt x="494" y="82"/>
                                  <a:pt x="494" y="82"/>
                                </a:cubicBezTo>
                                <a:cubicBezTo>
                                  <a:pt x="491" y="80"/>
                                  <a:pt x="488" y="78"/>
                                  <a:pt x="485" y="76"/>
                                </a:cubicBezTo>
                                <a:cubicBezTo>
                                  <a:pt x="483" y="75"/>
                                  <a:pt x="477" y="77"/>
                                  <a:pt x="470" y="79"/>
                                </a:cubicBezTo>
                                <a:cubicBezTo>
                                  <a:pt x="459" y="83"/>
                                  <a:pt x="447" y="87"/>
                                  <a:pt x="436" y="82"/>
                                </a:cubicBezTo>
                                <a:cubicBezTo>
                                  <a:pt x="427" y="77"/>
                                  <a:pt x="423" y="73"/>
                                  <a:pt x="421" y="70"/>
                                </a:cubicBezTo>
                                <a:cubicBezTo>
                                  <a:pt x="419" y="68"/>
                                  <a:pt x="417" y="66"/>
                                  <a:pt x="414" y="66"/>
                                </a:cubicBezTo>
                                <a:cubicBezTo>
                                  <a:pt x="411" y="65"/>
                                  <a:pt x="408" y="68"/>
                                  <a:pt x="405" y="71"/>
                                </a:cubicBezTo>
                                <a:cubicBezTo>
                                  <a:pt x="401" y="74"/>
                                  <a:pt x="396" y="78"/>
                                  <a:pt x="389" y="78"/>
                                </a:cubicBezTo>
                                <a:cubicBezTo>
                                  <a:pt x="383" y="77"/>
                                  <a:pt x="378" y="74"/>
                                  <a:pt x="373" y="70"/>
                                </a:cubicBezTo>
                                <a:cubicBezTo>
                                  <a:pt x="370" y="67"/>
                                  <a:pt x="366" y="63"/>
                                  <a:pt x="361" y="62"/>
                                </a:cubicBezTo>
                                <a:cubicBezTo>
                                  <a:pt x="357" y="62"/>
                                  <a:pt x="353" y="64"/>
                                  <a:pt x="349" y="66"/>
                                </a:cubicBezTo>
                                <a:cubicBezTo>
                                  <a:pt x="342" y="69"/>
                                  <a:pt x="334" y="72"/>
                                  <a:pt x="324" y="69"/>
                                </a:cubicBezTo>
                                <a:cubicBezTo>
                                  <a:pt x="315" y="67"/>
                                  <a:pt x="311" y="65"/>
                                  <a:pt x="304" y="63"/>
                                </a:cubicBezTo>
                                <a:cubicBezTo>
                                  <a:pt x="299" y="60"/>
                                  <a:pt x="292" y="58"/>
                                  <a:pt x="280" y="54"/>
                                </a:cubicBezTo>
                                <a:cubicBezTo>
                                  <a:pt x="270" y="50"/>
                                  <a:pt x="256" y="47"/>
                                  <a:pt x="243" y="45"/>
                                </a:cubicBezTo>
                                <a:cubicBezTo>
                                  <a:pt x="225" y="42"/>
                                  <a:pt x="208" y="40"/>
                                  <a:pt x="195" y="40"/>
                                </a:cubicBezTo>
                                <a:cubicBezTo>
                                  <a:pt x="183" y="39"/>
                                  <a:pt x="173" y="39"/>
                                  <a:pt x="164" y="40"/>
                                </a:cubicBezTo>
                                <a:cubicBezTo>
                                  <a:pt x="156" y="41"/>
                                  <a:pt x="149" y="42"/>
                                  <a:pt x="143" y="43"/>
                                </a:cubicBezTo>
                                <a:cubicBezTo>
                                  <a:pt x="136" y="45"/>
                                  <a:pt x="131" y="50"/>
                                  <a:pt x="125" y="54"/>
                                </a:cubicBezTo>
                                <a:cubicBezTo>
                                  <a:pt x="122" y="56"/>
                                  <a:pt x="119" y="59"/>
                                  <a:pt x="115" y="61"/>
                                </a:cubicBezTo>
                                <a:cubicBezTo>
                                  <a:pt x="110" y="64"/>
                                  <a:pt x="105" y="66"/>
                                  <a:pt x="99" y="68"/>
                                </a:cubicBezTo>
                                <a:cubicBezTo>
                                  <a:pt x="95" y="69"/>
                                  <a:pt x="90" y="70"/>
                                  <a:pt x="87" y="71"/>
                                </a:cubicBezTo>
                                <a:cubicBezTo>
                                  <a:pt x="89" y="76"/>
                                  <a:pt x="91" y="80"/>
                                  <a:pt x="93" y="84"/>
                                </a:cubicBezTo>
                                <a:cubicBezTo>
                                  <a:pt x="95" y="87"/>
                                  <a:pt x="98" y="92"/>
                                  <a:pt x="101" y="96"/>
                                </a:cubicBezTo>
                                <a:cubicBezTo>
                                  <a:pt x="106" y="103"/>
                                  <a:pt x="111" y="111"/>
                                  <a:pt x="112" y="115"/>
                                </a:cubicBezTo>
                                <a:cubicBezTo>
                                  <a:pt x="114" y="120"/>
                                  <a:pt x="113" y="122"/>
                                  <a:pt x="111" y="125"/>
                                </a:cubicBezTo>
                                <a:cubicBezTo>
                                  <a:pt x="110" y="126"/>
                                  <a:pt x="109" y="127"/>
                                  <a:pt x="110" y="131"/>
                                </a:cubicBezTo>
                                <a:cubicBezTo>
                                  <a:pt x="111" y="133"/>
                                  <a:pt x="111" y="136"/>
                                  <a:pt x="112" y="138"/>
                                </a:cubicBezTo>
                                <a:cubicBezTo>
                                  <a:pt x="113" y="143"/>
                                  <a:pt x="114" y="147"/>
                                  <a:pt x="113" y="153"/>
                                </a:cubicBezTo>
                                <a:cubicBezTo>
                                  <a:pt x="112" y="157"/>
                                  <a:pt x="110" y="161"/>
                                  <a:pt x="106" y="164"/>
                                </a:cubicBezTo>
                                <a:cubicBezTo>
                                  <a:pt x="101" y="168"/>
                                  <a:pt x="96" y="171"/>
                                  <a:pt x="91" y="173"/>
                                </a:cubicBezTo>
                                <a:cubicBezTo>
                                  <a:pt x="87" y="174"/>
                                  <a:pt x="82" y="178"/>
                                  <a:pt x="76" y="183"/>
                                </a:cubicBezTo>
                                <a:cubicBezTo>
                                  <a:pt x="69" y="189"/>
                                  <a:pt x="62" y="195"/>
                                  <a:pt x="60" y="199"/>
                                </a:cubicBezTo>
                                <a:cubicBezTo>
                                  <a:pt x="58" y="202"/>
                                  <a:pt x="53" y="206"/>
                                  <a:pt x="49" y="211"/>
                                </a:cubicBezTo>
                                <a:cubicBezTo>
                                  <a:pt x="42" y="218"/>
                                  <a:pt x="36" y="224"/>
                                  <a:pt x="33" y="226"/>
                                </a:cubicBezTo>
                                <a:cubicBezTo>
                                  <a:pt x="33" y="226"/>
                                  <a:pt x="33" y="226"/>
                                  <a:pt x="33" y="226"/>
                                </a:cubicBezTo>
                                <a:cubicBezTo>
                                  <a:pt x="33" y="226"/>
                                  <a:pt x="33" y="226"/>
                                  <a:pt x="33" y="226"/>
                                </a:cubicBezTo>
                                <a:cubicBezTo>
                                  <a:pt x="31" y="228"/>
                                  <a:pt x="29" y="229"/>
                                  <a:pt x="29" y="238"/>
                                </a:cubicBezTo>
                                <a:cubicBezTo>
                                  <a:pt x="29" y="243"/>
                                  <a:pt x="30" y="247"/>
                                  <a:pt x="31" y="251"/>
                                </a:cubicBezTo>
                                <a:cubicBezTo>
                                  <a:pt x="31" y="251"/>
                                  <a:pt x="31" y="251"/>
                                  <a:pt x="31" y="251"/>
                                </a:cubicBezTo>
                                <a:cubicBezTo>
                                  <a:pt x="31" y="255"/>
                                  <a:pt x="32" y="259"/>
                                  <a:pt x="34" y="261"/>
                                </a:cubicBezTo>
                                <a:cubicBezTo>
                                  <a:pt x="38" y="271"/>
                                  <a:pt x="30" y="274"/>
                                  <a:pt x="22" y="278"/>
                                </a:cubicBezTo>
                                <a:cubicBezTo>
                                  <a:pt x="21" y="279"/>
                                  <a:pt x="21" y="279"/>
                                  <a:pt x="21" y="279"/>
                                </a:cubicBezTo>
                                <a:cubicBezTo>
                                  <a:pt x="21" y="279"/>
                                  <a:pt x="21" y="279"/>
                                  <a:pt x="21" y="279"/>
                                </a:cubicBezTo>
                                <a:cubicBezTo>
                                  <a:pt x="17" y="281"/>
                                  <a:pt x="14" y="285"/>
                                  <a:pt x="11" y="290"/>
                                </a:cubicBezTo>
                                <a:cubicBezTo>
                                  <a:pt x="10" y="292"/>
                                  <a:pt x="9" y="293"/>
                                  <a:pt x="8" y="295"/>
                                </a:cubicBezTo>
                                <a:cubicBezTo>
                                  <a:pt x="6" y="298"/>
                                  <a:pt x="4" y="301"/>
                                  <a:pt x="3" y="304"/>
                                </a:cubicBezTo>
                                <a:cubicBezTo>
                                  <a:pt x="2" y="306"/>
                                  <a:pt x="1" y="309"/>
                                  <a:pt x="1" y="312"/>
                                </a:cubicBezTo>
                                <a:cubicBezTo>
                                  <a:pt x="0" y="315"/>
                                  <a:pt x="2" y="318"/>
                                  <a:pt x="4" y="322"/>
                                </a:cubicBezTo>
                                <a:cubicBezTo>
                                  <a:pt x="4" y="322"/>
                                  <a:pt x="4" y="322"/>
                                  <a:pt x="4" y="322"/>
                                </a:cubicBezTo>
                                <a:cubicBezTo>
                                  <a:pt x="7" y="327"/>
                                  <a:pt x="12" y="332"/>
                                  <a:pt x="16" y="336"/>
                                </a:cubicBezTo>
                                <a:cubicBezTo>
                                  <a:pt x="20" y="339"/>
                                  <a:pt x="22" y="340"/>
                                  <a:pt x="23" y="341"/>
                                </a:cubicBezTo>
                                <a:cubicBezTo>
                                  <a:pt x="26" y="342"/>
                                  <a:pt x="28" y="343"/>
                                  <a:pt x="30" y="346"/>
                                </a:cubicBezTo>
                                <a:cubicBezTo>
                                  <a:pt x="30" y="346"/>
                                  <a:pt x="30" y="346"/>
                                  <a:pt x="30" y="346"/>
                                </a:cubicBezTo>
                                <a:cubicBezTo>
                                  <a:pt x="31" y="347"/>
                                  <a:pt x="31" y="347"/>
                                  <a:pt x="31" y="347"/>
                                </a:cubicBezTo>
                                <a:cubicBezTo>
                                  <a:pt x="31" y="347"/>
                                  <a:pt x="31" y="347"/>
                                  <a:pt x="31" y="347"/>
                                </a:cubicBezTo>
                                <a:cubicBezTo>
                                  <a:pt x="31" y="348"/>
                                  <a:pt x="32" y="349"/>
                                  <a:pt x="33" y="350"/>
                                </a:cubicBezTo>
                                <a:cubicBezTo>
                                  <a:pt x="38" y="347"/>
                                  <a:pt x="47" y="341"/>
                                  <a:pt x="56" y="343"/>
                                </a:cubicBezTo>
                                <a:cubicBezTo>
                                  <a:pt x="61" y="344"/>
                                  <a:pt x="64" y="345"/>
                                  <a:pt x="66" y="346"/>
                                </a:cubicBezTo>
                                <a:cubicBezTo>
                                  <a:pt x="69" y="347"/>
                                  <a:pt x="73" y="349"/>
                                  <a:pt x="82" y="349"/>
                                </a:cubicBezTo>
                                <a:cubicBezTo>
                                  <a:pt x="87" y="350"/>
                                  <a:pt x="94" y="349"/>
                                  <a:pt x="101" y="349"/>
                                </a:cubicBezTo>
                                <a:cubicBezTo>
                                  <a:pt x="113" y="348"/>
                                  <a:pt x="125" y="347"/>
                                  <a:pt x="135" y="350"/>
                                </a:cubicBezTo>
                                <a:cubicBezTo>
                                  <a:pt x="143" y="353"/>
                                  <a:pt x="149" y="358"/>
                                  <a:pt x="154" y="362"/>
                                </a:cubicBezTo>
                                <a:cubicBezTo>
                                  <a:pt x="158" y="366"/>
                                  <a:pt x="161" y="368"/>
                                  <a:pt x="163" y="368"/>
                                </a:cubicBezTo>
                                <a:cubicBezTo>
                                  <a:pt x="165" y="368"/>
                                  <a:pt x="167" y="366"/>
                                  <a:pt x="169" y="364"/>
                                </a:cubicBezTo>
                                <a:cubicBezTo>
                                  <a:pt x="172" y="360"/>
                                  <a:pt x="176" y="355"/>
                                  <a:pt x="184" y="354"/>
                                </a:cubicBezTo>
                                <a:cubicBezTo>
                                  <a:pt x="190" y="354"/>
                                  <a:pt x="198" y="354"/>
                                  <a:pt x="205" y="353"/>
                                </a:cubicBezTo>
                                <a:cubicBezTo>
                                  <a:pt x="213" y="353"/>
                                  <a:pt x="221" y="353"/>
                                  <a:pt x="227" y="352"/>
                                </a:cubicBezTo>
                                <a:cubicBezTo>
                                  <a:pt x="236" y="351"/>
                                  <a:pt x="248" y="345"/>
                                  <a:pt x="255" y="341"/>
                                </a:cubicBezTo>
                                <a:cubicBezTo>
                                  <a:pt x="257" y="340"/>
                                  <a:pt x="257" y="340"/>
                                  <a:pt x="257" y="340"/>
                                </a:cubicBezTo>
                                <a:cubicBezTo>
                                  <a:pt x="257" y="340"/>
                                  <a:pt x="257" y="340"/>
                                  <a:pt x="257" y="340"/>
                                </a:cubicBezTo>
                                <a:cubicBezTo>
                                  <a:pt x="259" y="339"/>
                                  <a:pt x="263" y="336"/>
                                  <a:pt x="266" y="334"/>
                                </a:cubicBezTo>
                                <a:cubicBezTo>
                                  <a:pt x="273" y="328"/>
                                  <a:pt x="281" y="322"/>
                                  <a:pt x="287" y="321"/>
                                </a:cubicBezTo>
                                <a:cubicBezTo>
                                  <a:pt x="291" y="320"/>
                                  <a:pt x="295" y="321"/>
                                  <a:pt x="299" y="321"/>
                                </a:cubicBezTo>
                                <a:cubicBezTo>
                                  <a:pt x="302" y="321"/>
                                  <a:pt x="306" y="321"/>
                                  <a:pt x="309" y="320"/>
                                </a:cubicBezTo>
                                <a:cubicBezTo>
                                  <a:pt x="311" y="320"/>
                                  <a:pt x="313" y="319"/>
                                  <a:pt x="315" y="319"/>
                                </a:cubicBezTo>
                                <a:cubicBezTo>
                                  <a:pt x="321" y="318"/>
                                  <a:pt x="328" y="316"/>
                                  <a:pt x="333" y="317"/>
                                </a:cubicBezTo>
                                <a:cubicBezTo>
                                  <a:pt x="336" y="317"/>
                                  <a:pt x="346" y="320"/>
                                  <a:pt x="357" y="324"/>
                                </a:cubicBezTo>
                                <a:cubicBezTo>
                                  <a:pt x="364" y="327"/>
                                  <a:pt x="372" y="331"/>
                                  <a:pt x="380" y="335"/>
                                </a:cubicBezTo>
                                <a:cubicBezTo>
                                  <a:pt x="389" y="341"/>
                                  <a:pt x="395" y="342"/>
                                  <a:pt x="400" y="343"/>
                                </a:cubicBezTo>
                                <a:cubicBezTo>
                                  <a:pt x="406" y="344"/>
                                  <a:pt x="411" y="345"/>
                                  <a:pt x="416" y="349"/>
                                </a:cubicBezTo>
                                <a:cubicBezTo>
                                  <a:pt x="419" y="352"/>
                                  <a:pt x="422" y="353"/>
                                  <a:pt x="424" y="353"/>
                                </a:cubicBezTo>
                                <a:cubicBezTo>
                                  <a:pt x="430" y="355"/>
                                  <a:pt x="433" y="357"/>
                                  <a:pt x="436" y="369"/>
                                </a:cubicBezTo>
                                <a:cubicBezTo>
                                  <a:pt x="438" y="376"/>
                                  <a:pt x="437" y="381"/>
                                  <a:pt x="437" y="386"/>
                                </a:cubicBezTo>
                                <a:cubicBezTo>
                                  <a:pt x="437" y="392"/>
                                  <a:pt x="436" y="398"/>
                                  <a:pt x="443" y="407"/>
                                </a:cubicBezTo>
                                <a:cubicBezTo>
                                  <a:pt x="449" y="414"/>
                                  <a:pt x="453" y="419"/>
                                  <a:pt x="456" y="422"/>
                                </a:cubicBezTo>
                                <a:cubicBezTo>
                                  <a:pt x="459" y="426"/>
                                  <a:pt x="462" y="429"/>
                                  <a:pt x="466" y="435"/>
                                </a:cubicBezTo>
                                <a:cubicBezTo>
                                  <a:pt x="473" y="444"/>
                                  <a:pt x="472" y="452"/>
                                  <a:pt x="471" y="461"/>
                                </a:cubicBezTo>
                                <a:cubicBezTo>
                                  <a:pt x="471" y="464"/>
                                  <a:pt x="471" y="466"/>
                                  <a:pt x="471" y="469"/>
                                </a:cubicBezTo>
                                <a:cubicBezTo>
                                  <a:pt x="471" y="477"/>
                                  <a:pt x="467" y="479"/>
                                  <a:pt x="462" y="479"/>
                                </a:cubicBezTo>
                                <a:cubicBezTo>
                                  <a:pt x="460" y="479"/>
                                  <a:pt x="459" y="479"/>
                                  <a:pt x="457" y="479"/>
                                </a:cubicBezTo>
                                <a:cubicBezTo>
                                  <a:pt x="455" y="478"/>
                                  <a:pt x="452" y="478"/>
                                  <a:pt x="449" y="478"/>
                                </a:cubicBezTo>
                                <a:cubicBezTo>
                                  <a:pt x="446" y="479"/>
                                  <a:pt x="443" y="481"/>
                                  <a:pt x="440" y="482"/>
                                </a:cubicBezTo>
                                <a:cubicBezTo>
                                  <a:pt x="436" y="485"/>
                                  <a:pt x="433" y="488"/>
                                  <a:pt x="427" y="485"/>
                                </a:cubicBezTo>
                                <a:cubicBezTo>
                                  <a:pt x="424" y="484"/>
                                  <a:pt x="422" y="481"/>
                                  <a:pt x="420" y="480"/>
                                </a:cubicBezTo>
                                <a:cubicBezTo>
                                  <a:pt x="420" y="479"/>
                                  <a:pt x="419" y="479"/>
                                  <a:pt x="419" y="478"/>
                                </a:cubicBezTo>
                                <a:cubicBezTo>
                                  <a:pt x="418" y="479"/>
                                  <a:pt x="418" y="482"/>
                                  <a:pt x="418" y="486"/>
                                </a:cubicBezTo>
                                <a:cubicBezTo>
                                  <a:pt x="417" y="493"/>
                                  <a:pt x="416" y="503"/>
                                  <a:pt x="411" y="509"/>
                                </a:cubicBezTo>
                                <a:cubicBezTo>
                                  <a:pt x="411" y="509"/>
                                  <a:pt x="411" y="509"/>
                                  <a:pt x="411" y="509"/>
                                </a:cubicBezTo>
                                <a:cubicBezTo>
                                  <a:pt x="404" y="517"/>
                                  <a:pt x="383" y="543"/>
                                  <a:pt x="375" y="553"/>
                                </a:cubicBezTo>
                                <a:cubicBezTo>
                                  <a:pt x="376" y="553"/>
                                  <a:pt x="377" y="554"/>
                                  <a:pt x="378" y="554"/>
                                </a:cubicBezTo>
                                <a:cubicBezTo>
                                  <a:pt x="387" y="558"/>
                                  <a:pt x="397" y="561"/>
                                  <a:pt x="403" y="560"/>
                                </a:cubicBezTo>
                                <a:cubicBezTo>
                                  <a:pt x="408" y="559"/>
                                  <a:pt x="414" y="556"/>
                                  <a:pt x="419" y="554"/>
                                </a:cubicBezTo>
                                <a:cubicBezTo>
                                  <a:pt x="427" y="551"/>
                                  <a:pt x="434" y="548"/>
                                  <a:pt x="443" y="549"/>
                                </a:cubicBezTo>
                                <a:cubicBezTo>
                                  <a:pt x="451" y="550"/>
                                  <a:pt x="456" y="555"/>
                                  <a:pt x="461" y="561"/>
                                </a:cubicBezTo>
                                <a:cubicBezTo>
                                  <a:pt x="461" y="560"/>
                                  <a:pt x="461" y="558"/>
                                  <a:pt x="460" y="557"/>
                                </a:cubicBezTo>
                                <a:cubicBezTo>
                                  <a:pt x="457" y="549"/>
                                  <a:pt x="458" y="548"/>
                                  <a:pt x="457" y="540"/>
                                </a:cubicBezTo>
                                <a:cubicBezTo>
                                  <a:pt x="456" y="532"/>
                                  <a:pt x="452" y="525"/>
                                  <a:pt x="456" y="525"/>
                                </a:cubicBezTo>
                                <a:cubicBezTo>
                                  <a:pt x="460" y="525"/>
                                  <a:pt x="460" y="532"/>
                                  <a:pt x="468" y="532"/>
                                </a:cubicBezTo>
                                <a:cubicBezTo>
                                  <a:pt x="477" y="532"/>
                                  <a:pt x="477" y="525"/>
                                  <a:pt x="484" y="519"/>
                                </a:cubicBezTo>
                                <a:cubicBezTo>
                                  <a:pt x="491" y="513"/>
                                  <a:pt x="500" y="513"/>
                                  <a:pt x="501" y="507"/>
                                </a:cubicBezTo>
                                <a:cubicBezTo>
                                  <a:pt x="501" y="500"/>
                                  <a:pt x="504" y="505"/>
                                  <a:pt x="494" y="492"/>
                                </a:cubicBezTo>
                                <a:cubicBezTo>
                                  <a:pt x="483" y="479"/>
                                  <a:pt x="485" y="470"/>
                                  <a:pt x="489" y="470"/>
                                </a:cubicBezTo>
                                <a:cubicBezTo>
                                  <a:pt x="492" y="471"/>
                                  <a:pt x="495" y="482"/>
                                  <a:pt x="503" y="484"/>
                                </a:cubicBezTo>
                                <a:cubicBezTo>
                                  <a:pt x="511" y="485"/>
                                  <a:pt x="512" y="485"/>
                                  <a:pt x="517" y="476"/>
                                </a:cubicBezTo>
                                <a:cubicBezTo>
                                  <a:pt x="522" y="468"/>
                                  <a:pt x="523" y="465"/>
                                  <a:pt x="529" y="464"/>
                                </a:cubicBezTo>
                                <a:cubicBezTo>
                                  <a:pt x="535" y="462"/>
                                  <a:pt x="552" y="463"/>
                                  <a:pt x="557" y="460"/>
                                </a:cubicBezTo>
                                <a:cubicBezTo>
                                  <a:pt x="561" y="457"/>
                                  <a:pt x="566" y="448"/>
                                  <a:pt x="572" y="447"/>
                                </a:cubicBezTo>
                                <a:cubicBezTo>
                                  <a:pt x="578" y="446"/>
                                  <a:pt x="581" y="453"/>
                                  <a:pt x="589" y="453"/>
                                </a:cubicBezTo>
                                <a:cubicBezTo>
                                  <a:pt x="597" y="453"/>
                                  <a:pt x="598" y="450"/>
                                  <a:pt x="597" y="446"/>
                                </a:cubicBezTo>
                                <a:cubicBezTo>
                                  <a:pt x="597" y="441"/>
                                  <a:pt x="600" y="434"/>
                                  <a:pt x="602" y="436"/>
                                </a:cubicBezTo>
                                <a:cubicBezTo>
                                  <a:pt x="603" y="437"/>
                                  <a:pt x="602" y="442"/>
                                  <a:pt x="604" y="448"/>
                                </a:cubicBezTo>
                                <a:cubicBezTo>
                                  <a:pt x="606" y="454"/>
                                  <a:pt x="608" y="458"/>
                                  <a:pt x="613" y="459"/>
                                </a:cubicBezTo>
                                <a:cubicBezTo>
                                  <a:pt x="619" y="459"/>
                                  <a:pt x="621" y="461"/>
                                  <a:pt x="626" y="458"/>
                                </a:cubicBezTo>
                                <a:cubicBezTo>
                                  <a:pt x="631" y="456"/>
                                  <a:pt x="638" y="452"/>
                                  <a:pt x="640" y="454"/>
                                </a:cubicBezTo>
                                <a:cubicBezTo>
                                  <a:pt x="642" y="457"/>
                                  <a:pt x="640" y="462"/>
                                  <a:pt x="635" y="465"/>
                                </a:cubicBezTo>
                                <a:cubicBezTo>
                                  <a:pt x="631" y="468"/>
                                  <a:pt x="628" y="470"/>
                                  <a:pt x="622" y="470"/>
                                </a:cubicBezTo>
                                <a:cubicBezTo>
                                  <a:pt x="616" y="470"/>
                                  <a:pt x="605" y="469"/>
                                  <a:pt x="601" y="469"/>
                                </a:cubicBezTo>
                                <a:cubicBezTo>
                                  <a:pt x="598" y="470"/>
                                  <a:pt x="596" y="468"/>
                                  <a:pt x="595" y="471"/>
                                </a:cubicBezTo>
                                <a:cubicBezTo>
                                  <a:pt x="595" y="475"/>
                                  <a:pt x="590" y="476"/>
                                  <a:pt x="593" y="482"/>
                                </a:cubicBezTo>
                                <a:cubicBezTo>
                                  <a:pt x="596" y="487"/>
                                  <a:pt x="596" y="490"/>
                                  <a:pt x="604" y="494"/>
                                </a:cubicBezTo>
                                <a:cubicBezTo>
                                  <a:pt x="612" y="498"/>
                                  <a:pt x="614" y="497"/>
                                  <a:pt x="622" y="499"/>
                                </a:cubicBezTo>
                                <a:cubicBezTo>
                                  <a:pt x="631" y="501"/>
                                  <a:pt x="632" y="501"/>
                                  <a:pt x="638" y="501"/>
                                </a:cubicBezTo>
                                <a:cubicBezTo>
                                  <a:pt x="645" y="500"/>
                                  <a:pt x="649" y="497"/>
                                  <a:pt x="654" y="496"/>
                                </a:cubicBezTo>
                                <a:cubicBezTo>
                                  <a:pt x="659" y="494"/>
                                  <a:pt x="661" y="493"/>
                                  <a:pt x="667" y="493"/>
                                </a:cubicBezTo>
                                <a:cubicBezTo>
                                  <a:pt x="673" y="493"/>
                                  <a:pt x="677" y="494"/>
                                  <a:pt x="680" y="497"/>
                                </a:cubicBezTo>
                                <a:cubicBezTo>
                                  <a:pt x="683" y="500"/>
                                  <a:pt x="685" y="503"/>
                                  <a:pt x="689" y="502"/>
                                </a:cubicBezTo>
                                <a:cubicBezTo>
                                  <a:pt x="693" y="502"/>
                                  <a:pt x="703" y="498"/>
                                  <a:pt x="704" y="501"/>
                                </a:cubicBezTo>
                                <a:cubicBezTo>
                                  <a:pt x="706" y="504"/>
                                  <a:pt x="704" y="515"/>
                                  <a:pt x="703" y="516"/>
                                </a:cubicBezTo>
                                <a:cubicBezTo>
                                  <a:pt x="702" y="518"/>
                                  <a:pt x="703" y="518"/>
                                  <a:pt x="693" y="521"/>
                                </a:cubicBezTo>
                                <a:cubicBezTo>
                                  <a:pt x="683" y="524"/>
                                  <a:pt x="676" y="522"/>
                                  <a:pt x="673" y="527"/>
                                </a:cubicBezTo>
                                <a:cubicBezTo>
                                  <a:pt x="669" y="531"/>
                                  <a:pt x="668" y="532"/>
                                  <a:pt x="664" y="536"/>
                                </a:cubicBezTo>
                                <a:cubicBezTo>
                                  <a:pt x="659" y="540"/>
                                  <a:pt x="654" y="540"/>
                                  <a:pt x="648" y="545"/>
                                </a:cubicBezTo>
                                <a:cubicBezTo>
                                  <a:pt x="643" y="549"/>
                                  <a:pt x="638" y="547"/>
                                  <a:pt x="636" y="552"/>
                                </a:cubicBezTo>
                                <a:cubicBezTo>
                                  <a:pt x="635" y="557"/>
                                  <a:pt x="641" y="559"/>
                                  <a:pt x="648" y="561"/>
                                </a:cubicBezTo>
                                <a:cubicBezTo>
                                  <a:pt x="654" y="562"/>
                                  <a:pt x="664" y="563"/>
                                  <a:pt x="670" y="567"/>
                                </a:cubicBezTo>
                                <a:cubicBezTo>
                                  <a:pt x="676" y="571"/>
                                  <a:pt x="681" y="573"/>
                                  <a:pt x="687" y="574"/>
                                </a:cubicBezTo>
                                <a:cubicBezTo>
                                  <a:pt x="693" y="574"/>
                                  <a:pt x="698" y="576"/>
                                  <a:pt x="699" y="579"/>
                                </a:cubicBezTo>
                                <a:cubicBezTo>
                                  <a:pt x="700" y="582"/>
                                  <a:pt x="697" y="589"/>
                                  <a:pt x="698" y="594"/>
                                </a:cubicBezTo>
                                <a:cubicBezTo>
                                  <a:pt x="700" y="599"/>
                                  <a:pt x="701" y="603"/>
                                  <a:pt x="700" y="608"/>
                                </a:cubicBezTo>
                                <a:cubicBezTo>
                                  <a:pt x="699" y="612"/>
                                  <a:pt x="696" y="614"/>
                                  <a:pt x="694" y="616"/>
                                </a:cubicBezTo>
                                <a:cubicBezTo>
                                  <a:pt x="693" y="619"/>
                                  <a:pt x="691" y="620"/>
                                  <a:pt x="696" y="624"/>
                                </a:cubicBezTo>
                                <a:cubicBezTo>
                                  <a:pt x="700" y="627"/>
                                  <a:pt x="701" y="630"/>
                                  <a:pt x="707" y="630"/>
                                </a:cubicBezTo>
                                <a:cubicBezTo>
                                  <a:pt x="713" y="630"/>
                                  <a:pt x="717" y="628"/>
                                  <a:pt x="721" y="624"/>
                                </a:cubicBezTo>
                                <a:cubicBezTo>
                                  <a:pt x="726" y="619"/>
                                  <a:pt x="729" y="618"/>
                                  <a:pt x="735" y="616"/>
                                </a:cubicBezTo>
                                <a:cubicBezTo>
                                  <a:pt x="742" y="614"/>
                                  <a:pt x="745" y="614"/>
                                  <a:pt x="749" y="610"/>
                                </a:cubicBezTo>
                                <a:cubicBezTo>
                                  <a:pt x="754" y="605"/>
                                  <a:pt x="754" y="606"/>
                                  <a:pt x="762" y="603"/>
                                </a:cubicBezTo>
                                <a:cubicBezTo>
                                  <a:pt x="769" y="600"/>
                                  <a:pt x="768" y="599"/>
                                  <a:pt x="775" y="595"/>
                                </a:cubicBezTo>
                                <a:cubicBezTo>
                                  <a:pt x="781" y="590"/>
                                  <a:pt x="781" y="590"/>
                                  <a:pt x="788" y="587"/>
                                </a:cubicBezTo>
                                <a:cubicBezTo>
                                  <a:pt x="794" y="583"/>
                                  <a:pt x="800" y="585"/>
                                  <a:pt x="806" y="581"/>
                                </a:cubicBezTo>
                                <a:cubicBezTo>
                                  <a:pt x="811" y="577"/>
                                  <a:pt x="806" y="574"/>
                                  <a:pt x="813" y="574"/>
                                </a:cubicBezTo>
                                <a:cubicBezTo>
                                  <a:pt x="820" y="573"/>
                                  <a:pt x="819" y="575"/>
                                  <a:pt x="826" y="577"/>
                                </a:cubicBezTo>
                                <a:cubicBezTo>
                                  <a:pt x="833" y="579"/>
                                  <a:pt x="838" y="580"/>
                                  <a:pt x="846" y="579"/>
                                </a:cubicBezTo>
                                <a:cubicBezTo>
                                  <a:pt x="853" y="578"/>
                                  <a:pt x="854" y="577"/>
                                  <a:pt x="859" y="577"/>
                                </a:cubicBezTo>
                                <a:cubicBezTo>
                                  <a:pt x="864" y="577"/>
                                  <a:pt x="868" y="577"/>
                                  <a:pt x="870" y="574"/>
                                </a:cubicBezTo>
                                <a:cubicBezTo>
                                  <a:pt x="872" y="571"/>
                                  <a:pt x="871" y="568"/>
                                  <a:pt x="874" y="564"/>
                                </a:cubicBezTo>
                                <a:cubicBezTo>
                                  <a:pt x="876" y="561"/>
                                  <a:pt x="881" y="560"/>
                                  <a:pt x="875" y="560"/>
                                </a:cubicBezTo>
                                <a:cubicBezTo>
                                  <a:pt x="870" y="559"/>
                                  <a:pt x="872" y="561"/>
                                  <a:pt x="861" y="559"/>
                                </a:cubicBezTo>
                                <a:cubicBezTo>
                                  <a:pt x="850" y="557"/>
                                  <a:pt x="846" y="554"/>
                                  <a:pt x="840" y="556"/>
                                </a:cubicBezTo>
                                <a:cubicBezTo>
                                  <a:pt x="833" y="557"/>
                                  <a:pt x="834" y="558"/>
                                  <a:pt x="827" y="560"/>
                                </a:cubicBezTo>
                                <a:cubicBezTo>
                                  <a:pt x="820" y="563"/>
                                  <a:pt x="818" y="566"/>
                                  <a:pt x="815" y="560"/>
                                </a:cubicBezTo>
                                <a:cubicBezTo>
                                  <a:pt x="812" y="555"/>
                                  <a:pt x="809" y="552"/>
                                  <a:pt x="805" y="546"/>
                                </a:cubicBezTo>
                                <a:cubicBezTo>
                                  <a:pt x="802" y="541"/>
                                  <a:pt x="797" y="538"/>
                                  <a:pt x="794" y="534"/>
                                </a:cubicBezTo>
                                <a:cubicBezTo>
                                  <a:pt x="790" y="529"/>
                                  <a:pt x="787" y="524"/>
                                  <a:pt x="786" y="520"/>
                                </a:cubicBezTo>
                                <a:cubicBezTo>
                                  <a:pt x="784" y="516"/>
                                  <a:pt x="781" y="503"/>
                                  <a:pt x="779" y="504"/>
                                </a:cubicBezTo>
                                <a:cubicBezTo>
                                  <a:pt x="777" y="504"/>
                                  <a:pt x="776" y="507"/>
                                  <a:pt x="778" y="511"/>
                                </a:cubicBezTo>
                                <a:cubicBezTo>
                                  <a:pt x="779" y="515"/>
                                  <a:pt x="784" y="524"/>
                                  <a:pt x="785" y="527"/>
                                </a:cubicBezTo>
                                <a:cubicBezTo>
                                  <a:pt x="787" y="529"/>
                                  <a:pt x="788" y="533"/>
                                  <a:pt x="791" y="536"/>
                                </a:cubicBezTo>
                                <a:cubicBezTo>
                                  <a:pt x="795" y="540"/>
                                  <a:pt x="798" y="544"/>
                                  <a:pt x="800" y="547"/>
                                </a:cubicBezTo>
                                <a:cubicBezTo>
                                  <a:pt x="802" y="550"/>
                                  <a:pt x="804" y="554"/>
                                  <a:pt x="805" y="558"/>
                                </a:cubicBezTo>
                                <a:cubicBezTo>
                                  <a:pt x="806" y="561"/>
                                  <a:pt x="808" y="564"/>
                                  <a:pt x="805" y="564"/>
                                </a:cubicBezTo>
                                <a:cubicBezTo>
                                  <a:pt x="802" y="564"/>
                                  <a:pt x="797" y="569"/>
                                  <a:pt x="794" y="563"/>
                                </a:cubicBezTo>
                                <a:cubicBezTo>
                                  <a:pt x="792" y="556"/>
                                  <a:pt x="793" y="552"/>
                                  <a:pt x="791" y="547"/>
                                </a:cubicBezTo>
                                <a:cubicBezTo>
                                  <a:pt x="789" y="542"/>
                                  <a:pt x="786" y="535"/>
                                  <a:pt x="783" y="533"/>
                                </a:cubicBezTo>
                                <a:cubicBezTo>
                                  <a:pt x="780" y="531"/>
                                  <a:pt x="776" y="528"/>
                                  <a:pt x="771" y="527"/>
                                </a:cubicBezTo>
                                <a:cubicBezTo>
                                  <a:pt x="766" y="526"/>
                                  <a:pt x="762" y="525"/>
                                  <a:pt x="758" y="525"/>
                                </a:cubicBezTo>
                                <a:cubicBezTo>
                                  <a:pt x="754" y="525"/>
                                  <a:pt x="752" y="524"/>
                                  <a:pt x="750" y="520"/>
                                </a:cubicBezTo>
                                <a:cubicBezTo>
                                  <a:pt x="748" y="516"/>
                                  <a:pt x="750" y="511"/>
                                  <a:pt x="750" y="509"/>
                                </a:cubicBezTo>
                                <a:cubicBezTo>
                                  <a:pt x="750" y="506"/>
                                  <a:pt x="741" y="505"/>
                                  <a:pt x="739" y="507"/>
                                </a:cubicBezTo>
                                <a:cubicBezTo>
                                  <a:pt x="736" y="510"/>
                                  <a:pt x="729" y="509"/>
                                  <a:pt x="726" y="507"/>
                                </a:cubicBezTo>
                                <a:cubicBezTo>
                                  <a:pt x="723" y="504"/>
                                  <a:pt x="720" y="500"/>
                                  <a:pt x="716" y="498"/>
                                </a:cubicBezTo>
                                <a:cubicBezTo>
                                  <a:pt x="713" y="497"/>
                                  <a:pt x="710" y="495"/>
                                  <a:pt x="712" y="494"/>
                                </a:cubicBezTo>
                                <a:cubicBezTo>
                                  <a:pt x="715" y="492"/>
                                  <a:pt x="718" y="491"/>
                                  <a:pt x="724" y="492"/>
                                </a:cubicBezTo>
                                <a:cubicBezTo>
                                  <a:pt x="730" y="492"/>
                                  <a:pt x="729" y="494"/>
                                  <a:pt x="735" y="491"/>
                                </a:cubicBezTo>
                                <a:cubicBezTo>
                                  <a:pt x="740" y="487"/>
                                  <a:pt x="750" y="489"/>
                                  <a:pt x="750" y="491"/>
                                </a:cubicBezTo>
                                <a:cubicBezTo>
                                  <a:pt x="751" y="494"/>
                                  <a:pt x="750" y="499"/>
                                  <a:pt x="754" y="500"/>
                                </a:cubicBezTo>
                                <a:cubicBezTo>
                                  <a:pt x="759" y="502"/>
                                  <a:pt x="763" y="504"/>
                                  <a:pt x="769" y="500"/>
                                </a:cubicBezTo>
                                <a:cubicBezTo>
                                  <a:pt x="775" y="496"/>
                                  <a:pt x="774" y="499"/>
                                  <a:pt x="781" y="493"/>
                                </a:cubicBezTo>
                                <a:cubicBezTo>
                                  <a:pt x="789" y="486"/>
                                  <a:pt x="791" y="485"/>
                                  <a:pt x="793" y="479"/>
                                </a:cubicBezTo>
                                <a:cubicBezTo>
                                  <a:pt x="795" y="473"/>
                                  <a:pt x="794" y="467"/>
                                  <a:pt x="798" y="471"/>
                                </a:cubicBezTo>
                                <a:cubicBezTo>
                                  <a:pt x="802" y="474"/>
                                  <a:pt x="806" y="477"/>
                                  <a:pt x="803" y="481"/>
                                </a:cubicBezTo>
                                <a:cubicBezTo>
                                  <a:pt x="800" y="485"/>
                                  <a:pt x="789" y="492"/>
                                  <a:pt x="791" y="494"/>
                                </a:cubicBezTo>
                                <a:cubicBezTo>
                                  <a:pt x="793" y="496"/>
                                  <a:pt x="801" y="490"/>
                                  <a:pt x="808" y="485"/>
                                </a:cubicBezTo>
                                <a:cubicBezTo>
                                  <a:pt x="815" y="480"/>
                                  <a:pt x="821" y="475"/>
                                  <a:pt x="824" y="472"/>
                                </a:cubicBezTo>
                                <a:cubicBezTo>
                                  <a:pt x="827" y="468"/>
                                  <a:pt x="836" y="461"/>
                                  <a:pt x="846" y="459"/>
                                </a:cubicBezTo>
                                <a:cubicBezTo>
                                  <a:pt x="855" y="457"/>
                                  <a:pt x="855" y="458"/>
                                  <a:pt x="862" y="456"/>
                                </a:cubicBezTo>
                                <a:cubicBezTo>
                                  <a:pt x="869" y="454"/>
                                  <a:pt x="869" y="453"/>
                                  <a:pt x="875" y="451"/>
                                </a:cubicBezTo>
                                <a:cubicBezTo>
                                  <a:pt x="881" y="449"/>
                                  <a:pt x="886" y="447"/>
                                  <a:pt x="890" y="448"/>
                                </a:cubicBezTo>
                                <a:cubicBezTo>
                                  <a:pt x="894" y="449"/>
                                  <a:pt x="889" y="458"/>
                                  <a:pt x="895" y="458"/>
                                </a:cubicBezTo>
                                <a:cubicBezTo>
                                  <a:pt x="901" y="458"/>
                                  <a:pt x="907" y="452"/>
                                  <a:pt x="910" y="447"/>
                                </a:cubicBezTo>
                                <a:cubicBezTo>
                                  <a:pt x="913" y="442"/>
                                  <a:pt x="912" y="440"/>
                                  <a:pt x="919" y="440"/>
                                </a:cubicBezTo>
                                <a:cubicBezTo>
                                  <a:pt x="926" y="440"/>
                                  <a:pt x="927" y="443"/>
                                  <a:pt x="933" y="439"/>
                                </a:cubicBezTo>
                                <a:cubicBezTo>
                                  <a:pt x="939" y="435"/>
                                  <a:pt x="936" y="432"/>
                                  <a:pt x="943" y="427"/>
                                </a:cubicBezTo>
                                <a:cubicBezTo>
                                  <a:pt x="950" y="423"/>
                                  <a:pt x="948" y="423"/>
                                  <a:pt x="959" y="422"/>
                                </a:cubicBezTo>
                                <a:cubicBezTo>
                                  <a:pt x="970" y="422"/>
                                  <a:pt x="967" y="422"/>
                                  <a:pt x="974" y="421"/>
                                </a:cubicBezTo>
                                <a:cubicBezTo>
                                  <a:pt x="975" y="420"/>
                                  <a:pt x="977" y="420"/>
                                  <a:pt x="978" y="420"/>
                                </a:cubicBezTo>
                                <a:cubicBezTo>
                                  <a:pt x="981" y="410"/>
                                  <a:pt x="988" y="390"/>
                                  <a:pt x="993" y="381"/>
                                </a:cubicBezTo>
                                <a:cubicBezTo>
                                  <a:pt x="996" y="375"/>
                                  <a:pt x="1001" y="371"/>
                                  <a:pt x="1008" y="368"/>
                                </a:cubicBezTo>
                                <a:cubicBezTo>
                                  <a:pt x="1018" y="363"/>
                                  <a:pt x="1031" y="360"/>
                                  <a:pt x="1034" y="359"/>
                                </a:cubicBezTo>
                                <a:cubicBezTo>
                                  <a:pt x="1037" y="358"/>
                                  <a:pt x="1046" y="359"/>
                                  <a:pt x="1054" y="360"/>
                                </a:cubicBezTo>
                                <a:cubicBezTo>
                                  <a:pt x="1060" y="360"/>
                                  <a:pt x="1066" y="361"/>
                                  <a:pt x="1069" y="361"/>
                                </a:cubicBezTo>
                                <a:cubicBezTo>
                                  <a:pt x="1074" y="361"/>
                                  <a:pt x="1076" y="358"/>
                                  <a:pt x="1079" y="353"/>
                                </a:cubicBezTo>
                                <a:cubicBezTo>
                                  <a:pt x="1079" y="353"/>
                                  <a:pt x="1079" y="353"/>
                                  <a:pt x="1079" y="353"/>
                                </a:cubicBezTo>
                                <a:cubicBezTo>
                                  <a:pt x="1081" y="351"/>
                                  <a:pt x="1081" y="351"/>
                                  <a:pt x="1081" y="351"/>
                                </a:cubicBezTo>
                                <a:cubicBezTo>
                                  <a:pt x="1085" y="344"/>
                                  <a:pt x="1086" y="339"/>
                                  <a:pt x="1087" y="331"/>
                                </a:cubicBezTo>
                                <a:cubicBezTo>
                                  <a:pt x="1087" y="331"/>
                                  <a:pt x="1087" y="331"/>
                                  <a:pt x="1087" y="331"/>
                                </a:cubicBezTo>
                                <a:cubicBezTo>
                                  <a:pt x="1087" y="330"/>
                                  <a:pt x="1087" y="330"/>
                                  <a:pt x="1087" y="330"/>
                                </a:cubicBezTo>
                                <a:cubicBezTo>
                                  <a:pt x="1087" y="330"/>
                                  <a:pt x="1087" y="330"/>
                                  <a:pt x="1087" y="330"/>
                                </a:cubicBezTo>
                                <a:cubicBezTo>
                                  <a:pt x="1087" y="327"/>
                                  <a:pt x="1087" y="324"/>
                                  <a:pt x="1087" y="323"/>
                                </a:cubicBezTo>
                                <a:cubicBezTo>
                                  <a:pt x="1086" y="321"/>
                                  <a:pt x="1084" y="319"/>
                                  <a:pt x="1081" y="316"/>
                                </a:cubicBezTo>
                                <a:cubicBezTo>
                                  <a:pt x="1080" y="314"/>
                                  <a:pt x="1079" y="314"/>
                                  <a:pt x="1078" y="313"/>
                                </a:cubicBezTo>
                                <a:cubicBezTo>
                                  <a:pt x="1072" y="307"/>
                                  <a:pt x="1071" y="306"/>
                                  <a:pt x="1073" y="299"/>
                                </a:cubicBezTo>
                                <a:cubicBezTo>
                                  <a:pt x="1074" y="294"/>
                                  <a:pt x="1079" y="292"/>
                                  <a:pt x="1084" y="290"/>
                                </a:cubicBezTo>
                                <a:cubicBezTo>
                                  <a:pt x="1085" y="289"/>
                                  <a:pt x="1086" y="289"/>
                                  <a:pt x="1087" y="288"/>
                                </a:cubicBezTo>
                                <a:cubicBezTo>
                                  <a:pt x="1087" y="288"/>
                                  <a:pt x="1087" y="288"/>
                                  <a:pt x="1087" y="288"/>
                                </a:cubicBezTo>
                                <a:cubicBezTo>
                                  <a:pt x="1089" y="287"/>
                                  <a:pt x="1090" y="286"/>
                                  <a:pt x="1090" y="286"/>
                                </a:cubicBezTo>
                                <a:cubicBezTo>
                                  <a:pt x="1089" y="284"/>
                                  <a:pt x="1087" y="282"/>
                                  <a:pt x="1086" y="280"/>
                                </a:cubicBezTo>
                                <a:cubicBezTo>
                                  <a:pt x="1083" y="277"/>
                                  <a:pt x="1080" y="274"/>
                                  <a:pt x="1082" y="269"/>
                                </a:cubicBezTo>
                                <a:cubicBezTo>
                                  <a:pt x="1083" y="264"/>
                                  <a:pt x="1088" y="261"/>
                                  <a:pt x="1093" y="258"/>
                                </a:cubicBezTo>
                                <a:cubicBezTo>
                                  <a:pt x="1096" y="255"/>
                                  <a:pt x="1100" y="253"/>
                                  <a:pt x="1101" y="251"/>
                                </a:cubicBezTo>
                                <a:cubicBezTo>
                                  <a:pt x="1102" y="248"/>
                                  <a:pt x="1103" y="244"/>
                                  <a:pt x="1103" y="240"/>
                                </a:cubicBezTo>
                                <a:cubicBezTo>
                                  <a:pt x="1102" y="237"/>
                                  <a:pt x="1102" y="233"/>
                                  <a:pt x="1099" y="230"/>
                                </a:cubicBezTo>
                                <a:cubicBezTo>
                                  <a:pt x="1097" y="227"/>
                                  <a:pt x="1095" y="228"/>
                                  <a:pt x="1092" y="229"/>
                                </a:cubicBezTo>
                                <a:cubicBezTo>
                                  <a:pt x="1088" y="230"/>
                                  <a:pt x="1085" y="231"/>
                                  <a:pt x="1080" y="230"/>
                                </a:cubicBezTo>
                                <a:cubicBezTo>
                                  <a:pt x="1072" y="230"/>
                                  <a:pt x="1067" y="224"/>
                                  <a:pt x="1061" y="218"/>
                                </a:cubicBezTo>
                                <a:cubicBezTo>
                                  <a:pt x="1058" y="214"/>
                                  <a:pt x="1055" y="210"/>
                                  <a:pt x="1052" y="209"/>
                                </a:cubicBezTo>
                                <a:cubicBezTo>
                                  <a:pt x="1048" y="208"/>
                                  <a:pt x="1046" y="208"/>
                                  <a:pt x="1043" y="208"/>
                                </a:cubicBezTo>
                                <a:cubicBezTo>
                                  <a:pt x="1040" y="208"/>
                                  <a:pt x="1036" y="208"/>
                                  <a:pt x="1029" y="206"/>
                                </a:cubicBezTo>
                                <a:cubicBezTo>
                                  <a:pt x="1023" y="204"/>
                                  <a:pt x="1019" y="202"/>
                                  <a:pt x="1016" y="200"/>
                                </a:cubicBezTo>
                                <a:cubicBezTo>
                                  <a:pt x="1012" y="198"/>
                                  <a:pt x="1009" y="196"/>
                                  <a:pt x="1003" y="195"/>
                                </a:cubicBezTo>
                                <a:cubicBezTo>
                                  <a:pt x="998" y="195"/>
                                  <a:pt x="995" y="196"/>
                                  <a:pt x="991" y="197"/>
                                </a:cubicBezTo>
                                <a:cubicBezTo>
                                  <a:pt x="986" y="198"/>
                                  <a:pt x="980" y="200"/>
                                  <a:pt x="972" y="197"/>
                                </a:cubicBezTo>
                                <a:cubicBezTo>
                                  <a:pt x="963" y="195"/>
                                  <a:pt x="960" y="190"/>
                                  <a:pt x="957" y="185"/>
                                </a:cubicBezTo>
                                <a:cubicBezTo>
                                  <a:pt x="955" y="183"/>
                                  <a:pt x="954" y="180"/>
                                  <a:pt x="951" y="177"/>
                                </a:cubicBezTo>
                                <a:cubicBezTo>
                                  <a:pt x="948" y="175"/>
                                  <a:pt x="946" y="173"/>
                                  <a:pt x="945" y="170"/>
                                </a:cubicBezTo>
                                <a:cubicBezTo>
                                  <a:pt x="940" y="165"/>
                                  <a:pt x="937" y="161"/>
                                  <a:pt x="930" y="161"/>
                                </a:cubicBezTo>
                                <a:cubicBezTo>
                                  <a:pt x="924" y="161"/>
                                  <a:pt x="916" y="164"/>
                                  <a:pt x="907" y="166"/>
                                </a:cubicBezTo>
                                <a:cubicBezTo>
                                  <a:pt x="898" y="169"/>
                                  <a:pt x="888" y="172"/>
                                  <a:pt x="881" y="172"/>
                                </a:cubicBezTo>
                                <a:cubicBezTo>
                                  <a:pt x="872" y="172"/>
                                  <a:pt x="867" y="169"/>
                                  <a:pt x="862" y="167"/>
                                </a:cubicBezTo>
                                <a:cubicBezTo>
                                  <a:pt x="859" y="165"/>
                                  <a:pt x="856" y="164"/>
                                  <a:pt x="853" y="164"/>
                                </a:cubicBezTo>
                                <a:cubicBezTo>
                                  <a:pt x="850" y="163"/>
                                  <a:pt x="847" y="164"/>
                                  <a:pt x="843" y="165"/>
                                </a:cubicBezTo>
                                <a:cubicBezTo>
                                  <a:pt x="838" y="166"/>
                                  <a:pt x="832" y="168"/>
                                  <a:pt x="824" y="165"/>
                                </a:cubicBezTo>
                                <a:cubicBezTo>
                                  <a:pt x="814" y="163"/>
                                  <a:pt x="813" y="155"/>
                                  <a:pt x="812" y="147"/>
                                </a:cubicBezTo>
                                <a:cubicBezTo>
                                  <a:pt x="811" y="144"/>
                                  <a:pt x="811" y="140"/>
                                  <a:pt x="809" y="137"/>
                                </a:cubicBezTo>
                                <a:cubicBezTo>
                                  <a:pt x="806" y="132"/>
                                  <a:pt x="806" y="127"/>
                                  <a:pt x="806" y="123"/>
                                </a:cubicBezTo>
                                <a:cubicBezTo>
                                  <a:pt x="806" y="119"/>
                                  <a:pt x="806" y="116"/>
                                  <a:pt x="805" y="111"/>
                                </a:cubicBezTo>
                                <a:cubicBezTo>
                                  <a:pt x="803" y="106"/>
                                  <a:pt x="801" y="104"/>
                                  <a:pt x="797" y="102"/>
                                </a:cubicBezTo>
                                <a:cubicBezTo>
                                  <a:pt x="793" y="100"/>
                                  <a:pt x="788" y="99"/>
                                  <a:pt x="783" y="100"/>
                                </a:cubicBezTo>
                                <a:cubicBezTo>
                                  <a:pt x="771" y="100"/>
                                  <a:pt x="769" y="100"/>
                                  <a:pt x="759" y="98"/>
                                </a:cubicBezTo>
                                <a:cubicBezTo>
                                  <a:pt x="756" y="98"/>
                                  <a:pt x="756" y="98"/>
                                  <a:pt x="756" y="98"/>
                                </a:cubicBezTo>
                                <a:cubicBezTo>
                                  <a:pt x="740" y="96"/>
                                  <a:pt x="739" y="90"/>
                                  <a:pt x="739" y="81"/>
                                </a:cubicBezTo>
                                <a:cubicBezTo>
                                  <a:pt x="739" y="80"/>
                                  <a:pt x="739" y="80"/>
                                  <a:pt x="739" y="80"/>
                                </a:cubicBezTo>
                                <a:cubicBezTo>
                                  <a:pt x="739" y="78"/>
                                  <a:pt x="737" y="75"/>
                                  <a:pt x="736" y="73"/>
                                </a:cubicBezTo>
                                <a:cubicBezTo>
                                  <a:pt x="733" y="66"/>
                                  <a:pt x="731" y="60"/>
                                  <a:pt x="736" y="54"/>
                                </a:cubicBezTo>
                                <a:cubicBezTo>
                                  <a:pt x="737" y="53"/>
                                  <a:pt x="738" y="52"/>
                                  <a:pt x="740" y="50"/>
                                </a:cubicBezTo>
                                <a:cubicBezTo>
                                  <a:pt x="741" y="49"/>
                                  <a:pt x="742" y="48"/>
                                  <a:pt x="743" y="47"/>
                                </a:cubicBezTo>
                                <a:cubicBezTo>
                                  <a:pt x="744" y="46"/>
                                  <a:pt x="744" y="45"/>
                                  <a:pt x="742" y="43"/>
                                </a:cubicBezTo>
                                <a:cubicBezTo>
                                  <a:pt x="741" y="42"/>
                                  <a:pt x="740" y="41"/>
                                  <a:pt x="739" y="41"/>
                                </a:cubicBezTo>
                                <a:cubicBezTo>
                                  <a:pt x="732" y="35"/>
                                  <a:pt x="728" y="33"/>
                                  <a:pt x="725" y="22"/>
                                </a:cubicBezTo>
                                <a:cubicBezTo>
                                  <a:pt x="725" y="22"/>
                                  <a:pt x="725" y="22"/>
                                  <a:pt x="725" y="22"/>
                                </a:cubicBezTo>
                                <a:cubicBezTo>
                                  <a:pt x="725" y="22"/>
                                  <a:pt x="725" y="22"/>
                                  <a:pt x="725" y="22"/>
                                </a:cubicBezTo>
                                <a:cubicBezTo>
                                  <a:pt x="725" y="22"/>
                                  <a:pt x="725" y="22"/>
                                  <a:pt x="725" y="22"/>
                                </a:cubicBezTo>
                                <a:cubicBezTo>
                                  <a:pt x="724" y="17"/>
                                  <a:pt x="723" y="15"/>
                                  <a:pt x="722" y="14"/>
                                </a:cubicBezTo>
                                <a:cubicBezTo>
                                  <a:pt x="720" y="12"/>
                                  <a:pt x="718" y="11"/>
                                  <a:pt x="714" y="8"/>
                                </a:cubicBezTo>
                                <a:cubicBezTo>
                                  <a:pt x="711" y="7"/>
                                  <a:pt x="711" y="7"/>
                                  <a:pt x="711" y="7"/>
                                </a:cubicBezTo>
                                <a:cubicBezTo>
                                  <a:pt x="705" y="3"/>
                                  <a:pt x="702" y="2"/>
                                  <a:pt x="699" y="1"/>
                                </a:cubicBezTo>
                                <a:cubicBezTo>
                                  <a:pt x="697" y="0"/>
                                  <a:pt x="695" y="1"/>
                                  <a:pt x="693" y="1"/>
                                </a:cubicBezTo>
                                <a:cubicBezTo>
                                  <a:pt x="692" y="2"/>
                                  <a:pt x="690" y="2"/>
                                  <a:pt x="689" y="3"/>
                                </a:cubicBezTo>
                                <a:cubicBezTo>
                                  <a:pt x="689" y="3"/>
                                  <a:pt x="689" y="3"/>
                                  <a:pt x="689" y="3"/>
                                </a:cubicBezTo>
                                <a:cubicBezTo>
                                  <a:pt x="682" y="5"/>
                                  <a:pt x="671" y="8"/>
                                  <a:pt x="660" y="8"/>
                                </a:cubicBezTo>
                                <a:cubicBezTo>
                                  <a:pt x="657" y="8"/>
                                  <a:pt x="654" y="8"/>
                                  <a:pt x="652" y="8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71" name="Freeform 264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5073366" y="3823785"/>
                            <a:ext cx="116681" cy="50006"/>
                          </a:xfrm>
                          <a:custGeom>
                            <a:avLst/>
                            <a:gdLst>
                              <a:gd name="T0" fmla="*/ 326 w 409"/>
                              <a:gd name="T1" fmla="*/ 71 h 176"/>
                              <a:gd name="T2" fmla="*/ 304 w 409"/>
                              <a:gd name="T3" fmla="*/ 67 h 176"/>
                              <a:gd name="T4" fmla="*/ 270 w 409"/>
                              <a:gd name="T5" fmla="*/ 66 h 176"/>
                              <a:gd name="T6" fmla="*/ 248 w 409"/>
                              <a:gd name="T7" fmla="*/ 74 h 176"/>
                              <a:gd name="T8" fmla="*/ 232 w 409"/>
                              <a:gd name="T9" fmla="*/ 69 h 176"/>
                              <a:gd name="T10" fmla="*/ 216 w 409"/>
                              <a:gd name="T11" fmla="*/ 52 h 176"/>
                              <a:gd name="T12" fmla="*/ 186 w 409"/>
                              <a:gd name="T13" fmla="*/ 41 h 176"/>
                              <a:gd name="T14" fmla="*/ 162 w 409"/>
                              <a:gd name="T15" fmla="*/ 26 h 176"/>
                              <a:gd name="T16" fmla="*/ 105 w 409"/>
                              <a:gd name="T17" fmla="*/ 27 h 176"/>
                              <a:gd name="T18" fmla="*/ 63 w 409"/>
                              <a:gd name="T19" fmla="*/ 10 h 176"/>
                              <a:gd name="T20" fmla="*/ 43 w 409"/>
                              <a:gd name="T21" fmla="*/ 2 h 176"/>
                              <a:gd name="T22" fmla="*/ 26 w 409"/>
                              <a:gd name="T23" fmla="*/ 2 h 176"/>
                              <a:gd name="T24" fmla="*/ 8 w 409"/>
                              <a:gd name="T25" fmla="*/ 2 h 176"/>
                              <a:gd name="T26" fmla="*/ 0 w 409"/>
                              <a:gd name="T27" fmla="*/ 12 h 176"/>
                              <a:gd name="T28" fmla="*/ 22 w 409"/>
                              <a:gd name="T29" fmla="*/ 30 h 176"/>
                              <a:gd name="T30" fmla="*/ 62 w 409"/>
                              <a:gd name="T31" fmla="*/ 45 h 176"/>
                              <a:gd name="T32" fmla="*/ 90 w 409"/>
                              <a:gd name="T33" fmla="*/ 68 h 176"/>
                              <a:gd name="T34" fmla="*/ 98 w 409"/>
                              <a:gd name="T35" fmla="*/ 97 h 176"/>
                              <a:gd name="T36" fmla="*/ 104 w 409"/>
                              <a:gd name="T37" fmla="*/ 130 h 176"/>
                              <a:gd name="T38" fmla="*/ 92 w 409"/>
                              <a:gd name="T39" fmla="*/ 148 h 176"/>
                              <a:gd name="T40" fmla="*/ 118 w 409"/>
                              <a:gd name="T41" fmla="*/ 148 h 176"/>
                              <a:gd name="T42" fmla="*/ 148 w 409"/>
                              <a:gd name="T43" fmla="*/ 149 h 176"/>
                              <a:gd name="T44" fmla="*/ 175 w 409"/>
                              <a:gd name="T45" fmla="*/ 143 h 176"/>
                              <a:gd name="T46" fmla="*/ 199 w 409"/>
                              <a:gd name="T47" fmla="*/ 160 h 176"/>
                              <a:gd name="T48" fmla="*/ 216 w 409"/>
                              <a:gd name="T49" fmla="*/ 176 h 176"/>
                              <a:gd name="T50" fmla="*/ 250 w 409"/>
                              <a:gd name="T51" fmla="*/ 171 h 176"/>
                              <a:gd name="T52" fmla="*/ 298 w 409"/>
                              <a:gd name="T53" fmla="*/ 170 h 176"/>
                              <a:gd name="T54" fmla="*/ 315 w 409"/>
                              <a:gd name="T55" fmla="*/ 161 h 176"/>
                              <a:gd name="T56" fmla="*/ 339 w 409"/>
                              <a:gd name="T57" fmla="*/ 155 h 176"/>
                              <a:gd name="T58" fmla="*/ 369 w 409"/>
                              <a:gd name="T59" fmla="*/ 169 h 176"/>
                              <a:gd name="T60" fmla="*/ 404 w 409"/>
                              <a:gd name="T61" fmla="*/ 175 h 176"/>
                              <a:gd name="T62" fmla="*/ 409 w 409"/>
                              <a:gd name="T63" fmla="*/ 173 h 176"/>
                              <a:gd name="T64" fmla="*/ 407 w 409"/>
                              <a:gd name="T65" fmla="*/ 166 h 176"/>
                              <a:gd name="T66" fmla="*/ 383 w 409"/>
                              <a:gd name="T67" fmla="*/ 138 h 176"/>
                              <a:gd name="T68" fmla="*/ 389 w 409"/>
                              <a:gd name="T69" fmla="*/ 122 h 176"/>
                              <a:gd name="T70" fmla="*/ 344 w 409"/>
                              <a:gd name="T71" fmla="*/ 100 h 176"/>
                              <a:gd name="T72" fmla="*/ 342 w 409"/>
                              <a:gd name="T73" fmla="*/ 79 h 176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</a:cxnLst>
                            <a:rect l="0" t="0" r="r" b="b"/>
                            <a:pathLst>
                              <a:path w="409" h="176">
                                <a:moveTo>
                                  <a:pt x="342" y="79"/>
                                </a:moveTo>
                                <a:cubicBezTo>
                                  <a:pt x="338" y="76"/>
                                  <a:pt x="332" y="73"/>
                                  <a:pt x="326" y="71"/>
                                </a:cubicBezTo>
                                <a:cubicBezTo>
                                  <a:pt x="319" y="68"/>
                                  <a:pt x="312" y="67"/>
                                  <a:pt x="306" y="67"/>
                                </a:cubicBezTo>
                                <a:cubicBezTo>
                                  <a:pt x="304" y="67"/>
                                  <a:pt x="304" y="67"/>
                                  <a:pt x="304" y="67"/>
                                </a:cubicBezTo>
                                <a:cubicBezTo>
                                  <a:pt x="295" y="68"/>
                                  <a:pt x="291" y="68"/>
                                  <a:pt x="281" y="64"/>
                                </a:cubicBezTo>
                                <a:cubicBezTo>
                                  <a:pt x="276" y="62"/>
                                  <a:pt x="274" y="63"/>
                                  <a:pt x="270" y="66"/>
                                </a:cubicBezTo>
                                <a:cubicBezTo>
                                  <a:pt x="268" y="67"/>
                                  <a:pt x="266" y="69"/>
                                  <a:pt x="263" y="70"/>
                                </a:cubicBezTo>
                                <a:cubicBezTo>
                                  <a:pt x="258" y="73"/>
                                  <a:pt x="253" y="74"/>
                                  <a:pt x="248" y="74"/>
                                </a:cubicBezTo>
                                <a:cubicBezTo>
                                  <a:pt x="242" y="74"/>
                                  <a:pt x="237" y="72"/>
                                  <a:pt x="232" y="69"/>
                                </a:cubicBezTo>
                                <a:cubicBezTo>
                                  <a:pt x="232" y="69"/>
                                  <a:pt x="232" y="69"/>
                                  <a:pt x="232" y="69"/>
                                </a:cubicBezTo>
                                <a:cubicBezTo>
                                  <a:pt x="228" y="67"/>
                                  <a:pt x="227" y="64"/>
                                  <a:pt x="226" y="61"/>
                                </a:cubicBezTo>
                                <a:cubicBezTo>
                                  <a:pt x="225" y="58"/>
                                  <a:pt x="223" y="55"/>
                                  <a:pt x="216" y="52"/>
                                </a:cubicBezTo>
                                <a:cubicBezTo>
                                  <a:pt x="211" y="49"/>
                                  <a:pt x="207" y="49"/>
                                  <a:pt x="204" y="48"/>
                                </a:cubicBezTo>
                                <a:cubicBezTo>
                                  <a:pt x="199" y="47"/>
                                  <a:pt x="194" y="46"/>
                                  <a:pt x="186" y="41"/>
                                </a:cubicBezTo>
                                <a:cubicBezTo>
                                  <a:pt x="181" y="38"/>
                                  <a:pt x="177" y="35"/>
                                  <a:pt x="173" y="32"/>
                                </a:cubicBezTo>
                                <a:cubicBezTo>
                                  <a:pt x="169" y="29"/>
                                  <a:pt x="165" y="26"/>
                                  <a:pt x="162" y="26"/>
                                </a:cubicBezTo>
                                <a:cubicBezTo>
                                  <a:pt x="159" y="26"/>
                                  <a:pt x="154" y="26"/>
                                  <a:pt x="148" y="26"/>
                                </a:cubicBezTo>
                                <a:cubicBezTo>
                                  <a:pt x="135" y="27"/>
                                  <a:pt x="118" y="28"/>
                                  <a:pt x="105" y="27"/>
                                </a:cubicBezTo>
                                <a:cubicBezTo>
                                  <a:pt x="88" y="26"/>
                                  <a:pt x="75" y="18"/>
                                  <a:pt x="63" y="10"/>
                                </a:cubicBezTo>
                                <a:cubicBezTo>
                                  <a:pt x="63" y="10"/>
                                  <a:pt x="63" y="10"/>
                                  <a:pt x="63" y="10"/>
                                </a:cubicBezTo>
                                <a:cubicBezTo>
                                  <a:pt x="60" y="9"/>
                                  <a:pt x="58" y="7"/>
                                  <a:pt x="55" y="6"/>
                                </a:cubicBezTo>
                                <a:cubicBezTo>
                                  <a:pt x="47" y="1"/>
                                  <a:pt x="45" y="2"/>
                                  <a:pt x="43" y="2"/>
                                </a:cubicBezTo>
                                <a:cubicBezTo>
                                  <a:pt x="40" y="3"/>
                                  <a:pt x="37" y="4"/>
                                  <a:pt x="31" y="3"/>
                                </a:cubicBezTo>
                                <a:cubicBezTo>
                                  <a:pt x="30" y="3"/>
                                  <a:pt x="28" y="2"/>
                                  <a:pt x="26" y="2"/>
                                </a:cubicBezTo>
                                <a:cubicBezTo>
                                  <a:pt x="18" y="0"/>
                                  <a:pt x="13" y="0"/>
                                  <a:pt x="8" y="2"/>
                                </a:cubicBezTo>
                                <a:cubicBezTo>
                                  <a:pt x="8" y="2"/>
                                  <a:pt x="8" y="2"/>
                                  <a:pt x="8" y="2"/>
                                </a:cubicBezTo>
                                <a:cubicBezTo>
                                  <a:pt x="4" y="4"/>
                                  <a:pt x="3" y="7"/>
                                  <a:pt x="1" y="11"/>
                                </a:cubicBezTo>
                                <a:cubicBezTo>
                                  <a:pt x="1" y="11"/>
                                  <a:pt x="1" y="11"/>
                                  <a:pt x="0" y="12"/>
                                </a:cubicBezTo>
                                <a:cubicBezTo>
                                  <a:pt x="2" y="13"/>
                                  <a:pt x="4" y="15"/>
                                  <a:pt x="6" y="17"/>
                                </a:cubicBezTo>
                                <a:cubicBezTo>
                                  <a:pt x="10" y="23"/>
                                  <a:pt x="15" y="24"/>
                                  <a:pt x="22" y="30"/>
                                </a:cubicBezTo>
                                <a:cubicBezTo>
                                  <a:pt x="29" y="35"/>
                                  <a:pt x="38" y="33"/>
                                  <a:pt x="48" y="35"/>
                                </a:cubicBezTo>
                                <a:cubicBezTo>
                                  <a:pt x="58" y="38"/>
                                  <a:pt x="56" y="39"/>
                                  <a:pt x="62" y="45"/>
                                </a:cubicBezTo>
                                <a:cubicBezTo>
                                  <a:pt x="67" y="52"/>
                                  <a:pt x="69" y="56"/>
                                  <a:pt x="75" y="59"/>
                                </a:cubicBezTo>
                                <a:cubicBezTo>
                                  <a:pt x="81" y="62"/>
                                  <a:pt x="87" y="63"/>
                                  <a:pt x="90" y="68"/>
                                </a:cubicBezTo>
                                <a:cubicBezTo>
                                  <a:pt x="94" y="73"/>
                                  <a:pt x="93" y="74"/>
                                  <a:pt x="93" y="83"/>
                                </a:cubicBezTo>
                                <a:cubicBezTo>
                                  <a:pt x="93" y="93"/>
                                  <a:pt x="96" y="91"/>
                                  <a:pt x="98" y="97"/>
                                </a:cubicBezTo>
                                <a:cubicBezTo>
                                  <a:pt x="100" y="103"/>
                                  <a:pt x="105" y="106"/>
                                  <a:pt x="105" y="114"/>
                                </a:cubicBezTo>
                                <a:cubicBezTo>
                                  <a:pt x="106" y="122"/>
                                  <a:pt x="105" y="123"/>
                                  <a:pt x="104" y="130"/>
                                </a:cubicBezTo>
                                <a:cubicBezTo>
                                  <a:pt x="103" y="138"/>
                                  <a:pt x="101" y="137"/>
                                  <a:pt x="95" y="145"/>
                                </a:cubicBezTo>
                                <a:cubicBezTo>
                                  <a:pt x="94" y="146"/>
                                  <a:pt x="93" y="148"/>
                                  <a:pt x="92" y="148"/>
                                </a:cubicBezTo>
                                <a:cubicBezTo>
                                  <a:pt x="94" y="149"/>
                                  <a:pt x="98" y="149"/>
                                  <a:pt x="104" y="149"/>
                                </a:cubicBezTo>
                                <a:cubicBezTo>
                                  <a:pt x="110" y="149"/>
                                  <a:pt x="114" y="148"/>
                                  <a:pt x="118" y="148"/>
                                </a:cubicBezTo>
                                <a:cubicBezTo>
                                  <a:pt x="125" y="147"/>
                                  <a:pt x="130" y="146"/>
                                  <a:pt x="139" y="149"/>
                                </a:cubicBezTo>
                                <a:cubicBezTo>
                                  <a:pt x="145" y="151"/>
                                  <a:pt x="146" y="150"/>
                                  <a:pt x="148" y="149"/>
                                </a:cubicBezTo>
                                <a:cubicBezTo>
                                  <a:pt x="150" y="147"/>
                                  <a:pt x="153" y="145"/>
                                  <a:pt x="158" y="144"/>
                                </a:cubicBezTo>
                                <a:cubicBezTo>
                                  <a:pt x="165" y="142"/>
                                  <a:pt x="170" y="142"/>
                                  <a:pt x="175" y="143"/>
                                </a:cubicBezTo>
                                <a:cubicBezTo>
                                  <a:pt x="180" y="144"/>
                                  <a:pt x="184" y="147"/>
                                  <a:pt x="188" y="151"/>
                                </a:cubicBezTo>
                                <a:cubicBezTo>
                                  <a:pt x="191" y="154"/>
                                  <a:pt x="195" y="157"/>
                                  <a:pt x="199" y="160"/>
                                </a:cubicBezTo>
                                <a:cubicBezTo>
                                  <a:pt x="203" y="164"/>
                                  <a:pt x="208" y="168"/>
                                  <a:pt x="213" y="173"/>
                                </a:cubicBezTo>
                                <a:cubicBezTo>
                                  <a:pt x="215" y="174"/>
                                  <a:pt x="216" y="175"/>
                                  <a:pt x="216" y="176"/>
                                </a:cubicBezTo>
                                <a:cubicBezTo>
                                  <a:pt x="222" y="173"/>
                                  <a:pt x="230" y="172"/>
                                  <a:pt x="242" y="171"/>
                                </a:cubicBezTo>
                                <a:cubicBezTo>
                                  <a:pt x="244" y="171"/>
                                  <a:pt x="247" y="171"/>
                                  <a:pt x="250" y="171"/>
                                </a:cubicBezTo>
                                <a:cubicBezTo>
                                  <a:pt x="260" y="170"/>
                                  <a:pt x="270" y="170"/>
                                  <a:pt x="280" y="170"/>
                                </a:cubicBezTo>
                                <a:cubicBezTo>
                                  <a:pt x="287" y="170"/>
                                  <a:pt x="293" y="170"/>
                                  <a:pt x="298" y="170"/>
                                </a:cubicBezTo>
                                <a:cubicBezTo>
                                  <a:pt x="304" y="170"/>
                                  <a:pt x="307" y="169"/>
                                  <a:pt x="310" y="167"/>
                                </a:cubicBezTo>
                                <a:cubicBezTo>
                                  <a:pt x="312" y="166"/>
                                  <a:pt x="313" y="164"/>
                                  <a:pt x="315" y="161"/>
                                </a:cubicBezTo>
                                <a:cubicBezTo>
                                  <a:pt x="317" y="156"/>
                                  <a:pt x="320" y="154"/>
                                  <a:pt x="325" y="153"/>
                                </a:cubicBezTo>
                                <a:cubicBezTo>
                                  <a:pt x="329" y="153"/>
                                  <a:pt x="334" y="154"/>
                                  <a:pt x="339" y="155"/>
                                </a:cubicBezTo>
                                <a:cubicBezTo>
                                  <a:pt x="344" y="156"/>
                                  <a:pt x="348" y="159"/>
                                  <a:pt x="353" y="162"/>
                                </a:cubicBezTo>
                                <a:cubicBezTo>
                                  <a:pt x="358" y="165"/>
                                  <a:pt x="363" y="168"/>
                                  <a:pt x="369" y="169"/>
                                </a:cubicBezTo>
                                <a:cubicBezTo>
                                  <a:pt x="374" y="170"/>
                                  <a:pt x="379" y="171"/>
                                  <a:pt x="384" y="172"/>
                                </a:cubicBezTo>
                                <a:cubicBezTo>
                                  <a:pt x="392" y="173"/>
                                  <a:pt x="399" y="175"/>
                                  <a:pt x="404" y="175"/>
                                </a:cubicBezTo>
                                <a:cubicBezTo>
                                  <a:pt x="406" y="175"/>
                                  <a:pt x="408" y="174"/>
                                  <a:pt x="409" y="173"/>
                                </a:cubicBezTo>
                                <a:cubicBezTo>
                                  <a:pt x="409" y="173"/>
                                  <a:pt x="409" y="173"/>
                                  <a:pt x="409" y="173"/>
                                </a:cubicBezTo>
                                <a:cubicBezTo>
                                  <a:pt x="409" y="172"/>
                                  <a:pt x="409" y="172"/>
                                  <a:pt x="409" y="172"/>
                                </a:cubicBezTo>
                                <a:cubicBezTo>
                                  <a:pt x="409" y="170"/>
                                  <a:pt x="409" y="168"/>
                                  <a:pt x="407" y="166"/>
                                </a:cubicBezTo>
                                <a:cubicBezTo>
                                  <a:pt x="404" y="162"/>
                                  <a:pt x="400" y="158"/>
                                  <a:pt x="396" y="155"/>
                                </a:cubicBezTo>
                                <a:cubicBezTo>
                                  <a:pt x="389" y="149"/>
                                  <a:pt x="384" y="144"/>
                                  <a:pt x="383" y="138"/>
                                </a:cubicBezTo>
                                <a:cubicBezTo>
                                  <a:pt x="382" y="132"/>
                                  <a:pt x="385" y="127"/>
                                  <a:pt x="388" y="123"/>
                                </a:cubicBezTo>
                                <a:cubicBezTo>
                                  <a:pt x="389" y="122"/>
                                  <a:pt x="389" y="122"/>
                                  <a:pt x="389" y="122"/>
                                </a:cubicBezTo>
                                <a:cubicBezTo>
                                  <a:pt x="382" y="120"/>
                                  <a:pt x="371" y="117"/>
                                  <a:pt x="363" y="113"/>
                                </a:cubicBezTo>
                                <a:cubicBezTo>
                                  <a:pt x="354" y="109"/>
                                  <a:pt x="346" y="105"/>
                                  <a:pt x="344" y="100"/>
                                </a:cubicBezTo>
                                <a:cubicBezTo>
                                  <a:pt x="341" y="96"/>
                                  <a:pt x="342" y="92"/>
                                  <a:pt x="343" y="88"/>
                                </a:cubicBezTo>
                                <a:cubicBezTo>
                                  <a:pt x="344" y="85"/>
                                  <a:pt x="345" y="82"/>
                                  <a:pt x="342" y="79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72" name="Freeform 266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779281" y="3441594"/>
                            <a:ext cx="79772" cy="53578"/>
                          </a:xfrm>
                          <a:custGeom>
                            <a:avLst/>
                            <a:gdLst>
                              <a:gd name="T0" fmla="*/ 245 w 280"/>
                              <a:gd name="T1" fmla="*/ 76 h 187"/>
                              <a:gd name="T2" fmla="*/ 263 w 280"/>
                              <a:gd name="T3" fmla="*/ 50 h 187"/>
                              <a:gd name="T4" fmla="*/ 279 w 280"/>
                              <a:gd name="T5" fmla="*/ 29 h 187"/>
                              <a:gd name="T6" fmla="*/ 278 w 280"/>
                              <a:gd name="T7" fmla="*/ 16 h 187"/>
                              <a:gd name="T8" fmla="*/ 278 w 280"/>
                              <a:gd name="T9" fmla="*/ 15 h 187"/>
                              <a:gd name="T10" fmla="*/ 271 w 280"/>
                              <a:gd name="T11" fmla="*/ 19 h 187"/>
                              <a:gd name="T12" fmla="*/ 253 w 280"/>
                              <a:gd name="T13" fmla="*/ 18 h 187"/>
                              <a:gd name="T14" fmla="*/ 232 w 280"/>
                              <a:gd name="T15" fmla="*/ 17 h 187"/>
                              <a:gd name="T16" fmla="*/ 208 w 280"/>
                              <a:gd name="T17" fmla="*/ 16 h 187"/>
                              <a:gd name="T18" fmla="*/ 190 w 280"/>
                              <a:gd name="T19" fmla="*/ 9 h 187"/>
                              <a:gd name="T20" fmla="*/ 168 w 280"/>
                              <a:gd name="T21" fmla="*/ 9 h 187"/>
                              <a:gd name="T22" fmla="*/ 148 w 280"/>
                              <a:gd name="T23" fmla="*/ 9 h 187"/>
                              <a:gd name="T24" fmla="*/ 128 w 280"/>
                              <a:gd name="T25" fmla="*/ 1 h 187"/>
                              <a:gd name="T26" fmla="*/ 126 w 280"/>
                              <a:gd name="T27" fmla="*/ 11 h 187"/>
                              <a:gd name="T28" fmla="*/ 84 w 280"/>
                              <a:gd name="T29" fmla="*/ 13 h 187"/>
                              <a:gd name="T30" fmla="*/ 61 w 280"/>
                              <a:gd name="T31" fmla="*/ 19 h 187"/>
                              <a:gd name="T32" fmla="*/ 47 w 280"/>
                              <a:gd name="T33" fmla="*/ 25 h 187"/>
                              <a:gd name="T34" fmla="*/ 31 w 280"/>
                              <a:gd name="T35" fmla="*/ 34 h 187"/>
                              <a:gd name="T36" fmla="*/ 14 w 280"/>
                              <a:gd name="T37" fmla="*/ 38 h 187"/>
                              <a:gd name="T38" fmla="*/ 4 w 280"/>
                              <a:gd name="T39" fmla="*/ 40 h 187"/>
                              <a:gd name="T40" fmla="*/ 3 w 280"/>
                              <a:gd name="T41" fmla="*/ 52 h 187"/>
                              <a:gd name="T42" fmla="*/ 12 w 280"/>
                              <a:gd name="T43" fmla="*/ 58 h 187"/>
                              <a:gd name="T44" fmla="*/ 4 w 280"/>
                              <a:gd name="T45" fmla="*/ 64 h 187"/>
                              <a:gd name="T46" fmla="*/ 3 w 280"/>
                              <a:gd name="T47" fmla="*/ 75 h 187"/>
                              <a:gd name="T48" fmla="*/ 12 w 280"/>
                              <a:gd name="T49" fmla="*/ 78 h 187"/>
                              <a:gd name="T50" fmla="*/ 21 w 280"/>
                              <a:gd name="T51" fmla="*/ 78 h 187"/>
                              <a:gd name="T52" fmla="*/ 17 w 280"/>
                              <a:gd name="T53" fmla="*/ 84 h 187"/>
                              <a:gd name="T54" fmla="*/ 7 w 280"/>
                              <a:gd name="T55" fmla="*/ 86 h 187"/>
                              <a:gd name="T56" fmla="*/ 8 w 280"/>
                              <a:gd name="T57" fmla="*/ 100 h 187"/>
                              <a:gd name="T58" fmla="*/ 20 w 280"/>
                              <a:gd name="T59" fmla="*/ 112 h 187"/>
                              <a:gd name="T60" fmla="*/ 32 w 280"/>
                              <a:gd name="T61" fmla="*/ 121 h 187"/>
                              <a:gd name="T62" fmla="*/ 45 w 280"/>
                              <a:gd name="T63" fmla="*/ 124 h 187"/>
                              <a:gd name="T64" fmla="*/ 52 w 280"/>
                              <a:gd name="T65" fmla="*/ 118 h 187"/>
                              <a:gd name="T66" fmla="*/ 63 w 280"/>
                              <a:gd name="T67" fmla="*/ 114 h 187"/>
                              <a:gd name="T68" fmla="*/ 65 w 280"/>
                              <a:gd name="T69" fmla="*/ 127 h 187"/>
                              <a:gd name="T70" fmla="*/ 58 w 280"/>
                              <a:gd name="T71" fmla="*/ 145 h 187"/>
                              <a:gd name="T72" fmla="*/ 53 w 280"/>
                              <a:gd name="T73" fmla="*/ 156 h 187"/>
                              <a:gd name="T74" fmla="*/ 59 w 280"/>
                              <a:gd name="T75" fmla="*/ 154 h 187"/>
                              <a:gd name="T76" fmla="*/ 72 w 280"/>
                              <a:gd name="T77" fmla="*/ 148 h 187"/>
                              <a:gd name="T78" fmla="*/ 79 w 280"/>
                              <a:gd name="T79" fmla="*/ 145 h 187"/>
                              <a:gd name="T80" fmla="*/ 99 w 280"/>
                              <a:gd name="T81" fmla="*/ 141 h 187"/>
                              <a:gd name="T82" fmla="*/ 122 w 280"/>
                              <a:gd name="T83" fmla="*/ 142 h 187"/>
                              <a:gd name="T84" fmla="*/ 147 w 280"/>
                              <a:gd name="T85" fmla="*/ 153 h 187"/>
                              <a:gd name="T86" fmla="*/ 160 w 280"/>
                              <a:gd name="T87" fmla="*/ 165 h 187"/>
                              <a:gd name="T88" fmla="*/ 177 w 280"/>
                              <a:gd name="T89" fmla="*/ 179 h 187"/>
                              <a:gd name="T90" fmla="*/ 193 w 280"/>
                              <a:gd name="T91" fmla="*/ 183 h 187"/>
                              <a:gd name="T92" fmla="*/ 204 w 280"/>
                              <a:gd name="T93" fmla="*/ 181 h 187"/>
                              <a:gd name="T94" fmla="*/ 225 w 280"/>
                              <a:gd name="T95" fmla="*/ 185 h 187"/>
                              <a:gd name="T96" fmla="*/ 225 w 280"/>
                              <a:gd name="T97" fmla="*/ 185 h 187"/>
                              <a:gd name="T98" fmla="*/ 231 w 280"/>
                              <a:gd name="T99" fmla="*/ 186 h 187"/>
                              <a:gd name="T100" fmla="*/ 241 w 280"/>
                              <a:gd name="T101" fmla="*/ 184 h 187"/>
                              <a:gd name="T102" fmla="*/ 241 w 280"/>
                              <a:gd name="T103" fmla="*/ 181 h 187"/>
                              <a:gd name="T104" fmla="*/ 246 w 280"/>
                              <a:gd name="T105" fmla="*/ 168 h 187"/>
                              <a:gd name="T106" fmla="*/ 257 w 280"/>
                              <a:gd name="T107" fmla="*/ 161 h 187"/>
                              <a:gd name="T108" fmla="*/ 257 w 280"/>
                              <a:gd name="T109" fmla="*/ 161 h 187"/>
                              <a:gd name="T110" fmla="*/ 264 w 280"/>
                              <a:gd name="T111" fmla="*/ 157 h 187"/>
                              <a:gd name="T112" fmla="*/ 258 w 280"/>
                              <a:gd name="T113" fmla="*/ 147 h 187"/>
                              <a:gd name="T114" fmla="*/ 243 w 280"/>
                              <a:gd name="T115" fmla="*/ 119 h 187"/>
                              <a:gd name="T116" fmla="*/ 244 w 280"/>
                              <a:gd name="T117" fmla="*/ 77 h 187"/>
                              <a:gd name="T118" fmla="*/ 245 w 280"/>
                              <a:gd name="T119" fmla="*/ 76 h 187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  <a:cxn ang="0">
                                <a:pos x="T118" y="T119"/>
                              </a:cxn>
                            </a:cxnLst>
                            <a:rect l="0" t="0" r="r" b="b"/>
                            <a:pathLst>
                              <a:path w="280" h="187">
                                <a:moveTo>
                                  <a:pt x="245" y="76"/>
                                </a:moveTo>
                                <a:cubicBezTo>
                                  <a:pt x="246" y="68"/>
                                  <a:pt x="255" y="59"/>
                                  <a:pt x="263" y="50"/>
                                </a:cubicBezTo>
                                <a:cubicBezTo>
                                  <a:pt x="271" y="42"/>
                                  <a:pt x="279" y="34"/>
                                  <a:pt x="279" y="29"/>
                                </a:cubicBezTo>
                                <a:cubicBezTo>
                                  <a:pt x="280" y="22"/>
                                  <a:pt x="279" y="19"/>
                                  <a:pt x="278" y="16"/>
                                </a:cubicBezTo>
                                <a:cubicBezTo>
                                  <a:pt x="278" y="15"/>
                                  <a:pt x="278" y="15"/>
                                  <a:pt x="278" y="15"/>
                                </a:cubicBezTo>
                                <a:cubicBezTo>
                                  <a:pt x="276" y="18"/>
                                  <a:pt x="274" y="19"/>
                                  <a:pt x="271" y="19"/>
                                </a:cubicBezTo>
                                <a:cubicBezTo>
                                  <a:pt x="267" y="20"/>
                                  <a:pt x="258" y="19"/>
                                  <a:pt x="253" y="18"/>
                                </a:cubicBezTo>
                                <a:cubicBezTo>
                                  <a:pt x="248" y="18"/>
                                  <a:pt x="239" y="15"/>
                                  <a:pt x="232" y="17"/>
                                </a:cubicBezTo>
                                <a:cubicBezTo>
                                  <a:pt x="225" y="18"/>
                                  <a:pt x="214" y="21"/>
                                  <a:pt x="208" y="16"/>
                                </a:cubicBezTo>
                                <a:cubicBezTo>
                                  <a:pt x="202" y="11"/>
                                  <a:pt x="201" y="9"/>
                                  <a:pt x="190" y="9"/>
                                </a:cubicBezTo>
                                <a:cubicBezTo>
                                  <a:pt x="179" y="9"/>
                                  <a:pt x="174" y="9"/>
                                  <a:pt x="168" y="9"/>
                                </a:cubicBezTo>
                                <a:cubicBezTo>
                                  <a:pt x="162" y="9"/>
                                  <a:pt x="153" y="10"/>
                                  <a:pt x="148" y="9"/>
                                </a:cubicBezTo>
                                <a:cubicBezTo>
                                  <a:pt x="142" y="7"/>
                                  <a:pt x="130" y="0"/>
                                  <a:pt x="128" y="1"/>
                                </a:cubicBezTo>
                                <a:cubicBezTo>
                                  <a:pt x="126" y="3"/>
                                  <a:pt x="133" y="10"/>
                                  <a:pt x="126" y="11"/>
                                </a:cubicBezTo>
                                <a:cubicBezTo>
                                  <a:pt x="119" y="12"/>
                                  <a:pt x="95" y="13"/>
                                  <a:pt x="84" y="13"/>
                                </a:cubicBezTo>
                                <a:cubicBezTo>
                                  <a:pt x="73" y="14"/>
                                  <a:pt x="65" y="15"/>
                                  <a:pt x="61" y="19"/>
                                </a:cubicBezTo>
                                <a:cubicBezTo>
                                  <a:pt x="57" y="23"/>
                                  <a:pt x="54" y="18"/>
                                  <a:pt x="47" y="25"/>
                                </a:cubicBezTo>
                                <a:cubicBezTo>
                                  <a:pt x="40" y="33"/>
                                  <a:pt x="37" y="33"/>
                                  <a:pt x="31" y="34"/>
                                </a:cubicBezTo>
                                <a:cubicBezTo>
                                  <a:pt x="24" y="34"/>
                                  <a:pt x="18" y="36"/>
                                  <a:pt x="14" y="38"/>
                                </a:cubicBezTo>
                                <a:cubicBezTo>
                                  <a:pt x="11" y="40"/>
                                  <a:pt x="8" y="35"/>
                                  <a:pt x="4" y="40"/>
                                </a:cubicBezTo>
                                <a:cubicBezTo>
                                  <a:pt x="1" y="46"/>
                                  <a:pt x="1" y="50"/>
                                  <a:pt x="3" y="52"/>
                                </a:cubicBezTo>
                                <a:cubicBezTo>
                                  <a:pt x="5" y="54"/>
                                  <a:pt x="12" y="54"/>
                                  <a:pt x="12" y="58"/>
                                </a:cubicBezTo>
                                <a:cubicBezTo>
                                  <a:pt x="13" y="62"/>
                                  <a:pt x="8" y="59"/>
                                  <a:pt x="4" y="64"/>
                                </a:cubicBezTo>
                                <a:cubicBezTo>
                                  <a:pt x="1" y="69"/>
                                  <a:pt x="0" y="72"/>
                                  <a:pt x="3" y="75"/>
                                </a:cubicBezTo>
                                <a:cubicBezTo>
                                  <a:pt x="5" y="78"/>
                                  <a:pt x="6" y="78"/>
                                  <a:pt x="12" y="78"/>
                                </a:cubicBezTo>
                                <a:cubicBezTo>
                                  <a:pt x="18" y="78"/>
                                  <a:pt x="18" y="73"/>
                                  <a:pt x="21" y="78"/>
                                </a:cubicBezTo>
                                <a:cubicBezTo>
                                  <a:pt x="25" y="84"/>
                                  <a:pt x="22" y="84"/>
                                  <a:pt x="17" y="84"/>
                                </a:cubicBezTo>
                                <a:cubicBezTo>
                                  <a:pt x="13" y="84"/>
                                  <a:pt x="9" y="82"/>
                                  <a:pt x="7" y="86"/>
                                </a:cubicBezTo>
                                <a:cubicBezTo>
                                  <a:pt x="6" y="90"/>
                                  <a:pt x="5" y="93"/>
                                  <a:pt x="8" y="100"/>
                                </a:cubicBezTo>
                                <a:cubicBezTo>
                                  <a:pt x="12" y="106"/>
                                  <a:pt x="15" y="109"/>
                                  <a:pt x="20" y="112"/>
                                </a:cubicBezTo>
                                <a:cubicBezTo>
                                  <a:pt x="26" y="115"/>
                                  <a:pt x="28" y="118"/>
                                  <a:pt x="32" y="121"/>
                                </a:cubicBezTo>
                                <a:cubicBezTo>
                                  <a:pt x="36" y="124"/>
                                  <a:pt x="42" y="126"/>
                                  <a:pt x="45" y="124"/>
                                </a:cubicBezTo>
                                <a:cubicBezTo>
                                  <a:pt x="49" y="122"/>
                                  <a:pt x="50" y="121"/>
                                  <a:pt x="52" y="118"/>
                                </a:cubicBezTo>
                                <a:cubicBezTo>
                                  <a:pt x="55" y="115"/>
                                  <a:pt x="59" y="110"/>
                                  <a:pt x="63" y="114"/>
                                </a:cubicBezTo>
                                <a:cubicBezTo>
                                  <a:pt x="66" y="117"/>
                                  <a:pt x="67" y="122"/>
                                  <a:pt x="65" y="127"/>
                                </a:cubicBezTo>
                                <a:cubicBezTo>
                                  <a:pt x="63" y="132"/>
                                  <a:pt x="62" y="141"/>
                                  <a:pt x="58" y="145"/>
                                </a:cubicBezTo>
                                <a:cubicBezTo>
                                  <a:pt x="55" y="149"/>
                                  <a:pt x="53" y="149"/>
                                  <a:pt x="53" y="156"/>
                                </a:cubicBezTo>
                                <a:cubicBezTo>
                                  <a:pt x="59" y="154"/>
                                  <a:pt x="59" y="154"/>
                                  <a:pt x="59" y="154"/>
                                </a:cubicBezTo>
                                <a:cubicBezTo>
                                  <a:pt x="72" y="148"/>
                                  <a:pt x="72" y="148"/>
                                  <a:pt x="72" y="148"/>
                                </a:cubicBezTo>
                                <a:cubicBezTo>
                                  <a:pt x="75" y="147"/>
                                  <a:pt x="77" y="146"/>
                                  <a:pt x="79" y="145"/>
                                </a:cubicBezTo>
                                <a:cubicBezTo>
                                  <a:pt x="87" y="142"/>
                                  <a:pt x="89" y="141"/>
                                  <a:pt x="99" y="141"/>
                                </a:cubicBezTo>
                                <a:cubicBezTo>
                                  <a:pt x="105" y="141"/>
                                  <a:pt x="113" y="141"/>
                                  <a:pt x="122" y="142"/>
                                </a:cubicBezTo>
                                <a:cubicBezTo>
                                  <a:pt x="131" y="144"/>
                                  <a:pt x="140" y="147"/>
                                  <a:pt x="147" y="153"/>
                                </a:cubicBezTo>
                                <a:cubicBezTo>
                                  <a:pt x="153" y="157"/>
                                  <a:pt x="157" y="161"/>
                                  <a:pt x="160" y="165"/>
                                </a:cubicBezTo>
                                <a:cubicBezTo>
                                  <a:pt x="164" y="170"/>
                                  <a:pt x="168" y="174"/>
                                  <a:pt x="177" y="179"/>
                                </a:cubicBezTo>
                                <a:cubicBezTo>
                                  <a:pt x="186" y="185"/>
                                  <a:pt x="189" y="185"/>
                                  <a:pt x="193" y="183"/>
                                </a:cubicBezTo>
                                <a:cubicBezTo>
                                  <a:pt x="196" y="183"/>
                                  <a:pt x="199" y="182"/>
                                  <a:pt x="204" y="181"/>
                                </a:cubicBezTo>
                                <a:cubicBezTo>
                                  <a:pt x="215" y="181"/>
                                  <a:pt x="220" y="183"/>
                                  <a:pt x="225" y="185"/>
                                </a:cubicBezTo>
                                <a:cubicBezTo>
                                  <a:pt x="225" y="185"/>
                                  <a:pt x="225" y="185"/>
                                  <a:pt x="225" y="185"/>
                                </a:cubicBezTo>
                                <a:cubicBezTo>
                                  <a:pt x="227" y="185"/>
                                  <a:pt x="229" y="186"/>
                                  <a:pt x="231" y="186"/>
                                </a:cubicBezTo>
                                <a:cubicBezTo>
                                  <a:pt x="235" y="187"/>
                                  <a:pt x="239" y="185"/>
                                  <a:pt x="241" y="184"/>
                                </a:cubicBezTo>
                                <a:cubicBezTo>
                                  <a:pt x="241" y="183"/>
                                  <a:pt x="241" y="182"/>
                                  <a:pt x="241" y="181"/>
                                </a:cubicBezTo>
                                <a:cubicBezTo>
                                  <a:pt x="242" y="176"/>
                                  <a:pt x="244" y="172"/>
                                  <a:pt x="246" y="168"/>
                                </a:cubicBezTo>
                                <a:cubicBezTo>
                                  <a:pt x="248" y="165"/>
                                  <a:pt x="253" y="163"/>
                                  <a:pt x="257" y="161"/>
                                </a:cubicBezTo>
                                <a:cubicBezTo>
                                  <a:pt x="257" y="161"/>
                                  <a:pt x="257" y="161"/>
                                  <a:pt x="257" y="161"/>
                                </a:cubicBezTo>
                                <a:cubicBezTo>
                                  <a:pt x="261" y="160"/>
                                  <a:pt x="265" y="158"/>
                                  <a:pt x="264" y="157"/>
                                </a:cubicBezTo>
                                <a:cubicBezTo>
                                  <a:pt x="264" y="156"/>
                                  <a:pt x="262" y="152"/>
                                  <a:pt x="258" y="147"/>
                                </a:cubicBezTo>
                                <a:cubicBezTo>
                                  <a:pt x="252" y="140"/>
                                  <a:pt x="245" y="130"/>
                                  <a:pt x="243" y="119"/>
                                </a:cubicBezTo>
                                <a:cubicBezTo>
                                  <a:pt x="240" y="103"/>
                                  <a:pt x="242" y="91"/>
                                  <a:pt x="244" y="77"/>
                                </a:cubicBezTo>
                                <a:cubicBezTo>
                                  <a:pt x="245" y="76"/>
                                  <a:pt x="245" y="76"/>
                                  <a:pt x="245" y="76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73" name="Freeform 267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734038" y="3484457"/>
                            <a:ext cx="127397" cy="58341"/>
                          </a:xfrm>
                          <a:custGeom>
                            <a:avLst/>
                            <a:gdLst>
                              <a:gd name="T0" fmla="*/ 398 w 444"/>
                              <a:gd name="T1" fmla="*/ 43 h 205"/>
                              <a:gd name="T2" fmla="*/ 377 w 444"/>
                              <a:gd name="T3" fmla="*/ 43 h 205"/>
                              <a:gd name="T4" fmla="*/ 360 w 444"/>
                              <a:gd name="T5" fmla="*/ 40 h 205"/>
                              <a:gd name="T6" fmla="*/ 327 w 444"/>
                              <a:gd name="T7" fmla="*/ 37 h 205"/>
                              <a:gd name="T8" fmla="*/ 297 w 444"/>
                              <a:gd name="T9" fmla="*/ 10 h 205"/>
                              <a:gd name="T10" fmla="*/ 254 w 444"/>
                              <a:gd name="T11" fmla="*/ 0 h 205"/>
                              <a:gd name="T12" fmla="*/ 230 w 444"/>
                              <a:gd name="T13" fmla="*/ 7 h 205"/>
                              <a:gd name="T14" fmla="*/ 208 w 444"/>
                              <a:gd name="T15" fmla="*/ 16 h 205"/>
                              <a:gd name="T16" fmla="*/ 212 w 444"/>
                              <a:gd name="T17" fmla="*/ 51 h 205"/>
                              <a:gd name="T18" fmla="*/ 186 w 444"/>
                              <a:gd name="T19" fmla="*/ 86 h 205"/>
                              <a:gd name="T20" fmla="*/ 143 w 444"/>
                              <a:gd name="T21" fmla="*/ 70 h 205"/>
                              <a:gd name="T22" fmla="*/ 108 w 444"/>
                              <a:gd name="T23" fmla="*/ 37 h 205"/>
                              <a:gd name="T24" fmla="*/ 55 w 444"/>
                              <a:gd name="T25" fmla="*/ 34 h 205"/>
                              <a:gd name="T26" fmla="*/ 29 w 444"/>
                              <a:gd name="T27" fmla="*/ 70 h 205"/>
                              <a:gd name="T28" fmla="*/ 5 w 444"/>
                              <a:gd name="T29" fmla="*/ 114 h 205"/>
                              <a:gd name="T30" fmla="*/ 1 w 444"/>
                              <a:gd name="T31" fmla="*/ 167 h 205"/>
                              <a:gd name="T32" fmla="*/ 52 w 444"/>
                              <a:gd name="T33" fmla="*/ 144 h 205"/>
                              <a:gd name="T34" fmla="*/ 98 w 444"/>
                              <a:gd name="T35" fmla="*/ 142 h 205"/>
                              <a:gd name="T36" fmla="*/ 120 w 444"/>
                              <a:gd name="T37" fmla="*/ 140 h 205"/>
                              <a:gd name="T38" fmla="*/ 145 w 444"/>
                              <a:gd name="T39" fmla="*/ 143 h 205"/>
                              <a:gd name="T40" fmla="*/ 177 w 444"/>
                              <a:gd name="T41" fmla="*/ 143 h 205"/>
                              <a:gd name="T42" fmla="*/ 202 w 444"/>
                              <a:gd name="T43" fmla="*/ 149 h 205"/>
                              <a:gd name="T44" fmla="*/ 228 w 444"/>
                              <a:gd name="T45" fmla="*/ 140 h 205"/>
                              <a:gd name="T46" fmla="*/ 228 w 444"/>
                              <a:gd name="T47" fmla="*/ 140 h 205"/>
                              <a:gd name="T48" fmla="*/ 240 w 444"/>
                              <a:gd name="T49" fmla="*/ 139 h 205"/>
                              <a:gd name="T50" fmla="*/ 252 w 444"/>
                              <a:gd name="T51" fmla="*/ 147 h 205"/>
                              <a:gd name="T52" fmla="*/ 260 w 444"/>
                              <a:gd name="T53" fmla="*/ 153 h 205"/>
                              <a:gd name="T54" fmla="*/ 280 w 444"/>
                              <a:gd name="T55" fmla="*/ 157 h 205"/>
                              <a:gd name="T56" fmla="*/ 330 w 444"/>
                              <a:gd name="T57" fmla="*/ 189 h 205"/>
                              <a:gd name="T58" fmla="*/ 352 w 444"/>
                              <a:gd name="T59" fmla="*/ 205 h 205"/>
                              <a:gd name="T60" fmla="*/ 357 w 444"/>
                              <a:gd name="T61" fmla="*/ 199 h 205"/>
                              <a:gd name="T62" fmla="*/ 383 w 444"/>
                              <a:gd name="T63" fmla="*/ 190 h 205"/>
                              <a:gd name="T64" fmla="*/ 410 w 444"/>
                              <a:gd name="T65" fmla="*/ 182 h 205"/>
                              <a:gd name="T66" fmla="*/ 444 w 444"/>
                              <a:gd name="T67" fmla="*/ 159 h 205"/>
                              <a:gd name="T68" fmla="*/ 440 w 444"/>
                              <a:gd name="T69" fmla="*/ 143 h 205"/>
                              <a:gd name="T70" fmla="*/ 436 w 444"/>
                              <a:gd name="T71" fmla="*/ 124 h 205"/>
                              <a:gd name="T72" fmla="*/ 431 w 444"/>
                              <a:gd name="T73" fmla="*/ 114 h 205"/>
                              <a:gd name="T74" fmla="*/ 417 w 444"/>
                              <a:gd name="T75" fmla="*/ 102 h 205"/>
                              <a:gd name="T76" fmla="*/ 415 w 444"/>
                              <a:gd name="T77" fmla="*/ 82 h 205"/>
                              <a:gd name="T78" fmla="*/ 421 w 444"/>
                              <a:gd name="T79" fmla="*/ 67 h 205"/>
                              <a:gd name="T80" fmla="*/ 418 w 444"/>
                              <a:gd name="T81" fmla="*/ 60 h 205"/>
                              <a:gd name="T82" fmla="*/ 415 w 444"/>
                              <a:gd name="T83" fmla="*/ 58 h 205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</a:cxnLst>
                            <a:rect l="0" t="0" r="r" b="b"/>
                            <a:pathLst>
                              <a:path w="444" h="205">
                                <a:moveTo>
                                  <a:pt x="399" y="44"/>
                                </a:moveTo>
                                <a:cubicBezTo>
                                  <a:pt x="399" y="44"/>
                                  <a:pt x="399" y="43"/>
                                  <a:pt x="398" y="43"/>
                                </a:cubicBezTo>
                                <a:cubicBezTo>
                                  <a:pt x="395" y="44"/>
                                  <a:pt x="390" y="46"/>
                                  <a:pt x="386" y="45"/>
                                </a:cubicBezTo>
                                <a:cubicBezTo>
                                  <a:pt x="383" y="45"/>
                                  <a:pt x="380" y="44"/>
                                  <a:pt x="377" y="43"/>
                                </a:cubicBezTo>
                                <a:cubicBezTo>
                                  <a:pt x="377" y="43"/>
                                  <a:pt x="377" y="43"/>
                                  <a:pt x="377" y="43"/>
                                </a:cubicBezTo>
                                <a:cubicBezTo>
                                  <a:pt x="373" y="41"/>
                                  <a:pt x="368" y="40"/>
                                  <a:pt x="360" y="40"/>
                                </a:cubicBezTo>
                                <a:cubicBezTo>
                                  <a:pt x="356" y="41"/>
                                  <a:pt x="353" y="41"/>
                                  <a:pt x="350" y="42"/>
                                </a:cubicBezTo>
                                <a:cubicBezTo>
                                  <a:pt x="344" y="44"/>
                                  <a:pt x="340" y="45"/>
                                  <a:pt x="327" y="37"/>
                                </a:cubicBezTo>
                                <a:cubicBezTo>
                                  <a:pt x="318" y="31"/>
                                  <a:pt x="314" y="26"/>
                                  <a:pt x="310" y="22"/>
                                </a:cubicBezTo>
                                <a:cubicBezTo>
                                  <a:pt x="306" y="18"/>
                                  <a:pt x="303" y="14"/>
                                  <a:pt x="297" y="10"/>
                                </a:cubicBezTo>
                                <a:cubicBezTo>
                                  <a:pt x="291" y="5"/>
                                  <a:pt x="283" y="3"/>
                                  <a:pt x="276" y="1"/>
                                </a:cubicBezTo>
                                <a:cubicBezTo>
                                  <a:pt x="268" y="0"/>
                                  <a:pt x="260" y="0"/>
                                  <a:pt x="254" y="0"/>
                                </a:cubicBezTo>
                                <a:cubicBezTo>
                                  <a:pt x="246" y="0"/>
                                  <a:pt x="244" y="1"/>
                                  <a:pt x="237" y="4"/>
                                </a:cubicBezTo>
                                <a:cubicBezTo>
                                  <a:pt x="235" y="4"/>
                                  <a:pt x="232" y="6"/>
                                  <a:pt x="230" y="7"/>
                                </a:cubicBezTo>
                                <a:cubicBezTo>
                                  <a:pt x="220" y="11"/>
                                  <a:pt x="219" y="11"/>
                                  <a:pt x="217" y="12"/>
                                </a:cubicBezTo>
                                <a:cubicBezTo>
                                  <a:pt x="213" y="13"/>
                                  <a:pt x="211" y="15"/>
                                  <a:pt x="208" y="16"/>
                                </a:cubicBezTo>
                                <a:cubicBezTo>
                                  <a:pt x="208" y="20"/>
                                  <a:pt x="207" y="24"/>
                                  <a:pt x="210" y="29"/>
                                </a:cubicBezTo>
                                <a:cubicBezTo>
                                  <a:pt x="214" y="38"/>
                                  <a:pt x="211" y="45"/>
                                  <a:pt x="212" y="51"/>
                                </a:cubicBezTo>
                                <a:cubicBezTo>
                                  <a:pt x="213" y="56"/>
                                  <a:pt x="208" y="63"/>
                                  <a:pt x="202" y="69"/>
                                </a:cubicBezTo>
                                <a:cubicBezTo>
                                  <a:pt x="196" y="74"/>
                                  <a:pt x="193" y="83"/>
                                  <a:pt x="186" y="86"/>
                                </a:cubicBezTo>
                                <a:cubicBezTo>
                                  <a:pt x="178" y="88"/>
                                  <a:pt x="168" y="90"/>
                                  <a:pt x="162" y="88"/>
                                </a:cubicBezTo>
                                <a:cubicBezTo>
                                  <a:pt x="156" y="85"/>
                                  <a:pt x="147" y="80"/>
                                  <a:pt x="143" y="70"/>
                                </a:cubicBezTo>
                                <a:cubicBezTo>
                                  <a:pt x="139" y="60"/>
                                  <a:pt x="135" y="56"/>
                                  <a:pt x="127" y="51"/>
                                </a:cubicBezTo>
                                <a:cubicBezTo>
                                  <a:pt x="119" y="47"/>
                                  <a:pt x="115" y="45"/>
                                  <a:pt x="108" y="37"/>
                                </a:cubicBezTo>
                                <a:cubicBezTo>
                                  <a:pt x="100" y="29"/>
                                  <a:pt x="93" y="28"/>
                                  <a:pt x="83" y="29"/>
                                </a:cubicBezTo>
                                <a:cubicBezTo>
                                  <a:pt x="72" y="29"/>
                                  <a:pt x="63" y="30"/>
                                  <a:pt x="55" y="34"/>
                                </a:cubicBezTo>
                                <a:cubicBezTo>
                                  <a:pt x="47" y="37"/>
                                  <a:pt x="40" y="40"/>
                                  <a:pt x="36" y="48"/>
                                </a:cubicBezTo>
                                <a:cubicBezTo>
                                  <a:pt x="32" y="55"/>
                                  <a:pt x="29" y="62"/>
                                  <a:pt x="29" y="70"/>
                                </a:cubicBezTo>
                                <a:cubicBezTo>
                                  <a:pt x="29" y="78"/>
                                  <a:pt x="32" y="87"/>
                                  <a:pt x="22" y="92"/>
                                </a:cubicBezTo>
                                <a:cubicBezTo>
                                  <a:pt x="11" y="97"/>
                                  <a:pt x="5" y="109"/>
                                  <a:pt x="5" y="114"/>
                                </a:cubicBezTo>
                                <a:cubicBezTo>
                                  <a:pt x="5" y="119"/>
                                  <a:pt x="4" y="131"/>
                                  <a:pt x="3" y="140"/>
                                </a:cubicBezTo>
                                <a:cubicBezTo>
                                  <a:pt x="1" y="149"/>
                                  <a:pt x="0" y="159"/>
                                  <a:pt x="1" y="167"/>
                                </a:cubicBezTo>
                                <a:cubicBezTo>
                                  <a:pt x="6" y="165"/>
                                  <a:pt x="12" y="162"/>
                                  <a:pt x="19" y="159"/>
                                </a:cubicBezTo>
                                <a:cubicBezTo>
                                  <a:pt x="31" y="154"/>
                                  <a:pt x="43" y="148"/>
                                  <a:pt x="52" y="144"/>
                                </a:cubicBezTo>
                                <a:cubicBezTo>
                                  <a:pt x="68" y="138"/>
                                  <a:pt x="81" y="140"/>
                                  <a:pt x="91" y="141"/>
                                </a:cubicBezTo>
                                <a:cubicBezTo>
                                  <a:pt x="94" y="142"/>
                                  <a:pt x="96" y="142"/>
                                  <a:pt x="98" y="142"/>
                                </a:cubicBezTo>
                                <a:cubicBezTo>
                                  <a:pt x="101" y="142"/>
                                  <a:pt x="104" y="142"/>
                                  <a:pt x="106" y="141"/>
                                </a:cubicBezTo>
                                <a:cubicBezTo>
                                  <a:pt x="110" y="140"/>
                                  <a:pt x="113" y="139"/>
                                  <a:pt x="120" y="140"/>
                                </a:cubicBezTo>
                                <a:cubicBezTo>
                                  <a:pt x="124" y="141"/>
                                  <a:pt x="126" y="142"/>
                                  <a:pt x="128" y="142"/>
                                </a:cubicBezTo>
                                <a:cubicBezTo>
                                  <a:pt x="132" y="143"/>
                                  <a:pt x="134" y="143"/>
                                  <a:pt x="145" y="143"/>
                                </a:cubicBezTo>
                                <a:cubicBezTo>
                                  <a:pt x="151" y="143"/>
                                  <a:pt x="155" y="143"/>
                                  <a:pt x="159" y="143"/>
                                </a:cubicBezTo>
                                <a:cubicBezTo>
                                  <a:pt x="164" y="142"/>
                                  <a:pt x="169" y="141"/>
                                  <a:pt x="177" y="143"/>
                                </a:cubicBezTo>
                                <a:cubicBezTo>
                                  <a:pt x="181" y="144"/>
                                  <a:pt x="184" y="145"/>
                                  <a:pt x="187" y="146"/>
                                </a:cubicBezTo>
                                <a:cubicBezTo>
                                  <a:pt x="192" y="148"/>
                                  <a:pt x="195" y="149"/>
                                  <a:pt x="202" y="149"/>
                                </a:cubicBezTo>
                                <a:cubicBezTo>
                                  <a:pt x="206" y="149"/>
                                  <a:pt x="210" y="148"/>
                                  <a:pt x="214" y="147"/>
                                </a:cubicBezTo>
                                <a:cubicBezTo>
                                  <a:pt x="220" y="145"/>
                                  <a:pt x="225" y="142"/>
                                  <a:pt x="228" y="140"/>
                                </a:cubicBezTo>
                                <a:cubicBezTo>
                                  <a:pt x="228" y="140"/>
                                  <a:pt x="228" y="140"/>
                                  <a:pt x="228" y="140"/>
                                </a:cubicBezTo>
                                <a:cubicBezTo>
                                  <a:pt x="228" y="140"/>
                                  <a:pt x="228" y="140"/>
                                  <a:pt x="228" y="140"/>
                                </a:cubicBezTo>
                                <a:cubicBezTo>
                                  <a:pt x="228" y="140"/>
                                  <a:pt x="228" y="140"/>
                                  <a:pt x="228" y="140"/>
                                </a:cubicBezTo>
                                <a:cubicBezTo>
                                  <a:pt x="231" y="138"/>
                                  <a:pt x="236" y="138"/>
                                  <a:pt x="240" y="139"/>
                                </a:cubicBezTo>
                                <a:cubicBezTo>
                                  <a:pt x="245" y="139"/>
                                  <a:pt x="250" y="142"/>
                                  <a:pt x="252" y="147"/>
                                </a:cubicBezTo>
                                <a:cubicBezTo>
                                  <a:pt x="252" y="147"/>
                                  <a:pt x="252" y="147"/>
                                  <a:pt x="252" y="147"/>
                                </a:cubicBezTo>
                                <a:cubicBezTo>
                                  <a:pt x="252" y="147"/>
                                  <a:pt x="252" y="147"/>
                                  <a:pt x="252" y="147"/>
                                </a:cubicBezTo>
                                <a:cubicBezTo>
                                  <a:pt x="254" y="150"/>
                                  <a:pt x="256" y="152"/>
                                  <a:pt x="260" y="153"/>
                                </a:cubicBezTo>
                                <a:cubicBezTo>
                                  <a:pt x="263" y="155"/>
                                  <a:pt x="268" y="156"/>
                                  <a:pt x="274" y="157"/>
                                </a:cubicBezTo>
                                <a:cubicBezTo>
                                  <a:pt x="276" y="157"/>
                                  <a:pt x="278" y="157"/>
                                  <a:pt x="280" y="157"/>
                                </a:cubicBezTo>
                                <a:cubicBezTo>
                                  <a:pt x="289" y="158"/>
                                  <a:pt x="292" y="159"/>
                                  <a:pt x="301" y="165"/>
                                </a:cubicBezTo>
                                <a:cubicBezTo>
                                  <a:pt x="307" y="170"/>
                                  <a:pt x="321" y="181"/>
                                  <a:pt x="330" y="189"/>
                                </a:cubicBezTo>
                                <a:cubicBezTo>
                                  <a:pt x="334" y="191"/>
                                  <a:pt x="337" y="194"/>
                                  <a:pt x="338" y="195"/>
                                </a:cubicBezTo>
                                <a:cubicBezTo>
                                  <a:pt x="342" y="198"/>
                                  <a:pt x="349" y="203"/>
                                  <a:pt x="352" y="205"/>
                                </a:cubicBezTo>
                                <a:cubicBezTo>
                                  <a:pt x="352" y="204"/>
                                  <a:pt x="352" y="204"/>
                                  <a:pt x="352" y="204"/>
                                </a:cubicBezTo>
                                <a:cubicBezTo>
                                  <a:pt x="354" y="202"/>
                                  <a:pt x="356" y="201"/>
                                  <a:pt x="357" y="199"/>
                                </a:cubicBezTo>
                                <a:cubicBezTo>
                                  <a:pt x="361" y="194"/>
                                  <a:pt x="364" y="190"/>
                                  <a:pt x="377" y="190"/>
                                </a:cubicBezTo>
                                <a:cubicBezTo>
                                  <a:pt x="379" y="190"/>
                                  <a:pt x="381" y="190"/>
                                  <a:pt x="383" y="190"/>
                                </a:cubicBezTo>
                                <a:cubicBezTo>
                                  <a:pt x="395" y="190"/>
                                  <a:pt x="405" y="189"/>
                                  <a:pt x="408" y="186"/>
                                </a:cubicBezTo>
                                <a:cubicBezTo>
                                  <a:pt x="409" y="184"/>
                                  <a:pt x="409" y="183"/>
                                  <a:pt x="410" y="182"/>
                                </a:cubicBezTo>
                                <a:cubicBezTo>
                                  <a:pt x="412" y="178"/>
                                  <a:pt x="413" y="175"/>
                                  <a:pt x="422" y="170"/>
                                </a:cubicBezTo>
                                <a:cubicBezTo>
                                  <a:pt x="436" y="163"/>
                                  <a:pt x="442" y="160"/>
                                  <a:pt x="444" y="159"/>
                                </a:cubicBezTo>
                                <a:cubicBezTo>
                                  <a:pt x="444" y="158"/>
                                  <a:pt x="444" y="158"/>
                                  <a:pt x="444" y="158"/>
                                </a:cubicBezTo>
                                <a:cubicBezTo>
                                  <a:pt x="442" y="153"/>
                                  <a:pt x="441" y="148"/>
                                  <a:pt x="440" y="143"/>
                                </a:cubicBezTo>
                                <a:cubicBezTo>
                                  <a:pt x="439" y="139"/>
                                  <a:pt x="439" y="135"/>
                                  <a:pt x="438" y="131"/>
                                </a:cubicBezTo>
                                <a:cubicBezTo>
                                  <a:pt x="437" y="128"/>
                                  <a:pt x="436" y="126"/>
                                  <a:pt x="436" y="124"/>
                                </a:cubicBezTo>
                                <a:cubicBezTo>
                                  <a:pt x="436" y="124"/>
                                  <a:pt x="436" y="124"/>
                                  <a:pt x="436" y="124"/>
                                </a:cubicBezTo>
                                <a:cubicBezTo>
                                  <a:pt x="435" y="120"/>
                                  <a:pt x="434" y="118"/>
                                  <a:pt x="431" y="114"/>
                                </a:cubicBezTo>
                                <a:cubicBezTo>
                                  <a:pt x="428" y="109"/>
                                  <a:pt x="425" y="107"/>
                                  <a:pt x="422" y="105"/>
                                </a:cubicBezTo>
                                <a:cubicBezTo>
                                  <a:pt x="421" y="104"/>
                                  <a:pt x="419" y="103"/>
                                  <a:pt x="417" y="102"/>
                                </a:cubicBezTo>
                                <a:cubicBezTo>
                                  <a:pt x="412" y="98"/>
                                  <a:pt x="413" y="94"/>
                                  <a:pt x="414" y="89"/>
                                </a:cubicBezTo>
                                <a:cubicBezTo>
                                  <a:pt x="414" y="87"/>
                                  <a:pt x="415" y="85"/>
                                  <a:pt x="415" y="82"/>
                                </a:cubicBezTo>
                                <a:cubicBezTo>
                                  <a:pt x="415" y="75"/>
                                  <a:pt x="418" y="70"/>
                                  <a:pt x="420" y="67"/>
                                </a:cubicBezTo>
                                <a:cubicBezTo>
                                  <a:pt x="420" y="67"/>
                                  <a:pt x="420" y="67"/>
                                  <a:pt x="421" y="67"/>
                                </a:cubicBezTo>
                                <a:cubicBezTo>
                                  <a:pt x="421" y="66"/>
                                  <a:pt x="421" y="65"/>
                                  <a:pt x="420" y="63"/>
                                </a:cubicBezTo>
                                <a:cubicBezTo>
                                  <a:pt x="420" y="62"/>
                                  <a:pt x="419" y="60"/>
                                  <a:pt x="418" y="60"/>
                                </a:cubicBezTo>
                                <a:cubicBezTo>
                                  <a:pt x="417" y="59"/>
                                  <a:pt x="416" y="59"/>
                                  <a:pt x="415" y="58"/>
                                </a:cubicBezTo>
                                <a:cubicBezTo>
                                  <a:pt x="415" y="58"/>
                                  <a:pt x="415" y="58"/>
                                  <a:pt x="415" y="58"/>
                                </a:cubicBezTo>
                                <a:cubicBezTo>
                                  <a:pt x="409" y="55"/>
                                  <a:pt x="403" y="51"/>
                                  <a:pt x="399" y="44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74" name="Freeform 415"/>
                          <p:cNvSpPr>
                            <a:spLocks noEditPoints="1"/>
                          </p:cNvSpPr>
                          <p:nvPr/>
                        </p:nvSpPr>
                        <p:spPr bwMode="auto">
                          <a:xfrm>
                            <a:off x="4276838" y="3653525"/>
                            <a:ext cx="228600" cy="195263"/>
                          </a:xfrm>
                          <a:custGeom>
                            <a:avLst/>
                            <a:gdLst>
                              <a:gd name="T0" fmla="*/ 399 w 797"/>
                              <a:gd name="T1" fmla="*/ 72 h 680"/>
                              <a:gd name="T2" fmla="*/ 314 w 797"/>
                              <a:gd name="T3" fmla="*/ 113 h 680"/>
                              <a:gd name="T4" fmla="*/ 314 w 797"/>
                              <a:gd name="T5" fmla="*/ 140 h 680"/>
                              <a:gd name="T6" fmla="*/ 225 w 797"/>
                              <a:gd name="T7" fmla="*/ 136 h 680"/>
                              <a:gd name="T8" fmla="*/ 181 w 797"/>
                              <a:gd name="T9" fmla="*/ 109 h 680"/>
                              <a:gd name="T10" fmla="*/ 204 w 797"/>
                              <a:gd name="T11" fmla="*/ 177 h 680"/>
                              <a:gd name="T12" fmla="*/ 186 w 797"/>
                              <a:gd name="T13" fmla="*/ 191 h 680"/>
                              <a:gd name="T14" fmla="*/ 154 w 797"/>
                              <a:gd name="T15" fmla="*/ 203 h 680"/>
                              <a:gd name="T16" fmla="*/ 100 w 797"/>
                              <a:gd name="T17" fmla="*/ 182 h 680"/>
                              <a:gd name="T18" fmla="*/ 5 w 797"/>
                              <a:gd name="T19" fmla="*/ 219 h 680"/>
                              <a:gd name="T20" fmla="*/ 29 w 797"/>
                              <a:gd name="T21" fmla="*/ 226 h 680"/>
                              <a:gd name="T22" fmla="*/ 31 w 797"/>
                              <a:gd name="T23" fmla="*/ 264 h 680"/>
                              <a:gd name="T24" fmla="*/ 85 w 797"/>
                              <a:gd name="T25" fmla="*/ 271 h 680"/>
                              <a:gd name="T26" fmla="*/ 143 w 797"/>
                              <a:gd name="T27" fmla="*/ 288 h 680"/>
                              <a:gd name="T28" fmla="*/ 186 w 797"/>
                              <a:gd name="T29" fmla="*/ 304 h 680"/>
                              <a:gd name="T30" fmla="*/ 171 w 797"/>
                              <a:gd name="T31" fmla="*/ 320 h 680"/>
                              <a:gd name="T32" fmla="*/ 187 w 797"/>
                              <a:gd name="T33" fmla="*/ 360 h 680"/>
                              <a:gd name="T34" fmla="*/ 229 w 797"/>
                              <a:gd name="T35" fmla="*/ 404 h 680"/>
                              <a:gd name="T36" fmla="*/ 251 w 797"/>
                              <a:gd name="T37" fmla="*/ 447 h 680"/>
                              <a:gd name="T38" fmla="*/ 243 w 797"/>
                              <a:gd name="T39" fmla="*/ 449 h 680"/>
                              <a:gd name="T40" fmla="*/ 232 w 797"/>
                              <a:gd name="T41" fmla="*/ 504 h 680"/>
                              <a:gd name="T42" fmla="*/ 207 w 797"/>
                              <a:gd name="T43" fmla="*/ 584 h 680"/>
                              <a:gd name="T44" fmla="*/ 222 w 797"/>
                              <a:gd name="T45" fmla="*/ 627 h 680"/>
                              <a:gd name="T46" fmla="*/ 280 w 797"/>
                              <a:gd name="T47" fmla="*/ 642 h 680"/>
                              <a:gd name="T48" fmla="*/ 334 w 797"/>
                              <a:gd name="T49" fmla="*/ 651 h 680"/>
                              <a:gd name="T50" fmla="*/ 354 w 797"/>
                              <a:gd name="T51" fmla="*/ 645 h 680"/>
                              <a:gd name="T52" fmla="*/ 415 w 797"/>
                              <a:gd name="T53" fmla="*/ 664 h 680"/>
                              <a:gd name="T54" fmla="*/ 495 w 797"/>
                              <a:gd name="T55" fmla="*/ 663 h 680"/>
                              <a:gd name="T56" fmla="*/ 519 w 797"/>
                              <a:gd name="T57" fmla="*/ 608 h 680"/>
                              <a:gd name="T58" fmla="*/ 583 w 797"/>
                              <a:gd name="T59" fmla="*/ 596 h 680"/>
                              <a:gd name="T60" fmla="*/ 629 w 797"/>
                              <a:gd name="T61" fmla="*/ 611 h 680"/>
                              <a:gd name="T62" fmla="*/ 692 w 797"/>
                              <a:gd name="T63" fmla="*/ 623 h 680"/>
                              <a:gd name="T64" fmla="*/ 758 w 797"/>
                              <a:gd name="T65" fmla="*/ 580 h 680"/>
                              <a:gd name="T66" fmla="*/ 732 w 797"/>
                              <a:gd name="T67" fmla="*/ 536 h 680"/>
                              <a:gd name="T68" fmla="*/ 723 w 797"/>
                              <a:gd name="T69" fmla="*/ 491 h 680"/>
                              <a:gd name="T70" fmla="*/ 729 w 797"/>
                              <a:gd name="T71" fmla="*/ 462 h 680"/>
                              <a:gd name="T72" fmla="*/ 735 w 797"/>
                              <a:gd name="T73" fmla="*/ 451 h 680"/>
                              <a:gd name="T74" fmla="*/ 726 w 797"/>
                              <a:gd name="T75" fmla="*/ 413 h 680"/>
                              <a:gd name="T76" fmla="*/ 720 w 797"/>
                              <a:gd name="T77" fmla="*/ 384 h 680"/>
                              <a:gd name="T78" fmla="*/ 694 w 797"/>
                              <a:gd name="T79" fmla="*/ 382 h 680"/>
                              <a:gd name="T80" fmla="*/ 686 w 797"/>
                              <a:gd name="T81" fmla="*/ 344 h 680"/>
                              <a:gd name="T82" fmla="*/ 726 w 797"/>
                              <a:gd name="T83" fmla="*/ 302 h 680"/>
                              <a:gd name="T84" fmla="*/ 763 w 797"/>
                              <a:gd name="T85" fmla="*/ 284 h 680"/>
                              <a:gd name="T86" fmla="*/ 764 w 797"/>
                              <a:gd name="T87" fmla="*/ 245 h 680"/>
                              <a:gd name="T88" fmla="*/ 797 w 797"/>
                              <a:gd name="T89" fmla="*/ 177 h 680"/>
                              <a:gd name="T90" fmla="*/ 756 w 797"/>
                              <a:gd name="T91" fmla="*/ 163 h 680"/>
                              <a:gd name="T92" fmla="*/ 692 w 797"/>
                              <a:gd name="T93" fmla="*/ 138 h 680"/>
                              <a:gd name="T94" fmla="*/ 663 w 797"/>
                              <a:gd name="T95" fmla="*/ 135 h 680"/>
                              <a:gd name="T96" fmla="*/ 602 w 797"/>
                              <a:gd name="T97" fmla="*/ 104 h 680"/>
                              <a:gd name="T98" fmla="*/ 573 w 797"/>
                              <a:gd name="T99" fmla="*/ 95 h 680"/>
                              <a:gd name="T100" fmla="*/ 549 w 797"/>
                              <a:gd name="T101" fmla="*/ 67 h 680"/>
                              <a:gd name="T102" fmla="*/ 519 w 797"/>
                              <a:gd name="T103" fmla="*/ 52 h 680"/>
                              <a:gd name="T104" fmla="*/ 494 w 797"/>
                              <a:gd name="T105" fmla="*/ 31 h 680"/>
                              <a:gd name="T106" fmla="*/ 456 w 797"/>
                              <a:gd name="T107" fmla="*/ 0 h 680"/>
                              <a:gd name="T108" fmla="*/ 176 w 797"/>
                              <a:gd name="T109" fmla="*/ 157 h 680"/>
                              <a:gd name="T110" fmla="*/ 151 w 797"/>
                              <a:gd name="T111" fmla="*/ 130 h 680"/>
                              <a:gd name="T112" fmla="*/ 207 w 797"/>
                              <a:gd name="T113" fmla="*/ 390 h 680"/>
                              <a:gd name="T114" fmla="*/ 207 w 797"/>
                              <a:gd name="T115" fmla="*/ 390 h 680"/>
                              <a:gd name="T116" fmla="*/ 160 w 797"/>
                              <a:gd name="T117" fmla="*/ 353 h 680"/>
                              <a:gd name="T118" fmla="*/ 103 w 797"/>
                              <a:gd name="T119" fmla="*/ 308 h 680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  <a:cxn ang="0">
                                <a:pos x="T118" y="T119"/>
                              </a:cxn>
                            </a:cxnLst>
                            <a:rect l="0" t="0" r="r" b="b"/>
                            <a:pathLst>
                              <a:path w="797" h="680">
                                <a:moveTo>
                                  <a:pt x="396" y="20"/>
                                </a:moveTo>
                                <a:cubicBezTo>
                                  <a:pt x="396" y="25"/>
                                  <a:pt x="395" y="32"/>
                                  <a:pt x="396" y="43"/>
                                </a:cubicBezTo>
                                <a:cubicBezTo>
                                  <a:pt x="397" y="54"/>
                                  <a:pt x="394" y="59"/>
                                  <a:pt x="396" y="63"/>
                                </a:cubicBezTo>
                                <a:cubicBezTo>
                                  <a:pt x="398" y="67"/>
                                  <a:pt x="399" y="67"/>
                                  <a:pt x="399" y="72"/>
                                </a:cubicBezTo>
                                <a:cubicBezTo>
                                  <a:pt x="400" y="78"/>
                                  <a:pt x="398" y="84"/>
                                  <a:pt x="385" y="86"/>
                                </a:cubicBezTo>
                                <a:cubicBezTo>
                                  <a:pt x="371" y="87"/>
                                  <a:pt x="359" y="91"/>
                                  <a:pt x="355" y="94"/>
                                </a:cubicBezTo>
                                <a:cubicBezTo>
                                  <a:pt x="351" y="97"/>
                                  <a:pt x="346" y="100"/>
                                  <a:pt x="337" y="102"/>
                                </a:cubicBezTo>
                                <a:cubicBezTo>
                                  <a:pt x="329" y="105"/>
                                  <a:pt x="317" y="110"/>
                                  <a:pt x="314" y="113"/>
                                </a:cubicBezTo>
                                <a:cubicBezTo>
                                  <a:pt x="311" y="117"/>
                                  <a:pt x="305" y="120"/>
                                  <a:pt x="307" y="124"/>
                                </a:cubicBezTo>
                                <a:cubicBezTo>
                                  <a:pt x="308" y="127"/>
                                  <a:pt x="313" y="129"/>
                                  <a:pt x="318" y="129"/>
                                </a:cubicBezTo>
                                <a:cubicBezTo>
                                  <a:pt x="324" y="129"/>
                                  <a:pt x="326" y="128"/>
                                  <a:pt x="326" y="131"/>
                                </a:cubicBezTo>
                                <a:cubicBezTo>
                                  <a:pt x="325" y="135"/>
                                  <a:pt x="320" y="137"/>
                                  <a:pt x="314" y="140"/>
                                </a:cubicBezTo>
                                <a:cubicBezTo>
                                  <a:pt x="308" y="142"/>
                                  <a:pt x="300" y="142"/>
                                  <a:pt x="294" y="145"/>
                                </a:cubicBezTo>
                                <a:cubicBezTo>
                                  <a:pt x="288" y="148"/>
                                  <a:pt x="279" y="143"/>
                                  <a:pt x="268" y="143"/>
                                </a:cubicBezTo>
                                <a:cubicBezTo>
                                  <a:pt x="256" y="143"/>
                                  <a:pt x="244" y="144"/>
                                  <a:pt x="238" y="144"/>
                                </a:cubicBezTo>
                                <a:cubicBezTo>
                                  <a:pt x="233" y="143"/>
                                  <a:pt x="229" y="141"/>
                                  <a:pt x="225" y="136"/>
                                </a:cubicBezTo>
                                <a:cubicBezTo>
                                  <a:pt x="220" y="131"/>
                                  <a:pt x="217" y="131"/>
                                  <a:pt x="218" y="124"/>
                                </a:cubicBezTo>
                                <a:cubicBezTo>
                                  <a:pt x="218" y="117"/>
                                  <a:pt x="219" y="113"/>
                                  <a:pt x="213" y="113"/>
                                </a:cubicBezTo>
                                <a:cubicBezTo>
                                  <a:pt x="208" y="113"/>
                                  <a:pt x="208" y="116"/>
                                  <a:pt x="201" y="115"/>
                                </a:cubicBezTo>
                                <a:cubicBezTo>
                                  <a:pt x="195" y="114"/>
                                  <a:pt x="184" y="104"/>
                                  <a:pt x="181" y="109"/>
                                </a:cubicBezTo>
                                <a:cubicBezTo>
                                  <a:pt x="178" y="113"/>
                                  <a:pt x="180" y="109"/>
                                  <a:pt x="183" y="120"/>
                                </a:cubicBezTo>
                                <a:cubicBezTo>
                                  <a:pt x="186" y="131"/>
                                  <a:pt x="191" y="137"/>
                                  <a:pt x="195" y="145"/>
                                </a:cubicBezTo>
                                <a:cubicBezTo>
                                  <a:pt x="200" y="154"/>
                                  <a:pt x="204" y="152"/>
                                  <a:pt x="205" y="158"/>
                                </a:cubicBezTo>
                                <a:cubicBezTo>
                                  <a:pt x="205" y="165"/>
                                  <a:pt x="203" y="171"/>
                                  <a:pt x="204" y="177"/>
                                </a:cubicBezTo>
                                <a:cubicBezTo>
                                  <a:pt x="205" y="182"/>
                                  <a:pt x="205" y="182"/>
                                  <a:pt x="208" y="187"/>
                                </a:cubicBezTo>
                                <a:cubicBezTo>
                                  <a:pt x="211" y="192"/>
                                  <a:pt x="214" y="193"/>
                                  <a:pt x="214" y="197"/>
                                </a:cubicBezTo>
                                <a:cubicBezTo>
                                  <a:pt x="214" y="200"/>
                                  <a:pt x="208" y="200"/>
                                  <a:pt x="205" y="197"/>
                                </a:cubicBezTo>
                                <a:cubicBezTo>
                                  <a:pt x="201" y="195"/>
                                  <a:pt x="191" y="191"/>
                                  <a:pt x="186" y="191"/>
                                </a:cubicBezTo>
                                <a:cubicBezTo>
                                  <a:pt x="180" y="192"/>
                                  <a:pt x="179" y="200"/>
                                  <a:pt x="179" y="204"/>
                                </a:cubicBezTo>
                                <a:cubicBezTo>
                                  <a:pt x="180" y="207"/>
                                  <a:pt x="178" y="210"/>
                                  <a:pt x="176" y="210"/>
                                </a:cubicBezTo>
                                <a:cubicBezTo>
                                  <a:pt x="174" y="209"/>
                                  <a:pt x="175" y="201"/>
                                  <a:pt x="168" y="201"/>
                                </a:cubicBezTo>
                                <a:cubicBezTo>
                                  <a:pt x="162" y="201"/>
                                  <a:pt x="160" y="201"/>
                                  <a:pt x="154" y="203"/>
                                </a:cubicBezTo>
                                <a:cubicBezTo>
                                  <a:pt x="148" y="204"/>
                                  <a:pt x="145" y="212"/>
                                  <a:pt x="139" y="210"/>
                                </a:cubicBezTo>
                                <a:cubicBezTo>
                                  <a:pt x="134" y="209"/>
                                  <a:pt x="131" y="209"/>
                                  <a:pt x="130" y="203"/>
                                </a:cubicBezTo>
                                <a:cubicBezTo>
                                  <a:pt x="129" y="197"/>
                                  <a:pt x="116" y="189"/>
                                  <a:pt x="113" y="186"/>
                                </a:cubicBezTo>
                                <a:cubicBezTo>
                                  <a:pt x="109" y="183"/>
                                  <a:pt x="103" y="180"/>
                                  <a:pt x="100" y="182"/>
                                </a:cubicBezTo>
                                <a:cubicBezTo>
                                  <a:pt x="96" y="184"/>
                                  <a:pt x="85" y="190"/>
                                  <a:pt x="77" y="193"/>
                                </a:cubicBezTo>
                                <a:cubicBezTo>
                                  <a:pt x="69" y="195"/>
                                  <a:pt x="52" y="196"/>
                                  <a:pt x="41" y="198"/>
                                </a:cubicBezTo>
                                <a:cubicBezTo>
                                  <a:pt x="29" y="201"/>
                                  <a:pt x="11" y="207"/>
                                  <a:pt x="6" y="208"/>
                                </a:cubicBezTo>
                                <a:cubicBezTo>
                                  <a:pt x="0" y="209"/>
                                  <a:pt x="2" y="218"/>
                                  <a:pt x="5" y="219"/>
                                </a:cubicBezTo>
                                <a:cubicBezTo>
                                  <a:pt x="8" y="220"/>
                                  <a:pt x="10" y="222"/>
                                  <a:pt x="14" y="219"/>
                                </a:cubicBezTo>
                                <a:cubicBezTo>
                                  <a:pt x="18" y="216"/>
                                  <a:pt x="20" y="213"/>
                                  <a:pt x="24" y="213"/>
                                </a:cubicBezTo>
                                <a:cubicBezTo>
                                  <a:pt x="28" y="213"/>
                                  <a:pt x="32" y="213"/>
                                  <a:pt x="32" y="217"/>
                                </a:cubicBezTo>
                                <a:cubicBezTo>
                                  <a:pt x="33" y="221"/>
                                  <a:pt x="29" y="219"/>
                                  <a:pt x="29" y="226"/>
                                </a:cubicBezTo>
                                <a:cubicBezTo>
                                  <a:pt x="29" y="233"/>
                                  <a:pt x="32" y="237"/>
                                  <a:pt x="29" y="240"/>
                                </a:cubicBezTo>
                                <a:cubicBezTo>
                                  <a:pt x="26" y="242"/>
                                  <a:pt x="15" y="240"/>
                                  <a:pt x="14" y="244"/>
                                </a:cubicBezTo>
                                <a:cubicBezTo>
                                  <a:pt x="12" y="248"/>
                                  <a:pt x="13" y="250"/>
                                  <a:pt x="18" y="254"/>
                                </a:cubicBezTo>
                                <a:cubicBezTo>
                                  <a:pt x="22" y="258"/>
                                  <a:pt x="25" y="266"/>
                                  <a:pt x="31" y="264"/>
                                </a:cubicBezTo>
                                <a:cubicBezTo>
                                  <a:pt x="36" y="261"/>
                                  <a:pt x="36" y="254"/>
                                  <a:pt x="42" y="254"/>
                                </a:cubicBezTo>
                                <a:cubicBezTo>
                                  <a:pt x="47" y="254"/>
                                  <a:pt x="56" y="259"/>
                                  <a:pt x="60" y="261"/>
                                </a:cubicBezTo>
                                <a:cubicBezTo>
                                  <a:pt x="64" y="262"/>
                                  <a:pt x="69" y="260"/>
                                  <a:pt x="74" y="263"/>
                                </a:cubicBezTo>
                                <a:cubicBezTo>
                                  <a:pt x="79" y="265"/>
                                  <a:pt x="82" y="269"/>
                                  <a:pt x="85" y="271"/>
                                </a:cubicBezTo>
                                <a:cubicBezTo>
                                  <a:pt x="88" y="274"/>
                                  <a:pt x="92" y="281"/>
                                  <a:pt x="97" y="283"/>
                                </a:cubicBezTo>
                                <a:cubicBezTo>
                                  <a:pt x="101" y="284"/>
                                  <a:pt x="106" y="276"/>
                                  <a:pt x="108" y="276"/>
                                </a:cubicBezTo>
                                <a:cubicBezTo>
                                  <a:pt x="111" y="276"/>
                                  <a:pt x="120" y="274"/>
                                  <a:pt x="126" y="278"/>
                                </a:cubicBezTo>
                                <a:cubicBezTo>
                                  <a:pt x="131" y="283"/>
                                  <a:pt x="140" y="285"/>
                                  <a:pt x="143" y="288"/>
                                </a:cubicBezTo>
                                <a:cubicBezTo>
                                  <a:pt x="145" y="291"/>
                                  <a:pt x="145" y="297"/>
                                  <a:pt x="149" y="298"/>
                                </a:cubicBezTo>
                                <a:cubicBezTo>
                                  <a:pt x="152" y="300"/>
                                  <a:pt x="154" y="300"/>
                                  <a:pt x="160" y="299"/>
                                </a:cubicBezTo>
                                <a:cubicBezTo>
                                  <a:pt x="166" y="299"/>
                                  <a:pt x="168" y="297"/>
                                  <a:pt x="174" y="298"/>
                                </a:cubicBezTo>
                                <a:cubicBezTo>
                                  <a:pt x="180" y="299"/>
                                  <a:pt x="183" y="301"/>
                                  <a:pt x="186" y="304"/>
                                </a:cubicBezTo>
                                <a:cubicBezTo>
                                  <a:pt x="188" y="307"/>
                                  <a:pt x="192" y="310"/>
                                  <a:pt x="191" y="312"/>
                                </a:cubicBezTo>
                                <a:cubicBezTo>
                                  <a:pt x="189" y="314"/>
                                  <a:pt x="184" y="312"/>
                                  <a:pt x="179" y="312"/>
                                </a:cubicBezTo>
                                <a:cubicBezTo>
                                  <a:pt x="173" y="311"/>
                                  <a:pt x="166" y="309"/>
                                  <a:pt x="166" y="312"/>
                                </a:cubicBezTo>
                                <a:cubicBezTo>
                                  <a:pt x="166" y="315"/>
                                  <a:pt x="167" y="318"/>
                                  <a:pt x="171" y="320"/>
                                </a:cubicBezTo>
                                <a:cubicBezTo>
                                  <a:pt x="174" y="321"/>
                                  <a:pt x="179" y="322"/>
                                  <a:pt x="179" y="325"/>
                                </a:cubicBezTo>
                                <a:cubicBezTo>
                                  <a:pt x="179" y="328"/>
                                  <a:pt x="174" y="334"/>
                                  <a:pt x="172" y="336"/>
                                </a:cubicBezTo>
                                <a:cubicBezTo>
                                  <a:pt x="171" y="337"/>
                                  <a:pt x="168" y="342"/>
                                  <a:pt x="174" y="346"/>
                                </a:cubicBezTo>
                                <a:cubicBezTo>
                                  <a:pt x="181" y="350"/>
                                  <a:pt x="182" y="354"/>
                                  <a:pt x="187" y="360"/>
                                </a:cubicBezTo>
                                <a:cubicBezTo>
                                  <a:pt x="192" y="367"/>
                                  <a:pt x="199" y="369"/>
                                  <a:pt x="207" y="371"/>
                                </a:cubicBezTo>
                                <a:cubicBezTo>
                                  <a:pt x="215" y="373"/>
                                  <a:pt x="223" y="370"/>
                                  <a:pt x="226" y="376"/>
                                </a:cubicBezTo>
                                <a:cubicBezTo>
                                  <a:pt x="229" y="383"/>
                                  <a:pt x="228" y="384"/>
                                  <a:pt x="227" y="390"/>
                                </a:cubicBezTo>
                                <a:cubicBezTo>
                                  <a:pt x="226" y="396"/>
                                  <a:pt x="227" y="400"/>
                                  <a:pt x="229" y="404"/>
                                </a:cubicBezTo>
                                <a:cubicBezTo>
                                  <a:pt x="231" y="409"/>
                                  <a:pt x="232" y="412"/>
                                  <a:pt x="232" y="415"/>
                                </a:cubicBezTo>
                                <a:cubicBezTo>
                                  <a:pt x="232" y="418"/>
                                  <a:pt x="227" y="420"/>
                                  <a:pt x="228" y="423"/>
                                </a:cubicBezTo>
                                <a:cubicBezTo>
                                  <a:pt x="230" y="426"/>
                                  <a:pt x="233" y="430"/>
                                  <a:pt x="237" y="433"/>
                                </a:cubicBezTo>
                                <a:cubicBezTo>
                                  <a:pt x="242" y="436"/>
                                  <a:pt x="247" y="444"/>
                                  <a:pt x="251" y="447"/>
                                </a:cubicBezTo>
                                <a:cubicBezTo>
                                  <a:pt x="254" y="451"/>
                                  <a:pt x="261" y="461"/>
                                  <a:pt x="261" y="465"/>
                                </a:cubicBezTo>
                                <a:cubicBezTo>
                                  <a:pt x="262" y="470"/>
                                  <a:pt x="259" y="476"/>
                                  <a:pt x="258" y="475"/>
                                </a:cubicBezTo>
                                <a:cubicBezTo>
                                  <a:pt x="257" y="473"/>
                                  <a:pt x="257" y="464"/>
                                  <a:pt x="255" y="463"/>
                                </a:cubicBezTo>
                                <a:cubicBezTo>
                                  <a:pt x="254" y="461"/>
                                  <a:pt x="246" y="451"/>
                                  <a:pt x="243" y="449"/>
                                </a:cubicBezTo>
                                <a:cubicBezTo>
                                  <a:pt x="241" y="447"/>
                                  <a:pt x="233" y="441"/>
                                  <a:pt x="231" y="444"/>
                                </a:cubicBezTo>
                                <a:cubicBezTo>
                                  <a:pt x="230" y="446"/>
                                  <a:pt x="230" y="452"/>
                                  <a:pt x="233" y="458"/>
                                </a:cubicBezTo>
                                <a:cubicBezTo>
                                  <a:pt x="235" y="463"/>
                                  <a:pt x="236" y="476"/>
                                  <a:pt x="233" y="481"/>
                                </a:cubicBezTo>
                                <a:cubicBezTo>
                                  <a:pt x="231" y="487"/>
                                  <a:pt x="232" y="498"/>
                                  <a:pt x="232" y="504"/>
                                </a:cubicBezTo>
                                <a:cubicBezTo>
                                  <a:pt x="232" y="509"/>
                                  <a:pt x="224" y="515"/>
                                  <a:pt x="221" y="521"/>
                                </a:cubicBezTo>
                                <a:cubicBezTo>
                                  <a:pt x="218" y="526"/>
                                  <a:pt x="216" y="540"/>
                                  <a:pt x="216" y="547"/>
                                </a:cubicBezTo>
                                <a:cubicBezTo>
                                  <a:pt x="216" y="554"/>
                                  <a:pt x="214" y="557"/>
                                  <a:pt x="211" y="565"/>
                                </a:cubicBezTo>
                                <a:cubicBezTo>
                                  <a:pt x="208" y="574"/>
                                  <a:pt x="209" y="578"/>
                                  <a:pt x="207" y="584"/>
                                </a:cubicBezTo>
                                <a:cubicBezTo>
                                  <a:pt x="205" y="587"/>
                                  <a:pt x="201" y="592"/>
                                  <a:pt x="196" y="597"/>
                                </a:cubicBezTo>
                                <a:cubicBezTo>
                                  <a:pt x="200" y="598"/>
                                  <a:pt x="204" y="601"/>
                                  <a:pt x="208" y="607"/>
                                </a:cubicBezTo>
                                <a:cubicBezTo>
                                  <a:pt x="213" y="614"/>
                                  <a:pt x="214" y="618"/>
                                  <a:pt x="214" y="621"/>
                                </a:cubicBezTo>
                                <a:cubicBezTo>
                                  <a:pt x="215" y="623"/>
                                  <a:pt x="215" y="624"/>
                                  <a:pt x="222" y="627"/>
                                </a:cubicBezTo>
                                <a:cubicBezTo>
                                  <a:pt x="229" y="630"/>
                                  <a:pt x="234" y="630"/>
                                  <a:pt x="238" y="631"/>
                                </a:cubicBezTo>
                                <a:cubicBezTo>
                                  <a:pt x="243" y="631"/>
                                  <a:pt x="248" y="631"/>
                                  <a:pt x="253" y="635"/>
                                </a:cubicBezTo>
                                <a:cubicBezTo>
                                  <a:pt x="260" y="640"/>
                                  <a:pt x="267" y="641"/>
                                  <a:pt x="274" y="641"/>
                                </a:cubicBezTo>
                                <a:cubicBezTo>
                                  <a:pt x="276" y="641"/>
                                  <a:pt x="279" y="642"/>
                                  <a:pt x="280" y="642"/>
                                </a:cubicBezTo>
                                <a:cubicBezTo>
                                  <a:pt x="285" y="643"/>
                                  <a:pt x="290" y="645"/>
                                  <a:pt x="295" y="648"/>
                                </a:cubicBezTo>
                                <a:cubicBezTo>
                                  <a:pt x="301" y="651"/>
                                  <a:pt x="306" y="654"/>
                                  <a:pt x="311" y="654"/>
                                </a:cubicBezTo>
                                <a:cubicBezTo>
                                  <a:pt x="316" y="654"/>
                                  <a:pt x="320" y="655"/>
                                  <a:pt x="324" y="654"/>
                                </a:cubicBezTo>
                                <a:cubicBezTo>
                                  <a:pt x="328" y="654"/>
                                  <a:pt x="331" y="653"/>
                                  <a:pt x="334" y="651"/>
                                </a:cubicBezTo>
                                <a:cubicBezTo>
                                  <a:pt x="334" y="651"/>
                                  <a:pt x="334" y="651"/>
                                  <a:pt x="334" y="651"/>
                                </a:cubicBezTo>
                                <a:cubicBezTo>
                                  <a:pt x="334" y="651"/>
                                  <a:pt x="334" y="650"/>
                                  <a:pt x="334" y="649"/>
                                </a:cubicBezTo>
                                <a:cubicBezTo>
                                  <a:pt x="334" y="648"/>
                                  <a:pt x="334" y="647"/>
                                  <a:pt x="334" y="646"/>
                                </a:cubicBezTo>
                                <a:cubicBezTo>
                                  <a:pt x="336" y="641"/>
                                  <a:pt x="340" y="640"/>
                                  <a:pt x="354" y="645"/>
                                </a:cubicBezTo>
                                <a:cubicBezTo>
                                  <a:pt x="371" y="650"/>
                                  <a:pt x="374" y="653"/>
                                  <a:pt x="379" y="655"/>
                                </a:cubicBezTo>
                                <a:cubicBezTo>
                                  <a:pt x="381" y="656"/>
                                  <a:pt x="383" y="658"/>
                                  <a:pt x="387" y="659"/>
                                </a:cubicBezTo>
                                <a:cubicBezTo>
                                  <a:pt x="392" y="662"/>
                                  <a:pt x="396" y="662"/>
                                  <a:pt x="401" y="662"/>
                                </a:cubicBezTo>
                                <a:cubicBezTo>
                                  <a:pt x="405" y="662"/>
                                  <a:pt x="409" y="662"/>
                                  <a:pt x="415" y="664"/>
                                </a:cubicBezTo>
                                <a:cubicBezTo>
                                  <a:pt x="420" y="665"/>
                                  <a:pt x="424" y="668"/>
                                  <a:pt x="428" y="671"/>
                                </a:cubicBezTo>
                                <a:cubicBezTo>
                                  <a:pt x="434" y="675"/>
                                  <a:pt x="441" y="680"/>
                                  <a:pt x="451" y="679"/>
                                </a:cubicBezTo>
                                <a:cubicBezTo>
                                  <a:pt x="463" y="677"/>
                                  <a:pt x="484" y="673"/>
                                  <a:pt x="499" y="670"/>
                                </a:cubicBezTo>
                                <a:cubicBezTo>
                                  <a:pt x="497" y="668"/>
                                  <a:pt x="495" y="666"/>
                                  <a:pt x="495" y="663"/>
                                </a:cubicBezTo>
                                <a:cubicBezTo>
                                  <a:pt x="495" y="658"/>
                                  <a:pt x="493" y="655"/>
                                  <a:pt x="491" y="650"/>
                                </a:cubicBezTo>
                                <a:cubicBezTo>
                                  <a:pt x="489" y="646"/>
                                  <a:pt x="486" y="644"/>
                                  <a:pt x="488" y="638"/>
                                </a:cubicBezTo>
                                <a:cubicBezTo>
                                  <a:pt x="491" y="633"/>
                                  <a:pt x="494" y="627"/>
                                  <a:pt x="498" y="623"/>
                                </a:cubicBezTo>
                                <a:cubicBezTo>
                                  <a:pt x="503" y="619"/>
                                  <a:pt x="510" y="612"/>
                                  <a:pt x="519" y="608"/>
                                </a:cubicBezTo>
                                <a:cubicBezTo>
                                  <a:pt x="528" y="603"/>
                                  <a:pt x="527" y="604"/>
                                  <a:pt x="537" y="598"/>
                                </a:cubicBezTo>
                                <a:cubicBezTo>
                                  <a:pt x="547" y="593"/>
                                  <a:pt x="545" y="589"/>
                                  <a:pt x="551" y="591"/>
                                </a:cubicBezTo>
                                <a:cubicBezTo>
                                  <a:pt x="557" y="593"/>
                                  <a:pt x="556" y="595"/>
                                  <a:pt x="565" y="596"/>
                                </a:cubicBezTo>
                                <a:cubicBezTo>
                                  <a:pt x="575" y="597"/>
                                  <a:pt x="576" y="598"/>
                                  <a:pt x="583" y="596"/>
                                </a:cubicBezTo>
                                <a:cubicBezTo>
                                  <a:pt x="589" y="595"/>
                                  <a:pt x="590" y="595"/>
                                  <a:pt x="595" y="598"/>
                                </a:cubicBezTo>
                                <a:cubicBezTo>
                                  <a:pt x="600" y="600"/>
                                  <a:pt x="601" y="598"/>
                                  <a:pt x="607" y="598"/>
                                </a:cubicBezTo>
                                <a:cubicBezTo>
                                  <a:pt x="612" y="599"/>
                                  <a:pt x="614" y="602"/>
                                  <a:pt x="619" y="603"/>
                                </a:cubicBezTo>
                                <a:cubicBezTo>
                                  <a:pt x="623" y="604"/>
                                  <a:pt x="624" y="608"/>
                                  <a:pt x="629" y="611"/>
                                </a:cubicBezTo>
                                <a:cubicBezTo>
                                  <a:pt x="633" y="614"/>
                                  <a:pt x="639" y="615"/>
                                  <a:pt x="644" y="615"/>
                                </a:cubicBezTo>
                                <a:cubicBezTo>
                                  <a:pt x="650" y="615"/>
                                  <a:pt x="650" y="621"/>
                                  <a:pt x="656" y="623"/>
                                </a:cubicBezTo>
                                <a:cubicBezTo>
                                  <a:pt x="663" y="626"/>
                                  <a:pt x="667" y="626"/>
                                  <a:pt x="673" y="626"/>
                                </a:cubicBezTo>
                                <a:cubicBezTo>
                                  <a:pt x="680" y="626"/>
                                  <a:pt x="687" y="627"/>
                                  <a:pt x="692" y="623"/>
                                </a:cubicBezTo>
                                <a:cubicBezTo>
                                  <a:pt x="696" y="619"/>
                                  <a:pt x="702" y="613"/>
                                  <a:pt x="707" y="608"/>
                                </a:cubicBezTo>
                                <a:cubicBezTo>
                                  <a:pt x="713" y="603"/>
                                  <a:pt x="722" y="598"/>
                                  <a:pt x="727" y="594"/>
                                </a:cubicBezTo>
                                <a:cubicBezTo>
                                  <a:pt x="733" y="591"/>
                                  <a:pt x="741" y="587"/>
                                  <a:pt x="747" y="585"/>
                                </a:cubicBezTo>
                                <a:cubicBezTo>
                                  <a:pt x="749" y="584"/>
                                  <a:pt x="753" y="582"/>
                                  <a:pt x="758" y="580"/>
                                </a:cubicBezTo>
                                <a:cubicBezTo>
                                  <a:pt x="759" y="576"/>
                                  <a:pt x="761" y="573"/>
                                  <a:pt x="763" y="569"/>
                                </a:cubicBezTo>
                                <a:cubicBezTo>
                                  <a:pt x="766" y="561"/>
                                  <a:pt x="770" y="554"/>
                                  <a:pt x="769" y="552"/>
                                </a:cubicBezTo>
                                <a:cubicBezTo>
                                  <a:pt x="766" y="549"/>
                                  <a:pt x="755" y="545"/>
                                  <a:pt x="745" y="541"/>
                                </a:cubicBezTo>
                                <a:cubicBezTo>
                                  <a:pt x="740" y="540"/>
                                  <a:pt x="736" y="538"/>
                                  <a:pt x="732" y="536"/>
                                </a:cubicBezTo>
                                <a:cubicBezTo>
                                  <a:pt x="718" y="531"/>
                                  <a:pt x="720" y="524"/>
                                  <a:pt x="723" y="514"/>
                                </a:cubicBezTo>
                                <a:cubicBezTo>
                                  <a:pt x="723" y="513"/>
                                  <a:pt x="724" y="511"/>
                                  <a:pt x="724" y="510"/>
                                </a:cubicBezTo>
                                <a:cubicBezTo>
                                  <a:pt x="724" y="508"/>
                                  <a:pt x="725" y="507"/>
                                  <a:pt x="725" y="506"/>
                                </a:cubicBezTo>
                                <a:cubicBezTo>
                                  <a:pt x="726" y="500"/>
                                  <a:pt x="727" y="497"/>
                                  <a:pt x="723" y="491"/>
                                </a:cubicBezTo>
                                <a:cubicBezTo>
                                  <a:pt x="723" y="491"/>
                                  <a:pt x="723" y="491"/>
                                  <a:pt x="723" y="491"/>
                                </a:cubicBezTo>
                                <a:cubicBezTo>
                                  <a:pt x="722" y="491"/>
                                  <a:pt x="722" y="490"/>
                                  <a:pt x="722" y="490"/>
                                </a:cubicBezTo>
                                <a:cubicBezTo>
                                  <a:pt x="719" y="485"/>
                                  <a:pt x="718" y="479"/>
                                  <a:pt x="719" y="475"/>
                                </a:cubicBezTo>
                                <a:cubicBezTo>
                                  <a:pt x="721" y="470"/>
                                  <a:pt x="724" y="465"/>
                                  <a:pt x="729" y="462"/>
                                </a:cubicBezTo>
                                <a:cubicBezTo>
                                  <a:pt x="729" y="462"/>
                                  <a:pt x="729" y="462"/>
                                  <a:pt x="729" y="462"/>
                                </a:cubicBezTo>
                                <a:cubicBezTo>
                                  <a:pt x="730" y="461"/>
                                  <a:pt x="730" y="461"/>
                                  <a:pt x="731" y="461"/>
                                </a:cubicBezTo>
                                <a:cubicBezTo>
                                  <a:pt x="731" y="460"/>
                                  <a:pt x="732" y="460"/>
                                  <a:pt x="732" y="460"/>
                                </a:cubicBezTo>
                                <a:cubicBezTo>
                                  <a:pt x="734" y="458"/>
                                  <a:pt x="735" y="455"/>
                                  <a:pt x="735" y="451"/>
                                </a:cubicBezTo>
                                <a:cubicBezTo>
                                  <a:pt x="734" y="447"/>
                                  <a:pt x="732" y="442"/>
                                  <a:pt x="730" y="439"/>
                                </a:cubicBezTo>
                                <a:cubicBezTo>
                                  <a:pt x="729" y="437"/>
                                  <a:pt x="729" y="436"/>
                                  <a:pt x="728" y="435"/>
                                </a:cubicBezTo>
                                <a:cubicBezTo>
                                  <a:pt x="722" y="428"/>
                                  <a:pt x="723" y="423"/>
                                  <a:pt x="725" y="417"/>
                                </a:cubicBezTo>
                                <a:cubicBezTo>
                                  <a:pt x="725" y="416"/>
                                  <a:pt x="725" y="415"/>
                                  <a:pt x="726" y="413"/>
                                </a:cubicBezTo>
                                <a:cubicBezTo>
                                  <a:pt x="726" y="410"/>
                                  <a:pt x="727" y="407"/>
                                  <a:pt x="726" y="404"/>
                                </a:cubicBezTo>
                                <a:cubicBezTo>
                                  <a:pt x="726" y="402"/>
                                  <a:pt x="725" y="399"/>
                                  <a:pt x="723" y="397"/>
                                </a:cubicBezTo>
                                <a:cubicBezTo>
                                  <a:pt x="721" y="393"/>
                                  <a:pt x="720" y="388"/>
                                  <a:pt x="720" y="384"/>
                                </a:cubicBezTo>
                                <a:cubicBezTo>
                                  <a:pt x="720" y="384"/>
                                  <a:pt x="720" y="384"/>
                                  <a:pt x="720" y="384"/>
                                </a:cubicBezTo>
                                <a:cubicBezTo>
                                  <a:pt x="720" y="381"/>
                                  <a:pt x="719" y="379"/>
                                  <a:pt x="718" y="377"/>
                                </a:cubicBezTo>
                                <a:cubicBezTo>
                                  <a:pt x="717" y="376"/>
                                  <a:pt x="715" y="375"/>
                                  <a:pt x="711" y="375"/>
                                </a:cubicBezTo>
                                <a:cubicBezTo>
                                  <a:pt x="708" y="375"/>
                                  <a:pt x="704" y="376"/>
                                  <a:pt x="700" y="378"/>
                                </a:cubicBezTo>
                                <a:cubicBezTo>
                                  <a:pt x="698" y="379"/>
                                  <a:pt x="696" y="381"/>
                                  <a:pt x="694" y="382"/>
                                </a:cubicBezTo>
                                <a:cubicBezTo>
                                  <a:pt x="687" y="387"/>
                                  <a:pt x="681" y="392"/>
                                  <a:pt x="673" y="387"/>
                                </a:cubicBezTo>
                                <a:cubicBezTo>
                                  <a:pt x="666" y="383"/>
                                  <a:pt x="669" y="375"/>
                                  <a:pt x="673" y="367"/>
                                </a:cubicBezTo>
                                <a:cubicBezTo>
                                  <a:pt x="674" y="364"/>
                                  <a:pt x="675" y="362"/>
                                  <a:pt x="675" y="360"/>
                                </a:cubicBezTo>
                                <a:cubicBezTo>
                                  <a:pt x="676" y="354"/>
                                  <a:pt x="681" y="349"/>
                                  <a:pt x="686" y="344"/>
                                </a:cubicBezTo>
                                <a:cubicBezTo>
                                  <a:pt x="689" y="341"/>
                                  <a:pt x="693" y="337"/>
                                  <a:pt x="694" y="334"/>
                                </a:cubicBezTo>
                                <a:cubicBezTo>
                                  <a:pt x="696" y="328"/>
                                  <a:pt x="700" y="326"/>
                                  <a:pt x="706" y="322"/>
                                </a:cubicBezTo>
                                <a:cubicBezTo>
                                  <a:pt x="709" y="320"/>
                                  <a:pt x="713" y="318"/>
                                  <a:pt x="717" y="314"/>
                                </a:cubicBezTo>
                                <a:cubicBezTo>
                                  <a:pt x="722" y="309"/>
                                  <a:pt x="724" y="305"/>
                                  <a:pt x="726" y="302"/>
                                </a:cubicBezTo>
                                <a:cubicBezTo>
                                  <a:pt x="728" y="298"/>
                                  <a:pt x="729" y="295"/>
                                  <a:pt x="733" y="292"/>
                                </a:cubicBezTo>
                                <a:cubicBezTo>
                                  <a:pt x="738" y="286"/>
                                  <a:pt x="742" y="287"/>
                                  <a:pt x="747" y="288"/>
                                </a:cubicBezTo>
                                <a:cubicBezTo>
                                  <a:pt x="749" y="288"/>
                                  <a:pt x="751" y="289"/>
                                  <a:pt x="754" y="288"/>
                                </a:cubicBezTo>
                                <a:cubicBezTo>
                                  <a:pt x="758" y="288"/>
                                  <a:pt x="760" y="286"/>
                                  <a:pt x="763" y="284"/>
                                </a:cubicBezTo>
                                <a:cubicBezTo>
                                  <a:pt x="764" y="283"/>
                                  <a:pt x="766" y="283"/>
                                  <a:pt x="767" y="282"/>
                                </a:cubicBezTo>
                                <a:cubicBezTo>
                                  <a:pt x="767" y="280"/>
                                  <a:pt x="767" y="280"/>
                                  <a:pt x="767" y="280"/>
                                </a:cubicBezTo>
                                <a:cubicBezTo>
                                  <a:pt x="767" y="280"/>
                                  <a:pt x="767" y="280"/>
                                  <a:pt x="767" y="280"/>
                                </a:cubicBezTo>
                                <a:cubicBezTo>
                                  <a:pt x="763" y="269"/>
                                  <a:pt x="760" y="260"/>
                                  <a:pt x="764" y="245"/>
                                </a:cubicBezTo>
                                <a:cubicBezTo>
                                  <a:pt x="765" y="239"/>
                                  <a:pt x="765" y="236"/>
                                  <a:pt x="765" y="232"/>
                                </a:cubicBezTo>
                                <a:cubicBezTo>
                                  <a:pt x="765" y="225"/>
                                  <a:pt x="765" y="219"/>
                                  <a:pt x="777" y="207"/>
                                </a:cubicBezTo>
                                <a:cubicBezTo>
                                  <a:pt x="785" y="198"/>
                                  <a:pt x="790" y="192"/>
                                  <a:pt x="793" y="187"/>
                                </a:cubicBezTo>
                                <a:cubicBezTo>
                                  <a:pt x="796" y="183"/>
                                  <a:pt x="797" y="180"/>
                                  <a:pt x="797" y="177"/>
                                </a:cubicBezTo>
                                <a:cubicBezTo>
                                  <a:pt x="797" y="176"/>
                                  <a:pt x="795" y="175"/>
                                  <a:pt x="792" y="175"/>
                                </a:cubicBezTo>
                                <a:cubicBezTo>
                                  <a:pt x="788" y="175"/>
                                  <a:pt x="783" y="175"/>
                                  <a:pt x="777" y="173"/>
                                </a:cubicBezTo>
                                <a:cubicBezTo>
                                  <a:pt x="771" y="170"/>
                                  <a:pt x="768" y="168"/>
                                  <a:pt x="767" y="166"/>
                                </a:cubicBezTo>
                                <a:cubicBezTo>
                                  <a:pt x="765" y="165"/>
                                  <a:pt x="763" y="163"/>
                                  <a:pt x="756" y="163"/>
                                </a:cubicBezTo>
                                <a:cubicBezTo>
                                  <a:pt x="751" y="162"/>
                                  <a:pt x="746" y="163"/>
                                  <a:pt x="742" y="164"/>
                                </a:cubicBezTo>
                                <a:cubicBezTo>
                                  <a:pt x="733" y="166"/>
                                  <a:pt x="727" y="167"/>
                                  <a:pt x="720" y="161"/>
                                </a:cubicBezTo>
                                <a:cubicBezTo>
                                  <a:pt x="718" y="159"/>
                                  <a:pt x="716" y="157"/>
                                  <a:pt x="714" y="155"/>
                                </a:cubicBezTo>
                                <a:cubicBezTo>
                                  <a:pt x="707" y="148"/>
                                  <a:pt x="697" y="138"/>
                                  <a:pt x="692" y="138"/>
                                </a:cubicBezTo>
                                <a:cubicBezTo>
                                  <a:pt x="690" y="138"/>
                                  <a:pt x="690" y="138"/>
                                  <a:pt x="689" y="138"/>
                                </a:cubicBezTo>
                                <a:cubicBezTo>
                                  <a:pt x="688" y="138"/>
                                  <a:pt x="687" y="138"/>
                                  <a:pt x="686" y="138"/>
                                </a:cubicBezTo>
                                <a:cubicBezTo>
                                  <a:pt x="685" y="138"/>
                                  <a:pt x="685" y="138"/>
                                  <a:pt x="685" y="138"/>
                                </a:cubicBezTo>
                                <a:cubicBezTo>
                                  <a:pt x="679" y="138"/>
                                  <a:pt x="674" y="138"/>
                                  <a:pt x="663" y="135"/>
                                </a:cubicBezTo>
                                <a:cubicBezTo>
                                  <a:pt x="657" y="134"/>
                                  <a:pt x="653" y="133"/>
                                  <a:pt x="649" y="133"/>
                                </a:cubicBezTo>
                                <a:cubicBezTo>
                                  <a:pt x="644" y="132"/>
                                  <a:pt x="640" y="132"/>
                                  <a:pt x="634" y="128"/>
                                </a:cubicBezTo>
                                <a:cubicBezTo>
                                  <a:pt x="632" y="126"/>
                                  <a:pt x="629" y="125"/>
                                  <a:pt x="625" y="122"/>
                                </a:cubicBezTo>
                                <a:cubicBezTo>
                                  <a:pt x="617" y="117"/>
                                  <a:pt x="606" y="111"/>
                                  <a:pt x="602" y="104"/>
                                </a:cubicBezTo>
                                <a:cubicBezTo>
                                  <a:pt x="600" y="100"/>
                                  <a:pt x="599" y="96"/>
                                  <a:pt x="599" y="91"/>
                                </a:cubicBezTo>
                                <a:cubicBezTo>
                                  <a:pt x="598" y="87"/>
                                  <a:pt x="598" y="83"/>
                                  <a:pt x="596" y="83"/>
                                </a:cubicBezTo>
                                <a:cubicBezTo>
                                  <a:pt x="594" y="83"/>
                                  <a:pt x="592" y="84"/>
                                  <a:pt x="589" y="86"/>
                                </a:cubicBezTo>
                                <a:cubicBezTo>
                                  <a:pt x="586" y="90"/>
                                  <a:pt x="582" y="94"/>
                                  <a:pt x="573" y="95"/>
                                </a:cubicBezTo>
                                <a:cubicBezTo>
                                  <a:pt x="566" y="96"/>
                                  <a:pt x="561" y="96"/>
                                  <a:pt x="558" y="95"/>
                                </a:cubicBezTo>
                                <a:cubicBezTo>
                                  <a:pt x="554" y="93"/>
                                  <a:pt x="553" y="89"/>
                                  <a:pt x="553" y="84"/>
                                </a:cubicBezTo>
                                <a:cubicBezTo>
                                  <a:pt x="553" y="82"/>
                                  <a:pt x="553" y="81"/>
                                  <a:pt x="553" y="79"/>
                                </a:cubicBezTo>
                                <a:cubicBezTo>
                                  <a:pt x="554" y="74"/>
                                  <a:pt x="554" y="69"/>
                                  <a:pt x="549" y="67"/>
                                </a:cubicBezTo>
                                <a:cubicBezTo>
                                  <a:pt x="546" y="67"/>
                                  <a:pt x="544" y="67"/>
                                  <a:pt x="541" y="68"/>
                                </a:cubicBezTo>
                                <a:cubicBezTo>
                                  <a:pt x="536" y="70"/>
                                  <a:pt x="531" y="71"/>
                                  <a:pt x="525" y="64"/>
                                </a:cubicBezTo>
                                <a:cubicBezTo>
                                  <a:pt x="520" y="59"/>
                                  <a:pt x="520" y="55"/>
                                  <a:pt x="520" y="52"/>
                                </a:cubicBezTo>
                                <a:cubicBezTo>
                                  <a:pt x="520" y="52"/>
                                  <a:pt x="520" y="52"/>
                                  <a:pt x="519" y="52"/>
                                </a:cubicBezTo>
                                <a:cubicBezTo>
                                  <a:pt x="517" y="52"/>
                                  <a:pt x="514" y="52"/>
                                  <a:pt x="512" y="52"/>
                                </a:cubicBezTo>
                                <a:cubicBezTo>
                                  <a:pt x="506" y="53"/>
                                  <a:pt x="502" y="54"/>
                                  <a:pt x="501" y="45"/>
                                </a:cubicBezTo>
                                <a:cubicBezTo>
                                  <a:pt x="500" y="43"/>
                                  <a:pt x="500" y="41"/>
                                  <a:pt x="500" y="39"/>
                                </a:cubicBezTo>
                                <a:cubicBezTo>
                                  <a:pt x="499" y="35"/>
                                  <a:pt x="499" y="31"/>
                                  <a:pt x="494" y="31"/>
                                </a:cubicBezTo>
                                <a:cubicBezTo>
                                  <a:pt x="490" y="31"/>
                                  <a:pt x="488" y="32"/>
                                  <a:pt x="486" y="32"/>
                                </a:cubicBezTo>
                                <a:cubicBezTo>
                                  <a:pt x="481" y="34"/>
                                  <a:pt x="478" y="36"/>
                                  <a:pt x="471" y="28"/>
                                </a:cubicBezTo>
                                <a:cubicBezTo>
                                  <a:pt x="467" y="24"/>
                                  <a:pt x="463" y="18"/>
                                  <a:pt x="460" y="12"/>
                                </a:cubicBezTo>
                                <a:cubicBezTo>
                                  <a:pt x="459" y="8"/>
                                  <a:pt x="457" y="4"/>
                                  <a:pt x="456" y="0"/>
                                </a:cubicBezTo>
                                <a:cubicBezTo>
                                  <a:pt x="452" y="1"/>
                                  <a:pt x="447" y="2"/>
                                  <a:pt x="442" y="4"/>
                                </a:cubicBezTo>
                                <a:cubicBezTo>
                                  <a:pt x="431" y="6"/>
                                  <a:pt x="425" y="8"/>
                                  <a:pt x="415" y="11"/>
                                </a:cubicBezTo>
                                <a:cubicBezTo>
                                  <a:pt x="406" y="14"/>
                                  <a:pt x="397" y="15"/>
                                  <a:pt x="396" y="20"/>
                                </a:cubicBezTo>
                                <a:close/>
                                <a:moveTo>
                                  <a:pt x="176" y="157"/>
                                </a:moveTo>
                                <a:cubicBezTo>
                                  <a:pt x="178" y="153"/>
                                  <a:pt x="171" y="146"/>
                                  <a:pt x="167" y="148"/>
                                </a:cubicBezTo>
                                <a:cubicBezTo>
                                  <a:pt x="162" y="148"/>
                                  <a:pt x="154" y="152"/>
                                  <a:pt x="160" y="154"/>
                                </a:cubicBezTo>
                                <a:cubicBezTo>
                                  <a:pt x="167" y="157"/>
                                  <a:pt x="175" y="162"/>
                                  <a:pt x="176" y="157"/>
                                </a:cubicBezTo>
                                <a:close/>
                                <a:moveTo>
                                  <a:pt x="151" y="130"/>
                                </a:moveTo>
                                <a:cubicBezTo>
                                  <a:pt x="154" y="125"/>
                                  <a:pt x="146" y="120"/>
                                  <a:pt x="141" y="126"/>
                                </a:cubicBezTo>
                                <a:cubicBezTo>
                                  <a:pt x="136" y="133"/>
                                  <a:pt x="131" y="136"/>
                                  <a:pt x="136" y="137"/>
                                </a:cubicBezTo>
                                <a:cubicBezTo>
                                  <a:pt x="140" y="139"/>
                                  <a:pt x="148" y="134"/>
                                  <a:pt x="151" y="130"/>
                                </a:cubicBezTo>
                                <a:close/>
                                <a:moveTo>
                                  <a:pt x="207" y="390"/>
                                </a:moveTo>
                                <a:cubicBezTo>
                                  <a:pt x="210" y="392"/>
                                  <a:pt x="214" y="395"/>
                                  <a:pt x="214" y="391"/>
                                </a:cubicBezTo>
                                <a:cubicBezTo>
                                  <a:pt x="215" y="387"/>
                                  <a:pt x="211" y="389"/>
                                  <a:pt x="209" y="385"/>
                                </a:cubicBezTo>
                                <a:cubicBezTo>
                                  <a:pt x="206" y="381"/>
                                  <a:pt x="198" y="379"/>
                                  <a:pt x="201" y="385"/>
                                </a:cubicBezTo>
                                <a:cubicBezTo>
                                  <a:pt x="202" y="388"/>
                                  <a:pt x="203" y="388"/>
                                  <a:pt x="207" y="390"/>
                                </a:cubicBezTo>
                                <a:close/>
                                <a:moveTo>
                                  <a:pt x="160" y="353"/>
                                </a:moveTo>
                                <a:cubicBezTo>
                                  <a:pt x="160" y="347"/>
                                  <a:pt x="159" y="343"/>
                                  <a:pt x="154" y="343"/>
                                </a:cubicBezTo>
                                <a:cubicBezTo>
                                  <a:pt x="144" y="344"/>
                                  <a:pt x="145" y="354"/>
                                  <a:pt x="149" y="354"/>
                                </a:cubicBezTo>
                                <a:cubicBezTo>
                                  <a:pt x="153" y="355"/>
                                  <a:pt x="160" y="359"/>
                                  <a:pt x="160" y="353"/>
                                </a:cubicBezTo>
                                <a:close/>
                                <a:moveTo>
                                  <a:pt x="103" y="308"/>
                                </a:moveTo>
                                <a:cubicBezTo>
                                  <a:pt x="106" y="317"/>
                                  <a:pt x="114" y="309"/>
                                  <a:pt x="113" y="303"/>
                                </a:cubicBezTo>
                                <a:cubicBezTo>
                                  <a:pt x="112" y="297"/>
                                  <a:pt x="97" y="290"/>
                                  <a:pt x="95" y="297"/>
                                </a:cubicBezTo>
                                <a:cubicBezTo>
                                  <a:pt x="96" y="304"/>
                                  <a:pt x="100" y="298"/>
                                  <a:pt x="103" y="308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75" name="Freeform 435"/>
                          <p:cNvSpPr>
                            <a:spLocks noEditPoints="1"/>
                          </p:cNvSpPr>
                          <p:nvPr/>
                        </p:nvSpPr>
                        <p:spPr bwMode="auto">
                          <a:xfrm>
                            <a:off x="4497103" y="3953563"/>
                            <a:ext cx="69056" cy="140494"/>
                          </a:xfrm>
                          <a:custGeom>
                            <a:avLst/>
                            <a:gdLst>
                              <a:gd name="T0" fmla="*/ 74 w 240"/>
                              <a:gd name="T1" fmla="*/ 355 h 488"/>
                              <a:gd name="T2" fmla="*/ 125 w 240"/>
                              <a:gd name="T3" fmla="*/ 488 h 488"/>
                              <a:gd name="T4" fmla="*/ 139 w 240"/>
                              <a:gd name="T5" fmla="*/ 484 h 488"/>
                              <a:gd name="T6" fmla="*/ 153 w 240"/>
                              <a:gd name="T7" fmla="*/ 466 h 488"/>
                              <a:gd name="T8" fmla="*/ 162 w 240"/>
                              <a:gd name="T9" fmla="*/ 433 h 488"/>
                              <a:gd name="T10" fmla="*/ 238 w 240"/>
                              <a:gd name="T11" fmla="*/ 340 h 488"/>
                              <a:gd name="T12" fmla="*/ 231 w 240"/>
                              <a:gd name="T13" fmla="*/ 291 h 488"/>
                              <a:gd name="T14" fmla="*/ 206 w 240"/>
                              <a:gd name="T15" fmla="*/ 266 h 488"/>
                              <a:gd name="T16" fmla="*/ 171 w 240"/>
                              <a:gd name="T17" fmla="*/ 258 h 488"/>
                              <a:gd name="T18" fmla="*/ 156 w 240"/>
                              <a:gd name="T19" fmla="*/ 216 h 488"/>
                              <a:gd name="T20" fmla="*/ 191 w 240"/>
                              <a:gd name="T21" fmla="*/ 184 h 488"/>
                              <a:gd name="T22" fmla="*/ 220 w 240"/>
                              <a:gd name="T23" fmla="*/ 150 h 488"/>
                              <a:gd name="T24" fmla="*/ 188 w 240"/>
                              <a:gd name="T25" fmla="*/ 106 h 488"/>
                              <a:gd name="T26" fmla="*/ 181 w 240"/>
                              <a:gd name="T27" fmla="*/ 74 h 488"/>
                              <a:gd name="T28" fmla="*/ 204 w 240"/>
                              <a:gd name="T29" fmla="*/ 52 h 488"/>
                              <a:gd name="T30" fmla="*/ 214 w 240"/>
                              <a:gd name="T31" fmla="*/ 20 h 488"/>
                              <a:gd name="T32" fmla="*/ 182 w 240"/>
                              <a:gd name="T33" fmla="*/ 41 h 488"/>
                              <a:gd name="T34" fmla="*/ 168 w 240"/>
                              <a:gd name="T35" fmla="*/ 30 h 488"/>
                              <a:gd name="T36" fmla="*/ 150 w 240"/>
                              <a:gd name="T37" fmla="*/ 5 h 488"/>
                              <a:gd name="T38" fmla="*/ 137 w 240"/>
                              <a:gd name="T39" fmla="*/ 14 h 488"/>
                              <a:gd name="T40" fmla="*/ 117 w 240"/>
                              <a:gd name="T41" fmla="*/ 6 h 488"/>
                              <a:gd name="T42" fmla="*/ 86 w 240"/>
                              <a:gd name="T43" fmla="*/ 20 h 488"/>
                              <a:gd name="T44" fmla="*/ 52 w 240"/>
                              <a:gd name="T45" fmla="*/ 44 h 488"/>
                              <a:gd name="T46" fmla="*/ 44 w 240"/>
                              <a:gd name="T47" fmla="*/ 58 h 488"/>
                              <a:gd name="T48" fmla="*/ 47 w 240"/>
                              <a:gd name="T49" fmla="*/ 79 h 488"/>
                              <a:gd name="T50" fmla="*/ 49 w 240"/>
                              <a:gd name="T51" fmla="*/ 115 h 488"/>
                              <a:gd name="T52" fmla="*/ 55 w 240"/>
                              <a:gd name="T53" fmla="*/ 148 h 488"/>
                              <a:gd name="T54" fmla="*/ 36 w 240"/>
                              <a:gd name="T55" fmla="*/ 191 h 488"/>
                              <a:gd name="T56" fmla="*/ 1 w 240"/>
                              <a:gd name="T57" fmla="*/ 231 h 488"/>
                              <a:gd name="T58" fmla="*/ 17 w 240"/>
                              <a:gd name="T59" fmla="*/ 275 h 488"/>
                              <a:gd name="T60" fmla="*/ 26 w 240"/>
                              <a:gd name="T61" fmla="*/ 286 h 488"/>
                              <a:gd name="T62" fmla="*/ 47 w 240"/>
                              <a:gd name="T63" fmla="*/ 324 h 488"/>
                              <a:gd name="T64" fmla="*/ 199 w 240"/>
                              <a:gd name="T65" fmla="*/ 243 h 488"/>
                              <a:gd name="T66" fmla="*/ 211 w 240"/>
                              <a:gd name="T67" fmla="*/ 254 h 488"/>
                              <a:gd name="T68" fmla="*/ 199 w 240"/>
                              <a:gd name="T69" fmla="*/ 243 h 488"/>
                              <a:gd name="T70" fmla="*/ 218 w 240"/>
                              <a:gd name="T71" fmla="*/ 183 h 488"/>
                              <a:gd name="T72" fmla="*/ 233 w 240"/>
                              <a:gd name="T73" fmla="*/ 183 h 488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</a:cxnLst>
                            <a:rect l="0" t="0" r="r" b="b"/>
                            <a:pathLst>
                              <a:path w="240" h="488">
                                <a:moveTo>
                                  <a:pt x="48" y="333"/>
                                </a:moveTo>
                                <a:cubicBezTo>
                                  <a:pt x="50" y="337"/>
                                  <a:pt x="63" y="347"/>
                                  <a:pt x="74" y="355"/>
                                </a:cubicBezTo>
                                <a:cubicBezTo>
                                  <a:pt x="81" y="360"/>
                                  <a:pt x="87" y="365"/>
                                  <a:pt x="90" y="368"/>
                                </a:cubicBezTo>
                                <a:cubicBezTo>
                                  <a:pt x="97" y="375"/>
                                  <a:pt x="120" y="469"/>
                                  <a:pt x="125" y="488"/>
                                </a:cubicBezTo>
                                <a:cubicBezTo>
                                  <a:pt x="127" y="487"/>
                                  <a:pt x="129" y="487"/>
                                  <a:pt x="130" y="486"/>
                                </a:cubicBezTo>
                                <a:cubicBezTo>
                                  <a:pt x="134" y="485"/>
                                  <a:pt x="137" y="484"/>
                                  <a:pt x="139" y="484"/>
                                </a:cubicBezTo>
                                <a:cubicBezTo>
                                  <a:pt x="141" y="483"/>
                                  <a:pt x="147" y="475"/>
                                  <a:pt x="153" y="466"/>
                                </a:cubicBezTo>
                                <a:cubicBezTo>
                                  <a:pt x="153" y="466"/>
                                  <a:pt x="153" y="466"/>
                                  <a:pt x="153" y="466"/>
                                </a:cubicBezTo>
                                <a:cubicBezTo>
                                  <a:pt x="157" y="460"/>
                                  <a:pt x="161" y="453"/>
                                  <a:pt x="161" y="449"/>
                                </a:cubicBezTo>
                                <a:cubicBezTo>
                                  <a:pt x="162" y="447"/>
                                  <a:pt x="162" y="440"/>
                                  <a:pt x="162" y="433"/>
                                </a:cubicBezTo>
                                <a:cubicBezTo>
                                  <a:pt x="162" y="415"/>
                                  <a:pt x="162" y="391"/>
                                  <a:pt x="167" y="387"/>
                                </a:cubicBezTo>
                                <a:cubicBezTo>
                                  <a:pt x="171" y="382"/>
                                  <a:pt x="228" y="346"/>
                                  <a:pt x="238" y="340"/>
                                </a:cubicBezTo>
                                <a:cubicBezTo>
                                  <a:pt x="239" y="332"/>
                                  <a:pt x="240" y="308"/>
                                  <a:pt x="240" y="291"/>
                                </a:cubicBezTo>
                                <a:cubicBezTo>
                                  <a:pt x="237" y="291"/>
                                  <a:pt x="234" y="291"/>
                                  <a:pt x="231" y="291"/>
                                </a:cubicBezTo>
                                <a:cubicBezTo>
                                  <a:pt x="222" y="292"/>
                                  <a:pt x="215" y="280"/>
                                  <a:pt x="215" y="274"/>
                                </a:cubicBezTo>
                                <a:cubicBezTo>
                                  <a:pt x="214" y="268"/>
                                  <a:pt x="212" y="265"/>
                                  <a:pt x="206" y="266"/>
                                </a:cubicBezTo>
                                <a:cubicBezTo>
                                  <a:pt x="201" y="266"/>
                                  <a:pt x="196" y="269"/>
                                  <a:pt x="193" y="264"/>
                                </a:cubicBezTo>
                                <a:cubicBezTo>
                                  <a:pt x="190" y="260"/>
                                  <a:pt x="178" y="263"/>
                                  <a:pt x="171" y="258"/>
                                </a:cubicBezTo>
                                <a:cubicBezTo>
                                  <a:pt x="163" y="252"/>
                                  <a:pt x="158" y="242"/>
                                  <a:pt x="155" y="235"/>
                                </a:cubicBezTo>
                                <a:cubicBezTo>
                                  <a:pt x="151" y="228"/>
                                  <a:pt x="147" y="221"/>
                                  <a:pt x="156" y="216"/>
                                </a:cubicBezTo>
                                <a:cubicBezTo>
                                  <a:pt x="166" y="211"/>
                                  <a:pt x="169" y="214"/>
                                  <a:pt x="176" y="205"/>
                                </a:cubicBezTo>
                                <a:cubicBezTo>
                                  <a:pt x="183" y="197"/>
                                  <a:pt x="186" y="190"/>
                                  <a:pt x="191" y="184"/>
                                </a:cubicBezTo>
                                <a:cubicBezTo>
                                  <a:pt x="195" y="178"/>
                                  <a:pt x="206" y="173"/>
                                  <a:pt x="209" y="167"/>
                                </a:cubicBezTo>
                                <a:cubicBezTo>
                                  <a:pt x="211" y="160"/>
                                  <a:pt x="220" y="151"/>
                                  <a:pt x="220" y="150"/>
                                </a:cubicBezTo>
                                <a:cubicBezTo>
                                  <a:pt x="220" y="148"/>
                                  <a:pt x="221" y="133"/>
                                  <a:pt x="210" y="124"/>
                                </a:cubicBezTo>
                                <a:cubicBezTo>
                                  <a:pt x="199" y="116"/>
                                  <a:pt x="194" y="112"/>
                                  <a:pt x="188" y="106"/>
                                </a:cubicBezTo>
                                <a:cubicBezTo>
                                  <a:pt x="181" y="99"/>
                                  <a:pt x="179" y="95"/>
                                  <a:pt x="178" y="89"/>
                                </a:cubicBezTo>
                                <a:cubicBezTo>
                                  <a:pt x="178" y="82"/>
                                  <a:pt x="176" y="80"/>
                                  <a:pt x="181" y="74"/>
                                </a:cubicBezTo>
                                <a:cubicBezTo>
                                  <a:pt x="186" y="69"/>
                                  <a:pt x="189" y="69"/>
                                  <a:pt x="194" y="64"/>
                                </a:cubicBezTo>
                                <a:cubicBezTo>
                                  <a:pt x="200" y="60"/>
                                  <a:pt x="202" y="55"/>
                                  <a:pt x="204" y="52"/>
                                </a:cubicBezTo>
                                <a:cubicBezTo>
                                  <a:pt x="207" y="49"/>
                                  <a:pt x="213" y="42"/>
                                  <a:pt x="216" y="37"/>
                                </a:cubicBezTo>
                                <a:cubicBezTo>
                                  <a:pt x="220" y="31"/>
                                  <a:pt x="218" y="20"/>
                                  <a:pt x="214" y="20"/>
                                </a:cubicBezTo>
                                <a:cubicBezTo>
                                  <a:pt x="210" y="20"/>
                                  <a:pt x="203" y="24"/>
                                  <a:pt x="196" y="29"/>
                                </a:cubicBezTo>
                                <a:cubicBezTo>
                                  <a:pt x="189" y="35"/>
                                  <a:pt x="190" y="38"/>
                                  <a:pt x="182" y="41"/>
                                </a:cubicBezTo>
                                <a:cubicBezTo>
                                  <a:pt x="174" y="45"/>
                                  <a:pt x="168" y="46"/>
                                  <a:pt x="165" y="43"/>
                                </a:cubicBezTo>
                                <a:cubicBezTo>
                                  <a:pt x="163" y="40"/>
                                  <a:pt x="169" y="34"/>
                                  <a:pt x="168" y="30"/>
                                </a:cubicBezTo>
                                <a:cubicBezTo>
                                  <a:pt x="168" y="25"/>
                                  <a:pt x="164" y="17"/>
                                  <a:pt x="159" y="14"/>
                                </a:cubicBezTo>
                                <a:cubicBezTo>
                                  <a:pt x="154" y="12"/>
                                  <a:pt x="152" y="5"/>
                                  <a:pt x="150" y="5"/>
                                </a:cubicBezTo>
                                <a:cubicBezTo>
                                  <a:pt x="148" y="5"/>
                                  <a:pt x="145" y="6"/>
                                  <a:pt x="142" y="7"/>
                                </a:cubicBezTo>
                                <a:cubicBezTo>
                                  <a:pt x="140" y="8"/>
                                  <a:pt x="140" y="14"/>
                                  <a:pt x="137" y="14"/>
                                </a:cubicBezTo>
                                <a:cubicBezTo>
                                  <a:pt x="134" y="13"/>
                                  <a:pt x="136" y="6"/>
                                  <a:pt x="131" y="3"/>
                                </a:cubicBezTo>
                                <a:cubicBezTo>
                                  <a:pt x="125" y="0"/>
                                  <a:pt x="123" y="2"/>
                                  <a:pt x="117" y="6"/>
                                </a:cubicBezTo>
                                <a:cubicBezTo>
                                  <a:pt x="111" y="10"/>
                                  <a:pt x="106" y="9"/>
                                  <a:pt x="101" y="11"/>
                                </a:cubicBezTo>
                                <a:cubicBezTo>
                                  <a:pt x="95" y="13"/>
                                  <a:pt x="93" y="14"/>
                                  <a:pt x="86" y="20"/>
                                </a:cubicBezTo>
                                <a:cubicBezTo>
                                  <a:pt x="79" y="26"/>
                                  <a:pt x="71" y="30"/>
                                  <a:pt x="64" y="30"/>
                                </a:cubicBezTo>
                                <a:cubicBezTo>
                                  <a:pt x="60" y="35"/>
                                  <a:pt x="56" y="40"/>
                                  <a:pt x="52" y="44"/>
                                </a:cubicBezTo>
                                <a:cubicBezTo>
                                  <a:pt x="48" y="48"/>
                                  <a:pt x="45" y="52"/>
                                  <a:pt x="43" y="54"/>
                                </a:cubicBezTo>
                                <a:cubicBezTo>
                                  <a:pt x="42" y="57"/>
                                  <a:pt x="43" y="57"/>
                                  <a:pt x="44" y="58"/>
                                </a:cubicBezTo>
                                <a:cubicBezTo>
                                  <a:pt x="45" y="60"/>
                                  <a:pt x="48" y="63"/>
                                  <a:pt x="49" y="68"/>
                                </a:cubicBezTo>
                                <a:cubicBezTo>
                                  <a:pt x="50" y="74"/>
                                  <a:pt x="49" y="76"/>
                                  <a:pt x="47" y="79"/>
                                </a:cubicBezTo>
                                <a:cubicBezTo>
                                  <a:pt x="46" y="80"/>
                                  <a:pt x="44" y="83"/>
                                  <a:pt x="44" y="91"/>
                                </a:cubicBezTo>
                                <a:cubicBezTo>
                                  <a:pt x="44" y="102"/>
                                  <a:pt x="46" y="108"/>
                                  <a:pt x="49" y="115"/>
                                </a:cubicBezTo>
                                <a:cubicBezTo>
                                  <a:pt x="50" y="118"/>
                                  <a:pt x="51" y="122"/>
                                  <a:pt x="52" y="126"/>
                                </a:cubicBezTo>
                                <a:cubicBezTo>
                                  <a:pt x="54" y="133"/>
                                  <a:pt x="55" y="141"/>
                                  <a:pt x="55" y="148"/>
                                </a:cubicBezTo>
                                <a:cubicBezTo>
                                  <a:pt x="54" y="156"/>
                                  <a:pt x="53" y="163"/>
                                  <a:pt x="50" y="170"/>
                                </a:cubicBezTo>
                                <a:cubicBezTo>
                                  <a:pt x="48" y="176"/>
                                  <a:pt x="42" y="183"/>
                                  <a:pt x="36" y="191"/>
                                </a:cubicBezTo>
                                <a:cubicBezTo>
                                  <a:pt x="28" y="201"/>
                                  <a:pt x="18" y="211"/>
                                  <a:pt x="12" y="217"/>
                                </a:cubicBezTo>
                                <a:cubicBezTo>
                                  <a:pt x="6" y="222"/>
                                  <a:pt x="3" y="227"/>
                                  <a:pt x="1" y="231"/>
                                </a:cubicBezTo>
                                <a:cubicBezTo>
                                  <a:pt x="0" y="236"/>
                                  <a:pt x="0" y="241"/>
                                  <a:pt x="1" y="247"/>
                                </a:cubicBezTo>
                                <a:cubicBezTo>
                                  <a:pt x="3" y="258"/>
                                  <a:pt x="6" y="262"/>
                                  <a:pt x="17" y="275"/>
                                </a:cubicBezTo>
                                <a:cubicBezTo>
                                  <a:pt x="18" y="277"/>
                                  <a:pt x="18" y="277"/>
                                  <a:pt x="18" y="277"/>
                                </a:cubicBezTo>
                                <a:cubicBezTo>
                                  <a:pt x="21" y="279"/>
                                  <a:pt x="24" y="283"/>
                                  <a:pt x="26" y="286"/>
                                </a:cubicBezTo>
                                <a:cubicBezTo>
                                  <a:pt x="34" y="295"/>
                                  <a:pt x="39" y="301"/>
                                  <a:pt x="44" y="309"/>
                                </a:cubicBezTo>
                                <a:cubicBezTo>
                                  <a:pt x="47" y="315"/>
                                  <a:pt x="47" y="319"/>
                                  <a:pt x="47" y="324"/>
                                </a:cubicBezTo>
                                <a:cubicBezTo>
                                  <a:pt x="47" y="327"/>
                                  <a:pt x="47" y="330"/>
                                  <a:pt x="48" y="333"/>
                                </a:cubicBezTo>
                                <a:close/>
                                <a:moveTo>
                                  <a:pt x="199" y="243"/>
                                </a:moveTo>
                                <a:cubicBezTo>
                                  <a:pt x="196" y="248"/>
                                  <a:pt x="195" y="250"/>
                                  <a:pt x="198" y="253"/>
                                </a:cubicBezTo>
                                <a:cubicBezTo>
                                  <a:pt x="201" y="256"/>
                                  <a:pt x="208" y="257"/>
                                  <a:pt x="211" y="254"/>
                                </a:cubicBezTo>
                                <a:cubicBezTo>
                                  <a:pt x="214" y="250"/>
                                  <a:pt x="217" y="249"/>
                                  <a:pt x="215" y="247"/>
                                </a:cubicBezTo>
                                <a:cubicBezTo>
                                  <a:pt x="213" y="246"/>
                                  <a:pt x="202" y="240"/>
                                  <a:pt x="199" y="243"/>
                                </a:cubicBezTo>
                                <a:close/>
                                <a:moveTo>
                                  <a:pt x="233" y="183"/>
                                </a:moveTo>
                                <a:cubicBezTo>
                                  <a:pt x="234" y="181"/>
                                  <a:pt x="226" y="177"/>
                                  <a:pt x="218" y="183"/>
                                </a:cubicBezTo>
                                <a:cubicBezTo>
                                  <a:pt x="215" y="187"/>
                                  <a:pt x="212" y="188"/>
                                  <a:pt x="213" y="193"/>
                                </a:cubicBezTo>
                                <a:cubicBezTo>
                                  <a:pt x="215" y="195"/>
                                  <a:pt x="233" y="186"/>
                                  <a:pt x="233" y="183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76" name="Freeform 482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966209" y="4566735"/>
                            <a:ext cx="136922" cy="164306"/>
                          </a:xfrm>
                          <a:custGeom>
                            <a:avLst/>
                            <a:gdLst>
                              <a:gd name="T0" fmla="*/ 427 w 476"/>
                              <a:gd name="T1" fmla="*/ 266 h 571"/>
                              <a:gd name="T2" fmla="*/ 430 w 476"/>
                              <a:gd name="T3" fmla="*/ 108 h 571"/>
                              <a:gd name="T4" fmla="*/ 461 w 476"/>
                              <a:gd name="T5" fmla="*/ 67 h 571"/>
                              <a:gd name="T6" fmla="*/ 450 w 476"/>
                              <a:gd name="T7" fmla="*/ 42 h 571"/>
                              <a:gd name="T8" fmla="*/ 420 w 476"/>
                              <a:gd name="T9" fmla="*/ 30 h 571"/>
                              <a:gd name="T10" fmla="*/ 399 w 476"/>
                              <a:gd name="T11" fmla="*/ 36 h 571"/>
                              <a:gd name="T12" fmla="*/ 368 w 476"/>
                              <a:gd name="T13" fmla="*/ 51 h 571"/>
                              <a:gd name="T14" fmla="*/ 340 w 476"/>
                              <a:gd name="T15" fmla="*/ 75 h 571"/>
                              <a:gd name="T16" fmla="*/ 316 w 476"/>
                              <a:gd name="T17" fmla="*/ 74 h 571"/>
                              <a:gd name="T18" fmla="*/ 255 w 476"/>
                              <a:gd name="T19" fmla="*/ 64 h 571"/>
                              <a:gd name="T20" fmla="*/ 215 w 476"/>
                              <a:gd name="T21" fmla="*/ 41 h 571"/>
                              <a:gd name="T22" fmla="*/ 165 w 476"/>
                              <a:gd name="T23" fmla="*/ 14 h 571"/>
                              <a:gd name="T24" fmla="*/ 122 w 476"/>
                              <a:gd name="T25" fmla="*/ 6 h 571"/>
                              <a:gd name="T26" fmla="*/ 103 w 476"/>
                              <a:gd name="T27" fmla="*/ 0 h 571"/>
                              <a:gd name="T28" fmla="*/ 72 w 476"/>
                              <a:gd name="T29" fmla="*/ 2 h 571"/>
                              <a:gd name="T30" fmla="*/ 20 w 476"/>
                              <a:gd name="T31" fmla="*/ 6 h 571"/>
                              <a:gd name="T32" fmla="*/ 3 w 476"/>
                              <a:gd name="T33" fmla="*/ 27 h 571"/>
                              <a:gd name="T34" fmla="*/ 22 w 476"/>
                              <a:gd name="T35" fmla="*/ 53 h 571"/>
                              <a:gd name="T36" fmla="*/ 24 w 476"/>
                              <a:gd name="T37" fmla="*/ 54 h 571"/>
                              <a:gd name="T38" fmla="*/ 26 w 476"/>
                              <a:gd name="T39" fmla="*/ 55 h 571"/>
                              <a:gd name="T40" fmla="*/ 36 w 476"/>
                              <a:gd name="T41" fmla="*/ 86 h 571"/>
                              <a:gd name="T42" fmla="*/ 50 w 476"/>
                              <a:gd name="T43" fmla="*/ 113 h 571"/>
                              <a:gd name="T44" fmla="*/ 61 w 476"/>
                              <a:gd name="T45" fmla="*/ 149 h 571"/>
                              <a:gd name="T46" fmla="*/ 54 w 476"/>
                              <a:gd name="T47" fmla="*/ 187 h 571"/>
                              <a:gd name="T48" fmla="*/ 17 w 476"/>
                              <a:gd name="T49" fmla="*/ 244 h 571"/>
                              <a:gd name="T50" fmla="*/ 0 w 476"/>
                              <a:gd name="T51" fmla="*/ 278 h 571"/>
                              <a:gd name="T52" fmla="*/ 1 w 476"/>
                              <a:gd name="T53" fmla="*/ 292 h 571"/>
                              <a:gd name="T54" fmla="*/ 44 w 476"/>
                              <a:gd name="T55" fmla="*/ 284 h 571"/>
                              <a:gd name="T56" fmla="*/ 37 w 476"/>
                              <a:gd name="T57" fmla="*/ 306 h 571"/>
                              <a:gd name="T58" fmla="*/ 7 w 476"/>
                              <a:gd name="T59" fmla="*/ 316 h 571"/>
                              <a:gd name="T60" fmla="*/ 3 w 476"/>
                              <a:gd name="T61" fmla="*/ 347 h 571"/>
                              <a:gd name="T62" fmla="*/ 232 w 476"/>
                              <a:gd name="T63" fmla="*/ 495 h 571"/>
                              <a:gd name="T64" fmla="*/ 321 w 476"/>
                              <a:gd name="T65" fmla="*/ 571 h 571"/>
                              <a:gd name="T66" fmla="*/ 340 w 476"/>
                              <a:gd name="T67" fmla="*/ 557 h 571"/>
                              <a:gd name="T68" fmla="*/ 354 w 476"/>
                              <a:gd name="T69" fmla="*/ 523 h 571"/>
                              <a:gd name="T70" fmla="*/ 365 w 476"/>
                              <a:gd name="T71" fmla="*/ 495 h 571"/>
                              <a:gd name="T72" fmla="*/ 381 w 476"/>
                              <a:gd name="T73" fmla="*/ 462 h 571"/>
                              <a:gd name="T74" fmla="*/ 403 w 476"/>
                              <a:gd name="T75" fmla="*/ 441 h 571"/>
                              <a:gd name="T76" fmla="*/ 422 w 476"/>
                              <a:gd name="T77" fmla="*/ 409 h 571"/>
                              <a:gd name="T78" fmla="*/ 455 w 476"/>
                              <a:gd name="T79" fmla="*/ 395 h 571"/>
                              <a:gd name="T80" fmla="*/ 452 w 476"/>
                              <a:gd name="T81" fmla="*/ 373 h 571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</a:cxnLst>
                            <a:rect l="0" t="0" r="r" b="b"/>
                            <a:pathLst>
                              <a:path w="476" h="571">
                                <a:moveTo>
                                  <a:pt x="431" y="344"/>
                                </a:moveTo>
                                <a:cubicBezTo>
                                  <a:pt x="429" y="340"/>
                                  <a:pt x="428" y="307"/>
                                  <a:pt x="427" y="266"/>
                                </a:cubicBezTo>
                                <a:cubicBezTo>
                                  <a:pt x="427" y="204"/>
                                  <a:pt x="427" y="125"/>
                                  <a:pt x="427" y="120"/>
                                </a:cubicBezTo>
                                <a:cubicBezTo>
                                  <a:pt x="428" y="116"/>
                                  <a:pt x="428" y="112"/>
                                  <a:pt x="430" y="108"/>
                                </a:cubicBezTo>
                                <a:cubicBezTo>
                                  <a:pt x="431" y="105"/>
                                  <a:pt x="434" y="101"/>
                                  <a:pt x="438" y="97"/>
                                </a:cubicBezTo>
                                <a:cubicBezTo>
                                  <a:pt x="442" y="93"/>
                                  <a:pt x="452" y="80"/>
                                  <a:pt x="461" y="67"/>
                                </a:cubicBezTo>
                                <a:cubicBezTo>
                                  <a:pt x="467" y="59"/>
                                  <a:pt x="472" y="52"/>
                                  <a:pt x="476" y="46"/>
                                </a:cubicBezTo>
                                <a:cubicBezTo>
                                  <a:pt x="470" y="45"/>
                                  <a:pt x="461" y="43"/>
                                  <a:pt x="450" y="42"/>
                                </a:cubicBezTo>
                                <a:cubicBezTo>
                                  <a:pt x="436" y="41"/>
                                  <a:pt x="430" y="37"/>
                                  <a:pt x="426" y="33"/>
                                </a:cubicBezTo>
                                <a:cubicBezTo>
                                  <a:pt x="424" y="32"/>
                                  <a:pt x="422" y="30"/>
                                  <a:pt x="420" y="30"/>
                                </a:cubicBezTo>
                                <a:cubicBezTo>
                                  <a:pt x="417" y="30"/>
                                  <a:pt x="414" y="30"/>
                                  <a:pt x="411" y="31"/>
                                </a:cubicBezTo>
                                <a:cubicBezTo>
                                  <a:pt x="407" y="32"/>
                                  <a:pt x="404" y="34"/>
                                  <a:pt x="399" y="36"/>
                                </a:cubicBezTo>
                                <a:cubicBezTo>
                                  <a:pt x="396" y="38"/>
                                  <a:pt x="392" y="40"/>
                                  <a:pt x="388" y="41"/>
                                </a:cubicBezTo>
                                <a:cubicBezTo>
                                  <a:pt x="382" y="44"/>
                                  <a:pt x="375" y="46"/>
                                  <a:pt x="368" y="51"/>
                                </a:cubicBezTo>
                                <a:cubicBezTo>
                                  <a:pt x="362" y="54"/>
                                  <a:pt x="358" y="59"/>
                                  <a:pt x="354" y="64"/>
                                </a:cubicBezTo>
                                <a:cubicBezTo>
                                  <a:pt x="350" y="69"/>
                                  <a:pt x="346" y="73"/>
                                  <a:pt x="340" y="75"/>
                                </a:cubicBezTo>
                                <a:cubicBezTo>
                                  <a:pt x="334" y="77"/>
                                  <a:pt x="331" y="76"/>
                                  <a:pt x="327" y="75"/>
                                </a:cubicBezTo>
                                <a:cubicBezTo>
                                  <a:pt x="324" y="75"/>
                                  <a:pt x="321" y="74"/>
                                  <a:pt x="316" y="74"/>
                                </a:cubicBezTo>
                                <a:cubicBezTo>
                                  <a:pt x="310" y="74"/>
                                  <a:pt x="301" y="73"/>
                                  <a:pt x="291" y="72"/>
                                </a:cubicBezTo>
                                <a:cubicBezTo>
                                  <a:pt x="281" y="71"/>
                                  <a:pt x="269" y="68"/>
                                  <a:pt x="255" y="64"/>
                                </a:cubicBezTo>
                                <a:cubicBezTo>
                                  <a:pt x="237" y="59"/>
                                  <a:pt x="233" y="56"/>
                                  <a:pt x="228" y="51"/>
                                </a:cubicBezTo>
                                <a:cubicBezTo>
                                  <a:pt x="225" y="48"/>
                                  <a:pt x="222" y="45"/>
                                  <a:pt x="215" y="41"/>
                                </a:cubicBezTo>
                                <a:cubicBezTo>
                                  <a:pt x="211" y="38"/>
                                  <a:pt x="207" y="36"/>
                                  <a:pt x="203" y="34"/>
                                </a:cubicBezTo>
                                <a:cubicBezTo>
                                  <a:pt x="188" y="25"/>
                                  <a:pt x="174" y="16"/>
                                  <a:pt x="165" y="14"/>
                                </a:cubicBezTo>
                                <a:cubicBezTo>
                                  <a:pt x="160" y="12"/>
                                  <a:pt x="154" y="12"/>
                                  <a:pt x="149" y="12"/>
                                </a:cubicBezTo>
                                <a:cubicBezTo>
                                  <a:pt x="138" y="13"/>
                                  <a:pt x="128" y="13"/>
                                  <a:pt x="122" y="6"/>
                                </a:cubicBezTo>
                                <a:cubicBezTo>
                                  <a:pt x="117" y="0"/>
                                  <a:pt x="110" y="0"/>
                                  <a:pt x="105" y="0"/>
                                </a:cubicBezTo>
                                <a:cubicBezTo>
                                  <a:pt x="105" y="0"/>
                                  <a:pt x="104" y="0"/>
                                  <a:pt x="103" y="0"/>
                                </a:cubicBezTo>
                                <a:cubicBezTo>
                                  <a:pt x="102" y="0"/>
                                  <a:pt x="99" y="1"/>
                                  <a:pt x="96" y="1"/>
                                </a:cubicBezTo>
                                <a:cubicBezTo>
                                  <a:pt x="90" y="2"/>
                                  <a:pt x="82" y="3"/>
                                  <a:pt x="72" y="2"/>
                                </a:cubicBezTo>
                                <a:cubicBezTo>
                                  <a:pt x="70" y="2"/>
                                  <a:pt x="67" y="2"/>
                                  <a:pt x="65" y="2"/>
                                </a:cubicBezTo>
                                <a:cubicBezTo>
                                  <a:pt x="50" y="1"/>
                                  <a:pt x="28" y="0"/>
                                  <a:pt x="20" y="6"/>
                                </a:cubicBezTo>
                                <a:cubicBezTo>
                                  <a:pt x="14" y="10"/>
                                  <a:pt x="7" y="17"/>
                                  <a:pt x="1" y="24"/>
                                </a:cubicBezTo>
                                <a:cubicBezTo>
                                  <a:pt x="1" y="25"/>
                                  <a:pt x="2" y="26"/>
                                  <a:pt x="3" y="27"/>
                                </a:cubicBezTo>
                                <a:cubicBezTo>
                                  <a:pt x="5" y="29"/>
                                  <a:pt x="6" y="31"/>
                                  <a:pt x="9" y="39"/>
                                </a:cubicBezTo>
                                <a:cubicBezTo>
                                  <a:pt x="12" y="47"/>
                                  <a:pt x="16" y="49"/>
                                  <a:pt x="22" y="53"/>
                                </a:cubicBezTo>
                                <a:cubicBezTo>
                                  <a:pt x="22" y="53"/>
                                  <a:pt x="22" y="53"/>
                                  <a:pt x="22" y="53"/>
                                </a:cubicBezTo>
                                <a:cubicBezTo>
                                  <a:pt x="24" y="54"/>
                                  <a:pt x="24" y="54"/>
                                  <a:pt x="24" y="54"/>
                                </a:cubicBezTo>
                                <a:cubicBezTo>
                                  <a:pt x="24" y="54"/>
                                  <a:pt x="24" y="54"/>
                                  <a:pt x="24" y="54"/>
                                </a:cubicBezTo>
                                <a:cubicBezTo>
                                  <a:pt x="24" y="54"/>
                                  <a:pt x="25" y="55"/>
                                  <a:pt x="26" y="55"/>
                                </a:cubicBezTo>
                                <a:cubicBezTo>
                                  <a:pt x="32" y="60"/>
                                  <a:pt x="36" y="62"/>
                                  <a:pt x="36" y="77"/>
                                </a:cubicBezTo>
                                <a:cubicBezTo>
                                  <a:pt x="36" y="81"/>
                                  <a:pt x="36" y="84"/>
                                  <a:pt x="36" y="86"/>
                                </a:cubicBezTo>
                                <a:cubicBezTo>
                                  <a:pt x="35" y="90"/>
                                  <a:pt x="35" y="91"/>
                                  <a:pt x="43" y="103"/>
                                </a:cubicBezTo>
                                <a:cubicBezTo>
                                  <a:pt x="46" y="107"/>
                                  <a:pt x="48" y="110"/>
                                  <a:pt x="50" y="113"/>
                                </a:cubicBezTo>
                                <a:cubicBezTo>
                                  <a:pt x="57" y="122"/>
                                  <a:pt x="60" y="126"/>
                                  <a:pt x="60" y="136"/>
                                </a:cubicBezTo>
                                <a:cubicBezTo>
                                  <a:pt x="60" y="142"/>
                                  <a:pt x="61" y="146"/>
                                  <a:pt x="61" y="149"/>
                                </a:cubicBezTo>
                                <a:cubicBezTo>
                                  <a:pt x="62" y="154"/>
                                  <a:pt x="62" y="158"/>
                                  <a:pt x="62" y="163"/>
                                </a:cubicBezTo>
                                <a:cubicBezTo>
                                  <a:pt x="62" y="169"/>
                                  <a:pt x="58" y="178"/>
                                  <a:pt x="54" y="187"/>
                                </a:cubicBezTo>
                                <a:cubicBezTo>
                                  <a:pt x="49" y="198"/>
                                  <a:pt x="43" y="209"/>
                                  <a:pt x="37" y="215"/>
                                </a:cubicBezTo>
                                <a:cubicBezTo>
                                  <a:pt x="32" y="222"/>
                                  <a:pt x="24" y="233"/>
                                  <a:pt x="17" y="244"/>
                                </a:cubicBezTo>
                                <a:cubicBezTo>
                                  <a:pt x="13" y="252"/>
                                  <a:pt x="9" y="259"/>
                                  <a:pt x="8" y="264"/>
                                </a:cubicBezTo>
                                <a:cubicBezTo>
                                  <a:pt x="6" y="270"/>
                                  <a:pt x="3" y="274"/>
                                  <a:pt x="0" y="278"/>
                                </a:cubicBezTo>
                                <a:cubicBezTo>
                                  <a:pt x="0" y="278"/>
                                  <a:pt x="0" y="278"/>
                                  <a:pt x="0" y="278"/>
                                </a:cubicBezTo>
                                <a:cubicBezTo>
                                  <a:pt x="2" y="281"/>
                                  <a:pt x="0" y="286"/>
                                  <a:pt x="1" y="292"/>
                                </a:cubicBezTo>
                                <a:cubicBezTo>
                                  <a:pt x="3" y="301"/>
                                  <a:pt x="10" y="300"/>
                                  <a:pt x="18" y="296"/>
                                </a:cubicBezTo>
                                <a:cubicBezTo>
                                  <a:pt x="26" y="293"/>
                                  <a:pt x="39" y="287"/>
                                  <a:pt x="44" y="284"/>
                                </a:cubicBezTo>
                                <a:cubicBezTo>
                                  <a:pt x="50" y="281"/>
                                  <a:pt x="57" y="292"/>
                                  <a:pt x="54" y="302"/>
                                </a:cubicBezTo>
                                <a:cubicBezTo>
                                  <a:pt x="51" y="312"/>
                                  <a:pt x="46" y="302"/>
                                  <a:pt x="37" y="306"/>
                                </a:cubicBezTo>
                                <a:cubicBezTo>
                                  <a:pt x="27" y="310"/>
                                  <a:pt x="37" y="314"/>
                                  <a:pt x="28" y="316"/>
                                </a:cubicBezTo>
                                <a:cubicBezTo>
                                  <a:pt x="18" y="318"/>
                                  <a:pt x="14" y="314"/>
                                  <a:pt x="7" y="316"/>
                                </a:cubicBezTo>
                                <a:cubicBezTo>
                                  <a:pt x="0" y="318"/>
                                  <a:pt x="0" y="326"/>
                                  <a:pt x="2" y="335"/>
                                </a:cubicBezTo>
                                <a:cubicBezTo>
                                  <a:pt x="3" y="340"/>
                                  <a:pt x="4" y="344"/>
                                  <a:pt x="3" y="347"/>
                                </a:cubicBezTo>
                                <a:cubicBezTo>
                                  <a:pt x="47" y="372"/>
                                  <a:pt x="226" y="472"/>
                                  <a:pt x="230" y="482"/>
                                </a:cubicBezTo>
                                <a:cubicBezTo>
                                  <a:pt x="232" y="487"/>
                                  <a:pt x="232" y="491"/>
                                  <a:pt x="232" y="495"/>
                                </a:cubicBezTo>
                                <a:cubicBezTo>
                                  <a:pt x="232" y="499"/>
                                  <a:pt x="232" y="503"/>
                                  <a:pt x="234" y="507"/>
                                </a:cubicBezTo>
                                <a:cubicBezTo>
                                  <a:pt x="237" y="513"/>
                                  <a:pt x="294" y="552"/>
                                  <a:pt x="321" y="571"/>
                                </a:cubicBezTo>
                                <a:cubicBezTo>
                                  <a:pt x="322" y="570"/>
                                  <a:pt x="322" y="570"/>
                                  <a:pt x="323" y="570"/>
                                </a:cubicBezTo>
                                <a:cubicBezTo>
                                  <a:pt x="332" y="564"/>
                                  <a:pt x="334" y="565"/>
                                  <a:pt x="340" y="557"/>
                                </a:cubicBezTo>
                                <a:cubicBezTo>
                                  <a:pt x="346" y="550"/>
                                  <a:pt x="342" y="542"/>
                                  <a:pt x="346" y="535"/>
                                </a:cubicBezTo>
                                <a:cubicBezTo>
                                  <a:pt x="350" y="527"/>
                                  <a:pt x="351" y="529"/>
                                  <a:pt x="354" y="523"/>
                                </a:cubicBezTo>
                                <a:cubicBezTo>
                                  <a:pt x="357" y="517"/>
                                  <a:pt x="356" y="511"/>
                                  <a:pt x="357" y="506"/>
                                </a:cubicBezTo>
                                <a:cubicBezTo>
                                  <a:pt x="358" y="501"/>
                                  <a:pt x="359" y="499"/>
                                  <a:pt x="365" y="495"/>
                                </a:cubicBezTo>
                                <a:cubicBezTo>
                                  <a:pt x="372" y="490"/>
                                  <a:pt x="374" y="493"/>
                                  <a:pt x="377" y="484"/>
                                </a:cubicBezTo>
                                <a:cubicBezTo>
                                  <a:pt x="380" y="474"/>
                                  <a:pt x="379" y="467"/>
                                  <a:pt x="381" y="462"/>
                                </a:cubicBezTo>
                                <a:cubicBezTo>
                                  <a:pt x="383" y="457"/>
                                  <a:pt x="388" y="449"/>
                                  <a:pt x="393" y="447"/>
                                </a:cubicBezTo>
                                <a:cubicBezTo>
                                  <a:pt x="397" y="446"/>
                                  <a:pt x="398" y="444"/>
                                  <a:pt x="403" y="441"/>
                                </a:cubicBezTo>
                                <a:cubicBezTo>
                                  <a:pt x="407" y="438"/>
                                  <a:pt x="412" y="427"/>
                                  <a:pt x="416" y="421"/>
                                </a:cubicBezTo>
                                <a:cubicBezTo>
                                  <a:pt x="419" y="416"/>
                                  <a:pt x="417" y="413"/>
                                  <a:pt x="422" y="409"/>
                                </a:cubicBezTo>
                                <a:cubicBezTo>
                                  <a:pt x="427" y="405"/>
                                  <a:pt x="433" y="405"/>
                                  <a:pt x="438" y="404"/>
                                </a:cubicBezTo>
                                <a:cubicBezTo>
                                  <a:pt x="443" y="404"/>
                                  <a:pt x="448" y="402"/>
                                  <a:pt x="455" y="395"/>
                                </a:cubicBezTo>
                                <a:cubicBezTo>
                                  <a:pt x="458" y="391"/>
                                  <a:pt x="460" y="389"/>
                                  <a:pt x="461" y="386"/>
                                </a:cubicBezTo>
                                <a:cubicBezTo>
                                  <a:pt x="459" y="382"/>
                                  <a:pt x="455" y="378"/>
                                  <a:pt x="452" y="373"/>
                                </a:cubicBezTo>
                                <a:cubicBezTo>
                                  <a:pt x="443" y="361"/>
                                  <a:pt x="433" y="348"/>
                                  <a:pt x="431" y="344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77" name="Freeform 523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180397" y="3552322"/>
                            <a:ext cx="76200" cy="91678"/>
                          </a:xfrm>
                          <a:custGeom>
                            <a:avLst/>
                            <a:gdLst>
                              <a:gd name="T0" fmla="*/ 32 w 264"/>
                              <a:gd name="T1" fmla="*/ 290 h 323"/>
                              <a:gd name="T2" fmla="*/ 27 w 264"/>
                              <a:gd name="T3" fmla="*/ 301 h 323"/>
                              <a:gd name="T4" fmla="*/ 35 w 264"/>
                              <a:gd name="T5" fmla="*/ 306 h 323"/>
                              <a:gd name="T6" fmla="*/ 35 w 264"/>
                              <a:gd name="T7" fmla="*/ 322 h 323"/>
                              <a:gd name="T8" fmla="*/ 86 w 264"/>
                              <a:gd name="T9" fmla="*/ 313 h 323"/>
                              <a:gd name="T10" fmla="*/ 110 w 264"/>
                              <a:gd name="T11" fmla="*/ 293 h 323"/>
                              <a:gd name="T12" fmla="*/ 127 w 264"/>
                              <a:gd name="T13" fmla="*/ 295 h 323"/>
                              <a:gd name="T14" fmla="*/ 164 w 264"/>
                              <a:gd name="T15" fmla="*/ 270 h 323"/>
                              <a:gd name="T16" fmla="*/ 199 w 264"/>
                              <a:gd name="T17" fmla="*/ 261 h 323"/>
                              <a:gd name="T18" fmla="*/ 221 w 264"/>
                              <a:gd name="T19" fmla="*/ 259 h 323"/>
                              <a:gd name="T20" fmla="*/ 232 w 264"/>
                              <a:gd name="T21" fmla="*/ 257 h 323"/>
                              <a:gd name="T22" fmla="*/ 251 w 264"/>
                              <a:gd name="T23" fmla="*/ 219 h 323"/>
                              <a:gd name="T24" fmla="*/ 255 w 264"/>
                              <a:gd name="T25" fmla="*/ 170 h 323"/>
                              <a:gd name="T26" fmla="*/ 242 w 264"/>
                              <a:gd name="T27" fmla="*/ 133 h 323"/>
                              <a:gd name="T28" fmla="*/ 238 w 264"/>
                              <a:gd name="T29" fmla="*/ 108 h 323"/>
                              <a:gd name="T30" fmla="*/ 204 w 264"/>
                              <a:gd name="T31" fmla="*/ 92 h 323"/>
                              <a:gd name="T32" fmla="*/ 191 w 264"/>
                              <a:gd name="T33" fmla="*/ 92 h 323"/>
                              <a:gd name="T34" fmla="*/ 163 w 264"/>
                              <a:gd name="T35" fmla="*/ 99 h 323"/>
                              <a:gd name="T36" fmla="*/ 142 w 264"/>
                              <a:gd name="T37" fmla="*/ 62 h 323"/>
                              <a:gd name="T38" fmla="*/ 165 w 264"/>
                              <a:gd name="T39" fmla="*/ 41 h 323"/>
                              <a:gd name="T40" fmla="*/ 184 w 264"/>
                              <a:gd name="T41" fmla="*/ 18 h 323"/>
                              <a:gd name="T42" fmla="*/ 190 w 264"/>
                              <a:gd name="T43" fmla="*/ 4 h 323"/>
                              <a:gd name="T44" fmla="*/ 172 w 264"/>
                              <a:gd name="T45" fmla="*/ 14 h 323"/>
                              <a:gd name="T46" fmla="*/ 152 w 264"/>
                              <a:gd name="T47" fmla="*/ 17 h 323"/>
                              <a:gd name="T48" fmla="*/ 133 w 264"/>
                              <a:gd name="T49" fmla="*/ 16 h 323"/>
                              <a:gd name="T50" fmla="*/ 115 w 264"/>
                              <a:gd name="T51" fmla="*/ 29 h 323"/>
                              <a:gd name="T52" fmla="*/ 94 w 264"/>
                              <a:gd name="T53" fmla="*/ 53 h 323"/>
                              <a:gd name="T54" fmla="*/ 125 w 264"/>
                              <a:gd name="T55" fmla="*/ 56 h 323"/>
                              <a:gd name="T56" fmla="*/ 120 w 264"/>
                              <a:gd name="T57" fmla="*/ 76 h 323"/>
                              <a:gd name="T58" fmla="*/ 105 w 264"/>
                              <a:gd name="T59" fmla="*/ 97 h 323"/>
                              <a:gd name="T60" fmla="*/ 74 w 264"/>
                              <a:gd name="T61" fmla="*/ 93 h 323"/>
                              <a:gd name="T62" fmla="*/ 53 w 264"/>
                              <a:gd name="T63" fmla="*/ 88 h 323"/>
                              <a:gd name="T64" fmla="*/ 23 w 264"/>
                              <a:gd name="T65" fmla="*/ 90 h 323"/>
                              <a:gd name="T66" fmla="*/ 23 w 264"/>
                              <a:gd name="T67" fmla="*/ 101 h 323"/>
                              <a:gd name="T68" fmla="*/ 30 w 264"/>
                              <a:gd name="T69" fmla="*/ 119 h 323"/>
                              <a:gd name="T70" fmla="*/ 29 w 264"/>
                              <a:gd name="T71" fmla="*/ 130 h 323"/>
                              <a:gd name="T72" fmla="*/ 28 w 264"/>
                              <a:gd name="T73" fmla="*/ 147 h 323"/>
                              <a:gd name="T74" fmla="*/ 19 w 264"/>
                              <a:gd name="T75" fmla="*/ 163 h 323"/>
                              <a:gd name="T76" fmla="*/ 41 w 264"/>
                              <a:gd name="T77" fmla="*/ 171 h 323"/>
                              <a:gd name="T78" fmla="*/ 75 w 264"/>
                              <a:gd name="T79" fmla="*/ 175 h 323"/>
                              <a:gd name="T80" fmla="*/ 72 w 264"/>
                              <a:gd name="T81" fmla="*/ 184 h 323"/>
                              <a:gd name="T82" fmla="*/ 51 w 264"/>
                              <a:gd name="T83" fmla="*/ 208 h 323"/>
                              <a:gd name="T84" fmla="*/ 60 w 264"/>
                              <a:gd name="T85" fmla="*/ 221 h 323"/>
                              <a:gd name="T86" fmla="*/ 92 w 264"/>
                              <a:gd name="T87" fmla="*/ 227 h 323"/>
                              <a:gd name="T88" fmla="*/ 54 w 264"/>
                              <a:gd name="T89" fmla="*/ 234 h 323"/>
                              <a:gd name="T90" fmla="*/ 26 w 264"/>
                              <a:gd name="T91" fmla="*/ 249 h 323"/>
                              <a:gd name="T92" fmla="*/ 15 w 264"/>
                              <a:gd name="T93" fmla="*/ 278 h 323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</a:cxnLst>
                            <a:rect l="0" t="0" r="r" b="b"/>
                            <a:pathLst>
                              <a:path w="264" h="323">
                                <a:moveTo>
                                  <a:pt x="5" y="289"/>
                                </a:moveTo>
                                <a:cubicBezTo>
                                  <a:pt x="10" y="289"/>
                                  <a:pt x="13" y="288"/>
                                  <a:pt x="17" y="289"/>
                                </a:cubicBezTo>
                                <a:cubicBezTo>
                                  <a:pt x="20" y="289"/>
                                  <a:pt x="26" y="291"/>
                                  <a:pt x="32" y="290"/>
                                </a:cubicBezTo>
                                <a:cubicBezTo>
                                  <a:pt x="39" y="290"/>
                                  <a:pt x="39" y="288"/>
                                  <a:pt x="42" y="288"/>
                                </a:cubicBezTo>
                                <a:cubicBezTo>
                                  <a:pt x="44" y="289"/>
                                  <a:pt x="41" y="293"/>
                                  <a:pt x="37" y="296"/>
                                </a:cubicBezTo>
                                <a:cubicBezTo>
                                  <a:pt x="33" y="300"/>
                                  <a:pt x="31" y="300"/>
                                  <a:pt x="27" y="301"/>
                                </a:cubicBezTo>
                                <a:cubicBezTo>
                                  <a:pt x="23" y="303"/>
                                  <a:pt x="21" y="303"/>
                                  <a:pt x="20" y="305"/>
                                </a:cubicBezTo>
                                <a:cubicBezTo>
                                  <a:pt x="18" y="308"/>
                                  <a:pt x="24" y="308"/>
                                  <a:pt x="27" y="308"/>
                                </a:cubicBezTo>
                                <a:cubicBezTo>
                                  <a:pt x="31" y="309"/>
                                  <a:pt x="31" y="307"/>
                                  <a:pt x="35" y="306"/>
                                </a:cubicBezTo>
                                <a:cubicBezTo>
                                  <a:pt x="38" y="304"/>
                                  <a:pt x="40" y="307"/>
                                  <a:pt x="40" y="309"/>
                                </a:cubicBezTo>
                                <a:cubicBezTo>
                                  <a:pt x="41" y="311"/>
                                  <a:pt x="37" y="312"/>
                                  <a:pt x="36" y="314"/>
                                </a:cubicBezTo>
                                <a:cubicBezTo>
                                  <a:pt x="35" y="316"/>
                                  <a:pt x="30" y="320"/>
                                  <a:pt x="35" y="322"/>
                                </a:cubicBezTo>
                                <a:cubicBezTo>
                                  <a:pt x="40" y="323"/>
                                  <a:pt x="43" y="322"/>
                                  <a:pt x="49" y="321"/>
                                </a:cubicBezTo>
                                <a:cubicBezTo>
                                  <a:pt x="56" y="320"/>
                                  <a:pt x="58" y="320"/>
                                  <a:pt x="64" y="316"/>
                                </a:cubicBezTo>
                                <a:cubicBezTo>
                                  <a:pt x="70" y="312"/>
                                  <a:pt x="80" y="313"/>
                                  <a:pt x="86" y="313"/>
                                </a:cubicBezTo>
                                <a:cubicBezTo>
                                  <a:pt x="92" y="313"/>
                                  <a:pt x="95" y="311"/>
                                  <a:pt x="101" y="308"/>
                                </a:cubicBezTo>
                                <a:cubicBezTo>
                                  <a:pt x="106" y="304"/>
                                  <a:pt x="108" y="304"/>
                                  <a:pt x="109" y="302"/>
                                </a:cubicBezTo>
                                <a:cubicBezTo>
                                  <a:pt x="111" y="300"/>
                                  <a:pt x="112" y="295"/>
                                  <a:pt x="110" y="293"/>
                                </a:cubicBezTo>
                                <a:cubicBezTo>
                                  <a:pt x="108" y="291"/>
                                  <a:pt x="107" y="288"/>
                                  <a:pt x="107" y="286"/>
                                </a:cubicBezTo>
                                <a:cubicBezTo>
                                  <a:pt x="108" y="284"/>
                                  <a:pt x="117" y="288"/>
                                  <a:pt x="119" y="291"/>
                                </a:cubicBezTo>
                                <a:cubicBezTo>
                                  <a:pt x="121" y="295"/>
                                  <a:pt x="124" y="295"/>
                                  <a:pt x="127" y="295"/>
                                </a:cubicBezTo>
                                <a:cubicBezTo>
                                  <a:pt x="130" y="296"/>
                                  <a:pt x="133" y="294"/>
                                  <a:pt x="136" y="290"/>
                                </a:cubicBezTo>
                                <a:cubicBezTo>
                                  <a:pt x="139" y="286"/>
                                  <a:pt x="143" y="281"/>
                                  <a:pt x="149" y="277"/>
                                </a:cubicBezTo>
                                <a:cubicBezTo>
                                  <a:pt x="155" y="272"/>
                                  <a:pt x="158" y="273"/>
                                  <a:pt x="164" y="270"/>
                                </a:cubicBezTo>
                                <a:cubicBezTo>
                                  <a:pt x="171" y="266"/>
                                  <a:pt x="173" y="270"/>
                                  <a:pt x="182" y="271"/>
                                </a:cubicBezTo>
                                <a:cubicBezTo>
                                  <a:pt x="191" y="271"/>
                                  <a:pt x="192" y="271"/>
                                  <a:pt x="194" y="270"/>
                                </a:cubicBezTo>
                                <a:cubicBezTo>
                                  <a:pt x="196" y="269"/>
                                  <a:pt x="196" y="263"/>
                                  <a:pt x="199" y="261"/>
                                </a:cubicBezTo>
                                <a:cubicBezTo>
                                  <a:pt x="202" y="259"/>
                                  <a:pt x="201" y="261"/>
                                  <a:pt x="203" y="265"/>
                                </a:cubicBezTo>
                                <a:cubicBezTo>
                                  <a:pt x="204" y="269"/>
                                  <a:pt x="206" y="267"/>
                                  <a:pt x="209" y="263"/>
                                </a:cubicBezTo>
                                <a:cubicBezTo>
                                  <a:pt x="212" y="259"/>
                                  <a:pt x="213" y="259"/>
                                  <a:pt x="221" y="259"/>
                                </a:cubicBezTo>
                                <a:cubicBezTo>
                                  <a:pt x="230" y="259"/>
                                  <a:pt x="228" y="263"/>
                                  <a:pt x="231" y="266"/>
                                </a:cubicBezTo>
                                <a:cubicBezTo>
                                  <a:pt x="233" y="269"/>
                                  <a:pt x="237" y="268"/>
                                  <a:pt x="237" y="266"/>
                                </a:cubicBezTo>
                                <a:cubicBezTo>
                                  <a:pt x="238" y="263"/>
                                  <a:pt x="236" y="261"/>
                                  <a:pt x="232" y="257"/>
                                </a:cubicBezTo>
                                <a:cubicBezTo>
                                  <a:pt x="228" y="253"/>
                                  <a:pt x="233" y="249"/>
                                  <a:pt x="238" y="247"/>
                                </a:cubicBezTo>
                                <a:cubicBezTo>
                                  <a:pt x="242" y="245"/>
                                  <a:pt x="244" y="244"/>
                                  <a:pt x="246" y="238"/>
                                </a:cubicBezTo>
                                <a:cubicBezTo>
                                  <a:pt x="249" y="232"/>
                                  <a:pt x="247" y="229"/>
                                  <a:pt x="251" y="219"/>
                                </a:cubicBezTo>
                                <a:cubicBezTo>
                                  <a:pt x="256" y="209"/>
                                  <a:pt x="257" y="210"/>
                                  <a:pt x="260" y="200"/>
                                </a:cubicBezTo>
                                <a:cubicBezTo>
                                  <a:pt x="264" y="190"/>
                                  <a:pt x="260" y="196"/>
                                  <a:pt x="258" y="187"/>
                                </a:cubicBezTo>
                                <a:cubicBezTo>
                                  <a:pt x="255" y="179"/>
                                  <a:pt x="258" y="179"/>
                                  <a:pt x="255" y="170"/>
                                </a:cubicBezTo>
                                <a:cubicBezTo>
                                  <a:pt x="251" y="161"/>
                                  <a:pt x="255" y="164"/>
                                  <a:pt x="255" y="157"/>
                                </a:cubicBezTo>
                                <a:cubicBezTo>
                                  <a:pt x="255" y="150"/>
                                  <a:pt x="256" y="149"/>
                                  <a:pt x="253" y="141"/>
                                </a:cubicBezTo>
                                <a:cubicBezTo>
                                  <a:pt x="250" y="133"/>
                                  <a:pt x="249" y="138"/>
                                  <a:pt x="242" y="133"/>
                                </a:cubicBezTo>
                                <a:cubicBezTo>
                                  <a:pt x="235" y="129"/>
                                  <a:pt x="240" y="127"/>
                                  <a:pt x="239" y="121"/>
                                </a:cubicBezTo>
                                <a:cubicBezTo>
                                  <a:pt x="239" y="117"/>
                                  <a:pt x="242" y="115"/>
                                  <a:pt x="247" y="113"/>
                                </a:cubicBezTo>
                                <a:cubicBezTo>
                                  <a:pt x="244" y="110"/>
                                  <a:pt x="241" y="108"/>
                                  <a:pt x="238" y="108"/>
                                </a:cubicBezTo>
                                <a:cubicBezTo>
                                  <a:pt x="235" y="108"/>
                                  <a:pt x="232" y="108"/>
                                  <a:pt x="230" y="108"/>
                                </a:cubicBezTo>
                                <a:cubicBezTo>
                                  <a:pt x="223" y="108"/>
                                  <a:pt x="220" y="109"/>
                                  <a:pt x="215" y="98"/>
                                </a:cubicBezTo>
                                <a:cubicBezTo>
                                  <a:pt x="213" y="93"/>
                                  <a:pt x="209" y="92"/>
                                  <a:pt x="204" y="92"/>
                                </a:cubicBezTo>
                                <a:cubicBezTo>
                                  <a:pt x="202" y="91"/>
                                  <a:pt x="199" y="91"/>
                                  <a:pt x="197" y="90"/>
                                </a:cubicBezTo>
                                <a:cubicBezTo>
                                  <a:pt x="197" y="90"/>
                                  <a:pt x="197" y="90"/>
                                  <a:pt x="197" y="90"/>
                                </a:cubicBezTo>
                                <a:cubicBezTo>
                                  <a:pt x="194" y="89"/>
                                  <a:pt x="193" y="90"/>
                                  <a:pt x="191" y="92"/>
                                </a:cubicBezTo>
                                <a:cubicBezTo>
                                  <a:pt x="190" y="93"/>
                                  <a:pt x="189" y="94"/>
                                  <a:pt x="188" y="95"/>
                                </a:cubicBezTo>
                                <a:cubicBezTo>
                                  <a:pt x="185" y="98"/>
                                  <a:pt x="182" y="99"/>
                                  <a:pt x="178" y="100"/>
                                </a:cubicBezTo>
                                <a:cubicBezTo>
                                  <a:pt x="174" y="100"/>
                                  <a:pt x="170" y="100"/>
                                  <a:pt x="163" y="99"/>
                                </a:cubicBezTo>
                                <a:cubicBezTo>
                                  <a:pt x="156" y="98"/>
                                  <a:pt x="151" y="95"/>
                                  <a:pt x="147" y="92"/>
                                </a:cubicBezTo>
                                <a:cubicBezTo>
                                  <a:pt x="143" y="88"/>
                                  <a:pt x="140" y="83"/>
                                  <a:pt x="139" y="77"/>
                                </a:cubicBezTo>
                                <a:cubicBezTo>
                                  <a:pt x="138" y="72"/>
                                  <a:pt x="140" y="66"/>
                                  <a:pt x="142" y="62"/>
                                </a:cubicBezTo>
                                <a:cubicBezTo>
                                  <a:pt x="146" y="56"/>
                                  <a:pt x="152" y="51"/>
                                  <a:pt x="155" y="49"/>
                                </a:cubicBezTo>
                                <a:cubicBezTo>
                                  <a:pt x="157" y="48"/>
                                  <a:pt x="158" y="48"/>
                                  <a:pt x="159" y="47"/>
                                </a:cubicBezTo>
                                <a:cubicBezTo>
                                  <a:pt x="162" y="46"/>
                                  <a:pt x="164" y="46"/>
                                  <a:pt x="165" y="41"/>
                                </a:cubicBezTo>
                                <a:cubicBezTo>
                                  <a:pt x="168" y="31"/>
                                  <a:pt x="172" y="28"/>
                                  <a:pt x="180" y="23"/>
                                </a:cubicBezTo>
                                <a:cubicBezTo>
                                  <a:pt x="182" y="22"/>
                                  <a:pt x="182" y="22"/>
                                  <a:pt x="182" y="22"/>
                                </a:cubicBezTo>
                                <a:cubicBezTo>
                                  <a:pt x="181" y="20"/>
                                  <a:pt x="183" y="20"/>
                                  <a:pt x="184" y="18"/>
                                </a:cubicBezTo>
                                <a:cubicBezTo>
                                  <a:pt x="185" y="17"/>
                                  <a:pt x="188" y="16"/>
                                  <a:pt x="190" y="14"/>
                                </a:cubicBezTo>
                                <a:cubicBezTo>
                                  <a:pt x="193" y="13"/>
                                  <a:pt x="194" y="11"/>
                                  <a:pt x="195" y="10"/>
                                </a:cubicBezTo>
                                <a:cubicBezTo>
                                  <a:pt x="196" y="8"/>
                                  <a:pt x="195" y="7"/>
                                  <a:pt x="190" y="4"/>
                                </a:cubicBezTo>
                                <a:cubicBezTo>
                                  <a:pt x="186" y="1"/>
                                  <a:pt x="185" y="0"/>
                                  <a:pt x="179" y="0"/>
                                </a:cubicBezTo>
                                <a:cubicBezTo>
                                  <a:pt x="173" y="0"/>
                                  <a:pt x="176" y="2"/>
                                  <a:pt x="173" y="5"/>
                                </a:cubicBezTo>
                                <a:cubicBezTo>
                                  <a:pt x="171" y="7"/>
                                  <a:pt x="172" y="10"/>
                                  <a:pt x="172" y="14"/>
                                </a:cubicBezTo>
                                <a:cubicBezTo>
                                  <a:pt x="172" y="17"/>
                                  <a:pt x="172" y="19"/>
                                  <a:pt x="170" y="23"/>
                                </a:cubicBezTo>
                                <a:cubicBezTo>
                                  <a:pt x="169" y="27"/>
                                  <a:pt x="164" y="26"/>
                                  <a:pt x="161" y="24"/>
                                </a:cubicBezTo>
                                <a:cubicBezTo>
                                  <a:pt x="157" y="23"/>
                                  <a:pt x="154" y="20"/>
                                  <a:pt x="152" y="17"/>
                                </a:cubicBezTo>
                                <a:cubicBezTo>
                                  <a:pt x="150" y="13"/>
                                  <a:pt x="148" y="12"/>
                                  <a:pt x="145" y="12"/>
                                </a:cubicBezTo>
                                <a:cubicBezTo>
                                  <a:pt x="142" y="12"/>
                                  <a:pt x="142" y="12"/>
                                  <a:pt x="140" y="14"/>
                                </a:cubicBezTo>
                                <a:cubicBezTo>
                                  <a:pt x="137" y="15"/>
                                  <a:pt x="134" y="16"/>
                                  <a:pt x="133" y="16"/>
                                </a:cubicBezTo>
                                <a:cubicBezTo>
                                  <a:pt x="131" y="16"/>
                                  <a:pt x="128" y="15"/>
                                  <a:pt x="126" y="15"/>
                                </a:cubicBezTo>
                                <a:cubicBezTo>
                                  <a:pt x="124" y="15"/>
                                  <a:pt x="119" y="19"/>
                                  <a:pt x="118" y="21"/>
                                </a:cubicBezTo>
                                <a:cubicBezTo>
                                  <a:pt x="118" y="22"/>
                                  <a:pt x="116" y="27"/>
                                  <a:pt x="115" y="29"/>
                                </a:cubicBezTo>
                                <a:cubicBezTo>
                                  <a:pt x="113" y="32"/>
                                  <a:pt x="110" y="35"/>
                                  <a:pt x="109" y="39"/>
                                </a:cubicBezTo>
                                <a:cubicBezTo>
                                  <a:pt x="107" y="43"/>
                                  <a:pt x="104" y="46"/>
                                  <a:pt x="102" y="48"/>
                                </a:cubicBezTo>
                                <a:cubicBezTo>
                                  <a:pt x="101" y="49"/>
                                  <a:pt x="94" y="51"/>
                                  <a:pt x="94" y="53"/>
                                </a:cubicBezTo>
                                <a:cubicBezTo>
                                  <a:pt x="94" y="55"/>
                                  <a:pt x="99" y="54"/>
                                  <a:pt x="102" y="53"/>
                                </a:cubicBezTo>
                                <a:cubicBezTo>
                                  <a:pt x="106" y="53"/>
                                  <a:pt x="106" y="54"/>
                                  <a:pt x="111" y="55"/>
                                </a:cubicBezTo>
                                <a:cubicBezTo>
                                  <a:pt x="117" y="56"/>
                                  <a:pt x="119" y="56"/>
                                  <a:pt x="125" y="56"/>
                                </a:cubicBezTo>
                                <a:cubicBezTo>
                                  <a:pt x="130" y="56"/>
                                  <a:pt x="129" y="58"/>
                                  <a:pt x="130" y="61"/>
                                </a:cubicBezTo>
                                <a:cubicBezTo>
                                  <a:pt x="132" y="64"/>
                                  <a:pt x="131" y="67"/>
                                  <a:pt x="130" y="70"/>
                                </a:cubicBezTo>
                                <a:cubicBezTo>
                                  <a:pt x="130" y="73"/>
                                  <a:pt x="125" y="75"/>
                                  <a:pt x="120" y="76"/>
                                </a:cubicBezTo>
                                <a:cubicBezTo>
                                  <a:pt x="116" y="78"/>
                                  <a:pt x="115" y="78"/>
                                  <a:pt x="113" y="81"/>
                                </a:cubicBezTo>
                                <a:cubicBezTo>
                                  <a:pt x="110" y="83"/>
                                  <a:pt x="110" y="84"/>
                                  <a:pt x="110" y="89"/>
                                </a:cubicBezTo>
                                <a:cubicBezTo>
                                  <a:pt x="109" y="95"/>
                                  <a:pt x="108" y="95"/>
                                  <a:pt x="105" y="97"/>
                                </a:cubicBezTo>
                                <a:cubicBezTo>
                                  <a:pt x="101" y="100"/>
                                  <a:pt x="99" y="96"/>
                                  <a:pt x="94" y="96"/>
                                </a:cubicBezTo>
                                <a:cubicBezTo>
                                  <a:pt x="89" y="96"/>
                                  <a:pt x="88" y="94"/>
                                  <a:pt x="84" y="92"/>
                                </a:cubicBezTo>
                                <a:cubicBezTo>
                                  <a:pt x="80" y="90"/>
                                  <a:pt x="77" y="91"/>
                                  <a:pt x="74" y="93"/>
                                </a:cubicBezTo>
                                <a:cubicBezTo>
                                  <a:pt x="71" y="96"/>
                                  <a:pt x="72" y="99"/>
                                  <a:pt x="70" y="102"/>
                                </a:cubicBezTo>
                                <a:cubicBezTo>
                                  <a:pt x="68" y="105"/>
                                  <a:pt x="63" y="100"/>
                                  <a:pt x="61" y="95"/>
                                </a:cubicBezTo>
                                <a:cubicBezTo>
                                  <a:pt x="60" y="90"/>
                                  <a:pt x="58" y="91"/>
                                  <a:pt x="53" y="88"/>
                                </a:cubicBezTo>
                                <a:cubicBezTo>
                                  <a:pt x="49" y="86"/>
                                  <a:pt x="47" y="88"/>
                                  <a:pt x="41" y="86"/>
                                </a:cubicBezTo>
                                <a:cubicBezTo>
                                  <a:pt x="36" y="84"/>
                                  <a:pt x="35" y="86"/>
                                  <a:pt x="30" y="87"/>
                                </a:cubicBezTo>
                                <a:cubicBezTo>
                                  <a:pt x="26" y="88"/>
                                  <a:pt x="25" y="90"/>
                                  <a:pt x="23" y="90"/>
                                </a:cubicBezTo>
                                <a:cubicBezTo>
                                  <a:pt x="21" y="90"/>
                                  <a:pt x="19" y="88"/>
                                  <a:pt x="18" y="90"/>
                                </a:cubicBezTo>
                                <a:cubicBezTo>
                                  <a:pt x="18" y="93"/>
                                  <a:pt x="19" y="93"/>
                                  <a:pt x="20" y="96"/>
                                </a:cubicBezTo>
                                <a:cubicBezTo>
                                  <a:pt x="21" y="100"/>
                                  <a:pt x="21" y="98"/>
                                  <a:pt x="23" y="101"/>
                                </a:cubicBezTo>
                                <a:cubicBezTo>
                                  <a:pt x="26" y="104"/>
                                  <a:pt x="25" y="105"/>
                                  <a:pt x="24" y="108"/>
                                </a:cubicBezTo>
                                <a:cubicBezTo>
                                  <a:pt x="22" y="110"/>
                                  <a:pt x="22" y="114"/>
                                  <a:pt x="22" y="116"/>
                                </a:cubicBezTo>
                                <a:cubicBezTo>
                                  <a:pt x="22" y="118"/>
                                  <a:pt x="25" y="119"/>
                                  <a:pt x="30" y="119"/>
                                </a:cubicBezTo>
                                <a:cubicBezTo>
                                  <a:pt x="35" y="119"/>
                                  <a:pt x="37" y="120"/>
                                  <a:pt x="40" y="122"/>
                                </a:cubicBezTo>
                                <a:cubicBezTo>
                                  <a:pt x="43" y="124"/>
                                  <a:pt x="40" y="125"/>
                                  <a:pt x="37" y="127"/>
                                </a:cubicBezTo>
                                <a:cubicBezTo>
                                  <a:pt x="34" y="129"/>
                                  <a:pt x="33" y="129"/>
                                  <a:pt x="29" y="130"/>
                                </a:cubicBezTo>
                                <a:cubicBezTo>
                                  <a:pt x="25" y="132"/>
                                  <a:pt x="27" y="135"/>
                                  <a:pt x="30" y="139"/>
                                </a:cubicBezTo>
                                <a:cubicBezTo>
                                  <a:pt x="33" y="143"/>
                                  <a:pt x="32" y="140"/>
                                  <a:pt x="32" y="144"/>
                                </a:cubicBezTo>
                                <a:cubicBezTo>
                                  <a:pt x="32" y="148"/>
                                  <a:pt x="31" y="146"/>
                                  <a:pt x="28" y="147"/>
                                </a:cubicBezTo>
                                <a:cubicBezTo>
                                  <a:pt x="24" y="148"/>
                                  <a:pt x="25" y="150"/>
                                  <a:pt x="20" y="151"/>
                                </a:cubicBezTo>
                                <a:cubicBezTo>
                                  <a:pt x="16" y="152"/>
                                  <a:pt x="11" y="154"/>
                                  <a:pt x="13" y="156"/>
                                </a:cubicBezTo>
                                <a:cubicBezTo>
                                  <a:pt x="16" y="158"/>
                                  <a:pt x="16" y="160"/>
                                  <a:pt x="19" y="163"/>
                                </a:cubicBezTo>
                                <a:cubicBezTo>
                                  <a:pt x="22" y="165"/>
                                  <a:pt x="26" y="165"/>
                                  <a:pt x="32" y="162"/>
                                </a:cubicBezTo>
                                <a:cubicBezTo>
                                  <a:pt x="38" y="160"/>
                                  <a:pt x="38" y="163"/>
                                  <a:pt x="40" y="164"/>
                                </a:cubicBezTo>
                                <a:cubicBezTo>
                                  <a:pt x="43" y="166"/>
                                  <a:pt x="41" y="169"/>
                                  <a:pt x="41" y="171"/>
                                </a:cubicBezTo>
                                <a:cubicBezTo>
                                  <a:pt x="42" y="173"/>
                                  <a:pt x="44" y="175"/>
                                  <a:pt x="51" y="175"/>
                                </a:cubicBezTo>
                                <a:cubicBezTo>
                                  <a:pt x="58" y="174"/>
                                  <a:pt x="58" y="175"/>
                                  <a:pt x="62" y="177"/>
                                </a:cubicBezTo>
                                <a:cubicBezTo>
                                  <a:pt x="66" y="179"/>
                                  <a:pt x="69" y="178"/>
                                  <a:pt x="75" y="175"/>
                                </a:cubicBezTo>
                                <a:cubicBezTo>
                                  <a:pt x="81" y="172"/>
                                  <a:pt x="81" y="172"/>
                                  <a:pt x="83" y="175"/>
                                </a:cubicBezTo>
                                <a:cubicBezTo>
                                  <a:pt x="85" y="179"/>
                                  <a:pt x="82" y="179"/>
                                  <a:pt x="80" y="183"/>
                                </a:cubicBezTo>
                                <a:cubicBezTo>
                                  <a:pt x="78" y="186"/>
                                  <a:pt x="77" y="184"/>
                                  <a:pt x="72" y="184"/>
                                </a:cubicBezTo>
                                <a:cubicBezTo>
                                  <a:pt x="67" y="184"/>
                                  <a:pt x="66" y="185"/>
                                  <a:pt x="61" y="188"/>
                                </a:cubicBezTo>
                                <a:cubicBezTo>
                                  <a:pt x="55" y="192"/>
                                  <a:pt x="54" y="193"/>
                                  <a:pt x="50" y="198"/>
                                </a:cubicBezTo>
                                <a:cubicBezTo>
                                  <a:pt x="46" y="202"/>
                                  <a:pt x="49" y="202"/>
                                  <a:pt x="51" y="208"/>
                                </a:cubicBezTo>
                                <a:cubicBezTo>
                                  <a:pt x="52" y="213"/>
                                  <a:pt x="49" y="212"/>
                                  <a:pt x="46" y="217"/>
                                </a:cubicBezTo>
                                <a:cubicBezTo>
                                  <a:pt x="42" y="222"/>
                                  <a:pt x="46" y="222"/>
                                  <a:pt x="49" y="223"/>
                                </a:cubicBezTo>
                                <a:cubicBezTo>
                                  <a:pt x="52" y="224"/>
                                  <a:pt x="55" y="223"/>
                                  <a:pt x="60" y="221"/>
                                </a:cubicBezTo>
                                <a:cubicBezTo>
                                  <a:pt x="64" y="219"/>
                                  <a:pt x="64" y="218"/>
                                  <a:pt x="73" y="215"/>
                                </a:cubicBezTo>
                                <a:cubicBezTo>
                                  <a:pt x="82" y="212"/>
                                  <a:pt x="82" y="215"/>
                                  <a:pt x="86" y="218"/>
                                </a:cubicBezTo>
                                <a:cubicBezTo>
                                  <a:pt x="90" y="221"/>
                                  <a:pt x="92" y="223"/>
                                  <a:pt x="92" y="227"/>
                                </a:cubicBezTo>
                                <a:cubicBezTo>
                                  <a:pt x="92" y="231"/>
                                  <a:pt x="86" y="229"/>
                                  <a:pt x="80" y="229"/>
                                </a:cubicBezTo>
                                <a:cubicBezTo>
                                  <a:pt x="73" y="229"/>
                                  <a:pt x="74" y="230"/>
                                  <a:pt x="70" y="233"/>
                                </a:cubicBezTo>
                                <a:cubicBezTo>
                                  <a:pt x="65" y="236"/>
                                  <a:pt x="60" y="236"/>
                                  <a:pt x="54" y="234"/>
                                </a:cubicBezTo>
                                <a:cubicBezTo>
                                  <a:pt x="48" y="232"/>
                                  <a:pt x="43" y="234"/>
                                  <a:pt x="41" y="236"/>
                                </a:cubicBezTo>
                                <a:cubicBezTo>
                                  <a:pt x="39" y="238"/>
                                  <a:pt x="38" y="240"/>
                                  <a:pt x="34" y="242"/>
                                </a:cubicBezTo>
                                <a:cubicBezTo>
                                  <a:pt x="29" y="245"/>
                                  <a:pt x="28" y="245"/>
                                  <a:pt x="26" y="249"/>
                                </a:cubicBezTo>
                                <a:cubicBezTo>
                                  <a:pt x="23" y="253"/>
                                  <a:pt x="27" y="253"/>
                                  <a:pt x="30" y="258"/>
                                </a:cubicBezTo>
                                <a:cubicBezTo>
                                  <a:pt x="33" y="262"/>
                                  <a:pt x="31" y="265"/>
                                  <a:pt x="29" y="270"/>
                                </a:cubicBezTo>
                                <a:cubicBezTo>
                                  <a:pt x="26" y="275"/>
                                  <a:pt x="21" y="276"/>
                                  <a:pt x="15" y="278"/>
                                </a:cubicBezTo>
                                <a:cubicBezTo>
                                  <a:pt x="8" y="281"/>
                                  <a:pt x="8" y="282"/>
                                  <a:pt x="4" y="284"/>
                                </a:cubicBezTo>
                                <a:cubicBezTo>
                                  <a:pt x="0" y="286"/>
                                  <a:pt x="1" y="289"/>
                                  <a:pt x="5" y="289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grpSp>
                        <p:nvGrpSpPr>
                          <p:cNvPr id="478" name="Gruppieren 477"/>
                          <p:cNvGrpSpPr/>
                          <p:nvPr/>
                        </p:nvGrpSpPr>
                        <p:grpSpPr>
                          <a:xfrm>
                            <a:off x="3927985" y="2709360"/>
                            <a:ext cx="3830240" cy="1863327"/>
                            <a:chOff x="3927985" y="2709360"/>
                            <a:chExt cx="3830240" cy="1863327"/>
                          </a:xfrm>
                          <a:grpFill/>
                        </p:grpSpPr>
                        <p:sp>
                          <p:nvSpPr>
                            <p:cNvPr id="479" name="Freeform 183"/>
                            <p:cNvSpPr>
                              <a:spLocks/>
                            </p:cNvSpPr>
                            <p:nvPr/>
                          </p:nvSpPr>
                          <p:spPr bwMode="auto">
                            <a:xfrm>
                              <a:off x="4198256" y="3819022"/>
                              <a:ext cx="222647" cy="161925"/>
                            </a:xfrm>
                            <a:custGeom>
                              <a:avLst/>
                              <a:gdLst>
                                <a:gd name="T0" fmla="*/ 193 w 779"/>
                                <a:gd name="T1" fmla="*/ 536 h 564"/>
                                <a:gd name="T2" fmla="*/ 240 w 779"/>
                                <a:gd name="T3" fmla="*/ 552 h 564"/>
                                <a:gd name="T4" fmla="*/ 297 w 779"/>
                                <a:gd name="T5" fmla="*/ 514 h 564"/>
                                <a:gd name="T6" fmla="*/ 383 w 779"/>
                                <a:gd name="T7" fmla="*/ 513 h 564"/>
                                <a:gd name="T8" fmla="*/ 421 w 779"/>
                                <a:gd name="T9" fmla="*/ 508 h 564"/>
                                <a:gd name="T10" fmla="*/ 448 w 779"/>
                                <a:gd name="T11" fmla="*/ 507 h 564"/>
                                <a:gd name="T12" fmla="*/ 470 w 779"/>
                                <a:gd name="T13" fmla="*/ 470 h 564"/>
                                <a:gd name="T14" fmla="*/ 508 w 779"/>
                                <a:gd name="T15" fmla="*/ 456 h 564"/>
                                <a:gd name="T16" fmla="*/ 526 w 779"/>
                                <a:gd name="T17" fmla="*/ 430 h 564"/>
                                <a:gd name="T18" fmla="*/ 558 w 779"/>
                                <a:gd name="T19" fmla="*/ 391 h 564"/>
                                <a:gd name="T20" fmla="*/ 578 w 779"/>
                                <a:gd name="T21" fmla="*/ 359 h 564"/>
                                <a:gd name="T22" fmla="*/ 565 w 779"/>
                                <a:gd name="T23" fmla="*/ 293 h 564"/>
                                <a:gd name="T24" fmla="*/ 633 w 779"/>
                                <a:gd name="T25" fmla="*/ 204 h 564"/>
                                <a:gd name="T26" fmla="*/ 725 w 779"/>
                                <a:gd name="T27" fmla="*/ 165 h 564"/>
                                <a:gd name="T28" fmla="*/ 769 w 779"/>
                                <a:gd name="T29" fmla="*/ 117 h 564"/>
                                <a:gd name="T30" fmla="*/ 727 w 779"/>
                                <a:gd name="T31" fmla="*/ 109 h 564"/>
                                <a:gd name="T32" fmla="*/ 675 w 779"/>
                                <a:gd name="T33" fmla="*/ 92 h 564"/>
                                <a:gd name="T34" fmla="*/ 627 w 779"/>
                                <a:gd name="T35" fmla="*/ 74 h 564"/>
                                <a:gd name="T36" fmla="*/ 613 w 779"/>
                                <a:gd name="T37" fmla="*/ 80 h 564"/>
                                <a:gd name="T38" fmla="*/ 585 w 779"/>
                                <a:gd name="T39" fmla="*/ 84 h 564"/>
                                <a:gd name="T40" fmla="*/ 549 w 779"/>
                                <a:gd name="T41" fmla="*/ 71 h 564"/>
                                <a:gd name="T42" fmla="*/ 494 w 779"/>
                                <a:gd name="T43" fmla="*/ 57 h 564"/>
                                <a:gd name="T44" fmla="*/ 464 w 779"/>
                                <a:gd name="T45" fmla="*/ 25 h 564"/>
                                <a:gd name="T46" fmla="*/ 411 w 779"/>
                                <a:gd name="T47" fmla="*/ 22 h 564"/>
                                <a:gd name="T48" fmla="*/ 355 w 779"/>
                                <a:gd name="T49" fmla="*/ 17 h 564"/>
                                <a:gd name="T50" fmla="*/ 265 w 779"/>
                                <a:gd name="T51" fmla="*/ 20 h 564"/>
                                <a:gd name="T52" fmla="*/ 182 w 779"/>
                                <a:gd name="T53" fmla="*/ 11 h 564"/>
                                <a:gd name="T54" fmla="*/ 103 w 779"/>
                                <a:gd name="T55" fmla="*/ 1 h 564"/>
                                <a:gd name="T56" fmla="*/ 68 w 779"/>
                                <a:gd name="T57" fmla="*/ 8 h 564"/>
                                <a:gd name="T58" fmla="*/ 50 w 779"/>
                                <a:gd name="T59" fmla="*/ 29 h 564"/>
                                <a:gd name="T60" fmla="*/ 14 w 779"/>
                                <a:gd name="T61" fmla="*/ 40 h 564"/>
                                <a:gd name="T62" fmla="*/ 10 w 779"/>
                                <a:gd name="T63" fmla="*/ 71 h 564"/>
                                <a:gd name="T64" fmla="*/ 33 w 779"/>
                                <a:gd name="T65" fmla="*/ 74 h 564"/>
                                <a:gd name="T66" fmla="*/ 39 w 779"/>
                                <a:gd name="T67" fmla="*/ 99 h 564"/>
                                <a:gd name="T68" fmla="*/ 26 w 779"/>
                                <a:gd name="T69" fmla="*/ 135 h 564"/>
                                <a:gd name="T70" fmla="*/ 67 w 779"/>
                                <a:gd name="T71" fmla="*/ 116 h 564"/>
                                <a:gd name="T72" fmla="*/ 78 w 779"/>
                                <a:gd name="T73" fmla="*/ 129 h 564"/>
                                <a:gd name="T74" fmla="*/ 75 w 779"/>
                                <a:gd name="T75" fmla="*/ 140 h 564"/>
                                <a:gd name="T76" fmla="*/ 82 w 779"/>
                                <a:gd name="T77" fmla="*/ 142 h 564"/>
                                <a:gd name="T78" fmla="*/ 113 w 779"/>
                                <a:gd name="T79" fmla="*/ 134 h 564"/>
                                <a:gd name="T80" fmla="*/ 136 w 779"/>
                                <a:gd name="T81" fmla="*/ 130 h 564"/>
                                <a:gd name="T82" fmla="*/ 171 w 779"/>
                                <a:gd name="T83" fmla="*/ 138 h 564"/>
                                <a:gd name="T84" fmla="*/ 188 w 779"/>
                                <a:gd name="T85" fmla="*/ 157 h 564"/>
                                <a:gd name="T86" fmla="*/ 190 w 779"/>
                                <a:gd name="T87" fmla="*/ 169 h 564"/>
                                <a:gd name="T88" fmla="*/ 164 w 779"/>
                                <a:gd name="T89" fmla="*/ 188 h 564"/>
                                <a:gd name="T90" fmla="*/ 155 w 779"/>
                                <a:gd name="T91" fmla="*/ 231 h 564"/>
                                <a:gd name="T92" fmla="*/ 144 w 779"/>
                                <a:gd name="T93" fmla="*/ 298 h 564"/>
                                <a:gd name="T94" fmla="*/ 125 w 779"/>
                                <a:gd name="T95" fmla="*/ 305 h 564"/>
                                <a:gd name="T96" fmla="*/ 113 w 779"/>
                                <a:gd name="T97" fmla="*/ 306 h 564"/>
                                <a:gd name="T98" fmla="*/ 119 w 779"/>
                                <a:gd name="T99" fmla="*/ 317 h 564"/>
                                <a:gd name="T100" fmla="*/ 135 w 779"/>
                                <a:gd name="T101" fmla="*/ 362 h 564"/>
                                <a:gd name="T102" fmla="*/ 130 w 779"/>
                                <a:gd name="T103" fmla="*/ 371 h 564"/>
                                <a:gd name="T104" fmla="*/ 132 w 779"/>
                                <a:gd name="T105" fmla="*/ 399 h 564"/>
                                <a:gd name="T106" fmla="*/ 137 w 779"/>
                                <a:gd name="T107" fmla="*/ 422 h 564"/>
                                <a:gd name="T108" fmla="*/ 124 w 779"/>
                                <a:gd name="T109" fmla="*/ 431 h 564"/>
                                <a:gd name="T110" fmla="*/ 122 w 779"/>
                                <a:gd name="T111" fmla="*/ 475 h 564"/>
                                <a:gd name="T112" fmla="*/ 167 w 779"/>
                                <a:gd name="T113" fmla="*/ 497 h 56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  <a:cxn ang="0">
                                  <a:pos x="T100" y="T101"/>
                                </a:cxn>
                                <a:cxn ang="0">
                                  <a:pos x="T102" y="T103"/>
                                </a:cxn>
                                <a:cxn ang="0">
                                  <a:pos x="T104" y="T105"/>
                                </a:cxn>
                                <a:cxn ang="0">
                                  <a:pos x="T106" y="T107"/>
                                </a:cxn>
                                <a:cxn ang="0">
                                  <a:pos x="T108" y="T109"/>
                                </a:cxn>
                                <a:cxn ang="0">
                                  <a:pos x="T110" y="T111"/>
                                </a:cxn>
                                <a:cxn ang="0">
                                  <a:pos x="T112" y="T113"/>
                                </a:cxn>
                              </a:cxnLst>
                              <a:rect l="0" t="0" r="r" b="b"/>
                              <a:pathLst>
                                <a:path w="779" h="564">
                                  <a:moveTo>
                                    <a:pt x="181" y="509"/>
                                  </a:moveTo>
                                  <a:cubicBezTo>
                                    <a:pt x="179" y="513"/>
                                    <a:pt x="180" y="519"/>
                                    <a:pt x="182" y="522"/>
                                  </a:cubicBezTo>
                                  <a:cubicBezTo>
                                    <a:pt x="184" y="526"/>
                                    <a:pt x="189" y="528"/>
                                    <a:pt x="193" y="536"/>
                                  </a:cubicBezTo>
                                  <a:cubicBezTo>
                                    <a:pt x="197" y="545"/>
                                    <a:pt x="197" y="549"/>
                                    <a:pt x="204" y="552"/>
                                  </a:cubicBezTo>
                                  <a:cubicBezTo>
                                    <a:pt x="210" y="556"/>
                                    <a:pt x="216" y="556"/>
                                    <a:pt x="222" y="560"/>
                                  </a:cubicBezTo>
                                  <a:cubicBezTo>
                                    <a:pt x="228" y="564"/>
                                    <a:pt x="237" y="557"/>
                                    <a:pt x="240" y="552"/>
                                  </a:cubicBezTo>
                                  <a:cubicBezTo>
                                    <a:pt x="244" y="547"/>
                                    <a:pt x="252" y="540"/>
                                    <a:pt x="260" y="537"/>
                                  </a:cubicBezTo>
                                  <a:cubicBezTo>
                                    <a:pt x="267" y="533"/>
                                    <a:pt x="270" y="529"/>
                                    <a:pt x="279" y="525"/>
                                  </a:cubicBezTo>
                                  <a:cubicBezTo>
                                    <a:pt x="287" y="522"/>
                                    <a:pt x="287" y="517"/>
                                    <a:pt x="297" y="514"/>
                                  </a:cubicBezTo>
                                  <a:cubicBezTo>
                                    <a:pt x="308" y="511"/>
                                    <a:pt x="316" y="510"/>
                                    <a:pt x="324" y="510"/>
                                  </a:cubicBezTo>
                                  <a:cubicBezTo>
                                    <a:pt x="332" y="510"/>
                                    <a:pt x="350" y="511"/>
                                    <a:pt x="358" y="511"/>
                                  </a:cubicBezTo>
                                  <a:cubicBezTo>
                                    <a:pt x="367" y="512"/>
                                    <a:pt x="377" y="512"/>
                                    <a:pt x="383" y="513"/>
                                  </a:cubicBezTo>
                                  <a:cubicBezTo>
                                    <a:pt x="388" y="513"/>
                                    <a:pt x="394" y="515"/>
                                    <a:pt x="398" y="516"/>
                                  </a:cubicBezTo>
                                  <a:cubicBezTo>
                                    <a:pt x="402" y="516"/>
                                    <a:pt x="410" y="515"/>
                                    <a:pt x="413" y="513"/>
                                  </a:cubicBezTo>
                                  <a:cubicBezTo>
                                    <a:pt x="415" y="511"/>
                                    <a:pt x="417" y="509"/>
                                    <a:pt x="421" y="508"/>
                                  </a:cubicBezTo>
                                  <a:cubicBezTo>
                                    <a:pt x="426" y="507"/>
                                    <a:pt x="427" y="505"/>
                                    <a:pt x="432" y="506"/>
                                  </a:cubicBezTo>
                                  <a:cubicBezTo>
                                    <a:pt x="437" y="507"/>
                                    <a:pt x="437" y="510"/>
                                    <a:pt x="441" y="511"/>
                                  </a:cubicBezTo>
                                  <a:cubicBezTo>
                                    <a:pt x="444" y="511"/>
                                    <a:pt x="446" y="510"/>
                                    <a:pt x="448" y="507"/>
                                  </a:cubicBezTo>
                                  <a:cubicBezTo>
                                    <a:pt x="450" y="504"/>
                                    <a:pt x="454" y="496"/>
                                    <a:pt x="456" y="492"/>
                                  </a:cubicBezTo>
                                  <a:cubicBezTo>
                                    <a:pt x="457" y="488"/>
                                    <a:pt x="459" y="484"/>
                                    <a:pt x="462" y="480"/>
                                  </a:cubicBezTo>
                                  <a:cubicBezTo>
                                    <a:pt x="464" y="477"/>
                                    <a:pt x="466" y="473"/>
                                    <a:pt x="470" y="470"/>
                                  </a:cubicBezTo>
                                  <a:cubicBezTo>
                                    <a:pt x="474" y="467"/>
                                    <a:pt x="475" y="466"/>
                                    <a:pt x="482" y="464"/>
                                  </a:cubicBezTo>
                                  <a:cubicBezTo>
                                    <a:pt x="489" y="462"/>
                                    <a:pt x="491" y="462"/>
                                    <a:pt x="495" y="460"/>
                                  </a:cubicBezTo>
                                  <a:cubicBezTo>
                                    <a:pt x="500" y="458"/>
                                    <a:pt x="504" y="457"/>
                                    <a:pt x="508" y="456"/>
                                  </a:cubicBezTo>
                                  <a:cubicBezTo>
                                    <a:pt x="512" y="455"/>
                                    <a:pt x="519" y="455"/>
                                    <a:pt x="522" y="453"/>
                                  </a:cubicBezTo>
                                  <a:cubicBezTo>
                                    <a:pt x="525" y="451"/>
                                    <a:pt x="524" y="445"/>
                                    <a:pt x="524" y="441"/>
                                  </a:cubicBezTo>
                                  <a:cubicBezTo>
                                    <a:pt x="523" y="438"/>
                                    <a:pt x="522" y="434"/>
                                    <a:pt x="526" y="430"/>
                                  </a:cubicBezTo>
                                  <a:cubicBezTo>
                                    <a:pt x="529" y="425"/>
                                    <a:pt x="531" y="423"/>
                                    <a:pt x="533" y="418"/>
                                  </a:cubicBezTo>
                                  <a:cubicBezTo>
                                    <a:pt x="535" y="414"/>
                                    <a:pt x="538" y="410"/>
                                    <a:pt x="542" y="404"/>
                                  </a:cubicBezTo>
                                  <a:cubicBezTo>
                                    <a:pt x="546" y="399"/>
                                    <a:pt x="555" y="395"/>
                                    <a:pt x="558" y="391"/>
                                  </a:cubicBezTo>
                                  <a:cubicBezTo>
                                    <a:pt x="561" y="387"/>
                                    <a:pt x="572" y="380"/>
                                    <a:pt x="576" y="377"/>
                                  </a:cubicBezTo>
                                  <a:cubicBezTo>
                                    <a:pt x="580" y="373"/>
                                    <a:pt x="584" y="373"/>
                                    <a:pt x="585" y="369"/>
                                  </a:cubicBezTo>
                                  <a:cubicBezTo>
                                    <a:pt x="585" y="364"/>
                                    <a:pt x="584" y="364"/>
                                    <a:pt x="578" y="359"/>
                                  </a:cubicBezTo>
                                  <a:cubicBezTo>
                                    <a:pt x="572" y="354"/>
                                    <a:pt x="565" y="347"/>
                                    <a:pt x="562" y="338"/>
                                  </a:cubicBezTo>
                                  <a:cubicBezTo>
                                    <a:pt x="559" y="328"/>
                                    <a:pt x="553" y="327"/>
                                    <a:pt x="554" y="318"/>
                                  </a:cubicBezTo>
                                  <a:cubicBezTo>
                                    <a:pt x="554" y="309"/>
                                    <a:pt x="557" y="302"/>
                                    <a:pt x="565" y="293"/>
                                  </a:cubicBezTo>
                                  <a:cubicBezTo>
                                    <a:pt x="574" y="284"/>
                                    <a:pt x="578" y="276"/>
                                    <a:pt x="585" y="266"/>
                                  </a:cubicBezTo>
                                  <a:cubicBezTo>
                                    <a:pt x="593" y="256"/>
                                    <a:pt x="598" y="249"/>
                                    <a:pt x="605" y="243"/>
                                  </a:cubicBezTo>
                                  <a:cubicBezTo>
                                    <a:pt x="611" y="236"/>
                                    <a:pt x="626" y="209"/>
                                    <a:pt x="633" y="204"/>
                                  </a:cubicBezTo>
                                  <a:cubicBezTo>
                                    <a:pt x="639" y="199"/>
                                    <a:pt x="640" y="200"/>
                                    <a:pt x="655" y="195"/>
                                  </a:cubicBezTo>
                                  <a:cubicBezTo>
                                    <a:pt x="671" y="191"/>
                                    <a:pt x="677" y="191"/>
                                    <a:pt x="687" y="186"/>
                                  </a:cubicBezTo>
                                  <a:cubicBezTo>
                                    <a:pt x="696" y="181"/>
                                    <a:pt x="720" y="168"/>
                                    <a:pt x="725" y="165"/>
                                  </a:cubicBezTo>
                                  <a:cubicBezTo>
                                    <a:pt x="730" y="163"/>
                                    <a:pt x="751" y="154"/>
                                    <a:pt x="759" y="148"/>
                                  </a:cubicBezTo>
                                  <a:cubicBezTo>
                                    <a:pt x="768" y="142"/>
                                    <a:pt x="770" y="141"/>
                                    <a:pt x="771" y="135"/>
                                  </a:cubicBezTo>
                                  <a:cubicBezTo>
                                    <a:pt x="772" y="128"/>
                                    <a:pt x="767" y="122"/>
                                    <a:pt x="769" y="117"/>
                                  </a:cubicBezTo>
                                  <a:cubicBezTo>
                                    <a:pt x="770" y="112"/>
                                    <a:pt x="775" y="110"/>
                                    <a:pt x="776" y="106"/>
                                  </a:cubicBezTo>
                                  <a:cubicBezTo>
                                    <a:pt x="778" y="104"/>
                                    <a:pt x="779" y="102"/>
                                    <a:pt x="778" y="100"/>
                                  </a:cubicBezTo>
                                  <a:cubicBezTo>
                                    <a:pt x="764" y="102"/>
                                    <a:pt x="740" y="107"/>
                                    <a:pt x="727" y="109"/>
                                  </a:cubicBezTo>
                                  <a:cubicBezTo>
                                    <a:pt x="714" y="110"/>
                                    <a:pt x="706" y="105"/>
                                    <a:pt x="698" y="100"/>
                                  </a:cubicBezTo>
                                  <a:cubicBezTo>
                                    <a:pt x="695" y="97"/>
                                    <a:pt x="691" y="95"/>
                                    <a:pt x="687" y="94"/>
                                  </a:cubicBezTo>
                                  <a:cubicBezTo>
                                    <a:pt x="683" y="92"/>
                                    <a:pt x="679" y="92"/>
                                    <a:pt x="675" y="92"/>
                                  </a:cubicBezTo>
                                  <a:cubicBezTo>
                                    <a:pt x="670" y="92"/>
                                    <a:pt x="665" y="92"/>
                                    <a:pt x="658" y="88"/>
                                  </a:cubicBezTo>
                                  <a:cubicBezTo>
                                    <a:pt x="654" y="87"/>
                                    <a:pt x="652" y="85"/>
                                    <a:pt x="650" y="84"/>
                                  </a:cubicBezTo>
                                  <a:cubicBezTo>
                                    <a:pt x="646" y="82"/>
                                    <a:pt x="642" y="80"/>
                                    <a:pt x="627" y="74"/>
                                  </a:cubicBezTo>
                                  <a:cubicBezTo>
                                    <a:pt x="618" y="72"/>
                                    <a:pt x="617" y="70"/>
                                    <a:pt x="617" y="70"/>
                                  </a:cubicBezTo>
                                  <a:cubicBezTo>
                                    <a:pt x="617" y="70"/>
                                    <a:pt x="617" y="70"/>
                                    <a:pt x="617" y="71"/>
                                  </a:cubicBezTo>
                                  <a:cubicBezTo>
                                    <a:pt x="617" y="74"/>
                                    <a:pt x="617" y="77"/>
                                    <a:pt x="613" y="80"/>
                                  </a:cubicBezTo>
                                  <a:cubicBezTo>
                                    <a:pt x="613" y="80"/>
                                    <a:pt x="613" y="80"/>
                                    <a:pt x="613" y="80"/>
                                  </a:cubicBezTo>
                                  <a:cubicBezTo>
                                    <a:pt x="609" y="83"/>
                                    <a:pt x="605" y="84"/>
                                    <a:pt x="600" y="84"/>
                                  </a:cubicBezTo>
                                  <a:cubicBezTo>
                                    <a:pt x="595" y="85"/>
                                    <a:pt x="590" y="84"/>
                                    <a:pt x="585" y="84"/>
                                  </a:cubicBezTo>
                                  <a:cubicBezTo>
                                    <a:pt x="579" y="84"/>
                                    <a:pt x="573" y="80"/>
                                    <a:pt x="567" y="77"/>
                                  </a:cubicBezTo>
                                  <a:cubicBezTo>
                                    <a:pt x="562" y="75"/>
                                    <a:pt x="558" y="72"/>
                                    <a:pt x="554" y="72"/>
                                  </a:cubicBezTo>
                                  <a:cubicBezTo>
                                    <a:pt x="552" y="72"/>
                                    <a:pt x="550" y="71"/>
                                    <a:pt x="549" y="71"/>
                                  </a:cubicBezTo>
                                  <a:cubicBezTo>
                                    <a:pt x="540" y="70"/>
                                    <a:pt x="532" y="70"/>
                                    <a:pt x="524" y="64"/>
                                  </a:cubicBezTo>
                                  <a:cubicBezTo>
                                    <a:pt x="520" y="61"/>
                                    <a:pt x="517" y="61"/>
                                    <a:pt x="513" y="61"/>
                                  </a:cubicBezTo>
                                  <a:cubicBezTo>
                                    <a:pt x="508" y="60"/>
                                    <a:pt x="502" y="60"/>
                                    <a:pt x="494" y="57"/>
                                  </a:cubicBezTo>
                                  <a:cubicBezTo>
                                    <a:pt x="483" y="52"/>
                                    <a:pt x="483" y="49"/>
                                    <a:pt x="482" y="44"/>
                                  </a:cubicBezTo>
                                  <a:cubicBezTo>
                                    <a:pt x="481" y="42"/>
                                    <a:pt x="480" y="39"/>
                                    <a:pt x="477" y="34"/>
                                  </a:cubicBezTo>
                                  <a:cubicBezTo>
                                    <a:pt x="472" y="28"/>
                                    <a:pt x="469" y="26"/>
                                    <a:pt x="464" y="25"/>
                                  </a:cubicBezTo>
                                  <a:cubicBezTo>
                                    <a:pt x="463" y="25"/>
                                    <a:pt x="462" y="26"/>
                                    <a:pt x="462" y="26"/>
                                  </a:cubicBezTo>
                                  <a:cubicBezTo>
                                    <a:pt x="459" y="28"/>
                                    <a:pt x="438" y="31"/>
                                    <a:pt x="433" y="31"/>
                                  </a:cubicBezTo>
                                  <a:cubicBezTo>
                                    <a:pt x="427" y="32"/>
                                    <a:pt x="418" y="25"/>
                                    <a:pt x="411" y="22"/>
                                  </a:cubicBezTo>
                                  <a:cubicBezTo>
                                    <a:pt x="403" y="20"/>
                                    <a:pt x="392" y="22"/>
                                    <a:pt x="389" y="24"/>
                                  </a:cubicBezTo>
                                  <a:cubicBezTo>
                                    <a:pt x="385" y="26"/>
                                    <a:pt x="378" y="27"/>
                                    <a:pt x="373" y="25"/>
                                  </a:cubicBezTo>
                                  <a:cubicBezTo>
                                    <a:pt x="369" y="24"/>
                                    <a:pt x="364" y="17"/>
                                    <a:pt x="355" y="17"/>
                                  </a:cubicBezTo>
                                  <a:cubicBezTo>
                                    <a:pt x="345" y="17"/>
                                    <a:pt x="330" y="20"/>
                                    <a:pt x="325" y="21"/>
                                  </a:cubicBezTo>
                                  <a:cubicBezTo>
                                    <a:pt x="319" y="22"/>
                                    <a:pt x="304" y="23"/>
                                    <a:pt x="298" y="23"/>
                                  </a:cubicBezTo>
                                  <a:cubicBezTo>
                                    <a:pt x="293" y="23"/>
                                    <a:pt x="276" y="24"/>
                                    <a:pt x="265" y="20"/>
                                  </a:cubicBezTo>
                                  <a:cubicBezTo>
                                    <a:pt x="254" y="16"/>
                                    <a:pt x="239" y="16"/>
                                    <a:pt x="231" y="15"/>
                                  </a:cubicBezTo>
                                  <a:cubicBezTo>
                                    <a:pt x="223" y="14"/>
                                    <a:pt x="222" y="9"/>
                                    <a:pt x="210" y="8"/>
                                  </a:cubicBezTo>
                                  <a:cubicBezTo>
                                    <a:pt x="198" y="7"/>
                                    <a:pt x="192" y="10"/>
                                    <a:pt x="182" y="11"/>
                                  </a:cubicBezTo>
                                  <a:cubicBezTo>
                                    <a:pt x="171" y="12"/>
                                    <a:pt x="158" y="13"/>
                                    <a:pt x="150" y="16"/>
                                  </a:cubicBezTo>
                                  <a:cubicBezTo>
                                    <a:pt x="142" y="18"/>
                                    <a:pt x="130" y="13"/>
                                    <a:pt x="124" y="9"/>
                                  </a:cubicBezTo>
                                  <a:cubicBezTo>
                                    <a:pt x="117" y="6"/>
                                    <a:pt x="109" y="1"/>
                                    <a:pt x="103" y="1"/>
                                  </a:cubicBezTo>
                                  <a:cubicBezTo>
                                    <a:pt x="97" y="0"/>
                                    <a:pt x="94" y="2"/>
                                    <a:pt x="91" y="3"/>
                                  </a:cubicBezTo>
                                  <a:cubicBezTo>
                                    <a:pt x="88" y="4"/>
                                    <a:pt x="87" y="2"/>
                                    <a:pt x="83" y="2"/>
                                  </a:cubicBezTo>
                                  <a:cubicBezTo>
                                    <a:pt x="79" y="2"/>
                                    <a:pt x="70" y="5"/>
                                    <a:pt x="68" y="8"/>
                                  </a:cubicBezTo>
                                  <a:cubicBezTo>
                                    <a:pt x="65" y="10"/>
                                    <a:pt x="60" y="12"/>
                                    <a:pt x="61" y="16"/>
                                  </a:cubicBezTo>
                                  <a:cubicBezTo>
                                    <a:pt x="62" y="19"/>
                                    <a:pt x="66" y="24"/>
                                    <a:pt x="64" y="25"/>
                                  </a:cubicBezTo>
                                  <a:cubicBezTo>
                                    <a:pt x="62" y="27"/>
                                    <a:pt x="53" y="26"/>
                                    <a:pt x="50" y="29"/>
                                  </a:cubicBezTo>
                                  <a:cubicBezTo>
                                    <a:pt x="47" y="31"/>
                                    <a:pt x="45" y="35"/>
                                    <a:pt x="39" y="33"/>
                                  </a:cubicBezTo>
                                  <a:cubicBezTo>
                                    <a:pt x="34" y="32"/>
                                    <a:pt x="30" y="28"/>
                                    <a:pt x="26" y="30"/>
                                  </a:cubicBezTo>
                                  <a:cubicBezTo>
                                    <a:pt x="23" y="31"/>
                                    <a:pt x="16" y="36"/>
                                    <a:pt x="14" y="40"/>
                                  </a:cubicBezTo>
                                  <a:cubicBezTo>
                                    <a:pt x="12" y="43"/>
                                    <a:pt x="9" y="45"/>
                                    <a:pt x="6" y="49"/>
                                  </a:cubicBezTo>
                                  <a:cubicBezTo>
                                    <a:pt x="3" y="52"/>
                                    <a:pt x="0" y="52"/>
                                    <a:pt x="2" y="58"/>
                                  </a:cubicBezTo>
                                  <a:cubicBezTo>
                                    <a:pt x="4" y="64"/>
                                    <a:pt x="5" y="69"/>
                                    <a:pt x="10" y="71"/>
                                  </a:cubicBezTo>
                                  <a:cubicBezTo>
                                    <a:pt x="14" y="74"/>
                                    <a:pt x="11" y="78"/>
                                    <a:pt x="15" y="81"/>
                                  </a:cubicBezTo>
                                  <a:cubicBezTo>
                                    <a:pt x="18" y="83"/>
                                    <a:pt x="21" y="84"/>
                                    <a:pt x="25" y="81"/>
                                  </a:cubicBezTo>
                                  <a:cubicBezTo>
                                    <a:pt x="28" y="77"/>
                                    <a:pt x="30" y="71"/>
                                    <a:pt x="33" y="74"/>
                                  </a:cubicBezTo>
                                  <a:cubicBezTo>
                                    <a:pt x="35" y="76"/>
                                    <a:pt x="35" y="81"/>
                                    <a:pt x="33" y="85"/>
                                  </a:cubicBezTo>
                                  <a:cubicBezTo>
                                    <a:pt x="30" y="89"/>
                                    <a:pt x="27" y="92"/>
                                    <a:pt x="30" y="94"/>
                                  </a:cubicBezTo>
                                  <a:cubicBezTo>
                                    <a:pt x="34" y="97"/>
                                    <a:pt x="38" y="93"/>
                                    <a:pt x="39" y="99"/>
                                  </a:cubicBezTo>
                                  <a:cubicBezTo>
                                    <a:pt x="40" y="105"/>
                                    <a:pt x="38" y="110"/>
                                    <a:pt x="34" y="114"/>
                                  </a:cubicBezTo>
                                  <a:cubicBezTo>
                                    <a:pt x="31" y="119"/>
                                    <a:pt x="26" y="122"/>
                                    <a:pt x="26" y="128"/>
                                  </a:cubicBezTo>
                                  <a:cubicBezTo>
                                    <a:pt x="26" y="130"/>
                                    <a:pt x="26" y="133"/>
                                    <a:pt x="26" y="135"/>
                                  </a:cubicBezTo>
                                  <a:cubicBezTo>
                                    <a:pt x="28" y="134"/>
                                    <a:pt x="31" y="132"/>
                                    <a:pt x="34" y="129"/>
                                  </a:cubicBezTo>
                                  <a:cubicBezTo>
                                    <a:pt x="39" y="125"/>
                                    <a:pt x="44" y="122"/>
                                    <a:pt x="49" y="120"/>
                                  </a:cubicBezTo>
                                  <a:cubicBezTo>
                                    <a:pt x="56" y="117"/>
                                    <a:pt x="63" y="116"/>
                                    <a:pt x="67" y="116"/>
                                  </a:cubicBezTo>
                                  <a:cubicBezTo>
                                    <a:pt x="67" y="116"/>
                                    <a:pt x="67" y="116"/>
                                    <a:pt x="68" y="116"/>
                                  </a:cubicBezTo>
                                  <a:cubicBezTo>
                                    <a:pt x="72" y="116"/>
                                    <a:pt x="75" y="118"/>
                                    <a:pt x="76" y="121"/>
                                  </a:cubicBezTo>
                                  <a:cubicBezTo>
                                    <a:pt x="78" y="124"/>
                                    <a:pt x="78" y="127"/>
                                    <a:pt x="78" y="129"/>
                                  </a:cubicBezTo>
                                  <a:cubicBezTo>
                                    <a:pt x="78" y="130"/>
                                    <a:pt x="78" y="130"/>
                                    <a:pt x="78" y="131"/>
                                  </a:cubicBezTo>
                                  <a:cubicBezTo>
                                    <a:pt x="78" y="133"/>
                                    <a:pt x="77" y="135"/>
                                    <a:pt x="76" y="138"/>
                                  </a:cubicBezTo>
                                  <a:cubicBezTo>
                                    <a:pt x="75" y="138"/>
                                    <a:pt x="75" y="139"/>
                                    <a:pt x="75" y="140"/>
                                  </a:cubicBezTo>
                                  <a:cubicBezTo>
                                    <a:pt x="75" y="140"/>
                                    <a:pt x="74" y="141"/>
                                    <a:pt x="75" y="141"/>
                                  </a:cubicBezTo>
                                  <a:cubicBezTo>
                                    <a:pt x="77" y="142"/>
                                    <a:pt x="79" y="142"/>
                                    <a:pt x="82" y="142"/>
                                  </a:cubicBezTo>
                                  <a:cubicBezTo>
                                    <a:pt x="82" y="142"/>
                                    <a:pt x="82" y="142"/>
                                    <a:pt x="82" y="142"/>
                                  </a:cubicBezTo>
                                  <a:cubicBezTo>
                                    <a:pt x="84" y="141"/>
                                    <a:pt x="86" y="140"/>
                                    <a:pt x="88" y="138"/>
                                  </a:cubicBezTo>
                                  <a:cubicBezTo>
                                    <a:pt x="92" y="135"/>
                                    <a:pt x="95" y="134"/>
                                    <a:pt x="99" y="134"/>
                                  </a:cubicBezTo>
                                  <a:cubicBezTo>
                                    <a:pt x="103" y="133"/>
                                    <a:pt x="107" y="133"/>
                                    <a:pt x="113" y="134"/>
                                  </a:cubicBezTo>
                                  <a:cubicBezTo>
                                    <a:pt x="119" y="134"/>
                                    <a:pt x="123" y="134"/>
                                    <a:pt x="127" y="133"/>
                                  </a:cubicBezTo>
                                  <a:cubicBezTo>
                                    <a:pt x="131" y="132"/>
                                    <a:pt x="134" y="131"/>
                                    <a:pt x="136" y="130"/>
                                  </a:cubicBezTo>
                                  <a:cubicBezTo>
                                    <a:pt x="136" y="130"/>
                                    <a:pt x="136" y="130"/>
                                    <a:pt x="136" y="130"/>
                                  </a:cubicBezTo>
                                  <a:cubicBezTo>
                                    <a:pt x="139" y="128"/>
                                    <a:pt x="144" y="127"/>
                                    <a:pt x="148" y="127"/>
                                  </a:cubicBezTo>
                                  <a:cubicBezTo>
                                    <a:pt x="153" y="126"/>
                                    <a:pt x="158" y="126"/>
                                    <a:pt x="162" y="127"/>
                                  </a:cubicBezTo>
                                  <a:cubicBezTo>
                                    <a:pt x="170" y="128"/>
                                    <a:pt x="170" y="132"/>
                                    <a:pt x="171" y="138"/>
                                  </a:cubicBezTo>
                                  <a:cubicBezTo>
                                    <a:pt x="171" y="140"/>
                                    <a:pt x="171" y="143"/>
                                    <a:pt x="172" y="145"/>
                                  </a:cubicBezTo>
                                  <a:cubicBezTo>
                                    <a:pt x="174" y="147"/>
                                    <a:pt x="177" y="149"/>
                                    <a:pt x="180" y="151"/>
                                  </a:cubicBezTo>
                                  <a:cubicBezTo>
                                    <a:pt x="183" y="152"/>
                                    <a:pt x="185" y="154"/>
                                    <a:pt x="188" y="157"/>
                                  </a:cubicBezTo>
                                  <a:cubicBezTo>
                                    <a:pt x="188" y="158"/>
                                    <a:pt x="189" y="159"/>
                                    <a:pt x="189" y="160"/>
                                  </a:cubicBezTo>
                                  <a:cubicBezTo>
                                    <a:pt x="190" y="162"/>
                                    <a:pt x="191" y="166"/>
                                    <a:pt x="190" y="169"/>
                                  </a:cubicBezTo>
                                  <a:cubicBezTo>
                                    <a:pt x="190" y="169"/>
                                    <a:pt x="190" y="169"/>
                                    <a:pt x="190" y="169"/>
                                  </a:cubicBezTo>
                                  <a:cubicBezTo>
                                    <a:pt x="189" y="172"/>
                                    <a:pt x="186" y="175"/>
                                    <a:pt x="182" y="179"/>
                                  </a:cubicBezTo>
                                  <a:cubicBezTo>
                                    <a:pt x="179" y="181"/>
                                    <a:pt x="176" y="183"/>
                                    <a:pt x="171" y="185"/>
                                  </a:cubicBezTo>
                                  <a:cubicBezTo>
                                    <a:pt x="168" y="186"/>
                                    <a:pt x="166" y="187"/>
                                    <a:pt x="164" y="188"/>
                                  </a:cubicBezTo>
                                  <a:cubicBezTo>
                                    <a:pt x="153" y="193"/>
                                    <a:pt x="149" y="195"/>
                                    <a:pt x="150" y="202"/>
                                  </a:cubicBezTo>
                                  <a:cubicBezTo>
                                    <a:pt x="150" y="207"/>
                                    <a:pt x="151" y="211"/>
                                    <a:pt x="152" y="215"/>
                                  </a:cubicBezTo>
                                  <a:cubicBezTo>
                                    <a:pt x="154" y="220"/>
                                    <a:pt x="155" y="225"/>
                                    <a:pt x="155" y="231"/>
                                  </a:cubicBezTo>
                                  <a:cubicBezTo>
                                    <a:pt x="155" y="238"/>
                                    <a:pt x="153" y="245"/>
                                    <a:pt x="151" y="252"/>
                                  </a:cubicBezTo>
                                  <a:cubicBezTo>
                                    <a:pt x="150" y="257"/>
                                    <a:pt x="149" y="261"/>
                                    <a:pt x="149" y="265"/>
                                  </a:cubicBezTo>
                                  <a:cubicBezTo>
                                    <a:pt x="148" y="272"/>
                                    <a:pt x="145" y="291"/>
                                    <a:pt x="144" y="298"/>
                                  </a:cubicBezTo>
                                  <a:cubicBezTo>
                                    <a:pt x="144" y="298"/>
                                    <a:pt x="144" y="298"/>
                                    <a:pt x="144" y="298"/>
                                  </a:cubicBezTo>
                                  <a:cubicBezTo>
                                    <a:pt x="144" y="300"/>
                                    <a:pt x="144" y="300"/>
                                    <a:pt x="144" y="300"/>
                                  </a:cubicBezTo>
                                  <a:cubicBezTo>
                                    <a:pt x="143" y="304"/>
                                    <a:pt x="134" y="305"/>
                                    <a:pt x="125" y="305"/>
                                  </a:cubicBezTo>
                                  <a:cubicBezTo>
                                    <a:pt x="119" y="305"/>
                                    <a:pt x="114" y="305"/>
                                    <a:pt x="113" y="306"/>
                                  </a:cubicBezTo>
                                  <a:cubicBezTo>
                                    <a:pt x="113" y="306"/>
                                    <a:pt x="113" y="306"/>
                                    <a:pt x="113" y="306"/>
                                  </a:cubicBezTo>
                                  <a:cubicBezTo>
                                    <a:pt x="113" y="306"/>
                                    <a:pt x="113" y="306"/>
                                    <a:pt x="113" y="306"/>
                                  </a:cubicBezTo>
                                  <a:cubicBezTo>
                                    <a:pt x="113" y="306"/>
                                    <a:pt x="113" y="306"/>
                                    <a:pt x="113" y="307"/>
                                  </a:cubicBezTo>
                                  <a:cubicBezTo>
                                    <a:pt x="113" y="308"/>
                                    <a:pt x="114" y="309"/>
                                    <a:pt x="115" y="311"/>
                                  </a:cubicBezTo>
                                  <a:cubicBezTo>
                                    <a:pt x="116" y="313"/>
                                    <a:pt x="117" y="315"/>
                                    <a:pt x="119" y="317"/>
                                  </a:cubicBezTo>
                                  <a:cubicBezTo>
                                    <a:pt x="123" y="321"/>
                                    <a:pt x="127" y="325"/>
                                    <a:pt x="131" y="329"/>
                                  </a:cubicBezTo>
                                  <a:cubicBezTo>
                                    <a:pt x="137" y="334"/>
                                    <a:pt x="142" y="339"/>
                                    <a:pt x="143" y="343"/>
                                  </a:cubicBezTo>
                                  <a:cubicBezTo>
                                    <a:pt x="145" y="349"/>
                                    <a:pt x="140" y="355"/>
                                    <a:pt x="135" y="362"/>
                                  </a:cubicBezTo>
                                  <a:cubicBezTo>
                                    <a:pt x="134" y="364"/>
                                    <a:pt x="132" y="367"/>
                                    <a:pt x="131" y="368"/>
                                  </a:cubicBezTo>
                                  <a:cubicBezTo>
                                    <a:pt x="130" y="370"/>
                                    <a:pt x="130" y="370"/>
                                    <a:pt x="130" y="370"/>
                                  </a:cubicBezTo>
                                  <a:cubicBezTo>
                                    <a:pt x="130" y="371"/>
                                    <a:pt x="130" y="371"/>
                                    <a:pt x="130" y="371"/>
                                  </a:cubicBezTo>
                                  <a:cubicBezTo>
                                    <a:pt x="127" y="376"/>
                                    <a:pt x="124" y="380"/>
                                    <a:pt x="125" y="384"/>
                                  </a:cubicBezTo>
                                  <a:cubicBezTo>
                                    <a:pt x="126" y="386"/>
                                    <a:pt x="126" y="387"/>
                                    <a:pt x="126" y="388"/>
                                  </a:cubicBezTo>
                                  <a:cubicBezTo>
                                    <a:pt x="128" y="393"/>
                                    <a:pt x="129" y="397"/>
                                    <a:pt x="132" y="399"/>
                                  </a:cubicBezTo>
                                  <a:cubicBezTo>
                                    <a:pt x="133" y="400"/>
                                    <a:pt x="136" y="401"/>
                                    <a:pt x="137" y="401"/>
                                  </a:cubicBezTo>
                                  <a:cubicBezTo>
                                    <a:pt x="142" y="402"/>
                                    <a:pt x="147" y="404"/>
                                    <a:pt x="146" y="410"/>
                                  </a:cubicBezTo>
                                  <a:cubicBezTo>
                                    <a:pt x="146" y="415"/>
                                    <a:pt x="143" y="418"/>
                                    <a:pt x="137" y="422"/>
                                  </a:cubicBezTo>
                                  <a:cubicBezTo>
                                    <a:pt x="136" y="422"/>
                                    <a:pt x="136" y="422"/>
                                    <a:pt x="135" y="423"/>
                                  </a:cubicBezTo>
                                  <a:cubicBezTo>
                                    <a:pt x="135" y="423"/>
                                    <a:pt x="135" y="423"/>
                                    <a:pt x="135" y="423"/>
                                  </a:cubicBezTo>
                                  <a:cubicBezTo>
                                    <a:pt x="132" y="425"/>
                                    <a:pt x="128" y="428"/>
                                    <a:pt x="124" y="431"/>
                                  </a:cubicBezTo>
                                  <a:cubicBezTo>
                                    <a:pt x="121" y="435"/>
                                    <a:pt x="117" y="439"/>
                                    <a:pt x="114" y="445"/>
                                  </a:cubicBezTo>
                                  <a:cubicBezTo>
                                    <a:pt x="111" y="452"/>
                                    <a:pt x="115" y="466"/>
                                    <a:pt x="118" y="477"/>
                                  </a:cubicBezTo>
                                  <a:cubicBezTo>
                                    <a:pt x="119" y="476"/>
                                    <a:pt x="120" y="475"/>
                                    <a:pt x="122" y="475"/>
                                  </a:cubicBezTo>
                                  <a:cubicBezTo>
                                    <a:pt x="127" y="473"/>
                                    <a:pt x="137" y="468"/>
                                    <a:pt x="143" y="473"/>
                                  </a:cubicBezTo>
                                  <a:cubicBezTo>
                                    <a:pt x="148" y="478"/>
                                    <a:pt x="142" y="477"/>
                                    <a:pt x="150" y="485"/>
                                  </a:cubicBezTo>
                                  <a:cubicBezTo>
                                    <a:pt x="158" y="493"/>
                                    <a:pt x="162" y="491"/>
                                    <a:pt x="167" y="497"/>
                                  </a:cubicBezTo>
                                  <a:cubicBezTo>
                                    <a:pt x="172" y="503"/>
                                    <a:pt x="183" y="497"/>
                                    <a:pt x="186" y="501"/>
                                  </a:cubicBezTo>
                                  <a:cubicBezTo>
                                    <a:pt x="188" y="504"/>
                                    <a:pt x="183" y="505"/>
                                    <a:pt x="181" y="509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0" name="Freeform 189"/>
                            <p:cNvSpPr>
                              <a:spLocks/>
                            </p:cNvSpPr>
                            <p:nvPr/>
                          </p:nvSpPr>
                          <p:spPr bwMode="auto">
                            <a:xfrm>
                              <a:off x="4208972" y="3959516"/>
                              <a:ext cx="364331" cy="346472"/>
                            </a:xfrm>
                            <a:custGeom>
                              <a:avLst/>
                              <a:gdLst>
                                <a:gd name="T0" fmla="*/ 271 w 1267"/>
                                <a:gd name="T1" fmla="*/ 447 h 1208"/>
                                <a:gd name="T2" fmla="*/ 195 w 1267"/>
                                <a:gd name="T3" fmla="*/ 501 h 1208"/>
                                <a:gd name="T4" fmla="*/ 153 w 1267"/>
                                <a:gd name="T5" fmla="*/ 507 h 1208"/>
                                <a:gd name="T6" fmla="*/ 135 w 1267"/>
                                <a:gd name="T7" fmla="*/ 512 h 1208"/>
                                <a:gd name="T8" fmla="*/ 101 w 1267"/>
                                <a:gd name="T9" fmla="*/ 526 h 1208"/>
                                <a:gd name="T10" fmla="*/ 29 w 1267"/>
                                <a:gd name="T11" fmla="*/ 559 h 1208"/>
                                <a:gd name="T12" fmla="*/ 1 w 1267"/>
                                <a:gd name="T13" fmla="*/ 591 h 1208"/>
                                <a:gd name="T14" fmla="*/ 604 w 1267"/>
                                <a:gd name="T15" fmla="*/ 1074 h 1208"/>
                                <a:gd name="T16" fmla="*/ 621 w 1267"/>
                                <a:gd name="T17" fmla="*/ 1106 h 1208"/>
                                <a:gd name="T18" fmla="*/ 648 w 1267"/>
                                <a:gd name="T19" fmla="*/ 1127 h 1208"/>
                                <a:gd name="T20" fmla="*/ 677 w 1267"/>
                                <a:gd name="T21" fmla="*/ 1129 h 1208"/>
                                <a:gd name="T22" fmla="*/ 739 w 1267"/>
                                <a:gd name="T23" fmla="*/ 1187 h 1208"/>
                                <a:gd name="T24" fmla="*/ 743 w 1267"/>
                                <a:gd name="T25" fmla="*/ 1207 h 1208"/>
                                <a:gd name="T26" fmla="*/ 870 w 1267"/>
                                <a:gd name="T27" fmla="*/ 1183 h 1208"/>
                                <a:gd name="T28" fmla="*/ 1001 w 1267"/>
                                <a:gd name="T29" fmla="*/ 1083 h 1208"/>
                                <a:gd name="T30" fmla="*/ 1252 w 1267"/>
                                <a:gd name="T31" fmla="*/ 891 h 1208"/>
                                <a:gd name="T32" fmla="*/ 1208 w 1267"/>
                                <a:gd name="T33" fmla="*/ 860 h 1208"/>
                                <a:gd name="T34" fmla="*/ 1175 w 1267"/>
                                <a:gd name="T35" fmla="*/ 862 h 1208"/>
                                <a:gd name="T36" fmla="*/ 1149 w 1267"/>
                                <a:gd name="T37" fmla="*/ 816 h 1208"/>
                                <a:gd name="T38" fmla="*/ 1123 w 1267"/>
                                <a:gd name="T39" fmla="*/ 768 h 1208"/>
                                <a:gd name="T40" fmla="*/ 1125 w 1267"/>
                                <a:gd name="T41" fmla="*/ 731 h 1208"/>
                                <a:gd name="T42" fmla="*/ 1133 w 1267"/>
                                <a:gd name="T43" fmla="*/ 704 h 1208"/>
                                <a:gd name="T44" fmla="*/ 1141 w 1267"/>
                                <a:gd name="T45" fmla="*/ 637 h 1208"/>
                                <a:gd name="T46" fmla="*/ 1136 w 1267"/>
                                <a:gd name="T47" fmla="*/ 585 h 1208"/>
                                <a:gd name="T48" fmla="*/ 1133 w 1267"/>
                                <a:gd name="T49" fmla="*/ 537 h 1208"/>
                                <a:gd name="T50" fmla="*/ 1111 w 1267"/>
                                <a:gd name="T51" fmla="*/ 493 h 1208"/>
                                <a:gd name="T52" fmla="*/ 1120 w 1267"/>
                                <a:gd name="T53" fmla="*/ 472 h 1208"/>
                                <a:gd name="T54" fmla="*/ 1044 w 1267"/>
                                <a:gd name="T55" fmla="*/ 317 h 1208"/>
                                <a:gd name="T56" fmla="*/ 1023 w 1267"/>
                                <a:gd name="T57" fmla="*/ 272 h 1208"/>
                                <a:gd name="T58" fmla="*/ 996 w 1267"/>
                                <a:gd name="T59" fmla="*/ 229 h 1208"/>
                                <a:gd name="T60" fmla="*/ 1033 w 1267"/>
                                <a:gd name="T61" fmla="*/ 167 h 1208"/>
                                <a:gd name="T62" fmla="*/ 1048 w 1267"/>
                                <a:gd name="T63" fmla="*/ 109 h 1208"/>
                                <a:gd name="T64" fmla="*/ 1043 w 1267"/>
                                <a:gd name="T65" fmla="*/ 55 h 1208"/>
                                <a:gd name="T66" fmla="*/ 1039 w 1267"/>
                                <a:gd name="T67" fmla="*/ 31 h 1208"/>
                                <a:gd name="T68" fmla="*/ 1033 w 1267"/>
                                <a:gd name="T69" fmla="*/ 14 h 1208"/>
                                <a:gd name="T70" fmla="*/ 974 w 1267"/>
                                <a:gd name="T71" fmla="*/ 5 h 1208"/>
                                <a:gd name="T72" fmla="*/ 928 w 1267"/>
                                <a:gd name="T73" fmla="*/ 4 h 1208"/>
                                <a:gd name="T74" fmla="*/ 884 w 1267"/>
                                <a:gd name="T75" fmla="*/ 24 h 1208"/>
                                <a:gd name="T76" fmla="*/ 810 w 1267"/>
                                <a:gd name="T77" fmla="*/ 13 h 1208"/>
                                <a:gd name="T78" fmla="*/ 710 w 1267"/>
                                <a:gd name="T79" fmla="*/ 23 h 1208"/>
                                <a:gd name="T80" fmla="*/ 609 w 1267"/>
                                <a:gd name="T81" fmla="*/ 45 h 1208"/>
                                <a:gd name="T82" fmla="*/ 529 w 1267"/>
                                <a:gd name="T83" fmla="*/ 89 h 1208"/>
                                <a:gd name="T84" fmla="*/ 461 w 1267"/>
                                <a:gd name="T85" fmla="*/ 107 h 1208"/>
                                <a:gd name="T86" fmla="*/ 407 w 1267"/>
                                <a:gd name="T87" fmla="*/ 139 h 1208"/>
                                <a:gd name="T88" fmla="*/ 423 w 1267"/>
                                <a:gd name="T89" fmla="*/ 173 h 1208"/>
                                <a:gd name="T90" fmla="*/ 434 w 1267"/>
                                <a:gd name="T91" fmla="*/ 195 h 1208"/>
                                <a:gd name="T92" fmla="*/ 428 w 1267"/>
                                <a:gd name="T93" fmla="*/ 235 h 1208"/>
                                <a:gd name="T94" fmla="*/ 448 w 1267"/>
                                <a:gd name="T95" fmla="*/ 286 h 1208"/>
                                <a:gd name="T96" fmla="*/ 451 w 1267"/>
                                <a:gd name="T97" fmla="*/ 295 h 1208"/>
                                <a:gd name="T98" fmla="*/ 461 w 1267"/>
                                <a:gd name="T99" fmla="*/ 335 h 1208"/>
                                <a:gd name="T100" fmla="*/ 459 w 1267"/>
                                <a:gd name="T101" fmla="*/ 342 h 1208"/>
                                <a:gd name="T102" fmla="*/ 441 w 1267"/>
                                <a:gd name="T103" fmla="*/ 355 h 1208"/>
                                <a:gd name="T104" fmla="*/ 381 w 1267"/>
                                <a:gd name="T105" fmla="*/ 350 h 1208"/>
                                <a:gd name="T106" fmla="*/ 367 w 1267"/>
                                <a:gd name="T107" fmla="*/ 352 h 1208"/>
                                <a:gd name="T108" fmla="*/ 345 w 1267"/>
                                <a:gd name="T109" fmla="*/ 369 h 1208"/>
                                <a:gd name="T110" fmla="*/ 311 w 1267"/>
                                <a:gd name="T111" fmla="*/ 380 h 1208"/>
                                <a:gd name="T112" fmla="*/ 300 w 1267"/>
                                <a:gd name="T113" fmla="*/ 388 h 1208"/>
                                <a:gd name="T114" fmla="*/ 305 w 1267"/>
                                <a:gd name="T115" fmla="*/ 404 h 1208"/>
                                <a:gd name="T116" fmla="*/ 304 w 1267"/>
                                <a:gd name="T117" fmla="*/ 411 h 1208"/>
                                <a:gd name="T118" fmla="*/ 297 w 1267"/>
                                <a:gd name="T119" fmla="*/ 435 h 1208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  <a:cxn ang="0">
                                  <a:pos x="T100" y="T101"/>
                                </a:cxn>
                                <a:cxn ang="0">
                                  <a:pos x="T102" y="T103"/>
                                </a:cxn>
                                <a:cxn ang="0">
                                  <a:pos x="T104" y="T105"/>
                                </a:cxn>
                                <a:cxn ang="0">
                                  <a:pos x="T106" y="T107"/>
                                </a:cxn>
                                <a:cxn ang="0">
                                  <a:pos x="T108" y="T109"/>
                                </a:cxn>
                                <a:cxn ang="0">
                                  <a:pos x="T110" y="T111"/>
                                </a:cxn>
                                <a:cxn ang="0">
                                  <a:pos x="T112" y="T113"/>
                                </a:cxn>
                                <a:cxn ang="0">
                                  <a:pos x="T114" y="T115"/>
                                </a:cxn>
                                <a:cxn ang="0">
                                  <a:pos x="T116" y="T117"/>
                                </a:cxn>
                                <a:cxn ang="0">
                                  <a:pos x="T118" y="T119"/>
                                </a:cxn>
                              </a:cxnLst>
                              <a:rect l="0" t="0" r="r" b="b"/>
                              <a:pathLst>
                                <a:path w="1267" h="1208">
                                  <a:moveTo>
                                    <a:pt x="297" y="435"/>
                                  </a:moveTo>
                                  <a:cubicBezTo>
                                    <a:pt x="294" y="437"/>
                                    <a:pt x="294" y="437"/>
                                    <a:pt x="294" y="437"/>
                                  </a:cubicBezTo>
                                  <a:cubicBezTo>
                                    <a:pt x="290" y="438"/>
                                    <a:pt x="281" y="442"/>
                                    <a:pt x="271" y="447"/>
                                  </a:cubicBezTo>
                                  <a:cubicBezTo>
                                    <a:pt x="254" y="454"/>
                                    <a:pt x="232" y="463"/>
                                    <a:pt x="229" y="466"/>
                                  </a:cubicBezTo>
                                  <a:cubicBezTo>
                                    <a:pt x="226" y="468"/>
                                    <a:pt x="220" y="475"/>
                                    <a:pt x="214" y="481"/>
                                  </a:cubicBezTo>
                                  <a:cubicBezTo>
                                    <a:pt x="207" y="489"/>
                                    <a:pt x="199" y="498"/>
                                    <a:pt x="195" y="501"/>
                                  </a:cubicBezTo>
                                  <a:cubicBezTo>
                                    <a:pt x="187" y="507"/>
                                    <a:pt x="173" y="507"/>
                                    <a:pt x="164" y="507"/>
                                  </a:cubicBezTo>
                                  <a:cubicBezTo>
                                    <a:pt x="162" y="507"/>
                                    <a:pt x="162" y="507"/>
                                    <a:pt x="162" y="507"/>
                                  </a:cubicBezTo>
                                  <a:cubicBezTo>
                                    <a:pt x="159" y="507"/>
                                    <a:pt x="156" y="507"/>
                                    <a:pt x="153" y="507"/>
                                  </a:cubicBezTo>
                                  <a:cubicBezTo>
                                    <a:pt x="147" y="506"/>
                                    <a:pt x="142" y="506"/>
                                    <a:pt x="139" y="507"/>
                                  </a:cubicBezTo>
                                  <a:cubicBezTo>
                                    <a:pt x="137" y="508"/>
                                    <a:pt x="136" y="510"/>
                                    <a:pt x="135" y="512"/>
                                  </a:cubicBezTo>
                                  <a:cubicBezTo>
                                    <a:pt x="135" y="512"/>
                                    <a:pt x="135" y="512"/>
                                    <a:pt x="135" y="512"/>
                                  </a:cubicBezTo>
                                  <a:cubicBezTo>
                                    <a:pt x="133" y="515"/>
                                    <a:pt x="131" y="519"/>
                                    <a:pt x="127" y="521"/>
                                  </a:cubicBezTo>
                                  <a:cubicBezTo>
                                    <a:pt x="122" y="525"/>
                                    <a:pt x="116" y="525"/>
                                    <a:pt x="109" y="525"/>
                                  </a:cubicBezTo>
                                  <a:cubicBezTo>
                                    <a:pt x="106" y="525"/>
                                    <a:pt x="104" y="525"/>
                                    <a:pt x="101" y="526"/>
                                  </a:cubicBezTo>
                                  <a:cubicBezTo>
                                    <a:pt x="96" y="526"/>
                                    <a:pt x="86" y="528"/>
                                    <a:pt x="77" y="530"/>
                                  </a:cubicBezTo>
                                  <a:cubicBezTo>
                                    <a:pt x="71" y="531"/>
                                    <a:pt x="66" y="533"/>
                                    <a:pt x="62" y="536"/>
                                  </a:cubicBezTo>
                                  <a:cubicBezTo>
                                    <a:pt x="56" y="539"/>
                                    <a:pt x="42" y="549"/>
                                    <a:pt x="29" y="559"/>
                                  </a:cubicBezTo>
                                  <a:cubicBezTo>
                                    <a:pt x="17" y="567"/>
                                    <a:pt x="7" y="575"/>
                                    <a:pt x="5" y="577"/>
                                  </a:cubicBezTo>
                                  <a:cubicBezTo>
                                    <a:pt x="4" y="578"/>
                                    <a:pt x="3" y="579"/>
                                    <a:pt x="3" y="580"/>
                                  </a:cubicBezTo>
                                  <a:cubicBezTo>
                                    <a:pt x="1" y="581"/>
                                    <a:pt x="0" y="582"/>
                                    <a:pt x="1" y="591"/>
                                  </a:cubicBezTo>
                                  <a:cubicBezTo>
                                    <a:pt x="1" y="598"/>
                                    <a:pt x="1" y="633"/>
                                    <a:pt x="1" y="668"/>
                                  </a:cubicBezTo>
                                  <a:cubicBezTo>
                                    <a:pt x="1" y="671"/>
                                    <a:pt x="1" y="671"/>
                                    <a:pt x="1" y="671"/>
                                  </a:cubicBezTo>
                                  <a:cubicBezTo>
                                    <a:pt x="30" y="690"/>
                                    <a:pt x="596" y="1066"/>
                                    <a:pt x="604" y="1074"/>
                                  </a:cubicBezTo>
                                  <a:cubicBezTo>
                                    <a:pt x="611" y="1080"/>
                                    <a:pt x="611" y="1088"/>
                                    <a:pt x="611" y="1094"/>
                                  </a:cubicBezTo>
                                  <a:cubicBezTo>
                                    <a:pt x="611" y="1098"/>
                                    <a:pt x="611" y="1101"/>
                                    <a:pt x="612" y="1103"/>
                                  </a:cubicBezTo>
                                  <a:cubicBezTo>
                                    <a:pt x="614" y="1105"/>
                                    <a:pt x="617" y="1106"/>
                                    <a:pt x="621" y="1106"/>
                                  </a:cubicBezTo>
                                  <a:cubicBezTo>
                                    <a:pt x="625" y="1107"/>
                                    <a:pt x="628" y="1107"/>
                                    <a:pt x="632" y="1109"/>
                                  </a:cubicBezTo>
                                  <a:cubicBezTo>
                                    <a:pt x="638" y="1111"/>
                                    <a:pt x="641" y="1116"/>
                                    <a:pt x="643" y="1121"/>
                                  </a:cubicBezTo>
                                  <a:cubicBezTo>
                                    <a:pt x="644" y="1124"/>
                                    <a:pt x="646" y="1126"/>
                                    <a:pt x="648" y="1127"/>
                                  </a:cubicBezTo>
                                  <a:cubicBezTo>
                                    <a:pt x="648" y="1127"/>
                                    <a:pt x="648" y="1127"/>
                                    <a:pt x="648" y="1127"/>
                                  </a:cubicBezTo>
                                  <a:cubicBezTo>
                                    <a:pt x="652" y="1129"/>
                                    <a:pt x="656" y="1129"/>
                                    <a:pt x="661" y="1129"/>
                                  </a:cubicBezTo>
                                  <a:cubicBezTo>
                                    <a:pt x="666" y="1128"/>
                                    <a:pt x="672" y="1128"/>
                                    <a:pt x="677" y="1129"/>
                                  </a:cubicBezTo>
                                  <a:cubicBezTo>
                                    <a:pt x="683" y="1131"/>
                                    <a:pt x="699" y="1138"/>
                                    <a:pt x="712" y="1145"/>
                                  </a:cubicBezTo>
                                  <a:cubicBezTo>
                                    <a:pt x="722" y="1151"/>
                                    <a:pt x="731" y="1157"/>
                                    <a:pt x="734" y="1162"/>
                                  </a:cubicBezTo>
                                  <a:cubicBezTo>
                                    <a:pt x="741" y="1173"/>
                                    <a:pt x="740" y="1179"/>
                                    <a:pt x="739" y="1187"/>
                                  </a:cubicBezTo>
                                  <a:cubicBezTo>
                                    <a:pt x="739" y="1189"/>
                                    <a:pt x="738" y="1190"/>
                                    <a:pt x="738" y="1190"/>
                                  </a:cubicBezTo>
                                  <a:cubicBezTo>
                                    <a:pt x="738" y="1192"/>
                                    <a:pt x="738" y="1193"/>
                                    <a:pt x="738" y="1195"/>
                                  </a:cubicBezTo>
                                  <a:cubicBezTo>
                                    <a:pt x="737" y="1200"/>
                                    <a:pt x="736" y="1205"/>
                                    <a:pt x="743" y="1207"/>
                                  </a:cubicBezTo>
                                  <a:cubicBezTo>
                                    <a:pt x="747" y="1208"/>
                                    <a:pt x="754" y="1208"/>
                                    <a:pt x="763" y="1208"/>
                                  </a:cubicBezTo>
                                  <a:cubicBezTo>
                                    <a:pt x="775" y="1207"/>
                                    <a:pt x="788" y="1204"/>
                                    <a:pt x="797" y="1202"/>
                                  </a:cubicBezTo>
                                  <a:cubicBezTo>
                                    <a:pt x="807" y="1200"/>
                                    <a:pt x="842" y="1192"/>
                                    <a:pt x="870" y="1183"/>
                                  </a:cubicBezTo>
                                  <a:cubicBezTo>
                                    <a:pt x="886" y="1178"/>
                                    <a:pt x="899" y="1172"/>
                                    <a:pt x="904" y="1168"/>
                                  </a:cubicBezTo>
                                  <a:cubicBezTo>
                                    <a:pt x="912" y="1160"/>
                                    <a:pt x="939" y="1135"/>
                                    <a:pt x="963" y="1114"/>
                                  </a:cubicBezTo>
                                  <a:cubicBezTo>
                                    <a:pt x="978" y="1100"/>
                                    <a:pt x="993" y="1088"/>
                                    <a:pt x="1001" y="1083"/>
                                  </a:cubicBezTo>
                                  <a:cubicBezTo>
                                    <a:pt x="1020" y="1070"/>
                                    <a:pt x="1233" y="939"/>
                                    <a:pt x="1267" y="917"/>
                                  </a:cubicBezTo>
                                  <a:cubicBezTo>
                                    <a:pt x="1261" y="912"/>
                                    <a:pt x="1259" y="906"/>
                                    <a:pt x="1256" y="900"/>
                                  </a:cubicBezTo>
                                  <a:cubicBezTo>
                                    <a:pt x="1255" y="897"/>
                                    <a:pt x="1254" y="894"/>
                                    <a:pt x="1252" y="891"/>
                                  </a:cubicBezTo>
                                  <a:cubicBezTo>
                                    <a:pt x="1249" y="884"/>
                                    <a:pt x="1246" y="879"/>
                                    <a:pt x="1242" y="876"/>
                                  </a:cubicBezTo>
                                  <a:cubicBezTo>
                                    <a:pt x="1238" y="872"/>
                                    <a:pt x="1234" y="869"/>
                                    <a:pt x="1228" y="867"/>
                                  </a:cubicBezTo>
                                  <a:cubicBezTo>
                                    <a:pt x="1221" y="864"/>
                                    <a:pt x="1214" y="861"/>
                                    <a:pt x="1208" y="860"/>
                                  </a:cubicBezTo>
                                  <a:cubicBezTo>
                                    <a:pt x="1203" y="859"/>
                                    <a:pt x="1199" y="858"/>
                                    <a:pt x="1195" y="858"/>
                                  </a:cubicBezTo>
                                  <a:cubicBezTo>
                                    <a:pt x="1193" y="859"/>
                                    <a:pt x="1191" y="860"/>
                                    <a:pt x="1190" y="861"/>
                                  </a:cubicBezTo>
                                  <a:cubicBezTo>
                                    <a:pt x="1185" y="863"/>
                                    <a:pt x="1181" y="866"/>
                                    <a:pt x="1175" y="862"/>
                                  </a:cubicBezTo>
                                  <a:cubicBezTo>
                                    <a:pt x="1170" y="860"/>
                                    <a:pt x="1166" y="857"/>
                                    <a:pt x="1162" y="853"/>
                                  </a:cubicBezTo>
                                  <a:cubicBezTo>
                                    <a:pt x="1158" y="848"/>
                                    <a:pt x="1155" y="841"/>
                                    <a:pt x="1152" y="832"/>
                                  </a:cubicBezTo>
                                  <a:cubicBezTo>
                                    <a:pt x="1151" y="825"/>
                                    <a:pt x="1150" y="820"/>
                                    <a:pt x="1149" y="816"/>
                                  </a:cubicBezTo>
                                  <a:cubicBezTo>
                                    <a:pt x="1148" y="809"/>
                                    <a:pt x="1147" y="804"/>
                                    <a:pt x="1144" y="796"/>
                                  </a:cubicBezTo>
                                  <a:cubicBezTo>
                                    <a:pt x="1140" y="787"/>
                                    <a:pt x="1137" y="784"/>
                                    <a:pt x="1132" y="778"/>
                                  </a:cubicBezTo>
                                  <a:cubicBezTo>
                                    <a:pt x="1129" y="776"/>
                                    <a:pt x="1126" y="772"/>
                                    <a:pt x="1123" y="768"/>
                                  </a:cubicBezTo>
                                  <a:cubicBezTo>
                                    <a:pt x="1116" y="760"/>
                                    <a:pt x="1114" y="754"/>
                                    <a:pt x="1113" y="750"/>
                                  </a:cubicBezTo>
                                  <a:cubicBezTo>
                                    <a:pt x="1113" y="744"/>
                                    <a:pt x="1115" y="741"/>
                                    <a:pt x="1119" y="737"/>
                                  </a:cubicBezTo>
                                  <a:cubicBezTo>
                                    <a:pt x="1121" y="735"/>
                                    <a:pt x="1123" y="733"/>
                                    <a:pt x="1125" y="731"/>
                                  </a:cubicBezTo>
                                  <a:cubicBezTo>
                                    <a:pt x="1125" y="731"/>
                                    <a:pt x="1125" y="731"/>
                                    <a:pt x="1125" y="731"/>
                                  </a:cubicBezTo>
                                  <a:cubicBezTo>
                                    <a:pt x="1130" y="728"/>
                                    <a:pt x="1136" y="724"/>
                                    <a:pt x="1135" y="718"/>
                                  </a:cubicBezTo>
                                  <a:cubicBezTo>
                                    <a:pt x="1135" y="714"/>
                                    <a:pt x="1134" y="709"/>
                                    <a:pt x="1133" y="704"/>
                                  </a:cubicBezTo>
                                  <a:cubicBezTo>
                                    <a:pt x="1131" y="694"/>
                                    <a:pt x="1129" y="681"/>
                                    <a:pt x="1131" y="670"/>
                                  </a:cubicBezTo>
                                  <a:cubicBezTo>
                                    <a:pt x="1132" y="660"/>
                                    <a:pt x="1135" y="655"/>
                                    <a:pt x="1137" y="649"/>
                                  </a:cubicBezTo>
                                  <a:cubicBezTo>
                                    <a:pt x="1139" y="645"/>
                                    <a:pt x="1141" y="642"/>
                                    <a:pt x="1141" y="637"/>
                                  </a:cubicBezTo>
                                  <a:cubicBezTo>
                                    <a:pt x="1142" y="630"/>
                                    <a:pt x="1141" y="627"/>
                                    <a:pt x="1140" y="622"/>
                                  </a:cubicBezTo>
                                  <a:cubicBezTo>
                                    <a:pt x="1139" y="619"/>
                                    <a:pt x="1138" y="616"/>
                                    <a:pt x="1137" y="612"/>
                                  </a:cubicBezTo>
                                  <a:cubicBezTo>
                                    <a:pt x="1134" y="601"/>
                                    <a:pt x="1135" y="594"/>
                                    <a:pt x="1136" y="585"/>
                                  </a:cubicBezTo>
                                  <a:cubicBezTo>
                                    <a:pt x="1137" y="583"/>
                                    <a:pt x="1137" y="580"/>
                                    <a:pt x="1137" y="576"/>
                                  </a:cubicBezTo>
                                  <a:cubicBezTo>
                                    <a:pt x="1139" y="566"/>
                                    <a:pt x="1137" y="557"/>
                                    <a:pt x="1135" y="546"/>
                                  </a:cubicBezTo>
                                  <a:cubicBezTo>
                                    <a:pt x="1134" y="544"/>
                                    <a:pt x="1134" y="541"/>
                                    <a:pt x="1133" y="537"/>
                                  </a:cubicBezTo>
                                  <a:cubicBezTo>
                                    <a:pt x="1131" y="528"/>
                                    <a:pt x="1128" y="523"/>
                                    <a:pt x="1124" y="518"/>
                                  </a:cubicBezTo>
                                  <a:cubicBezTo>
                                    <a:pt x="1121" y="514"/>
                                    <a:pt x="1118" y="510"/>
                                    <a:pt x="1116" y="504"/>
                                  </a:cubicBezTo>
                                  <a:cubicBezTo>
                                    <a:pt x="1114" y="499"/>
                                    <a:pt x="1112" y="496"/>
                                    <a:pt x="1111" y="493"/>
                                  </a:cubicBezTo>
                                  <a:cubicBezTo>
                                    <a:pt x="1111" y="493"/>
                                    <a:pt x="1111" y="493"/>
                                    <a:pt x="1111" y="493"/>
                                  </a:cubicBezTo>
                                  <a:cubicBezTo>
                                    <a:pt x="1108" y="488"/>
                                    <a:pt x="1106" y="485"/>
                                    <a:pt x="1108" y="480"/>
                                  </a:cubicBezTo>
                                  <a:cubicBezTo>
                                    <a:pt x="1109" y="477"/>
                                    <a:pt x="1114" y="474"/>
                                    <a:pt x="1120" y="472"/>
                                  </a:cubicBezTo>
                                  <a:cubicBezTo>
                                    <a:pt x="1116" y="454"/>
                                    <a:pt x="1092" y="360"/>
                                    <a:pt x="1087" y="354"/>
                                  </a:cubicBezTo>
                                  <a:cubicBezTo>
                                    <a:pt x="1085" y="352"/>
                                    <a:pt x="1079" y="347"/>
                                    <a:pt x="1072" y="342"/>
                                  </a:cubicBezTo>
                                  <a:cubicBezTo>
                                    <a:pt x="1061" y="333"/>
                                    <a:pt x="1047" y="323"/>
                                    <a:pt x="1044" y="317"/>
                                  </a:cubicBezTo>
                                  <a:cubicBezTo>
                                    <a:pt x="1042" y="313"/>
                                    <a:pt x="1042" y="309"/>
                                    <a:pt x="1042" y="305"/>
                                  </a:cubicBezTo>
                                  <a:cubicBezTo>
                                    <a:pt x="1042" y="301"/>
                                    <a:pt x="1042" y="298"/>
                                    <a:pt x="1040" y="294"/>
                                  </a:cubicBezTo>
                                  <a:cubicBezTo>
                                    <a:pt x="1036" y="287"/>
                                    <a:pt x="1031" y="281"/>
                                    <a:pt x="1023" y="272"/>
                                  </a:cubicBezTo>
                                  <a:cubicBezTo>
                                    <a:pt x="1021" y="270"/>
                                    <a:pt x="1019" y="267"/>
                                    <a:pt x="1015" y="263"/>
                                  </a:cubicBezTo>
                                  <a:cubicBezTo>
                                    <a:pt x="1014" y="261"/>
                                    <a:pt x="1014" y="261"/>
                                    <a:pt x="1014" y="261"/>
                                  </a:cubicBezTo>
                                  <a:cubicBezTo>
                                    <a:pt x="1002" y="247"/>
                                    <a:pt x="998" y="242"/>
                                    <a:pt x="996" y="229"/>
                                  </a:cubicBezTo>
                                  <a:cubicBezTo>
                                    <a:pt x="995" y="222"/>
                                    <a:pt x="995" y="216"/>
                                    <a:pt x="997" y="210"/>
                                  </a:cubicBezTo>
                                  <a:cubicBezTo>
                                    <a:pt x="999" y="204"/>
                                    <a:pt x="1003" y="198"/>
                                    <a:pt x="1009" y="192"/>
                                  </a:cubicBezTo>
                                  <a:cubicBezTo>
                                    <a:pt x="1016" y="186"/>
                                    <a:pt x="1025" y="176"/>
                                    <a:pt x="1033" y="167"/>
                                  </a:cubicBezTo>
                                  <a:cubicBezTo>
                                    <a:pt x="1039" y="160"/>
                                    <a:pt x="1044" y="153"/>
                                    <a:pt x="1046" y="148"/>
                                  </a:cubicBezTo>
                                  <a:cubicBezTo>
                                    <a:pt x="1048" y="142"/>
                                    <a:pt x="1049" y="135"/>
                                    <a:pt x="1050" y="129"/>
                                  </a:cubicBezTo>
                                  <a:cubicBezTo>
                                    <a:pt x="1050" y="122"/>
                                    <a:pt x="1049" y="115"/>
                                    <a:pt x="1048" y="109"/>
                                  </a:cubicBezTo>
                                  <a:cubicBezTo>
                                    <a:pt x="1046" y="105"/>
                                    <a:pt x="1045" y="102"/>
                                    <a:pt x="1044" y="99"/>
                                  </a:cubicBezTo>
                                  <a:cubicBezTo>
                                    <a:pt x="1041" y="91"/>
                                    <a:pt x="1039" y="85"/>
                                    <a:pt x="1039" y="72"/>
                                  </a:cubicBezTo>
                                  <a:cubicBezTo>
                                    <a:pt x="1039" y="61"/>
                                    <a:pt x="1041" y="58"/>
                                    <a:pt x="1043" y="55"/>
                                  </a:cubicBezTo>
                                  <a:cubicBezTo>
                                    <a:pt x="1044" y="54"/>
                                    <a:pt x="1045" y="53"/>
                                    <a:pt x="1044" y="51"/>
                                  </a:cubicBezTo>
                                  <a:cubicBezTo>
                                    <a:pt x="1043" y="48"/>
                                    <a:pt x="1042" y="46"/>
                                    <a:pt x="1041" y="45"/>
                                  </a:cubicBezTo>
                                  <a:cubicBezTo>
                                    <a:pt x="1037" y="41"/>
                                    <a:pt x="1035" y="39"/>
                                    <a:pt x="1039" y="31"/>
                                  </a:cubicBezTo>
                                  <a:cubicBezTo>
                                    <a:pt x="1041" y="28"/>
                                    <a:pt x="1045" y="24"/>
                                    <a:pt x="1049" y="20"/>
                                  </a:cubicBezTo>
                                  <a:cubicBezTo>
                                    <a:pt x="1052" y="17"/>
                                    <a:pt x="1054" y="14"/>
                                    <a:pt x="1057" y="11"/>
                                  </a:cubicBezTo>
                                  <a:cubicBezTo>
                                    <a:pt x="1049" y="11"/>
                                    <a:pt x="1038" y="14"/>
                                    <a:pt x="1033" y="14"/>
                                  </a:cubicBezTo>
                                  <a:cubicBezTo>
                                    <a:pt x="1027" y="14"/>
                                    <a:pt x="1021" y="16"/>
                                    <a:pt x="1014" y="11"/>
                                  </a:cubicBezTo>
                                  <a:cubicBezTo>
                                    <a:pt x="1007" y="6"/>
                                    <a:pt x="995" y="0"/>
                                    <a:pt x="988" y="0"/>
                                  </a:cubicBezTo>
                                  <a:cubicBezTo>
                                    <a:pt x="982" y="0"/>
                                    <a:pt x="977" y="1"/>
                                    <a:pt x="974" y="5"/>
                                  </a:cubicBezTo>
                                  <a:cubicBezTo>
                                    <a:pt x="971" y="9"/>
                                    <a:pt x="965" y="14"/>
                                    <a:pt x="962" y="14"/>
                                  </a:cubicBezTo>
                                  <a:cubicBezTo>
                                    <a:pt x="959" y="14"/>
                                    <a:pt x="948" y="7"/>
                                    <a:pt x="941" y="5"/>
                                  </a:cubicBezTo>
                                  <a:cubicBezTo>
                                    <a:pt x="935" y="3"/>
                                    <a:pt x="932" y="1"/>
                                    <a:pt x="928" y="4"/>
                                  </a:cubicBezTo>
                                  <a:cubicBezTo>
                                    <a:pt x="923" y="7"/>
                                    <a:pt x="923" y="10"/>
                                    <a:pt x="917" y="13"/>
                                  </a:cubicBezTo>
                                  <a:cubicBezTo>
                                    <a:pt x="910" y="16"/>
                                    <a:pt x="903" y="17"/>
                                    <a:pt x="900" y="19"/>
                                  </a:cubicBezTo>
                                  <a:cubicBezTo>
                                    <a:pt x="898" y="20"/>
                                    <a:pt x="892" y="21"/>
                                    <a:pt x="884" y="24"/>
                                  </a:cubicBezTo>
                                  <a:cubicBezTo>
                                    <a:pt x="876" y="28"/>
                                    <a:pt x="877" y="33"/>
                                    <a:pt x="866" y="32"/>
                                  </a:cubicBezTo>
                                  <a:cubicBezTo>
                                    <a:pt x="856" y="30"/>
                                    <a:pt x="855" y="32"/>
                                    <a:pt x="843" y="24"/>
                                  </a:cubicBezTo>
                                  <a:cubicBezTo>
                                    <a:pt x="832" y="16"/>
                                    <a:pt x="830" y="15"/>
                                    <a:pt x="810" y="13"/>
                                  </a:cubicBezTo>
                                  <a:cubicBezTo>
                                    <a:pt x="791" y="12"/>
                                    <a:pt x="788" y="11"/>
                                    <a:pt x="774" y="15"/>
                                  </a:cubicBezTo>
                                  <a:cubicBezTo>
                                    <a:pt x="760" y="19"/>
                                    <a:pt x="759" y="20"/>
                                    <a:pt x="744" y="21"/>
                                  </a:cubicBezTo>
                                  <a:cubicBezTo>
                                    <a:pt x="729" y="21"/>
                                    <a:pt x="719" y="20"/>
                                    <a:pt x="710" y="23"/>
                                  </a:cubicBezTo>
                                  <a:cubicBezTo>
                                    <a:pt x="702" y="26"/>
                                    <a:pt x="691" y="34"/>
                                    <a:pt x="685" y="35"/>
                                  </a:cubicBezTo>
                                  <a:cubicBezTo>
                                    <a:pt x="678" y="36"/>
                                    <a:pt x="662" y="35"/>
                                    <a:pt x="652" y="36"/>
                                  </a:cubicBezTo>
                                  <a:cubicBezTo>
                                    <a:pt x="643" y="36"/>
                                    <a:pt x="626" y="40"/>
                                    <a:pt x="609" y="45"/>
                                  </a:cubicBezTo>
                                  <a:cubicBezTo>
                                    <a:pt x="591" y="49"/>
                                    <a:pt x="582" y="50"/>
                                    <a:pt x="574" y="56"/>
                                  </a:cubicBezTo>
                                  <a:cubicBezTo>
                                    <a:pt x="566" y="61"/>
                                    <a:pt x="551" y="63"/>
                                    <a:pt x="545" y="71"/>
                                  </a:cubicBezTo>
                                  <a:cubicBezTo>
                                    <a:pt x="539" y="79"/>
                                    <a:pt x="534" y="86"/>
                                    <a:pt x="529" y="89"/>
                                  </a:cubicBezTo>
                                  <a:cubicBezTo>
                                    <a:pt x="524" y="93"/>
                                    <a:pt x="516" y="84"/>
                                    <a:pt x="507" y="84"/>
                                  </a:cubicBezTo>
                                  <a:cubicBezTo>
                                    <a:pt x="498" y="85"/>
                                    <a:pt x="492" y="90"/>
                                    <a:pt x="484" y="94"/>
                                  </a:cubicBezTo>
                                  <a:cubicBezTo>
                                    <a:pt x="476" y="98"/>
                                    <a:pt x="467" y="100"/>
                                    <a:pt x="461" y="107"/>
                                  </a:cubicBezTo>
                                  <a:cubicBezTo>
                                    <a:pt x="455" y="115"/>
                                    <a:pt x="457" y="115"/>
                                    <a:pt x="450" y="121"/>
                                  </a:cubicBezTo>
                                  <a:cubicBezTo>
                                    <a:pt x="442" y="128"/>
                                    <a:pt x="421" y="131"/>
                                    <a:pt x="418" y="132"/>
                                  </a:cubicBezTo>
                                  <a:cubicBezTo>
                                    <a:pt x="415" y="133"/>
                                    <a:pt x="412" y="137"/>
                                    <a:pt x="407" y="139"/>
                                  </a:cubicBezTo>
                                  <a:cubicBezTo>
                                    <a:pt x="413" y="145"/>
                                    <a:pt x="419" y="151"/>
                                    <a:pt x="421" y="154"/>
                                  </a:cubicBezTo>
                                  <a:cubicBezTo>
                                    <a:pt x="428" y="160"/>
                                    <a:pt x="426" y="166"/>
                                    <a:pt x="424" y="170"/>
                                  </a:cubicBezTo>
                                  <a:cubicBezTo>
                                    <a:pt x="424" y="171"/>
                                    <a:pt x="424" y="172"/>
                                    <a:pt x="423" y="173"/>
                                  </a:cubicBezTo>
                                  <a:cubicBezTo>
                                    <a:pt x="423" y="173"/>
                                    <a:pt x="425" y="175"/>
                                    <a:pt x="426" y="176"/>
                                  </a:cubicBezTo>
                                  <a:cubicBezTo>
                                    <a:pt x="428" y="178"/>
                                    <a:pt x="430" y="180"/>
                                    <a:pt x="431" y="182"/>
                                  </a:cubicBezTo>
                                  <a:cubicBezTo>
                                    <a:pt x="434" y="187"/>
                                    <a:pt x="434" y="189"/>
                                    <a:pt x="434" y="195"/>
                                  </a:cubicBezTo>
                                  <a:cubicBezTo>
                                    <a:pt x="434" y="197"/>
                                    <a:pt x="434" y="199"/>
                                    <a:pt x="434" y="202"/>
                                  </a:cubicBezTo>
                                  <a:cubicBezTo>
                                    <a:pt x="435" y="210"/>
                                    <a:pt x="433" y="216"/>
                                    <a:pt x="431" y="222"/>
                                  </a:cubicBezTo>
                                  <a:cubicBezTo>
                                    <a:pt x="430" y="226"/>
                                    <a:pt x="429" y="231"/>
                                    <a:pt x="428" y="235"/>
                                  </a:cubicBezTo>
                                  <a:cubicBezTo>
                                    <a:pt x="428" y="242"/>
                                    <a:pt x="434" y="253"/>
                                    <a:pt x="439" y="263"/>
                                  </a:cubicBezTo>
                                  <a:cubicBezTo>
                                    <a:pt x="440" y="265"/>
                                    <a:pt x="441" y="267"/>
                                    <a:pt x="443" y="270"/>
                                  </a:cubicBezTo>
                                  <a:cubicBezTo>
                                    <a:pt x="447" y="278"/>
                                    <a:pt x="447" y="282"/>
                                    <a:pt x="448" y="286"/>
                                  </a:cubicBezTo>
                                  <a:cubicBezTo>
                                    <a:pt x="448" y="286"/>
                                    <a:pt x="448" y="286"/>
                                    <a:pt x="448" y="286"/>
                                  </a:cubicBezTo>
                                  <a:cubicBezTo>
                                    <a:pt x="449" y="289"/>
                                    <a:pt x="450" y="292"/>
                                    <a:pt x="451" y="295"/>
                                  </a:cubicBezTo>
                                  <a:cubicBezTo>
                                    <a:pt x="451" y="295"/>
                                    <a:pt x="451" y="295"/>
                                    <a:pt x="451" y="295"/>
                                  </a:cubicBezTo>
                                  <a:cubicBezTo>
                                    <a:pt x="453" y="301"/>
                                    <a:pt x="456" y="304"/>
                                    <a:pt x="459" y="307"/>
                                  </a:cubicBezTo>
                                  <a:cubicBezTo>
                                    <a:pt x="461" y="309"/>
                                    <a:pt x="462" y="310"/>
                                    <a:pt x="464" y="312"/>
                                  </a:cubicBezTo>
                                  <a:cubicBezTo>
                                    <a:pt x="470" y="318"/>
                                    <a:pt x="465" y="328"/>
                                    <a:pt x="461" y="335"/>
                                  </a:cubicBezTo>
                                  <a:cubicBezTo>
                                    <a:pt x="460" y="337"/>
                                    <a:pt x="460" y="339"/>
                                    <a:pt x="459" y="339"/>
                                  </a:cubicBezTo>
                                  <a:cubicBezTo>
                                    <a:pt x="459" y="341"/>
                                    <a:pt x="459" y="341"/>
                                    <a:pt x="459" y="342"/>
                                  </a:cubicBezTo>
                                  <a:cubicBezTo>
                                    <a:pt x="459" y="342"/>
                                    <a:pt x="459" y="342"/>
                                    <a:pt x="459" y="342"/>
                                  </a:cubicBezTo>
                                  <a:cubicBezTo>
                                    <a:pt x="459" y="342"/>
                                    <a:pt x="459" y="344"/>
                                    <a:pt x="459" y="346"/>
                                  </a:cubicBezTo>
                                  <a:cubicBezTo>
                                    <a:pt x="458" y="355"/>
                                    <a:pt x="453" y="355"/>
                                    <a:pt x="442" y="355"/>
                                  </a:cubicBezTo>
                                  <a:cubicBezTo>
                                    <a:pt x="441" y="355"/>
                                    <a:pt x="441" y="355"/>
                                    <a:pt x="441" y="355"/>
                                  </a:cubicBezTo>
                                  <a:cubicBezTo>
                                    <a:pt x="437" y="354"/>
                                    <a:pt x="429" y="353"/>
                                    <a:pt x="421" y="352"/>
                                  </a:cubicBezTo>
                                  <a:cubicBezTo>
                                    <a:pt x="411" y="351"/>
                                    <a:pt x="400" y="349"/>
                                    <a:pt x="394" y="349"/>
                                  </a:cubicBezTo>
                                  <a:cubicBezTo>
                                    <a:pt x="386" y="349"/>
                                    <a:pt x="384" y="350"/>
                                    <a:pt x="381" y="350"/>
                                  </a:cubicBezTo>
                                  <a:cubicBezTo>
                                    <a:pt x="379" y="351"/>
                                    <a:pt x="377" y="351"/>
                                    <a:pt x="374" y="352"/>
                                  </a:cubicBezTo>
                                  <a:cubicBezTo>
                                    <a:pt x="371" y="352"/>
                                    <a:pt x="369" y="352"/>
                                    <a:pt x="367" y="352"/>
                                  </a:cubicBezTo>
                                  <a:cubicBezTo>
                                    <a:pt x="367" y="352"/>
                                    <a:pt x="367" y="352"/>
                                    <a:pt x="367" y="352"/>
                                  </a:cubicBezTo>
                                  <a:cubicBezTo>
                                    <a:pt x="364" y="352"/>
                                    <a:pt x="362" y="352"/>
                                    <a:pt x="360" y="353"/>
                                  </a:cubicBezTo>
                                  <a:cubicBezTo>
                                    <a:pt x="358" y="355"/>
                                    <a:pt x="357" y="357"/>
                                    <a:pt x="355" y="359"/>
                                  </a:cubicBezTo>
                                  <a:cubicBezTo>
                                    <a:pt x="352" y="362"/>
                                    <a:pt x="349" y="365"/>
                                    <a:pt x="345" y="369"/>
                                  </a:cubicBezTo>
                                  <a:cubicBezTo>
                                    <a:pt x="340" y="374"/>
                                    <a:pt x="337" y="376"/>
                                    <a:pt x="333" y="378"/>
                                  </a:cubicBezTo>
                                  <a:cubicBezTo>
                                    <a:pt x="329" y="379"/>
                                    <a:pt x="325" y="379"/>
                                    <a:pt x="320" y="380"/>
                                  </a:cubicBezTo>
                                  <a:cubicBezTo>
                                    <a:pt x="317" y="380"/>
                                    <a:pt x="314" y="380"/>
                                    <a:pt x="311" y="380"/>
                                  </a:cubicBezTo>
                                  <a:cubicBezTo>
                                    <a:pt x="306" y="379"/>
                                    <a:pt x="301" y="379"/>
                                    <a:pt x="300" y="380"/>
                                  </a:cubicBezTo>
                                  <a:cubicBezTo>
                                    <a:pt x="299" y="382"/>
                                    <a:pt x="298" y="383"/>
                                    <a:pt x="298" y="384"/>
                                  </a:cubicBezTo>
                                  <a:cubicBezTo>
                                    <a:pt x="298" y="385"/>
                                    <a:pt x="299" y="387"/>
                                    <a:pt x="300" y="388"/>
                                  </a:cubicBezTo>
                                  <a:cubicBezTo>
                                    <a:pt x="302" y="391"/>
                                    <a:pt x="304" y="392"/>
                                    <a:pt x="305" y="395"/>
                                  </a:cubicBezTo>
                                  <a:cubicBezTo>
                                    <a:pt x="305" y="395"/>
                                    <a:pt x="305" y="395"/>
                                    <a:pt x="305" y="395"/>
                                  </a:cubicBezTo>
                                  <a:cubicBezTo>
                                    <a:pt x="306" y="398"/>
                                    <a:pt x="306" y="400"/>
                                    <a:pt x="305" y="404"/>
                                  </a:cubicBezTo>
                                  <a:cubicBezTo>
                                    <a:pt x="305" y="404"/>
                                    <a:pt x="305" y="404"/>
                                    <a:pt x="305" y="404"/>
                                  </a:cubicBezTo>
                                  <a:cubicBezTo>
                                    <a:pt x="305" y="405"/>
                                    <a:pt x="305" y="405"/>
                                    <a:pt x="305" y="405"/>
                                  </a:cubicBezTo>
                                  <a:cubicBezTo>
                                    <a:pt x="304" y="408"/>
                                    <a:pt x="303" y="410"/>
                                    <a:pt x="304" y="411"/>
                                  </a:cubicBezTo>
                                  <a:cubicBezTo>
                                    <a:pt x="305" y="412"/>
                                    <a:pt x="305" y="412"/>
                                    <a:pt x="306" y="413"/>
                                  </a:cubicBezTo>
                                  <a:cubicBezTo>
                                    <a:pt x="308" y="415"/>
                                    <a:pt x="310" y="416"/>
                                    <a:pt x="310" y="422"/>
                                  </a:cubicBezTo>
                                  <a:cubicBezTo>
                                    <a:pt x="309" y="429"/>
                                    <a:pt x="305" y="431"/>
                                    <a:pt x="297" y="435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1" name="Freeform 219"/>
                            <p:cNvSpPr>
                              <a:spLocks/>
                            </p:cNvSpPr>
                            <p:nvPr/>
                          </p:nvSpPr>
                          <p:spPr bwMode="auto">
                            <a:xfrm>
                              <a:off x="4560206" y="3173704"/>
                              <a:ext cx="229791" cy="377428"/>
                            </a:xfrm>
                            <a:custGeom>
                              <a:avLst/>
                              <a:gdLst>
                                <a:gd name="T0" fmla="*/ 4 w 800"/>
                                <a:gd name="T1" fmla="*/ 1017 h 1315"/>
                                <a:gd name="T2" fmla="*/ 30 w 800"/>
                                <a:gd name="T3" fmla="*/ 1056 h 1315"/>
                                <a:gd name="T4" fmla="*/ 35 w 800"/>
                                <a:gd name="T5" fmla="*/ 1083 h 1315"/>
                                <a:gd name="T6" fmla="*/ 51 w 800"/>
                                <a:gd name="T7" fmla="*/ 1133 h 1315"/>
                                <a:gd name="T8" fmla="*/ 105 w 800"/>
                                <a:gd name="T9" fmla="*/ 1203 h 1315"/>
                                <a:gd name="T10" fmla="*/ 97 w 800"/>
                                <a:gd name="T11" fmla="*/ 1261 h 1315"/>
                                <a:gd name="T12" fmla="*/ 137 w 800"/>
                                <a:gd name="T13" fmla="*/ 1311 h 1315"/>
                                <a:gd name="T14" fmla="*/ 192 w 800"/>
                                <a:gd name="T15" fmla="*/ 1271 h 1315"/>
                                <a:gd name="T16" fmla="*/ 273 w 800"/>
                                <a:gd name="T17" fmla="*/ 1241 h 1315"/>
                                <a:gd name="T18" fmla="*/ 326 w 800"/>
                                <a:gd name="T19" fmla="*/ 1171 h 1315"/>
                                <a:gd name="T20" fmla="*/ 335 w 800"/>
                                <a:gd name="T21" fmla="*/ 1115 h 1315"/>
                                <a:gd name="T22" fmla="*/ 347 w 800"/>
                                <a:gd name="T23" fmla="*/ 1069 h 1315"/>
                                <a:gd name="T24" fmla="*/ 351 w 800"/>
                                <a:gd name="T25" fmla="*/ 1041 h 1315"/>
                                <a:gd name="T26" fmla="*/ 359 w 800"/>
                                <a:gd name="T27" fmla="*/ 1023 h 1315"/>
                                <a:gd name="T28" fmla="*/ 413 w 800"/>
                                <a:gd name="T29" fmla="*/ 996 h 1315"/>
                                <a:gd name="T30" fmla="*/ 441 w 800"/>
                                <a:gd name="T31" fmla="*/ 965 h 1315"/>
                                <a:gd name="T32" fmla="*/ 486 w 800"/>
                                <a:gd name="T33" fmla="*/ 923 h 1315"/>
                                <a:gd name="T34" fmla="*/ 445 w 800"/>
                                <a:gd name="T35" fmla="*/ 864 h 1315"/>
                                <a:gd name="T36" fmla="*/ 373 w 800"/>
                                <a:gd name="T37" fmla="*/ 837 h 1315"/>
                                <a:gd name="T38" fmla="*/ 365 w 800"/>
                                <a:gd name="T39" fmla="*/ 750 h 1315"/>
                                <a:gd name="T40" fmla="*/ 389 w 800"/>
                                <a:gd name="T41" fmla="*/ 717 h 1315"/>
                                <a:gd name="T42" fmla="*/ 416 w 800"/>
                                <a:gd name="T43" fmla="*/ 637 h 1315"/>
                                <a:gd name="T44" fmla="*/ 438 w 800"/>
                                <a:gd name="T45" fmla="*/ 619 h 1315"/>
                                <a:gd name="T46" fmla="*/ 516 w 800"/>
                                <a:gd name="T47" fmla="*/ 570 h 1315"/>
                                <a:gd name="T48" fmla="*/ 594 w 800"/>
                                <a:gd name="T49" fmla="*/ 529 h 1315"/>
                                <a:gd name="T50" fmla="*/ 630 w 800"/>
                                <a:gd name="T51" fmla="*/ 460 h 1315"/>
                                <a:gd name="T52" fmla="*/ 638 w 800"/>
                                <a:gd name="T53" fmla="*/ 413 h 1315"/>
                                <a:gd name="T54" fmla="*/ 664 w 800"/>
                                <a:gd name="T55" fmla="*/ 366 h 1315"/>
                                <a:gd name="T56" fmla="*/ 691 w 800"/>
                                <a:gd name="T57" fmla="*/ 330 h 1315"/>
                                <a:gd name="T58" fmla="*/ 733 w 800"/>
                                <a:gd name="T59" fmla="*/ 344 h 1315"/>
                                <a:gd name="T60" fmla="*/ 800 w 800"/>
                                <a:gd name="T61" fmla="*/ 333 h 1315"/>
                                <a:gd name="T62" fmla="*/ 781 w 800"/>
                                <a:gd name="T63" fmla="*/ 263 h 1315"/>
                                <a:gd name="T64" fmla="*/ 777 w 800"/>
                                <a:gd name="T65" fmla="*/ 178 h 1315"/>
                                <a:gd name="T66" fmla="*/ 766 w 800"/>
                                <a:gd name="T67" fmla="*/ 116 h 1315"/>
                                <a:gd name="T68" fmla="*/ 605 w 800"/>
                                <a:gd name="T69" fmla="*/ 12 h 1315"/>
                                <a:gd name="T70" fmla="*/ 562 w 800"/>
                                <a:gd name="T71" fmla="*/ 7 h 1315"/>
                                <a:gd name="T72" fmla="*/ 553 w 800"/>
                                <a:gd name="T73" fmla="*/ 62 h 1315"/>
                                <a:gd name="T74" fmla="*/ 459 w 800"/>
                                <a:gd name="T75" fmla="*/ 60 h 1315"/>
                                <a:gd name="T76" fmla="*/ 434 w 800"/>
                                <a:gd name="T77" fmla="*/ 92 h 1315"/>
                                <a:gd name="T78" fmla="*/ 366 w 800"/>
                                <a:gd name="T79" fmla="*/ 113 h 1315"/>
                                <a:gd name="T80" fmla="*/ 324 w 800"/>
                                <a:gd name="T81" fmla="*/ 179 h 1315"/>
                                <a:gd name="T82" fmla="*/ 273 w 800"/>
                                <a:gd name="T83" fmla="*/ 265 h 1315"/>
                                <a:gd name="T84" fmla="*/ 222 w 800"/>
                                <a:gd name="T85" fmla="*/ 308 h 1315"/>
                                <a:gd name="T86" fmla="*/ 195 w 800"/>
                                <a:gd name="T87" fmla="*/ 419 h 1315"/>
                                <a:gd name="T88" fmla="*/ 185 w 800"/>
                                <a:gd name="T89" fmla="*/ 473 h 1315"/>
                                <a:gd name="T90" fmla="*/ 124 w 800"/>
                                <a:gd name="T91" fmla="*/ 512 h 1315"/>
                                <a:gd name="T92" fmla="*/ 60 w 800"/>
                                <a:gd name="T93" fmla="*/ 589 h 1315"/>
                                <a:gd name="T94" fmla="*/ 69 w 800"/>
                                <a:gd name="T95" fmla="*/ 666 h 1315"/>
                                <a:gd name="T96" fmla="*/ 85 w 800"/>
                                <a:gd name="T97" fmla="*/ 754 h 1315"/>
                                <a:gd name="T98" fmla="*/ 86 w 800"/>
                                <a:gd name="T99" fmla="*/ 808 h 1315"/>
                                <a:gd name="T100" fmla="*/ 89 w 800"/>
                                <a:gd name="T101" fmla="*/ 860 h 1315"/>
                                <a:gd name="T102" fmla="*/ 58 w 800"/>
                                <a:gd name="T103" fmla="*/ 907 h 1315"/>
                                <a:gd name="T104" fmla="*/ 40 w 800"/>
                                <a:gd name="T105" fmla="*/ 981 h 1315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  <a:cxn ang="0">
                                  <a:pos x="T100" y="T101"/>
                                </a:cxn>
                                <a:cxn ang="0">
                                  <a:pos x="T102" y="T103"/>
                                </a:cxn>
                                <a:cxn ang="0">
                                  <a:pos x="T104" y="T105"/>
                                </a:cxn>
                              </a:cxnLst>
                              <a:rect l="0" t="0" r="r" b="b"/>
                              <a:pathLst>
                                <a:path w="800" h="1315">
                                  <a:moveTo>
                                    <a:pt x="31" y="995"/>
                                  </a:moveTo>
                                  <a:cubicBezTo>
                                    <a:pt x="26" y="996"/>
                                    <a:pt x="21" y="995"/>
                                    <a:pt x="14" y="992"/>
                                  </a:cubicBezTo>
                                  <a:cubicBezTo>
                                    <a:pt x="10" y="990"/>
                                    <a:pt x="6" y="990"/>
                                    <a:pt x="2" y="991"/>
                                  </a:cubicBezTo>
                                  <a:cubicBezTo>
                                    <a:pt x="2" y="993"/>
                                    <a:pt x="2" y="994"/>
                                    <a:pt x="2" y="997"/>
                                  </a:cubicBezTo>
                                  <a:cubicBezTo>
                                    <a:pt x="0" y="1005"/>
                                    <a:pt x="1" y="1012"/>
                                    <a:pt x="4" y="1017"/>
                                  </a:cubicBezTo>
                                  <a:cubicBezTo>
                                    <a:pt x="6" y="1022"/>
                                    <a:pt x="7" y="1030"/>
                                    <a:pt x="7" y="1036"/>
                                  </a:cubicBezTo>
                                  <a:cubicBezTo>
                                    <a:pt x="7" y="1042"/>
                                    <a:pt x="7" y="1049"/>
                                    <a:pt x="10" y="1050"/>
                                  </a:cubicBezTo>
                                  <a:cubicBezTo>
                                    <a:pt x="14" y="1052"/>
                                    <a:pt x="21" y="1052"/>
                                    <a:pt x="24" y="1047"/>
                                  </a:cubicBezTo>
                                  <a:cubicBezTo>
                                    <a:pt x="27" y="1043"/>
                                    <a:pt x="31" y="1038"/>
                                    <a:pt x="32" y="1043"/>
                                  </a:cubicBezTo>
                                  <a:cubicBezTo>
                                    <a:pt x="34" y="1048"/>
                                    <a:pt x="30" y="1053"/>
                                    <a:pt x="30" y="1056"/>
                                  </a:cubicBezTo>
                                  <a:cubicBezTo>
                                    <a:pt x="30" y="1058"/>
                                    <a:pt x="31" y="1061"/>
                                    <a:pt x="34" y="1060"/>
                                  </a:cubicBezTo>
                                  <a:cubicBezTo>
                                    <a:pt x="37" y="1060"/>
                                    <a:pt x="38" y="1055"/>
                                    <a:pt x="42" y="1055"/>
                                  </a:cubicBezTo>
                                  <a:cubicBezTo>
                                    <a:pt x="45" y="1056"/>
                                    <a:pt x="46" y="1058"/>
                                    <a:pt x="46" y="1061"/>
                                  </a:cubicBezTo>
                                  <a:cubicBezTo>
                                    <a:pt x="46" y="1064"/>
                                    <a:pt x="43" y="1069"/>
                                    <a:pt x="42" y="1071"/>
                                  </a:cubicBezTo>
                                  <a:cubicBezTo>
                                    <a:pt x="40" y="1074"/>
                                    <a:pt x="34" y="1079"/>
                                    <a:pt x="35" y="1083"/>
                                  </a:cubicBezTo>
                                  <a:cubicBezTo>
                                    <a:pt x="35" y="1087"/>
                                    <a:pt x="34" y="1090"/>
                                    <a:pt x="37" y="1092"/>
                                  </a:cubicBezTo>
                                  <a:cubicBezTo>
                                    <a:pt x="39" y="1095"/>
                                    <a:pt x="42" y="1094"/>
                                    <a:pt x="43" y="1097"/>
                                  </a:cubicBezTo>
                                  <a:cubicBezTo>
                                    <a:pt x="44" y="1100"/>
                                    <a:pt x="41" y="1105"/>
                                    <a:pt x="41" y="1106"/>
                                  </a:cubicBezTo>
                                  <a:cubicBezTo>
                                    <a:pt x="41" y="1108"/>
                                    <a:pt x="45" y="1113"/>
                                    <a:pt x="46" y="1115"/>
                                  </a:cubicBezTo>
                                  <a:cubicBezTo>
                                    <a:pt x="47" y="1116"/>
                                    <a:pt x="49" y="1125"/>
                                    <a:pt x="51" y="1133"/>
                                  </a:cubicBezTo>
                                  <a:cubicBezTo>
                                    <a:pt x="52" y="1142"/>
                                    <a:pt x="53" y="1147"/>
                                    <a:pt x="58" y="1153"/>
                                  </a:cubicBezTo>
                                  <a:cubicBezTo>
                                    <a:pt x="62" y="1158"/>
                                    <a:pt x="63" y="1167"/>
                                    <a:pt x="66" y="1170"/>
                                  </a:cubicBezTo>
                                  <a:cubicBezTo>
                                    <a:pt x="70" y="1173"/>
                                    <a:pt x="74" y="1173"/>
                                    <a:pt x="80" y="1180"/>
                                  </a:cubicBezTo>
                                  <a:cubicBezTo>
                                    <a:pt x="85" y="1187"/>
                                    <a:pt x="84" y="1192"/>
                                    <a:pt x="88" y="1195"/>
                                  </a:cubicBezTo>
                                  <a:cubicBezTo>
                                    <a:pt x="92" y="1197"/>
                                    <a:pt x="103" y="1200"/>
                                    <a:pt x="105" y="1203"/>
                                  </a:cubicBezTo>
                                  <a:cubicBezTo>
                                    <a:pt x="107" y="1206"/>
                                    <a:pt x="108" y="1218"/>
                                    <a:pt x="106" y="1220"/>
                                  </a:cubicBezTo>
                                  <a:cubicBezTo>
                                    <a:pt x="103" y="1222"/>
                                    <a:pt x="96" y="1215"/>
                                    <a:pt x="93" y="1221"/>
                                  </a:cubicBezTo>
                                  <a:cubicBezTo>
                                    <a:pt x="90" y="1226"/>
                                    <a:pt x="98" y="1229"/>
                                    <a:pt x="96" y="1234"/>
                                  </a:cubicBezTo>
                                  <a:cubicBezTo>
                                    <a:pt x="93" y="1238"/>
                                    <a:pt x="88" y="1233"/>
                                    <a:pt x="88" y="1239"/>
                                  </a:cubicBezTo>
                                  <a:cubicBezTo>
                                    <a:pt x="88" y="1245"/>
                                    <a:pt x="88" y="1255"/>
                                    <a:pt x="97" y="1261"/>
                                  </a:cubicBezTo>
                                  <a:cubicBezTo>
                                    <a:pt x="105" y="1267"/>
                                    <a:pt x="111" y="1271"/>
                                    <a:pt x="114" y="1279"/>
                                  </a:cubicBezTo>
                                  <a:cubicBezTo>
                                    <a:pt x="117" y="1286"/>
                                    <a:pt x="118" y="1290"/>
                                    <a:pt x="115" y="1295"/>
                                  </a:cubicBezTo>
                                  <a:cubicBezTo>
                                    <a:pt x="112" y="1300"/>
                                    <a:pt x="108" y="1304"/>
                                    <a:pt x="109" y="1309"/>
                                  </a:cubicBezTo>
                                  <a:cubicBezTo>
                                    <a:pt x="111" y="1313"/>
                                    <a:pt x="117" y="1315"/>
                                    <a:pt x="122" y="1314"/>
                                  </a:cubicBezTo>
                                  <a:cubicBezTo>
                                    <a:pt x="128" y="1313"/>
                                    <a:pt x="128" y="1311"/>
                                    <a:pt x="137" y="1311"/>
                                  </a:cubicBezTo>
                                  <a:cubicBezTo>
                                    <a:pt x="146" y="1312"/>
                                    <a:pt x="152" y="1313"/>
                                    <a:pt x="160" y="1311"/>
                                  </a:cubicBezTo>
                                  <a:cubicBezTo>
                                    <a:pt x="167" y="1310"/>
                                    <a:pt x="171" y="1308"/>
                                    <a:pt x="178" y="1308"/>
                                  </a:cubicBezTo>
                                  <a:cubicBezTo>
                                    <a:pt x="186" y="1308"/>
                                    <a:pt x="192" y="1307"/>
                                    <a:pt x="194" y="1301"/>
                                  </a:cubicBezTo>
                                  <a:cubicBezTo>
                                    <a:pt x="196" y="1296"/>
                                    <a:pt x="197" y="1292"/>
                                    <a:pt x="194" y="1286"/>
                                  </a:cubicBezTo>
                                  <a:cubicBezTo>
                                    <a:pt x="192" y="1280"/>
                                    <a:pt x="190" y="1276"/>
                                    <a:pt x="192" y="1271"/>
                                  </a:cubicBezTo>
                                  <a:cubicBezTo>
                                    <a:pt x="194" y="1267"/>
                                    <a:pt x="203" y="1262"/>
                                    <a:pt x="208" y="1258"/>
                                  </a:cubicBezTo>
                                  <a:cubicBezTo>
                                    <a:pt x="214" y="1254"/>
                                    <a:pt x="218" y="1252"/>
                                    <a:pt x="224" y="1252"/>
                                  </a:cubicBezTo>
                                  <a:cubicBezTo>
                                    <a:pt x="230" y="1252"/>
                                    <a:pt x="239" y="1250"/>
                                    <a:pt x="244" y="1247"/>
                                  </a:cubicBezTo>
                                  <a:cubicBezTo>
                                    <a:pt x="250" y="1245"/>
                                    <a:pt x="255" y="1243"/>
                                    <a:pt x="261" y="1242"/>
                                  </a:cubicBezTo>
                                  <a:cubicBezTo>
                                    <a:pt x="267" y="1242"/>
                                    <a:pt x="266" y="1238"/>
                                    <a:pt x="273" y="1241"/>
                                  </a:cubicBezTo>
                                  <a:cubicBezTo>
                                    <a:pt x="280" y="1245"/>
                                    <a:pt x="279" y="1253"/>
                                    <a:pt x="285" y="1251"/>
                                  </a:cubicBezTo>
                                  <a:cubicBezTo>
                                    <a:pt x="292" y="1249"/>
                                    <a:pt x="298" y="1242"/>
                                    <a:pt x="299" y="1236"/>
                                  </a:cubicBezTo>
                                  <a:cubicBezTo>
                                    <a:pt x="300" y="1231"/>
                                    <a:pt x="311" y="1220"/>
                                    <a:pt x="315" y="1213"/>
                                  </a:cubicBezTo>
                                  <a:cubicBezTo>
                                    <a:pt x="319" y="1205"/>
                                    <a:pt x="322" y="1200"/>
                                    <a:pt x="324" y="1194"/>
                                  </a:cubicBezTo>
                                  <a:cubicBezTo>
                                    <a:pt x="327" y="1187"/>
                                    <a:pt x="325" y="1177"/>
                                    <a:pt x="326" y="1171"/>
                                  </a:cubicBezTo>
                                  <a:cubicBezTo>
                                    <a:pt x="328" y="1166"/>
                                    <a:pt x="332" y="1169"/>
                                    <a:pt x="332" y="1162"/>
                                  </a:cubicBezTo>
                                  <a:cubicBezTo>
                                    <a:pt x="332" y="1155"/>
                                    <a:pt x="329" y="1156"/>
                                    <a:pt x="330" y="1151"/>
                                  </a:cubicBezTo>
                                  <a:cubicBezTo>
                                    <a:pt x="331" y="1145"/>
                                    <a:pt x="335" y="1138"/>
                                    <a:pt x="338" y="1136"/>
                                  </a:cubicBezTo>
                                  <a:cubicBezTo>
                                    <a:pt x="341" y="1133"/>
                                    <a:pt x="342" y="1129"/>
                                    <a:pt x="339" y="1124"/>
                                  </a:cubicBezTo>
                                  <a:cubicBezTo>
                                    <a:pt x="337" y="1120"/>
                                    <a:pt x="330" y="1122"/>
                                    <a:pt x="335" y="1115"/>
                                  </a:cubicBezTo>
                                  <a:cubicBezTo>
                                    <a:pt x="339" y="1107"/>
                                    <a:pt x="342" y="1107"/>
                                    <a:pt x="340" y="1103"/>
                                  </a:cubicBezTo>
                                  <a:cubicBezTo>
                                    <a:pt x="338" y="1099"/>
                                    <a:pt x="330" y="1095"/>
                                    <a:pt x="332" y="1091"/>
                                  </a:cubicBezTo>
                                  <a:cubicBezTo>
                                    <a:pt x="334" y="1087"/>
                                    <a:pt x="337" y="1092"/>
                                    <a:pt x="341" y="1088"/>
                                  </a:cubicBezTo>
                                  <a:cubicBezTo>
                                    <a:pt x="345" y="1084"/>
                                    <a:pt x="343" y="1083"/>
                                    <a:pt x="343" y="1079"/>
                                  </a:cubicBezTo>
                                  <a:cubicBezTo>
                                    <a:pt x="343" y="1074"/>
                                    <a:pt x="343" y="1073"/>
                                    <a:pt x="347" y="1069"/>
                                  </a:cubicBezTo>
                                  <a:cubicBezTo>
                                    <a:pt x="352" y="1065"/>
                                    <a:pt x="353" y="1063"/>
                                    <a:pt x="350" y="1057"/>
                                  </a:cubicBezTo>
                                  <a:cubicBezTo>
                                    <a:pt x="346" y="1052"/>
                                    <a:pt x="345" y="1050"/>
                                    <a:pt x="337" y="1048"/>
                                  </a:cubicBezTo>
                                  <a:cubicBezTo>
                                    <a:pt x="330" y="1046"/>
                                    <a:pt x="325" y="1042"/>
                                    <a:pt x="327" y="1041"/>
                                  </a:cubicBezTo>
                                  <a:cubicBezTo>
                                    <a:pt x="330" y="1040"/>
                                    <a:pt x="334" y="1041"/>
                                    <a:pt x="338" y="1042"/>
                                  </a:cubicBezTo>
                                  <a:cubicBezTo>
                                    <a:pt x="342" y="1043"/>
                                    <a:pt x="349" y="1046"/>
                                    <a:pt x="351" y="1041"/>
                                  </a:cubicBezTo>
                                  <a:cubicBezTo>
                                    <a:pt x="352" y="1037"/>
                                    <a:pt x="350" y="1033"/>
                                    <a:pt x="348" y="1033"/>
                                  </a:cubicBezTo>
                                  <a:cubicBezTo>
                                    <a:pt x="347" y="1032"/>
                                    <a:pt x="342" y="1032"/>
                                    <a:pt x="337" y="1031"/>
                                  </a:cubicBezTo>
                                  <a:cubicBezTo>
                                    <a:pt x="332" y="1030"/>
                                    <a:pt x="323" y="1032"/>
                                    <a:pt x="323" y="1027"/>
                                  </a:cubicBezTo>
                                  <a:cubicBezTo>
                                    <a:pt x="323" y="1022"/>
                                    <a:pt x="336" y="1025"/>
                                    <a:pt x="344" y="1025"/>
                                  </a:cubicBezTo>
                                  <a:cubicBezTo>
                                    <a:pt x="351" y="1025"/>
                                    <a:pt x="353" y="1025"/>
                                    <a:pt x="359" y="1023"/>
                                  </a:cubicBezTo>
                                  <a:cubicBezTo>
                                    <a:pt x="365" y="1021"/>
                                    <a:pt x="375" y="1021"/>
                                    <a:pt x="379" y="1018"/>
                                  </a:cubicBezTo>
                                  <a:cubicBezTo>
                                    <a:pt x="383" y="1015"/>
                                    <a:pt x="391" y="1010"/>
                                    <a:pt x="393" y="1004"/>
                                  </a:cubicBezTo>
                                  <a:cubicBezTo>
                                    <a:pt x="396" y="998"/>
                                    <a:pt x="401" y="999"/>
                                    <a:pt x="404" y="996"/>
                                  </a:cubicBezTo>
                                  <a:cubicBezTo>
                                    <a:pt x="406" y="993"/>
                                    <a:pt x="406" y="985"/>
                                    <a:pt x="409" y="984"/>
                                  </a:cubicBezTo>
                                  <a:cubicBezTo>
                                    <a:pt x="412" y="982"/>
                                    <a:pt x="413" y="991"/>
                                    <a:pt x="413" y="996"/>
                                  </a:cubicBezTo>
                                  <a:cubicBezTo>
                                    <a:pt x="413" y="1000"/>
                                    <a:pt x="413" y="1003"/>
                                    <a:pt x="417" y="1002"/>
                                  </a:cubicBezTo>
                                  <a:cubicBezTo>
                                    <a:pt x="420" y="1001"/>
                                    <a:pt x="419" y="998"/>
                                    <a:pt x="426" y="992"/>
                                  </a:cubicBezTo>
                                  <a:cubicBezTo>
                                    <a:pt x="433" y="987"/>
                                    <a:pt x="431" y="989"/>
                                    <a:pt x="440" y="983"/>
                                  </a:cubicBezTo>
                                  <a:cubicBezTo>
                                    <a:pt x="449" y="977"/>
                                    <a:pt x="453" y="976"/>
                                    <a:pt x="451" y="972"/>
                                  </a:cubicBezTo>
                                  <a:cubicBezTo>
                                    <a:pt x="450" y="967"/>
                                    <a:pt x="445" y="966"/>
                                    <a:pt x="441" y="965"/>
                                  </a:cubicBezTo>
                                  <a:cubicBezTo>
                                    <a:pt x="436" y="964"/>
                                    <a:pt x="431" y="960"/>
                                    <a:pt x="433" y="955"/>
                                  </a:cubicBezTo>
                                  <a:cubicBezTo>
                                    <a:pt x="434" y="951"/>
                                    <a:pt x="434" y="949"/>
                                    <a:pt x="443" y="948"/>
                                  </a:cubicBezTo>
                                  <a:cubicBezTo>
                                    <a:pt x="451" y="946"/>
                                    <a:pt x="452" y="945"/>
                                    <a:pt x="459" y="940"/>
                                  </a:cubicBezTo>
                                  <a:cubicBezTo>
                                    <a:pt x="467" y="935"/>
                                    <a:pt x="469" y="935"/>
                                    <a:pt x="475" y="932"/>
                                  </a:cubicBezTo>
                                  <a:cubicBezTo>
                                    <a:pt x="482" y="929"/>
                                    <a:pt x="485" y="927"/>
                                    <a:pt x="486" y="923"/>
                                  </a:cubicBezTo>
                                  <a:cubicBezTo>
                                    <a:pt x="487" y="919"/>
                                    <a:pt x="485" y="915"/>
                                    <a:pt x="482" y="908"/>
                                  </a:cubicBezTo>
                                  <a:cubicBezTo>
                                    <a:pt x="480" y="901"/>
                                    <a:pt x="479" y="897"/>
                                    <a:pt x="479" y="892"/>
                                  </a:cubicBezTo>
                                  <a:cubicBezTo>
                                    <a:pt x="478" y="887"/>
                                    <a:pt x="467" y="888"/>
                                    <a:pt x="463" y="888"/>
                                  </a:cubicBezTo>
                                  <a:cubicBezTo>
                                    <a:pt x="458" y="887"/>
                                    <a:pt x="459" y="883"/>
                                    <a:pt x="457" y="876"/>
                                  </a:cubicBezTo>
                                  <a:cubicBezTo>
                                    <a:pt x="454" y="868"/>
                                    <a:pt x="453" y="871"/>
                                    <a:pt x="445" y="864"/>
                                  </a:cubicBezTo>
                                  <a:cubicBezTo>
                                    <a:pt x="437" y="857"/>
                                    <a:pt x="436" y="854"/>
                                    <a:pt x="431" y="851"/>
                                  </a:cubicBezTo>
                                  <a:cubicBezTo>
                                    <a:pt x="427" y="847"/>
                                    <a:pt x="427" y="844"/>
                                    <a:pt x="419" y="846"/>
                                  </a:cubicBezTo>
                                  <a:cubicBezTo>
                                    <a:pt x="410" y="849"/>
                                    <a:pt x="409" y="856"/>
                                    <a:pt x="402" y="852"/>
                                  </a:cubicBezTo>
                                  <a:cubicBezTo>
                                    <a:pt x="396" y="847"/>
                                    <a:pt x="393" y="842"/>
                                    <a:pt x="387" y="841"/>
                                  </a:cubicBezTo>
                                  <a:cubicBezTo>
                                    <a:pt x="381" y="840"/>
                                    <a:pt x="372" y="839"/>
                                    <a:pt x="373" y="837"/>
                                  </a:cubicBezTo>
                                  <a:cubicBezTo>
                                    <a:pt x="374" y="834"/>
                                    <a:pt x="381" y="833"/>
                                    <a:pt x="381" y="827"/>
                                  </a:cubicBezTo>
                                  <a:cubicBezTo>
                                    <a:pt x="382" y="822"/>
                                    <a:pt x="374" y="820"/>
                                    <a:pt x="371" y="812"/>
                                  </a:cubicBezTo>
                                  <a:cubicBezTo>
                                    <a:pt x="369" y="805"/>
                                    <a:pt x="367" y="800"/>
                                    <a:pt x="370" y="789"/>
                                  </a:cubicBezTo>
                                  <a:cubicBezTo>
                                    <a:pt x="374" y="777"/>
                                    <a:pt x="373" y="776"/>
                                    <a:pt x="371" y="771"/>
                                  </a:cubicBezTo>
                                  <a:cubicBezTo>
                                    <a:pt x="369" y="766"/>
                                    <a:pt x="365" y="756"/>
                                    <a:pt x="365" y="750"/>
                                  </a:cubicBezTo>
                                  <a:cubicBezTo>
                                    <a:pt x="365" y="744"/>
                                    <a:pt x="367" y="739"/>
                                    <a:pt x="371" y="740"/>
                                  </a:cubicBezTo>
                                  <a:cubicBezTo>
                                    <a:pt x="375" y="741"/>
                                    <a:pt x="376" y="747"/>
                                    <a:pt x="381" y="747"/>
                                  </a:cubicBezTo>
                                  <a:cubicBezTo>
                                    <a:pt x="385" y="748"/>
                                    <a:pt x="391" y="750"/>
                                    <a:pt x="390" y="744"/>
                                  </a:cubicBezTo>
                                  <a:cubicBezTo>
                                    <a:pt x="388" y="738"/>
                                    <a:pt x="385" y="738"/>
                                    <a:pt x="385" y="732"/>
                                  </a:cubicBezTo>
                                  <a:cubicBezTo>
                                    <a:pt x="385" y="727"/>
                                    <a:pt x="383" y="726"/>
                                    <a:pt x="389" y="717"/>
                                  </a:cubicBezTo>
                                  <a:cubicBezTo>
                                    <a:pt x="395" y="708"/>
                                    <a:pt x="393" y="693"/>
                                    <a:pt x="390" y="686"/>
                                  </a:cubicBezTo>
                                  <a:cubicBezTo>
                                    <a:pt x="387" y="679"/>
                                    <a:pt x="382" y="673"/>
                                    <a:pt x="386" y="670"/>
                                  </a:cubicBezTo>
                                  <a:cubicBezTo>
                                    <a:pt x="391" y="667"/>
                                    <a:pt x="400" y="674"/>
                                    <a:pt x="408" y="670"/>
                                  </a:cubicBezTo>
                                  <a:cubicBezTo>
                                    <a:pt x="416" y="666"/>
                                    <a:pt x="418" y="662"/>
                                    <a:pt x="418" y="652"/>
                                  </a:cubicBezTo>
                                  <a:cubicBezTo>
                                    <a:pt x="419" y="643"/>
                                    <a:pt x="421" y="644"/>
                                    <a:pt x="416" y="637"/>
                                  </a:cubicBezTo>
                                  <a:cubicBezTo>
                                    <a:pt x="411" y="630"/>
                                    <a:pt x="406" y="621"/>
                                    <a:pt x="406" y="616"/>
                                  </a:cubicBezTo>
                                  <a:cubicBezTo>
                                    <a:pt x="406" y="612"/>
                                    <a:pt x="411" y="608"/>
                                    <a:pt x="413" y="613"/>
                                  </a:cubicBezTo>
                                  <a:cubicBezTo>
                                    <a:pt x="415" y="617"/>
                                    <a:pt x="416" y="616"/>
                                    <a:pt x="422" y="626"/>
                                  </a:cubicBezTo>
                                  <a:cubicBezTo>
                                    <a:pt x="428" y="635"/>
                                    <a:pt x="428" y="639"/>
                                    <a:pt x="430" y="635"/>
                                  </a:cubicBezTo>
                                  <a:cubicBezTo>
                                    <a:pt x="433" y="632"/>
                                    <a:pt x="435" y="622"/>
                                    <a:pt x="438" y="619"/>
                                  </a:cubicBezTo>
                                  <a:cubicBezTo>
                                    <a:pt x="440" y="617"/>
                                    <a:pt x="435" y="619"/>
                                    <a:pt x="447" y="614"/>
                                  </a:cubicBezTo>
                                  <a:cubicBezTo>
                                    <a:pt x="460" y="609"/>
                                    <a:pt x="458" y="609"/>
                                    <a:pt x="466" y="607"/>
                                  </a:cubicBezTo>
                                  <a:cubicBezTo>
                                    <a:pt x="473" y="605"/>
                                    <a:pt x="476" y="608"/>
                                    <a:pt x="483" y="600"/>
                                  </a:cubicBezTo>
                                  <a:cubicBezTo>
                                    <a:pt x="491" y="592"/>
                                    <a:pt x="497" y="576"/>
                                    <a:pt x="503" y="573"/>
                                  </a:cubicBezTo>
                                  <a:cubicBezTo>
                                    <a:pt x="509" y="571"/>
                                    <a:pt x="512" y="574"/>
                                    <a:pt x="516" y="570"/>
                                  </a:cubicBezTo>
                                  <a:cubicBezTo>
                                    <a:pt x="519" y="566"/>
                                    <a:pt x="525" y="568"/>
                                    <a:pt x="531" y="566"/>
                                  </a:cubicBezTo>
                                  <a:cubicBezTo>
                                    <a:pt x="536" y="563"/>
                                    <a:pt x="540" y="562"/>
                                    <a:pt x="546" y="558"/>
                                  </a:cubicBezTo>
                                  <a:cubicBezTo>
                                    <a:pt x="551" y="554"/>
                                    <a:pt x="553" y="553"/>
                                    <a:pt x="559" y="551"/>
                                  </a:cubicBezTo>
                                  <a:cubicBezTo>
                                    <a:pt x="565" y="550"/>
                                    <a:pt x="569" y="552"/>
                                    <a:pt x="574" y="547"/>
                                  </a:cubicBezTo>
                                  <a:cubicBezTo>
                                    <a:pt x="579" y="541"/>
                                    <a:pt x="588" y="539"/>
                                    <a:pt x="594" y="529"/>
                                  </a:cubicBezTo>
                                  <a:cubicBezTo>
                                    <a:pt x="600" y="519"/>
                                    <a:pt x="600" y="514"/>
                                    <a:pt x="608" y="506"/>
                                  </a:cubicBezTo>
                                  <a:cubicBezTo>
                                    <a:pt x="617" y="499"/>
                                    <a:pt x="618" y="492"/>
                                    <a:pt x="625" y="488"/>
                                  </a:cubicBezTo>
                                  <a:cubicBezTo>
                                    <a:pt x="632" y="485"/>
                                    <a:pt x="636" y="485"/>
                                    <a:pt x="637" y="481"/>
                                  </a:cubicBezTo>
                                  <a:cubicBezTo>
                                    <a:pt x="638" y="477"/>
                                    <a:pt x="635" y="477"/>
                                    <a:pt x="635" y="471"/>
                                  </a:cubicBezTo>
                                  <a:cubicBezTo>
                                    <a:pt x="634" y="466"/>
                                    <a:pt x="635" y="463"/>
                                    <a:pt x="630" y="460"/>
                                  </a:cubicBezTo>
                                  <a:cubicBezTo>
                                    <a:pt x="626" y="458"/>
                                    <a:pt x="619" y="456"/>
                                    <a:pt x="618" y="453"/>
                                  </a:cubicBezTo>
                                  <a:cubicBezTo>
                                    <a:pt x="618" y="449"/>
                                    <a:pt x="620" y="447"/>
                                    <a:pt x="619" y="444"/>
                                  </a:cubicBezTo>
                                  <a:cubicBezTo>
                                    <a:pt x="618" y="441"/>
                                    <a:pt x="612" y="440"/>
                                    <a:pt x="612" y="436"/>
                                  </a:cubicBezTo>
                                  <a:cubicBezTo>
                                    <a:pt x="612" y="433"/>
                                    <a:pt x="618" y="427"/>
                                    <a:pt x="623" y="424"/>
                                  </a:cubicBezTo>
                                  <a:cubicBezTo>
                                    <a:pt x="627" y="422"/>
                                    <a:pt x="637" y="415"/>
                                    <a:pt x="638" y="413"/>
                                  </a:cubicBezTo>
                                  <a:cubicBezTo>
                                    <a:pt x="639" y="411"/>
                                    <a:pt x="644" y="404"/>
                                    <a:pt x="643" y="399"/>
                                  </a:cubicBezTo>
                                  <a:cubicBezTo>
                                    <a:pt x="643" y="394"/>
                                    <a:pt x="644" y="393"/>
                                    <a:pt x="646" y="390"/>
                                  </a:cubicBezTo>
                                  <a:cubicBezTo>
                                    <a:pt x="648" y="388"/>
                                    <a:pt x="641" y="386"/>
                                    <a:pt x="641" y="382"/>
                                  </a:cubicBezTo>
                                  <a:cubicBezTo>
                                    <a:pt x="641" y="378"/>
                                    <a:pt x="641" y="378"/>
                                    <a:pt x="648" y="374"/>
                                  </a:cubicBezTo>
                                  <a:cubicBezTo>
                                    <a:pt x="655" y="370"/>
                                    <a:pt x="656" y="373"/>
                                    <a:pt x="664" y="366"/>
                                  </a:cubicBezTo>
                                  <a:cubicBezTo>
                                    <a:pt x="672" y="358"/>
                                    <a:pt x="671" y="356"/>
                                    <a:pt x="676" y="356"/>
                                  </a:cubicBezTo>
                                  <a:cubicBezTo>
                                    <a:pt x="681" y="356"/>
                                    <a:pt x="683" y="360"/>
                                    <a:pt x="689" y="358"/>
                                  </a:cubicBezTo>
                                  <a:cubicBezTo>
                                    <a:pt x="694" y="357"/>
                                    <a:pt x="689" y="354"/>
                                    <a:pt x="687" y="349"/>
                                  </a:cubicBezTo>
                                  <a:cubicBezTo>
                                    <a:pt x="685" y="345"/>
                                    <a:pt x="681" y="345"/>
                                    <a:pt x="686" y="340"/>
                                  </a:cubicBezTo>
                                  <a:cubicBezTo>
                                    <a:pt x="690" y="336"/>
                                    <a:pt x="688" y="333"/>
                                    <a:pt x="691" y="330"/>
                                  </a:cubicBezTo>
                                  <a:cubicBezTo>
                                    <a:pt x="694" y="326"/>
                                    <a:pt x="700" y="329"/>
                                    <a:pt x="704" y="332"/>
                                  </a:cubicBezTo>
                                  <a:cubicBezTo>
                                    <a:pt x="708" y="336"/>
                                    <a:pt x="705" y="340"/>
                                    <a:pt x="710" y="337"/>
                                  </a:cubicBezTo>
                                  <a:cubicBezTo>
                                    <a:pt x="715" y="333"/>
                                    <a:pt x="711" y="331"/>
                                    <a:pt x="716" y="330"/>
                                  </a:cubicBezTo>
                                  <a:cubicBezTo>
                                    <a:pt x="721" y="330"/>
                                    <a:pt x="726" y="332"/>
                                    <a:pt x="728" y="336"/>
                                  </a:cubicBezTo>
                                  <a:cubicBezTo>
                                    <a:pt x="730" y="341"/>
                                    <a:pt x="727" y="344"/>
                                    <a:pt x="733" y="344"/>
                                  </a:cubicBezTo>
                                  <a:cubicBezTo>
                                    <a:pt x="738" y="343"/>
                                    <a:pt x="735" y="337"/>
                                    <a:pt x="740" y="334"/>
                                  </a:cubicBezTo>
                                  <a:cubicBezTo>
                                    <a:pt x="746" y="332"/>
                                    <a:pt x="747" y="330"/>
                                    <a:pt x="753" y="332"/>
                                  </a:cubicBezTo>
                                  <a:cubicBezTo>
                                    <a:pt x="758" y="333"/>
                                    <a:pt x="758" y="336"/>
                                    <a:pt x="769" y="334"/>
                                  </a:cubicBezTo>
                                  <a:cubicBezTo>
                                    <a:pt x="779" y="332"/>
                                    <a:pt x="777" y="332"/>
                                    <a:pt x="787" y="332"/>
                                  </a:cubicBezTo>
                                  <a:cubicBezTo>
                                    <a:pt x="793" y="332"/>
                                    <a:pt x="796" y="332"/>
                                    <a:pt x="800" y="333"/>
                                  </a:cubicBezTo>
                                  <a:cubicBezTo>
                                    <a:pt x="800" y="328"/>
                                    <a:pt x="799" y="324"/>
                                    <a:pt x="794" y="319"/>
                                  </a:cubicBezTo>
                                  <a:cubicBezTo>
                                    <a:pt x="788" y="313"/>
                                    <a:pt x="784" y="308"/>
                                    <a:pt x="780" y="303"/>
                                  </a:cubicBezTo>
                                  <a:cubicBezTo>
                                    <a:pt x="780" y="303"/>
                                    <a:pt x="780" y="303"/>
                                    <a:pt x="780" y="303"/>
                                  </a:cubicBezTo>
                                  <a:cubicBezTo>
                                    <a:pt x="777" y="297"/>
                                    <a:pt x="775" y="293"/>
                                    <a:pt x="774" y="288"/>
                                  </a:cubicBezTo>
                                  <a:cubicBezTo>
                                    <a:pt x="773" y="284"/>
                                    <a:pt x="777" y="274"/>
                                    <a:pt x="781" y="263"/>
                                  </a:cubicBezTo>
                                  <a:cubicBezTo>
                                    <a:pt x="786" y="251"/>
                                    <a:pt x="791" y="239"/>
                                    <a:pt x="790" y="235"/>
                                  </a:cubicBezTo>
                                  <a:cubicBezTo>
                                    <a:pt x="789" y="231"/>
                                    <a:pt x="785" y="226"/>
                                    <a:pt x="780" y="221"/>
                                  </a:cubicBezTo>
                                  <a:cubicBezTo>
                                    <a:pt x="773" y="214"/>
                                    <a:pt x="766" y="207"/>
                                    <a:pt x="766" y="200"/>
                                  </a:cubicBezTo>
                                  <a:cubicBezTo>
                                    <a:pt x="765" y="191"/>
                                    <a:pt x="770" y="187"/>
                                    <a:pt x="773" y="183"/>
                                  </a:cubicBezTo>
                                  <a:cubicBezTo>
                                    <a:pt x="775" y="181"/>
                                    <a:pt x="777" y="180"/>
                                    <a:pt x="777" y="178"/>
                                  </a:cubicBezTo>
                                  <a:cubicBezTo>
                                    <a:pt x="777" y="177"/>
                                    <a:pt x="774" y="174"/>
                                    <a:pt x="770" y="172"/>
                                  </a:cubicBezTo>
                                  <a:cubicBezTo>
                                    <a:pt x="767" y="169"/>
                                    <a:pt x="763" y="166"/>
                                    <a:pt x="762" y="163"/>
                                  </a:cubicBezTo>
                                  <a:cubicBezTo>
                                    <a:pt x="762" y="163"/>
                                    <a:pt x="762" y="163"/>
                                    <a:pt x="762" y="163"/>
                                  </a:cubicBezTo>
                                  <a:cubicBezTo>
                                    <a:pt x="759" y="158"/>
                                    <a:pt x="762" y="139"/>
                                    <a:pt x="764" y="127"/>
                                  </a:cubicBezTo>
                                  <a:cubicBezTo>
                                    <a:pt x="765" y="122"/>
                                    <a:pt x="766" y="118"/>
                                    <a:pt x="766" y="116"/>
                                  </a:cubicBezTo>
                                  <a:cubicBezTo>
                                    <a:pt x="766" y="112"/>
                                    <a:pt x="756" y="104"/>
                                    <a:pt x="751" y="100"/>
                                  </a:cubicBezTo>
                                  <a:cubicBezTo>
                                    <a:pt x="750" y="99"/>
                                    <a:pt x="750" y="98"/>
                                    <a:pt x="749" y="98"/>
                                  </a:cubicBezTo>
                                  <a:cubicBezTo>
                                    <a:pt x="747" y="96"/>
                                    <a:pt x="711" y="75"/>
                                    <a:pt x="679" y="57"/>
                                  </a:cubicBezTo>
                                  <a:cubicBezTo>
                                    <a:pt x="657" y="45"/>
                                    <a:pt x="638" y="34"/>
                                    <a:pt x="633" y="31"/>
                                  </a:cubicBezTo>
                                  <a:cubicBezTo>
                                    <a:pt x="626" y="26"/>
                                    <a:pt x="614" y="19"/>
                                    <a:pt x="605" y="12"/>
                                  </a:cubicBezTo>
                                  <a:cubicBezTo>
                                    <a:pt x="598" y="7"/>
                                    <a:pt x="592" y="2"/>
                                    <a:pt x="590" y="0"/>
                                  </a:cubicBezTo>
                                  <a:cubicBezTo>
                                    <a:pt x="586" y="0"/>
                                    <a:pt x="582" y="0"/>
                                    <a:pt x="578" y="0"/>
                                  </a:cubicBezTo>
                                  <a:cubicBezTo>
                                    <a:pt x="571" y="1"/>
                                    <a:pt x="564" y="1"/>
                                    <a:pt x="561" y="1"/>
                                  </a:cubicBezTo>
                                  <a:cubicBezTo>
                                    <a:pt x="561" y="1"/>
                                    <a:pt x="561" y="2"/>
                                    <a:pt x="561" y="2"/>
                                  </a:cubicBezTo>
                                  <a:cubicBezTo>
                                    <a:pt x="561" y="3"/>
                                    <a:pt x="562" y="5"/>
                                    <a:pt x="562" y="7"/>
                                  </a:cubicBezTo>
                                  <a:cubicBezTo>
                                    <a:pt x="563" y="11"/>
                                    <a:pt x="564" y="15"/>
                                    <a:pt x="565" y="19"/>
                                  </a:cubicBezTo>
                                  <a:cubicBezTo>
                                    <a:pt x="567" y="30"/>
                                    <a:pt x="564" y="32"/>
                                    <a:pt x="560" y="35"/>
                                  </a:cubicBezTo>
                                  <a:cubicBezTo>
                                    <a:pt x="558" y="36"/>
                                    <a:pt x="557" y="37"/>
                                    <a:pt x="555" y="40"/>
                                  </a:cubicBezTo>
                                  <a:cubicBezTo>
                                    <a:pt x="552" y="43"/>
                                    <a:pt x="552" y="46"/>
                                    <a:pt x="553" y="49"/>
                                  </a:cubicBezTo>
                                  <a:cubicBezTo>
                                    <a:pt x="553" y="52"/>
                                    <a:pt x="554" y="56"/>
                                    <a:pt x="553" y="62"/>
                                  </a:cubicBezTo>
                                  <a:cubicBezTo>
                                    <a:pt x="551" y="73"/>
                                    <a:pt x="548" y="76"/>
                                    <a:pt x="539" y="75"/>
                                  </a:cubicBezTo>
                                  <a:cubicBezTo>
                                    <a:pt x="536" y="74"/>
                                    <a:pt x="533" y="74"/>
                                    <a:pt x="528" y="72"/>
                                  </a:cubicBezTo>
                                  <a:cubicBezTo>
                                    <a:pt x="527" y="72"/>
                                    <a:pt x="526" y="72"/>
                                    <a:pt x="523" y="71"/>
                                  </a:cubicBezTo>
                                  <a:cubicBezTo>
                                    <a:pt x="510" y="68"/>
                                    <a:pt x="492" y="65"/>
                                    <a:pt x="477" y="63"/>
                                  </a:cubicBezTo>
                                  <a:cubicBezTo>
                                    <a:pt x="470" y="62"/>
                                    <a:pt x="464" y="61"/>
                                    <a:pt x="459" y="60"/>
                                  </a:cubicBezTo>
                                  <a:cubicBezTo>
                                    <a:pt x="458" y="60"/>
                                    <a:pt x="457" y="60"/>
                                    <a:pt x="456" y="60"/>
                                  </a:cubicBezTo>
                                  <a:cubicBezTo>
                                    <a:pt x="451" y="59"/>
                                    <a:pt x="447" y="59"/>
                                    <a:pt x="444" y="61"/>
                                  </a:cubicBezTo>
                                  <a:cubicBezTo>
                                    <a:pt x="441" y="63"/>
                                    <a:pt x="439" y="66"/>
                                    <a:pt x="438" y="70"/>
                                  </a:cubicBezTo>
                                  <a:cubicBezTo>
                                    <a:pt x="438" y="71"/>
                                    <a:pt x="438" y="71"/>
                                    <a:pt x="438" y="72"/>
                                  </a:cubicBezTo>
                                  <a:cubicBezTo>
                                    <a:pt x="437" y="79"/>
                                    <a:pt x="436" y="86"/>
                                    <a:pt x="434" y="92"/>
                                  </a:cubicBezTo>
                                  <a:cubicBezTo>
                                    <a:pt x="433" y="98"/>
                                    <a:pt x="430" y="103"/>
                                    <a:pt x="425" y="108"/>
                                  </a:cubicBezTo>
                                  <a:cubicBezTo>
                                    <a:pt x="418" y="115"/>
                                    <a:pt x="416" y="114"/>
                                    <a:pt x="410" y="111"/>
                                  </a:cubicBezTo>
                                  <a:cubicBezTo>
                                    <a:pt x="408" y="110"/>
                                    <a:pt x="405" y="109"/>
                                    <a:pt x="401" y="108"/>
                                  </a:cubicBezTo>
                                  <a:cubicBezTo>
                                    <a:pt x="389" y="105"/>
                                    <a:pt x="379" y="108"/>
                                    <a:pt x="367" y="113"/>
                                  </a:cubicBezTo>
                                  <a:cubicBezTo>
                                    <a:pt x="366" y="113"/>
                                    <a:pt x="366" y="113"/>
                                    <a:pt x="366" y="113"/>
                                  </a:cubicBezTo>
                                  <a:cubicBezTo>
                                    <a:pt x="357" y="117"/>
                                    <a:pt x="354" y="126"/>
                                    <a:pt x="350" y="135"/>
                                  </a:cubicBezTo>
                                  <a:cubicBezTo>
                                    <a:pt x="349" y="137"/>
                                    <a:pt x="348" y="139"/>
                                    <a:pt x="347" y="142"/>
                                  </a:cubicBezTo>
                                  <a:cubicBezTo>
                                    <a:pt x="344" y="149"/>
                                    <a:pt x="339" y="152"/>
                                    <a:pt x="333" y="155"/>
                                  </a:cubicBezTo>
                                  <a:cubicBezTo>
                                    <a:pt x="328" y="158"/>
                                    <a:pt x="323" y="161"/>
                                    <a:pt x="321" y="167"/>
                                  </a:cubicBezTo>
                                  <a:cubicBezTo>
                                    <a:pt x="319" y="173"/>
                                    <a:pt x="321" y="176"/>
                                    <a:pt x="324" y="179"/>
                                  </a:cubicBezTo>
                                  <a:cubicBezTo>
                                    <a:pt x="327" y="182"/>
                                    <a:pt x="331" y="186"/>
                                    <a:pt x="332" y="191"/>
                                  </a:cubicBezTo>
                                  <a:cubicBezTo>
                                    <a:pt x="334" y="204"/>
                                    <a:pt x="326" y="212"/>
                                    <a:pt x="313" y="225"/>
                                  </a:cubicBezTo>
                                  <a:cubicBezTo>
                                    <a:pt x="312" y="226"/>
                                    <a:pt x="311" y="227"/>
                                    <a:pt x="310" y="229"/>
                                  </a:cubicBezTo>
                                  <a:cubicBezTo>
                                    <a:pt x="305" y="234"/>
                                    <a:pt x="299" y="238"/>
                                    <a:pt x="294" y="243"/>
                                  </a:cubicBezTo>
                                  <a:cubicBezTo>
                                    <a:pt x="285" y="250"/>
                                    <a:pt x="276" y="256"/>
                                    <a:pt x="273" y="265"/>
                                  </a:cubicBezTo>
                                  <a:cubicBezTo>
                                    <a:pt x="270" y="272"/>
                                    <a:pt x="269" y="276"/>
                                    <a:pt x="268" y="278"/>
                                  </a:cubicBezTo>
                                  <a:cubicBezTo>
                                    <a:pt x="267" y="283"/>
                                    <a:pt x="266" y="284"/>
                                    <a:pt x="263" y="287"/>
                                  </a:cubicBezTo>
                                  <a:cubicBezTo>
                                    <a:pt x="259" y="289"/>
                                    <a:pt x="253" y="292"/>
                                    <a:pt x="246" y="294"/>
                                  </a:cubicBezTo>
                                  <a:cubicBezTo>
                                    <a:pt x="244" y="295"/>
                                    <a:pt x="242" y="296"/>
                                    <a:pt x="240" y="297"/>
                                  </a:cubicBezTo>
                                  <a:cubicBezTo>
                                    <a:pt x="236" y="299"/>
                                    <a:pt x="228" y="303"/>
                                    <a:pt x="222" y="308"/>
                                  </a:cubicBezTo>
                                  <a:cubicBezTo>
                                    <a:pt x="219" y="311"/>
                                    <a:pt x="216" y="315"/>
                                    <a:pt x="216" y="318"/>
                                  </a:cubicBezTo>
                                  <a:cubicBezTo>
                                    <a:pt x="216" y="325"/>
                                    <a:pt x="216" y="337"/>
                                    <a:pt x="216" y="350"/>
                                  </a:cubicBezTo>
                                  <a:cubicBezTo>
                                    <a:pt x="216" y="358"/>
                                    <a:pt x="215" y="367"/>
                                    <a:pt x="215" y="374"/>
                                  </a:cubicBezTo>
                                  <a:cubicBezTo>
                                    <a:pt x="213" y="390"/>
                                    <a:pt x="210" y="396"/>
                                    <a:pt x="198" y="414"/>
                                  </a:cubicBezTo>
                                  <a:cubicBezTo>
                                    <a:pt x="195" y="419"/>
                                    <a:pt x="195" y="419"/>
                                    <a:pt x="195" y="419"/>
                                  </a:cubicBezTo>
                                  <a:cubicBezTo>
                                    <a:pt x="188" y="428"/>
                                    <a:pt x="184" y="433"/>
                                    <a:pt x="180" y="436"/>
                                  </a:cubicBezTo>
                                  <a:cubicBezTo>
                                    <a:pt x="176" y="440"/>
                                    <a:pt x="173" y="442"/>
                                    <a:pt x="172" y="451"/>
                                  </a:cubicBezTo>
                                  <a:cubicBezTo>
                                    <a:pt x="170" y="460"/>
                                    <a:pt x="174" y="463"/>
                                    <a:pt x="178" y="466"/>
                                  </a:cubicBezTo>
                                  <a:cubicBezTo>
                                    <a:pt x="181" y="468"/>
                                    <a:pt x="183" y="470"/>
                                    <a:pt x="185" y="473"/>
                                  </a:cubicBezTo>
                                  <a:cubicBezTo>
                                    <a:pt x="185" y="473"/>
                                    <a:pt x="185" y="473"/>
                                    <a:pt x="185" y="473"/>
                                  </a:cubicBezTo>
                                  <a:cubicBezTo>
                                    <a:pt x="187" y="478"/>
                                    <a:pt x="187" y="485"/>
                                    <a:pt x="185" y="492"/>
                                  </a:cubicBezTo>
                                  <a:cubicBezTo>
                                    <a:pt x="184" y="499"/>
                                    <a:pt x="181" y="505"/>
                                    <a:pt x="176" y="511"/>
                                  </a:cubicBezTo>
                                  <a:cubicBezTo>
                                    <a:pt x="168" y="522"/>
                                    <a:pt x="162" y="520"/>
                                    <a:pt x="152" y="516"/>
                                  </a:cubicBezTo>
                                  <a:cubicBezTo>
                                    <a:pt x="149" y="515"/>
                                    <a:pt x="146" y="514"/>
                                    <a:pt x="142" y="513"/>
                                  </a:cubicBezTo>
                                  <a:cubicBezTo>
                                    <a:pt x="135" y="511"/>
                                    <a:pt x="129" y="511"/>
                                    <a:pt x="124" y="512"/>
                                  </a:cubicBezTo>
                                  <a:cubicBezTo>
                                    <a:pt x="119" y="513"/>
                                    <a:pt x="115" y="514"/>
                                    <a:pt x="110" y="517"/>
                                  </a:cubicBezTo>
                                  <a:cubicBezTo>
                                    <a:pt x="103" y="520"/>
                                    <a:pt x="98" y="526"/>
                                    <a:pt x="89" y="538"/>
                                  </a:cubicBezTo>
                                  <a:cubicBezTo>
                                    <a:pt x="86" y="541"/>
                                    <a:pt x="84" y="544"/>
                                    <a:pt x="80" y="549"/>
                                  </a:cubicBezTo>
                                  <a:cubicBezTo>
                                    <a:pt x="73" y="558"/>
                                    <a:pt x="67" y="566"/>
                                    <a:pt x="64" y="573"/>
                                  </a:cubicBezTo>
                                  <a:cubicBezTo>
                                    <a:pt x="61" y="579"/>
                                    <a:pt x="60" y="584"/>
                                    <a:pt x="60" y="589"/>
                                  </a:cubicBezTo>
                                  <a:cubicBezTo>
                                    <a:pt x="60" y="593"/>
                                    <a:pt x="62" y="598"/>
                                    <a:pt x="65" y="602"/>
                                  </a:cubicBezTo>
                                  <a:cubicBezTo>
                                    <a:pt x="68" y="607"/>
                                    <a:pt x="71" y="613"/>
                                    <a:pt x="71" y="620"/>
                                  </a:cubicBezTo>
                                  <a:cubicBezTo>
                                    <a:pt x="71" y="626"/>
                                    <a:pt x="69" y="632"/>
                                    <a:pt x="67" y="637"/>
                                  </a:cubicBezTo>
                                  <a:cubicBezTo>
                                    <a:pt x="65" y="643"/>
                                    <a:pt x="64" y="648"/>
                                    <a:pt x="64" y="653"/>
                                  </a:cubicBezTo>
                                  <a:cubicBezTo>
                                    <a:pt x="65" y="657"/>
                                    <a:pt x="67" y="662"/>
                                    <a:pt x="69" y="666"/>
                                  </a:cubicBezTo>
                                  <a:cubicBezTo>
                                    <a:pt x="72" y="671"/>
                                    <a:pt x="75" y="676"/>
                                    <a:pt x="75" y="683"/>
                                  </a:cubicBezTo>
                                  <a:cubicBezTo>
                                    <a:pt x="75" y="692"/>
                                    <a:pt x="73" y="711"/>
                                    <a:pt x="70" y="727"/>
                                  </a:cubicBezTo>
                                  <a:cubicBezTo>
                                    <a:pt x="70" y="727"/>
                                    <a:pt x="70" y="727"/>
                                    <a:pt x="70" y="727"/>
                                  </a:cubicBezTo>
                                  <a:cubicBezTo>
                                    <a:pt x="70" y="730"/>
                                    <a:pt x="70" y="733"/>
                                    <a:pt x="69" y="735"/>
                                  </a:cubicBezTo>
                                  <a:cubicBezTo>
                                    <a:pt x="68" y="744"/>
                                    <a:pt x="77" y="749"/>
                                    <a:pt x="85" y="754"/>
                                  </a:cubicBezTo>
                                  <a:cubicBezTo>
                                    <a:pt x="92" y="758"/>
                                    <a:pt x="98" y="761"/>
                                    <a:pt x="102" y="767"/>
                                  </a:cubicBezTo>
                                  <a:cubicBezTo>
                                    <a:pt x="111" y="778"/>
                                    <a:pt x="110" y="781"/>
                                    <a:pt x="107" y="788"/>
                                  </a:cubicBezTo>
                                  <a:cubicBezTo>
                                    <a:pt x="107" y="788"/>
                                    <a:pt x="107" y="788"/>
                                    <a:pt x="107" y="788"/>
                                  </a:cubicBezTo>
                                  <a:cubicBezTo>
                                    <a:pt x="106" y="790"/>
                                    <a:pt x="105" y="793"/>
                                    <a:pt x="104" y="797"/>
                                  </a:cubicBezTo>
                                  <a:cubicBezTo>
                                    <a:pt x="103" y="808"/>
                                    <a:pt x="95" y="808"/>
                                    <a:pt x="86" y="808"/>
                                  </a:cubicBezTo>
                                  <a:cubicBezTo>
                                    <a:pt x="82" y="808"/>
                                    <a:pt x="77" y="808"/>
                                    <a:pt x="73" y="811"/>
                                  </a:cubicBezTo>
                                  <a:cubicBezTo>
                                    <a:pt x="71" y="812"/>
                                    <a:pt x="71" y="813"/>
                                    <a:pt x="72" y="814"/>
                                  </a:cubicBezTo>
                                  <a:cubicBezTo>
                                    <a:pt x="72" y="815"/>
                                    <a:pt x="73" y="816"/>
                                    <a:pt x="74" y="817"/>
                                  </a:cubicBezTo>
                                  <a:cubicBezTo>
                                    <a:pt x="77" y="821"/>
                                    <a:pt x="82" y="827"/>
                                    <a:pt x="86" y="837"/>
                                  </a:cubicBezTo>
                                  <a:cubicBezTo>
                                    <a:pt x="92" y="854"/>
                                    <a:pt x="91" y="855"/>
                                    <a:pt x="89" y="860"/>
                                  </a:cubicBezTo>
                                  <a:cubicBezTo>
                                    <a:pt x="88" y="861"/>
                                    <a:pt x="87" y="863"/>
                                    <a:pt x="87" y="866"/>
                                  </a:cubicBezTo>
                                  <a:cubicBezTo>
                                    <a:pt x="86" y="874"/>
                                    <a:pt x="84" y="880"/>
                                    <a:pt x="82" y="886"/>
                                  </a:cubicBezTo>
                                  <a:cubicBezTo>
                                    <a:pt x="79" y="892"/>
                                    <a:pt x="76" y="898"/>
                                    <a:pt x="71" y="901"/>
                                  </a:cubicBezTo>
                                  <a:cubicBezTo>
                                    <a:pt x="67" y="905"/>
                                    <a:pt x="62" y="906"/>
                                    <a:pt x="58" y="907"/>
                                  </a:cubicBezTo>
                                  <a:cubicBezTo>
                                    <a:pt x="58" y="907"/>
                                    <a:pt x="58" y="907"/>
                                    <a:pt x="58" y="907"/>
                                  </a:cubicBezTo>
                                  <a:cubicBezTo>
                                    <a:pt x="54" y="909"/>
                                    <a:pt x="50" y="910"/>
                                    <a:pt x="50" y="913"/>
                                  </a:cubicBezTo>
                                  <a:cubicBezTo>
                                    <a:pt x="49" y="919"/>
                                    <a:pt x="46" y="924"/>
                                    <a:pt x="43" y="928"/>
                                  </a:cubicBezTo>
                                  <a:cubicBezTo>
                                    <a:pt x="42" y="930"/>
                                    <a:pt x="40" y="933"/>
                                    <a:pt x="40" y="935"/>
                                  </a:cubicBezTo>
                                  <a:cubicBezTo>
                                    <a:pt x="40" y="937"/>
                                    <a:pt x="40" y="942"/>
                                    <a:pt x="40" y="948"/>
                                  </a:cubicBezTo>
                                  <a:cubicBezTo>
                                    <a:pt x="41" y="959"/>
                                    <a:pt x="42" y="973"/>
                                    <a:pt x="40" y="981"/>
                                  </a:cubicBezTo>
                                  <a:cubicBezTo>
                                    <a:pt x="39" y="988"/>
                                    <a:pt x="36" y="993"/>
                                    <a:pt x="31" y="995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2" name="Freeform 221"/>
                            <p:cNvSpPr>
                              <a:spLocks/>
                            </p:cNvSpPr>
                            <p:nvPr/>
                          </p:nvSpPr>
                          <p:spPr bwMode="auto">
                            <a:xfrm>
                              <a:off x="4976925" y="4059529"/>
                              <a:ext cx="370284" cy="295275"/>
                            </a:xfrm>
                            <a:custGeom>
                              <a:avLst/>
                              <a:gdLst>
                                <a:gd name="T0" fmla="*/ 880 w 1292"/>
                                <a:gd name="T1" fmla="*/ 295 h 1032"/>
                                <a:gd name="T2" fmla="*/ 852 w 1292"/>
                                <a:gd name="T3" fmla="*/ 248 h 1032"/>
                                <a:gd name="T4" fmla="*/ 790 w 1292"/>
                                <a:gd name="T5" fmla="*/ 223 h 1032"/>
                                <a:gd name="T6" fmla="*/ 691 w 1292"/>
                                <a:gd name="T7" fmla="*/ 212 h 1032"/>
                                <a:gd name="T8" fmla="*/ 479 w 1292"/>
                                <a:gd name="T9" fmla="*/ 87 h 1032"/>
                                <a:gd name="T10" fmla="*/ 284 w 1292"/>
                                <a:gd name="T11" fmla="*/ 0 h 1032"/>
                                <a:gd name="T12" fmla="*/ 250 w 1292"/>
                                <a:gd name="T13" fmla="*/ 13 h 1032"/>
                                <a:gd name="T14" fmla="*/ 162 w 1292"/>
                                <a:gd name="T15" fmla="*/ 42 h 1032"/>
                                <a:gd name="T16" fmla="*/ 173 w 1292"/>
                                <a:gd name="T17" fmla="*/ 65 h 1032"/>
                                <a:gd name="T18" fmla="*/ 208 w 1292"/>
                                <a:gd name="T19" fmla="*/ 118 h 1032"/>
                                <a:gd name="T20" fmla="*/ 158 w 1292"/>
                                <a:gd name="T21" fmla="*/ 153 h 1032"/>
                                <a:gd name="T22" fmla="*/ 141 w 1292"/>
                                <a:gd name="T23" fmla="*/ 155 h 1032"/>
                                <a:gd name="T24" fmla="*/ 131 w 1292"/>
                                <a:gd name="T25" fmla="*/ 160 h 1032"/>
                                <a:gd name="T26" fmla="*/ 109 w 1292"/>
                                <a:gd name="T27" fmla="*/ 183 h 1032"/>
                                <a:gd name="T28" fmla="*/ 60 w 1292"/>
                                <a:gd name="T29" fmla="*/ 197 h 1032"/>
                                <a:gd name="T30" fmla="*/ 21 w 1292"/>
                                <a:gd name="T31" fmla="*/ 197 h 1032"/>
                                <a:gd name="T32" fmla="*/ 18 w 1292"/>
                                <a:gd name="T33" fmla="*/ 210 h 1032"/>
                                <a:gd name="T34" fmla="*/ 6 w 1292"/>
                                <a:gd name="T35" fmla="*/ 269 h 1032"/>
                                <a:gd name="T36" fmla="*/ 61 w 1292"/>
                                <a:gd name="T37" fmla="*/ 310 h 1032"/>
                                <a:gd name="T38" fmla="*/ 135 w 1292"/>
                                <a:gd name="T39" fmla="*/ 408 h 1032"/>
                                <a:gd name="T40" fmla="*/ 174 w 1292"/>
                                <a:gd name="T41" fmla="*/ 491 h 1032"/>
                                <a:gd name="T42" fmla="*/ 240 w 1292"/>
                                <a:gd name="T43" fmla="*/ 560 h 1032"/>
                                <a:gd name="T44" fmla="*/ 275 w 1292"/>
                                <a:gd name="T45" fmla="*/ 658 h 1032"/>
                                <a:gd name="T46" fmla="*/ 293 w 1292"/>
                                <a:gd name="T47" fmla="*/ 743 h 1032"/>
                                <a:gd name="T48" fmla="*/ 355 w 1292"/>
                                <a:gd name="T49" fmla="*/ 799 h 1032"/>
                                <a:gd name="T50" fmla="*/ 446 w 1292"/>
                                <a:gd name="T51" fmla="*/ 937 h 1032"/>
                                <a:gd name="T52" fmla="*/ 493 w 1292"/>
                                <a:gd name="T53" fmla="*/ 997 h 1032"/>
                                <a:gd name="T54" fmla="*/ 528 w 1292"/>
                                <a:gd name="T55" fmla="*/ 1017 h 1032"/>
                                <a:gd name="T56" fmla="*/ 528 w 1292"/>
                                <a:gd name="T57" fmla="*/ 986 h 1032"/>
                                <a:gd name="T58" fmla="*/ 581 w 1292"/>
                                <a:gd name="T59" fmla="*/ 971 h 1032"/>
                                <a:gd name="T60" fmla="*/ 698 w 1292"/>
                                <a:gd name="T61" fmla="*/ 968 h 1032"/>
                                <a:gd name="T62" fmla="*/ 769 w 1292"/>
                                <a:gd name="T63" fmla="*/ 989 h 1032"/>
                                <a:gd name="T64" fmla="*/ 815 w 1292"/>
                                <a:gd name="T65" fmla="*/ 952 h 1032"/>
                                <a:gd name="T66" fmla="*/ 898 w 1292"/>
                                <a:gd name="T67" fmla="*/ 888 h 1032"/>
                                <a:gd name="T68" fmla="*/ 1124 w 1292"/>
                                <a:gd name="T69" fmla="*/ 848 h 1032"/>
                                <a:gd name="T70" fmla="*/ 1291 w 1292"/>
                                <a:gd name="T71" fmla="*/ 682 h 1032"/>
                                <a:gd name="T72" fmla="*/ 1169 w 1292"/>
                                <a:gd name="T73" fmla="*/ 623 h 1032"/>
                                <a:gd name="T74" fmla="*/ 1061 w 1292"/>
                                <a:gd name="T75" fmla="*/ 558 h 1032"/>
                                <a:gd name="T76" fmla="*/ 1038 w 1292"/>
                                <a:gd name="T77" fmla="*/ 512 h 1032"/>
                                <a:gd name="T78" fmla="*/ 1003 w 1292"/>
                                <a:gd name="T79" fmla="*/ 490 h 1032"/>
                                <a:gd name="T80" fmla="*/ 973 w 1292"/>
                                <a:gd name="T81" fmla="*/ 439 h 1032"/>
                                <a:gd name="T82" fmla="*/ 956 w 1292"/>
                                <a:gd name="T83" fmla="*/ 402 h 1032"/>
                                <a:gd name="T84" fmla="*/ 963 w 1292"/>
                                <a:gd name="T85" fmla="*/ 380 h 1032"/>
                                <a:gd name="T86" fmla="*/ 931 w 1292"/>
                                <a:gd name="T87" fmla="*/ 341 h 1032"/>
                                <a:gd name="T88" fmla="*/ 905 w 1292"/>
                                <a:gd name="T89" fmla="*/ 306 h 1032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</a:cxnLst>
                              <a:rect l="0" t="0" r="r" b="b"/>
                              <a:pathLst>
                                <a:path w="1292" h="1032">
                                  <a:moveTo>
                                    <a:pt x="905" y="306"/>
                                  </a:moveTo>
                                  <a:cubicBezTo>
                                    <a:pt x="903" y="304"/>
                                    <a:pt x="897" y="304"/>
                                    <a:pt x="888" y="303"/>
                                  </a:cubicBezTo>
                                  <a:cubicBezTo>
                                    <a:pt x="878" y="301"/>
                                    <a:pt x="883" y="301"/>
                                    <a:pt x="880" y="295"/>
                                  </a:cubicBezTo>
                                  <a:cubicBezTo>
                                    <a:pt x="877" y="289"/>
                                    <a:pt x="872" y="277"/>
                                    <a:pt x="868" y="265"/>
                                  </a:cubicBezTo>
                                  <a:cubicBezTo>
                                    <a:pt x="866" y="257"/>
                                    <a:pt x="862" y="252"/>
                                    <a:pt x="859" y="247"/>
                                  </a:cubicBezTo>
                                  <a:cubicBezTo>
                                    <a:pt x="857" y="247"/>
                                    <a:pt x="854" y="247"/>
                                    <a:pt x="852" y="248"/>
                                  </a:cubicBezTo>
                                  <a:cubicBezTo>
                                    <a:pt x="834" y="250"/>
                                    <a:pt x="812" y="252"/>
                                    <a:pt x="807" y="245"/>
                                  </a:cubicBezTo>
                                  <a:cubicBezTo>
                                    <a:pt x="804" y="242"/>
                                    <a:pt x="803" y="239"/>
                                    <a:pt x="802" y="235"/>
                                  </a:cubicBezTo>
                                  <a:cubicBezTo>
                                    <a:pt x="800" y="230"/>
                                    <a:pt x="798" y="225"/>
                                    <a:pt x="790" y="223"/>
                                  </a:cubicBezTo>
                                  <a:cubicBezTo>
                                    <a:pt x="788" y="223"/>
                                    <a:pt x="788" y="223"/>
                                    <a:pt x="788" y="223"/>
                                  </a:cubicBezTo>
                                  <a:cubicBezTo>
                                    <a:pt x="774" y="219"/>
                                    <a:pt x="755" y="215"/>
                                    <a:pt x="718" y="213"/>
                                  </a:cubicBezTo>
                                  <a:cubicBezTo>
                                    <a:pt x="708" y="212"/>
                                    <a:pt x="699" y="212"/>
                                    <a:pt x="691" y="212"/>
                                  </a:cubicBezTo>
                                  <a:cubicBezTo>
                                    <a:pt x="666" y="211"/>
                                    <a:pt x="649" y="210"/>
                                    <a:pt x="635" y="206"/>
                                  </a:cubicBezTo>
                                  <a:cubicBezTo>
                                    <a:pt x="628" y="204"/>
                                    <a:pt x="603" y="187"/>
                                    <a:pt x="576" y="166"/>
                                  </a:cubicBezTo>
                                  <a:cubicBezTo>
                                    <a:pt x="537" y="136"/>
                                    <a:pt x="490" y="98"/>
                                    <a:pt x="479" y="87"/>
                                  </a:cubicBezTo>
                                  <a:cubicBezTo>
                                    <a:pt x="472" y="80"/>
                                    <a:pt x="455" y="69"/>
                                    <a:pt x="437" y="58"/>
                                  </a:cubicBezTo>
                                  <a:cubicBezTo>
                                    <a:pt x="407" y="40"/>
                                    <a:pt x="373" y="21"/>
                                    <a:pt x="364" y="16"/>
                                  </a:cubicBezTo>
                                  <a:cubicBezTo>
                                    <a:pt x="351" y="10"/>
                                    <a:pt x="298" y="2"/>
                                    <a:pt x="284" y="0"/>
                                  </a:cubicBezTo>
                                  <a:cubicBezTo>
                                    <a:pt x="283" y="0"/>
                                    <a:pt x="283" y="1"/>
                                    <a:pt x="282" y="1"/>
                                  </a:cubicBezTo>
                                  <a:cubicBezTo>
                                    <a:pt x="282" y="1"/>
                                    <a:pt x="282" y="1"/>
                                    <a:pt x="282" y="1"/>
                                  </a:cubicBezTo>
                                  <a:cubicBezTo>
                                    <a:pt x="279" y="2"/>
                                    <a:pt x="266" y="7"/>
                                    <a:pt x="250" y="13"/>
                                  </a:cubicBezTo>
                                  <a:cubicBezTo>
                                    <a:pt x="230" y="21"/>
                                    <a:pt x="207" y="29"/>
                                    <a:pt x="196" y="34"/>
                                  </a:cubicBezTo>
                                  <a:cubicBezTo>
                                    <a:pt x="182" y="40"/>
                                    <a:pt x="176" y="41"/>
                                    <a:pt x="169" y="41"/>
                                  </a:cubicBezTo>
                                  <a:cubicBezTo>
                                    <a:pt x="167" y="41"/>
                                    <a:pt x="165" y="41"/>
                                    <a:pt x="162" y="42"/>
                                  </a:cubicBezTo>
                                  <a:cubicBezTo>
                                    <a:pt x="158" y="42"/>
                                    <a:pt x="156" y="43"/>
                                    <a:pt x="155" y="43"/>
                                  </a:cubicBezTo>
                                  <a:cubicBezTo>
                                    <a:pt x="155" y="43"/>
                                    <a:pt x="156" y="44"/>
                                    <a:pt x="157" y="46"/>
                                  </a:cubicBezTo>
                                  <a:cubicBezTo>
                                    <a:pt x="158" y="48"/>
                                    <a:pt x="165" y="56"/>
                                    <a:pt x="173" y="65"/>
                                  </a:cubicBezTo>
                                  <a:cubicBezTo>
                                    <a:pt x="184" y="78"/>
                                    <a:pt x="198" y="93"/>
                                    <a:pt x="202" y="98"/>
                                  </a:cubicBezTo>
                                  <a:cubicBezTo>
                                    <a:pt x="207" y="103"/>
                                    <a:pt x="209" y="106"/>
                                    <a:pt x="210" y="109"/>
                                  </a:cubicBezTo>
                                  <a:cubicBezTo>
                                    <a:pt x="211" y="112"/>
                                    <a:pt x="210" y="115"/>
                                    <a:pt x="208" y="118"/>
                                  </a:cubicBezTo>
                                  <a:cubicBezTo>
                                    <a:pt x="207" y="120"/>
                                    <a:pt x="198" y="129"/>
                                    <a:pt x="189" y="137"/>
                                  </a:cubicBezTo>
                                  <a:cubicBezTo>
                                    <a:pt x="182" y="142"/>
                                    <a:pt x="176" y="148"/>
                                    <a:pt x="172" y="150"/>
                                  </a:cubicBezTo>
                                  <a:cubicBezTo>
                                    <a:pt x="166" y="153"/>
                                    <a:pt x="163" y="153"/>
                                    <a:pt x="158" y="153"/>
                                  </a:cubicBezTo>
                                  <a:cubicBezTo>
                                    <a:pt x="157" y="153"/>
                                    <a:pt x="155" y="153"/>
                                    <a:pt x="152" y="153"/>
                                  </a:cubicBezTo>
                                  <a:cubicBezTo>
                                    <a:pt x="148" y="153"/>
                                    <a:pt x="144" y="154"/>
                                    <a:pt x="141" y="155"/>
                                  </a:cubicBezTo>
                                  <a:cubicBezTo>
                                    <a:pt x="141" y="155"/>
                                    <a:pt x="141" y="155"/>
                                    <a:pt x="141" y="155"/>
                                  </a:cubicBezTo>
                                  <a:cubicBezTo>
                                    <a:pt x="137" y="156"/>
                                    <a:pt x="134" y="158"/>
                                    <a:pt x="133" y="159"/>
                                  </a:cubicBezTo>
                                  <a:cubicBezTo>
                                    <a:pt x="133" y="159"/>
                                    <a:pt x="133" y="159"/>
                                    <a:pt x="133" y="159"/>
                                  </a:cubicBezTo>
                                  <a:cubicBezTo>
                                    <a:pt x="131" y="160"/>
                                    <a:pt x="131" y="160"/>
                                    <a:pt x="131" y="160"/>
                                  </a:cubicBezTo>
                                  <a:cubicBezTo>
                                    <a:pt x="131" y="160"/>
                                    <a:pt x="131" y="160"/>
                                    <a:pt x="131" y="160"/>
                                  </a:cubicBezTo>
                                  <a:cubicBezTo>
                                    <a:pt x="127" y="164"/>
                                    <a:pt x="120" y="171"/>
                                    <a:pt x="109" y="183"/>
                                  </a:cubicBezTo>
                                  <a:cubicBezTo>
                                    <a:pt x="109" y="183"/>
                                    <a:pt x="109" y="183"/>
                                    <a:pt x="109" y="183"/>
                                  </a:cubicBezTo>
                                  <a:cubicBezTo>
                                    <a:pt x="107" y="185"/>
                                    <a:pt x="107" y="185"/>
                                    <a:pt x="107" y="185"/>
                                  </a:cubicBezTo>
                                  <a:cubicBezTo>
                                    <a:pt x="95" y="198"/>
                                    <a:pt x="95" y="199"/>
                                    <a:pt x="81" y="199"/>
                                  </a:cubicBezTo>
                                  <a:cubicBezTo>
                                    <a:pt x="75" y="199"/>
                                    <a:pt x="68" y="198"/>
                                    <a:pt x="60" y="197"/>
                                  </a:cubicBezTo>
                                  <a:cubicBezTo>
                                    <a:pt x="53" y="196"/>
                                    <a:pt x="46" y="194"/>
                                    <a:pt x="40" y="194"/>
                                  </a:cubicBezTo>
                                  <a:cubicBezTo>
                                    <a:pt x="31" y="194"/>
                                    <a:pt x="25" y="196"/>
                                    <a:pt x="21" y="197"/>
                                  </a:cubicBezTo>
                                  <a:cubicBezTo>
                                    <a:pt x="21" y="197"/>
                                    <a:pt x="21" y="197"/>
                                    <a:pt x="21" y="197"/>
                                  </a:cubicBezTo>
                                  <a:cubicBezTo>
                                    <a:pt x="21" y="198"/>
                                    <a:pt x="21" y="198"/>
                                    <a:pt x="21" y="199"/>
                                  </a:cubicBezTo>
                                  <a:cubicBezTo>
                                    <a:pt x="21" y="199"/>
                                    <a:pt x="21" y="200"/>
                                    <a:pt x="21" y="200"/>
                                  </a:cubicBezTo>
                                  <a:cubicBezTo>
                                    <a:pt x="18" y="210"/>
                                    <a:pt x="18" y="210"/>
                                    <a:pt x="18" y="210"/>
                                  </a:cubicBezTo>
                                  <a:cubicBezTo>
                                    <a:pt x="18" y="208"/>
                                    <a:pt x="18" y="208"/>
                                    <a:pt x="18" y="208"/>
                                  </a:cubicBezTo>
                                  <a:cubicBezTo>
                                    <a:pt x="15" y="215"/>
                                    <a:pt x="11" y="223"/>
                                    <a:pt x="10" y="229"/>
                                  </a:cubicBezTo>
                                  <a:cubicBezTo>
                                    <a:pt x="8" y="238"/>
                                    <a:pt x="0" y="262"/>
                                    <a:pt x="6" y="269"/>
                                  </a:cubicBezTo>
                                  <a:cubicBezTo>
                                    <a:pt x="13" y="276"/>
                                    <a:pt x="11" y="269"/>
                                    <a:pt x="19" y="269"/>
                                  </a:cubicBezTo>
                                  <a:cubicBezTo>
                                    <a:pt x="27" y="269"/>
                                    <a:pt x="31" y="273"/>
                                    <a:pt x="39" y="278"/>
                                  </a:cubicBezTo>
                                  <a:cubicBezTo>
                                    <a:pt x="47" y="283"/>
                                    <a:pt x="54" y="299"/>
                                    <a:pt x="61" y="310"/>
                                  </a:cubicBezTo>
                                  <a:cubicBezTo>
                                    <a:pt x="67" y="322"/>
                                    <a:pt x="75" y="333"/>
                                    <a:pt x="83" y="348"/>
                                  </a:cubicBezTo>
                                  <a:cubicBezTo>
                                    <a:pt x="91" y="363"/>
                                    <a:pt x="99" y="374"/>
                                    <a:pt x="105" y="387"/>
                                  </a:cubicBezTo>
                                  <a:cubicBezTo>
                                    <a:pt x="110" y="400"/>
                                    <a:pt x="125" y="398"/>
                                    <a:pt x="135" y="408"/>
                                  </a:cubicBezTo>
                                  <a:cubicBezTo>
                                    <a:pt x="145" y="417"/>
                                    <a:pt x="136" y="425"/>
                                    <a:pt x="138" y="434"/>
                                  </a:cubicBezTo>
                                  <a:cubicBezTo>
                                    <a:pt x="139" y="444"/>
                                    <a:pt x="149" y="449"/>
                                    <a:pt x="157" y="460"/>
                                  </a:cubicBezTo>
                                  <a:cubicBezTo>
                                    <a:pt x="165" y="472"/>
                                    <a:pt x="172" y="479"/>
                                    <a:pt x="174" y="491"/>
                                  </a:cubicBezTo>
                                  <a:cubicBezTo>
                                    <a:pt x="176" y="503"/>
                                    <a:pt x="177" y="511"/>
                                    <a:pt x="185" y="521"/>
                                  </a:cubicBezTo>
                                  <a:cubicBezTo>
                                    <a:pt x="194" y="530"/>
                                    <a:pt x="203" y="525"/>
                                    <a:pt x="216" y="535"/>
                                  </a:cubicBezTo>
                                  <a:cubicBezTo>
                                    <a:pt x="230" y="544"/>
                                    <a:pt x="228" y="546"/>
                                    <a:pt x="240" y="560"/>
                                  </a:cubicBezTo>
                                  <a:cubicBezTo>
                                    <a:pt x="252" y="574"/>
                                    <a:pt x="253" y="582"/>
                                    <a:pt x="263" y="605"/>
                                  </a:cubicBezTo>
                                  <a:cubicBezTo>
                                    <a:pt x="272" y="628"/>
                                    <a:pt x="283" y="647"/>
                                    <a:pt x="280" y="649"/>
                                  </a:cubicBezTo>
                                  <a:cubicBezTo>
                                    <a:pt x="276" y="652"/>
                                    <a:pt x="275" y="658"/>
                                    <a:pt x="275" y="658"/>
                                  </a:cubicBezTo>
                                  <a:cubicBezTo>
                                    <a:pt x="275" y="658"/>
                                    <a:pt x="275" y="658"/>
                                    <a:pt x="275" y="666"/>
                                  </a:cubicBezTo>
                                  <a:cubicBezTo>
                                    <a:pt x="276" y="675"/>
                                    <a:pt x="281" y="700"/>
                                    <a:pt x="281" y="711"/>
                                  </a:cubicBezTo>
                                  <a:cubicBezTo>
                                    <a:pt x="281" y="721"/>
                                    <a:pt x="287" y="732"/>
                                    <a:pt x="293" y="743"/>
                                  </a:cubicBezTo>
                                  <a:cubicBezTo>
                                    <a:pt x="299" y="753"/>
                                    <a:pt x="311" y="769"/>
                                    <a:pt x="318" y="776"/>
                                  </a:cubicBezTo>
                                  <a:cubicBezTo>
                                    <a:pt x="324" y="782"/>
                                    <a:pt x="335" y="784"/>
                                    <a:pt x="341" y="785"/>
                                  </a:cubicBezTo>
                                  <a:cubicBezTo>
                                    <a:pt x="347" y="786"/>
                                    <a:pt x="347" y="790"/>
                                    <a:pt x="355" y="799"/>
                                  </a:cubicBezTo>
                                  <a:cubicBezTo>
                                    <a:pt x="364" y="808"/>
                                    <a:pt x="373" y="822"/>
                                    <a:pt x="381" y="835"/>
                                  </a:cubicBezTo>
                                  <a:cubicBezTo>
                                    <a:pt x="389" y="849"/>
                                    <a:pt x="406" y="880"/>
                                    <a:pt x="419" y="899"/>
                                  </a:cubicBezTo>
                                  <a:cubicBezTo>
                                    <a:pt x="431" y="917"/>
                                    <a:pt x="438" y="927"/>
                                    <a:pt x="446" y="937"/>
                                  </a:cubicBezTo>
                                  <a:cubicBezTo>
                                    <a:pt x="454" y="948"/>
                                    <a:pt x="466" y="954"/>
                                    <a:pt x="476" y="964"/>
                                  </a:cubicBezTo>
                                  <a:cubicBezTo>
                                    <a:pt x="487" y="974"/>
                                    <a:pt x="477" y="977"/>
                                    <a:pt x="479" y="990"/>
                                  </a:cubicBezTo>
                                  <a:cubicBezTo>
                                    <a:pt x="481" y="1002"/>
                                    <a:pt x="487" y="996"/>
                                    <a:pt x="493" y="997"/>
                                  </a:cubicBezTo>
                                  <a:cubicBezTo>
                                    <a:pt x="499" y="998"/>
                                    <a:pt x="496" y="1005"/>
                                    <a:pt x="500" y="1019"/>
                                  </a:cubicBezTo>
                                  <a:cubicBezTo>
                                    <a:pt x="502" y="1025"/>
                                    <a:pt x="503" y="1029"/>
                                    <a:pt x="504" y="1032"/>
                                  </a:cubicBezTo>
                                  <a:cubicBezTo>
                                    <a:pt x="515" y="1027"/>
                                    <a:pt x="527" y="1021"/>
                                    <a:pt x="528" y="1017"/>
                                  </a:cubicBezTo>
                                  <a:cubicBezTo>
                                    <a:pt x="528" y="1014"/>
                                    <a:pt x="528" y="1011"/>
                                    <a:pt x="528" y="1007"/>
                                  </a:cubicBezTo>
                                  <a:cubicBezTo>
                                    <a:pt x="527" y="1002"/>
                                    <a:pt x="526" y="995"/>
                                    <a:pt x="528" y="987"/>
                                  </a:cubicBezTo>
                                  <a:cubicBezTo>
                                    <a:pt x="528" y="986"/>
                                    <a:pt x="528" y="986"/>
                                    <a:pt x="528" y="986"/>
                                  </a:cubicBezTo>
                                  <a:cubicBezTo>
                                    <a:pt x="532" y="971"/>
                                    <a:pt x="533" y="966"/>
                                    <a:pt x="544" y="962"/>
                                  </a:cubicBezTo>
                                  <a:cubicBezTo>
                                    <a:pt x="550" y="960"/>
                                    <a:pt x="556" y="963"/>
                                    <a:pt x="563" y="966"/>
                                  </a:cubicBezTo>
                                  <a:cubicBezTo>
                                    <a:pt x="569" y="968"/>
                                    <a:pt x="575" y="971"/>
                                    <a:pt x="581" y="971"/>
                                  </a:cubicBezTo>
                                  <a:cubicBezTo>
                                    <a:pt x="587" y="971"/>
                                    <a:pt x="598" y="970"/>
                                    <a:pt x="611" y="968"/>
                                  </a:cubicBezTo>
                                  <a:cubicBezTo>
                                    <a:pt x="625" y="967"/>
                                    <a:pt x="639" y="965"/>
                                    <a:pt x="650" y="965"/>
                                  </a:cubicBezTo>
                                  <a:cubicBezTo>
                                    <a:pt x="660" y="965"/>
                                    <a:pt x="680" y="966"/>
                                    <a:pt x="698" y="968"/>
                                  </a:cubicBezTo>
                                  <a:cubicBezTo>
                                    <a:pt x="720" y="969"/>
                                    <a:pt x="740" y="971"/>
                                    <a:pt x="745" y="972"/>
                                  </a:cubicBezTo>
                                  <a:cubicBezTo>
                                    <a:pt x="751" y="974"/>
                                    <a:pt x="753" y="977"/>
                                    <a:pt x="755" y="981"/>
                                  </a:cubicBezTo>
                                  <a:cubicBezTo>
                                    <a:pt x="758" y="985"/>
                                    <a:pt x="760" y="989"/>
                                    <a:pt x="769" y="989"/>
                                  </a:cubicBezTo>
                                  <a:cubicBezTo>
                                    <a:pt x="770" y="989"/>
                                    <a:pt x="772" y="989"/>
                                    <a:pt x="774" y="989"/>
                                  </a:cubicBezTo>
                                  <a:cubicBezTo>
                                    <a:pt x="786" y="989"/>
                                    <a:pt x="786" y="989"/>
                                    <a:pt x="794" y="983"/>
                                  </a:cubicBezTo>
                                  <a:cubicBezTo>
                                    <a:pt x="798" y="980"/>
                                    <a:pt x="807" y="966"/>
                                    <a:pt x="815" y="952"/>
                                  </a:cubicBezTo>
                                  <a:cubicBezTo>
                                    <a:pt x="823" y="938"/>
                                    <a:pt x="831" y="924"/>
                                    <a:pt x="837" y="921"/>
                                  </a:cubicBezTo>
                                  <a:cubicBezTo>
                                    <a:pt x="842" y="917"/>
                                    <a:pt x="857" y="907"/>
                                    <a:pt x="871" y="900"/>
                                  </a:cubicBezTo>
                                  <a:cubicBezTo>
                                    <a:pt x="881" y="895"/>
                                    <a:pt x="891" y="890"/>
                                    <a:pt x="898" y="888"/>
                                  </a:cubicBezTo>
                                  <a:cubicBezTo>
                                    <a:pt x="904" y="887"/>
                                    <a:pt x="934" y="883"/>
                                    <a:pt x="967" y="879"/>
                                  </a:cubicBezTo>
                                  <a:cubicBezTo>
                                    <a:pt x="1015" y="873"/>
                                    <a:pt x="1071" y="866"/>
                                    <a:pt x="1078" y="863"/>
                                  </a:cubicBezTo>
                                  <a:cubicBezTo>
                                    <a:pt x="1082" y="862"/>
                                    <a:pt x="1101" y="856"/>
                                    <a:pt x="1124" y="848"/>
                                  </a:cubicBezTo>
                                  <a:cubicBezTo>
                                    <a:pt x="1176" y="830"/>
                                    <a:pt x="1254" y="804"/>
                                    <a:pt x="1255" y="801"/>
                                  </a:cubicBezTo>
                                  <a:cubicBezTo>
                                    <a:pt x="1257" y="799"/>
                                    <a:pt x="1270" y="762"/>
                                    <a:pt x="1279" y="729"/>
                                  </a:cubicBezTo>
                                  <a:cubicBezTo>
                                    <a:pt x="1286" y="707"/>
                                    <a:pt x="1292" y="687"/>
                                    <a:pt x="1291" y="682"/>
                                  </a:cubicBezTo>
                                  <a:cubicBezTo>
                                    <a:pt x="1291" y="678"/>
                                    <a:pt x="1288" y="669"/>
                                    <a:pt x="1284" y="661"/>
                                  </a:cubicBezTo>
                                  <a:cubicBezTo>
                                    <a:pt x="1279" y="649"/>
                                    <a:pt x="1274" y="637"/>
                                    <a:pt x="1271" y="633"/>
                                  </a:cubicBezTo>
                                  <a:cubicBezTo>
                                    <a:pt x="1269" y="631"/>
                                    <a:pt x="1213" y="626"/>
                                    <a:pt x="1169" y="623"/>
                                  </a:cubicBezTo>
                                  <a:cubicBezTo>
                                    <a:pt x="1143" y="621"/>
                                    <a:pt x="1121" y="619"/>
                                    <a:pt x="1117" y="618"/>
                                  </a:cubicBezTo>
                                  <a:cubicBezTo>
                                    <a:pt x="1113" y="616"/>
                                    <a:pt x="1101" y="605"/>
                                    <a:pt x="1090" y="593"/>
                                  </a:cubicBezTo>
                                  <a:cubicBezTo>
                                    <a:pt x="1077" y="579"/>
                                    <a:pt x="1063" y="562"/>
                                    <a:pt x="1061" y="558"/>
                                  </a:cubicBezTo>
                                  <a:cubicBezTo>
                                    <a:pt x="1059" y="554"/>
                                    <a:pt x="1057" y="545"/>
                                    <a:pt x="1056" y="537"/>
                                  </a:cubicBezTo>
                                  <a:cubicBezTo>
                                    <a:pt x="1051" y="534"/>
                                    <a:pt x="1046" y="532"/>
                                    <a:pt x="1043" y="529"/>
                                  </a:cubicBezTo>
                                  <a:cubicBezTo>
                                    <a:pt x="1038" y="525"/>
                                    <a:pt x="1034" y="522"/>
                                    <a:pt x="1038" y="512"/>
                                  </a:cubicBezTo>
                                  <a:cubicBezTo>
                                    <a:pt x="1040" y="509"/>
                                    <a:pt x="1040" y="508"/>
                                    <a:pt x="1040" y="507"/>
                                  </a:cubicBezTo>
                                  <a:cubicBezTo>
                                    <a:pt x="1035" y="506"/>
                                    <a:pt x="1029" y="504"/>
                                    <a:pt x="1024" y="502"/>
                                  </a:cubicBezTo>
                                  <a:cubicBezTo>
                                    <a:pt x="1016" y="499"/>
                                    <a:pt x="1008" y="494"/>
                                    <a:pt x="1003" y="490"/>
                                  </a:cubicBezTo>
                                  <a:cubicBezTo>
                                    <a:pt x="999" y="485"/>
                                    <a:pt x="995" y="478"/>
                                    <a:pt x="993" y="471"/>
                                  </a:cubicBezTo>
                                  <a:cubicBezTo>
                                    <a:pt x="991" y="468"/>
                                    <a:pt x="989" y="464"/>
                                    <a:pt x="986" y="459"/>
                                  </a:cubicBezTo>
                                  <a:cubicBezTo>
                                    <a:pt x="981" y="448"/>
                                    <a:pt x="979" y="449"/>
                                    <a:pt x="973" y="439"/>
                                  </a:cubicBezTo>
                                  <a:cubicBezTo>
                                    <a:pt x="966" y="428"/>
                                    <a:pt x="967" y="429"/>
                                    <a:pt x="961" y="424"/>
                                  </a:cubicBezTo>
                                  <a:cubicBezTo>
                                    <a:pt x="956" y="419"/>
                                    <a:pt x="954" y="416"/>
                                    <a:pt x="953" y="413"/>
                                  </a:cubicBezTo>
                                  <a:cubicBezTo>
                                    <a:pt x="952" y="410"/>
                                    <a:pt x="954" y="405"/>
                                    <a:pt x="956" y="402"/>
                                  </a:cubicBezTo>
                                  <a:cubicBezTo>
                                    <a:pt x="957" y="400"/>
                                    <a:pt x="959" y="403"/>
                                    <a:pt x="962" y="402"/>
                                  </a:cubicBezTo>
                                  <a:cubicBezTo>
                                    <a:pt x="966" y="401"/>
                                    <a:pt x="964" y="397"/>
                                    <a:pt x="965" y="393"/>
                                  </a:cubicBezTo>
                                  <a:cubicBezTo>
                                    <a:pt x="966" y="390"/>
                                    <a:pt x="967" y="385"/>
                                    <a:pt x="963" y="380"/>
                                  </a:cubicBezTo>
                                  <a:cubicBezTo>
                                    <a:pt x="959" y="375"/>
                                    <a:pt x="959" y="375"/>
                                    <a:pt x="955" y="370"/>
                                  </a:cubicBezTo>
                                  <a:cubicBezTo>
                                    <a:pt x="951" y="365"/>
                                    <a:pt x="955" y="361"/>
                                    <a:pt x="953" y="357"/>
                                  </a:cubicBezTo>
                                  <a:cubicBezTo>
                                    <a:pt x="950" y="352"/>
                                    <a:pt x="942" y="348"/>
                                    <a:pt x="931" y="341"/>
                                  </a:cubicBezTo>
                                  <a:cubicBezTo>
                                    <a:pt x="921" y="334"/>
                                    <a:pt x="917" y="330"/>
                                    <a:pt x="910" y="324"/>
                                  </a:cubicBezTo>
                                  <a:cubicBezTo>
                                    <a:pt x="903" y="318"/>
                                    <a:pt x="906" y="317"/>
                                    <a:pt x="904" y="315"/>
                                  </a:cubicBezTo>
                                  <a:cubicBezTo>
                                    <a:pt x="903" y="313"/>
                                    <a:pt x="907" y="309"/>
                                    <a:pt x="905" y="306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3" name="Freeform 258"/>
                            <p:cNvSpPr>
                              <a:spLocks noEditPoints="1"/>
                            </p:cNvSpPr>
                            <p:nvPr/>
                          </p:nvSpPr>
                          <p:spPr bwMode="auto">
                            <a:xfrm>
                              <a:off x="4454241" y="3103457"/>
                              <a:ext cx="460772" cy="379809"/>
                            </a:xfrm>
                            <a:custGeom>
                              <a:avLst/>
                              <a:gdLst>
                                <a:gd name="T0" fmla="*/ 82 w 1605"/>
                                <a:gd name="T1" fmla="*/ 1110 h 1322"/>
                                <a:gd name="T2" fmla="*/ 66 w 1605"/>
                                <a:gd name="T3" fmla="*/ 1200 h 1322"/>
                                <a:gd name="T4" fmla="*/ 23 w 1605"/>
                                <a:gd name="T5" fmla="*/ 1256 h 1322"/>
                                <a:gd name="T6" fmla="*/ 188 w 1605"/>
                                <a:gd name="T7" fmla="*/ 1306 h 1322"/>
                                <a:gd name="T8" fmla="*/ 314 w 1605"/>
                                <a:gd name="T9" fmla="*/ 1187 h 1322"/>
                                <a:gd name="T10" fmla="*/ 387 w 1605"/>
                                <a:gd name="T11" fmla="*/ 1228 h 1322"/>
                                <a:gd name="T12" fmla="*/ 439 w 1605"/>
                                <a:gd name="T13" fmla="*/ 1047 h 1322"/>
                                <a:gd name="T14" fmla="*/ 422 w 1605"/>
                                <a:gd name="T15" fmla="*/ 832 h 1322"/>
                                <a:gd name="T16" fmla="*/ 561 w 1605"/>
                                <a:gd name="T17" fmla="*/ 653 h 1322"/>
                                <a:gd name="T18" fmla="*/ 699 w 1605"/>
                                <a:gd name="T19" fmla="*/ 391 h 1322"/>
                                <a:gd name="T20" fmla="*/ 900 w 1605"/>
                                <a:gd name="T21" fmla="*/ 308 h 1322"/>
                                <a:gd name="T22" fmla="*/ 1007 w 1605"/>
                                <a:gd name="T23" fmla="*/ 211 h 1322"/>
                                <a:gd name="T24" fmla="*/ 1250 w 1605"/>
                                <a:gd name="T25" fmla="*/ 253 h 1322"/>
                                <a:gd name="T26" fmla="*/ 1491 w 1605"/>
                                <a:gd name="T27" fmla="*/ 190 h 1322"/>
                                <a:gd name="T28" fmla="*/ 1587 w 1605"/>
                                <a:gd name="T29" fmla="*/ 180 h 1322"/>
                                <a:gd name="T30" fmla="*/ 1474 w 1605"/>
                                <a:gd name="T31" fmla="*/ 129 h 1322"/>
                                <a:gd name="T32" fmla="*/ 1537 w 1605"/>
                                <a:gd name="T33" fmla="*/ 73 h 1322"/>
                                <a:gd name="T34" fmla="*/ 1428 w 1605"/>
                                <a:gd name="T35" fmla="*/ 101 h 1322"/>
                                <a:gd name="T36" fmla="*/ 1422 w 1605"/>
                                <a:gd name="T37" fmla="*/ 23 h 1322"/>
                                <a:gd name="T38" fmla="*/ 1357 w 1605"/>
                                <a:gd name="T39" fmla="*/ 78 h 1322"/>
                                <a:gd name="T40" fmla="*/ 1306 w 1605"/>
                                <a:gd name="T41" fmla="*/ 48 h 1322"/>
                                <a:gd name="T42" fmla="*/ 1199 w 1605"/>
                                <a:gd name="T43" fmla="*/ 26 h 1322"/>
                                <a:gd name="T44" fmla="*/ 1125 w 1605"/>
                                <a:gd name="T45" fmla="*/ 124 h 1322"/>
                                <a:gd name="T46" fmla="*/ 1020 w 1605"/>
                                <a:gd name="T47" fmla="*/ 152 h 1322"/>
                                <a:gd name="T48" fmla="*/ 928 w 1605"/>
                                <a:gd name="T49" fmla="*/ 209 h 1322"/>
                                <a:gd name="T50" fmla="*/ 895 w 1605"/>
                                <a:gd name="T51" fmla="*/ 188 h 1322"/>
                                <a:gd name="T52" fmla="*/ 844 w 1605"/>
                                <a:gd name="T53" fmla="*/ 194 h 1322"/>
                                <a:gd name="T54" fmla="*/ 776 w 1605"/>
                                <a:gd name="T55" fmla="*/ 272 h 1322"/>
                                <a:gd name="T56" fmla="*/ 782 w 1605"/>
                                <a:gd name="T57" fmla="*/ 303 h 1322"/>
                                <a:gd name="T58" fmla="*/ 710 w 1605"/>
                                <a:gd name="T59" fmla="*/ 339 h 1322"/>
                                <a:gd name="T60" fmla="*/ 662 w 1605"/>
                                <a:gd name="T61" fmla="*/ 349 h 1322"/>
                                <a:gd name="T62" fmla="*/ 652 w 1605"/>
                                <a:gd name="T63" fmla="*/ 407 h 1322"/>
                                <a:gd name="T64" fmla="*/ 595 w 1605"/>
                                <a:gd name="T65" fmla="*/ 436 h 1322"/>
                                <a:gd name="T66" fmla="*/ 520 w 1605"/>
                                <a:gd name="T67" fmla="*/ 508 h 1322"/>
                                <a:gd name="T68" fmla="*/ 482 w 1605"/>
                                <a:gd name="T69" fmla="*/ 569 h 1322"/>
                                <a:gd name="T70" fmla="*/ 466 w 1605"/>
                                <a:gd name="T71" fmla="*/ 637 h 1322"/>
                                <a:gd name="T72" fmla="*/ 379 w 1605"/>
                                <a:gd name="T73" fmla="*/ 727 h 1322"/>
                                <a:gd name="T74" fmla="*/ 325 w 1605"/>
                                <a:gd name="T75" fmla="*/ 799 h 1322"/>
                                <a:gd name="T76" fmla="*/ 310 w 1605"/>
                                <a:gd name="T77" fmla="*/ 825 h 1322"/>
                                <a:gd name="T78" fmla="*/ 197 w 1605"/>
                                <a:gd name="T79" fmla="*/ 845 h 1322"/>
                                <a:gd name="T80" fmla="*/ 140 w 1605"/>
                                <a:gd name="T81" fmla="*/ 884 h 1322"/>
                                <a:gd name="T82" fmla="*/ 121 w 1605"/>
                                <a:gd name="T83" fmla="*/ 933 h 1322"/>
                                <a:gd name="T84" fmla="*/ 22 w 1605"/>
                                <a:gd name="T85" fmla="*/ 951 h 1322"/>
                                <a:gd name="T86" fmla="*/ 19 w 1605"/>
                                <a:gd name="T87" fmla="*/ 1008 h 1322"/>
                                <a:gd name="T88" fmla="*/ 155 w 1605"/>
                                <a:gd name="T89" fmla="*/ 1025 h 1322"/>
                                <a:gd name="T90" fmla="*/ 14 w 1605"/>
                                <a:gd name="T91" fmla="*/ 1072 h 1322"/>
                                <a:gd name="T92" fmla="*/ 551 w 1605"/>
                                <a:gd name="T93" fmla="*/ 323 h 1322"/>
                                <a:gd name="T94" fmla="*/ 945 w 1605"/>
                                <a:gd name="T95" fmla="*/ 118 h 1322"/>
                                <a:gd name="T96" fmla="*/ 1157 w 1605"/>
                                <a:gd name="T97" fmla="*/ 73 h 1322"/>
                                <a:gd name="T98" fmla="*/ 1101 w 1605"/>
                                <a:gd name="T99" fmla="*/ 67 h 1322"/>
                                <a:gd name="T100" fmla="*/ 1096 w 1605"/>
                                <a:gd name="T101" fmla="*/ 72 h 1322"/>
                                <a:gd name="T102" fmla="*/ 1119 w 1605"/>
                                <a:gd name="T103" fmla="*/ 78 h 1322"/>
                                <a:gd name="T104" fmla="*/ 852 w 1605"/>
                                <a:gd name="T105" fmla="*/ 163 h 1322"/>
                                <a:gd name="T106" fmla="*/ 578 w 1605"/>
                                <a:gd name="T107" fmla="*/ 276 h 1322"/>
                                <a:gd name="T108" fmla="*/ 603 w 1605"/>
                                <a:gd name="T109" fmla="*/ 312 h 1322"/>
                                <a:gd name="T110" fmla="*/ 1284 w 1605"/>
                                <a:gd name="T111" fmla="*/ 8 h 1322"/>
                                <a:gd name="T112" fmla="*/ 652 w 1605"/>
                                <a:gd name="T113" fmla="*/ 231 h 1322"/>
                                <a:gd name="T114" fmla="*/ 888 w 1605"/>
                                <a:gd name="T115" fmla="*/ 140 h 1322"/>
                                <a:gd name="T116" fmla="*/ 741 w 1605"/>
                                <a:gd name="T117" fmla="*/ 239 h 1322"/>
                                <a:gd name="T118" fmla="*/ 733 w 1605"/>
                                <a:gd name="T119" fmla="*/ 203 h 1322"/>
                                <a:gd name="T120" fmla="*/ 679 w 1605"/>
                                <a:gd name="T121" fmla="*/ 280 h 1322"/>
                                <a:gd name="T122" fmla="*/ 637 w 1605"/>
                                <a:gd name="T123" fmla="*/ 318 h 1322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  <a:cxn ang="0">
                                  <a:pos x="T100" y="T101"/>
                                </a:cxn>
                                <a:cxn ang="0">
                                  <a:pos x="T102" y="T103"/>
                                </a:cxn>
                                <a:cxn ang="0">
                                  <a:pos x="T104" y="T105"/>
                                </a:cxn>
                                <a:cxn ang="0">
                                  <a:pos x="T106" y="T107"/>
                                </a:cxn>
                                <a:cxn ang="0">
                                  <a:pos x="T108" y="T109"/>
                                </a:cxn>
                                <a:cxn ang="0">
                                  <a:pos x="T110" y="T111"/>
                                </a:cxn>
                                <a:cxn ang="0">
                                  <a:pos x="T112" y="T113"/>
                                </a:cxn>
                                <a:cxn ang="0">
                                  <a:pos x="T114" y="T115"/>
                                </a:cxn>
                                <a:cxn ang="0">
                                  <a:pos x="T116" y="T117"/>
                                </a:cxn>
                                <a:cxn ang="0">
                                  <a:pos x="T118" y="T119"/>
                                </a:cxn>
                                <a:cxn ang="0">
                                  <a:pos x="T120" y="T121"/>
                                </a:cxn>
                                <a:cxn ang="0">
                                  <a:pos x="T122" y="T123"/>
                                </a:cxn>
                              </a:cxnLst>
                              <a:rect l="0" t="0" r="r" b="b"/>
                              <a:pathLst>
                                <a:path w="1605" h="1322">
                                  <a:moveTo>
                                    <a:pt x="16" y="1120"/>
                                  </a:moveTo>
                                  <a:cubicBezTo>
                                    <a:pt x="22" y="1117"/>
                                    <a:pt x="23" y="1111"/>
                                    <a:pt x="25" y="1110"/>
                                  </a:cubicBezTo>
                                  <a:cubicBezTo>
                                    <a:pt x="27" y="1110"/>
                                    <a:pt x="31" y="1109"/>
                                    <a:pt x="33" y="1115"/>
                                  </a:cubicBezTo>
                                  <a:cubicBezTo>
                                    <a:pt x="34" y="1121"/>
                                    <a:pt x="37" y="1119"/>
                                    <a:pt x="40" y="1124"/>
                                  </a:cubicBezTo>
                                  <a:cubicBezTo>
                                    <a:pt x="44" y="1129"/>
                                    <a:pt x="50" y="1127"/>
                                    <a:pt x="53" y="1123"/>
                                  </a:cubicBezTo>
                                  <a:cubicBezTo>
                                    <a:pt x="55" y="1120"/>
                                    <a:pt x="57" y="1118"/>
                                    <a:pt x="62" y="1112"/>
                                  </a:cubicBezTo>
                                  <a:cubicBezTo>
                                    <a:pt x="66" y="1107"/>
                                    <a:pt x="75" y="1101"/>
                                    <a:pt x="80" y="1100"/>
                                  </a:cubicBezTo>
                                  <a:cubicBezTo>
                                    <a:pt x="86" y="1098"/>
                                    <a:pt x="87" y="1096"/>
                                    <a:pt x="94" y="1095"/>
                                  </a:cubicBezTo>
                                  <a:cubicBezTo>
                                    <a:pt x="101" y="1093"/>
                                    <a:pt x="107" y="1090"/>
                                    <a:pt x="114" y="1092"/>
                                  </a:cubicBezTo>
                                  <a:cubicBezTo>
                                    <a:pt x="120" y="1094"/>
                                    <a:pt x="128" y="1098"/>
                                    <a:pt x="120" y="1098"/>
                                  </a:cubicBezTo>
                                  <a:cubicBezTo>
                                    <a:pt x="113" y="1099"/>
                                    <a:pt x="107" y="1099"/>
                                    <a:pt x="105" y="1104"/>
                                  </a:cubicBezTo>
                                  <a:cubicBezTo>
                                    <a:pt x="102" y="1108"/>
                                    <a:pt x="103" y="1109"/>
                                    <a:pt x="100" y="1116"/>
                                  </a:cubicBezTo>
                                  <a:cubicBezTo>
                                    <a:pt x="96" y="1122"/>
                                    <a:pt x="91" y="1128"/>
                                    <a:pt x="90" y="1131"/>
                                  </a:cubicBezTo>
                                  <a:cubicBezTo>
                                    <a:pt x="89" y="1135"/>
                                    <a:pt x="83" y="1130"/>
                                    <a:pt x="84" y="1127"/>
                                  </a:cubicBezTo>
                                  <a:cubicBezTo>
                                    <a:pt x="85" y="1124"/>
                                    <a:pt x="86" y="1124"/>
                                    <a:pt x="87" y="1118"/>
                                  </a:cubicBezTo>
                                  <a:cubicBezTo>
                                    <a:pt x="89" y="1113"/>
                                    <a:pt x="87" y="1108"/>
                                    <a:pt x="82" y="1110"/>
                                  </a:cubicBezTo>
                                  <a:cubicBezTo>
                                    <a:pt x="78" y="1113"/>
                                    <a:pt x="71" y="1115"/>
                                    <a:pt x="69" y="1119"/>
                                  </a:cubicBezTo>
                                  <a:cubicBezTo>
                                    <a:pt x="66" y="1123"/>
                                    <a:pt x="61" y="1127"/>
                                    <a:pt x="65" y="1129"/>
                                  </a:cubicBezTo>
                                  <a:cubicBezTo>
                                    <a:pt x="70" y="1131"/>
                                    <a:pt x="72" y="1131"/>
                                    <a:pt x="71" y="1135"/>
                                  </a:cubicBezTo>
                                  <a:cubicBezTo>
                                    <a:pt x="71" y="1139"/>
                                    <a:pt x="58" y="1139"/>
                                    <a:pt x="56" y="1141"/>
                                  </a:cubicBezTo>
                                  <a:cubicBezTo>
                                    <a:pt x="54" y="1142"/>
                                    <a:pt x="48" y="1150"/>
                                    <a:pt x="46" y="1152"/>
                                  </a:cubicBezTo>
                                  <a:cubicBezTo>
                                    <a:pt x="44" y="1154"/>
                                    <a:pt x="37" y="1158"/>
                                    <a:pt x="41" y="1160"/>
                                  </a:cubicBezTo>
                                  <a:cubicBezTo>
                                    <a:pt x="46" y="1162"/>
                                    <a:pt x="52" y="1159"/>
                                    <a:pt x="56" y="1163"/>
                                  </a:cubicBezTo>
                                  <a:cubicBezTo>
                                    <a:pt x="59" y="1166"/>
                                    <a:pt x="57" y="1171"/>
                                    <a:pt x="51" y="1174"/>
                                  </a:cubicBezTo>
                                  <a:cubicBezTo>
                                    <a:pt x="46" y="1177"/>
                                    <a:pt x="37" y="1178"/>
                                    <a:pt x="35" y="1178"/>
                                  </a:cubicBezTo>
                                  <a:cubicBezTo>
                                    <a:pt x="34" y="1178"/>
                                    <a:pt x="26" y="1184"/>
                                    <a:pt x="27" y="1186"/>
                                  </a:cubicBezTo>
                                  <a:cubicBezTo>
                                    <a:pt x="27" y="1188"/>
                                    <a:pt x="33" y="1191"/>
                                    <a:pt x="39" y="1191"/>
                                  </a:cubicBezTo>
                                  <a:cubicBezTo>
                                    <a:pt x="45" y="1191"/>
                                    <a:pt x="54" y="1193"/>
                                    <a:pt x="57" y="1189"/>
                                  </a:cubicBezTo>
                                  <a:cubicBezTo>
                                    <a:pt x="61" y="1186"/>
                                    <a:pt x="66" y="1180"/>
                                    <a:pt x="72" y="1180"/>
                                  </a:cubicBezTo>
                                  <a:cubicBezTo>
                                    <a:pt x="78" y="1180"/>
                                    <a:pt x="89" y="1179"/>
                                    <a:pt x="89" y="1183"/>
                                  </a:cubicBezTo>
                                  <a:cubicBezTo>
                                    <a:pt x="88" y="1187"/>
                                    <a:pt x="80" y="1192"/>
                                    <a:pt x="74" y="1194"/>
                                  </a:cubicBezTo>
                                  <a:cubicBezTo>
                                    <a:pt x="69" y="1197"/>
                                    <a:pt x="65" y="1195"/>
                                    <a:pt x="66" y="1200"/>
                                  </a:cubicBezTo>
                                  <a:cubicBezTo>
                                    <a:pt x="67" y="1204"/>
                                    <a:pt x="73" y="1201"/>
                                    <a:pt x="76" y="1204"/>
                                  </a:cubicBezTo>
                                  <a:cubicBezTo>
                                    <a:pt x="80" y="1207"/>
                                    <a:pt x="80" y="1211"/>
                                    <a:pt x="73" y="1214"/>
                                  </a:cubicBezTo>
                                  <a:cubicBezTo>
                                    <a:pt x="66" y="1218"/>
                                    <a:pt x="57" y="1220"/>
                                    <a:pt x="56" y="1223"/>
                                  </a:cubicBezTo>
                                  <a:cubicBezTo>
                                    <a:pt x="55" y="1226"/>
                                    <a:pt x="52" y="1225"/>
                                    <a:pt x="55" y="1228"/>
                                  </a:cubicBezTo>
                                  <a:cubicBezTo>
                                    <a:pt x="58" y="1232"/>
                                    <a:pt x="59" y="1232"/>
                                    <a:pt x="63" y="1232"/>
                                  </a:cubicBezTo>
                                  <a:cubicBezTo>
                                    <a:pt x="66" y="1232"/>
                                    <a:pt x="69" y="1231"/>
                                    <a:pt x="74" y="1230"/>
                                  </a:cubicBezTo>
                                  <a:cubicBezTo>
                                    <a:pt x="79" y="1229"/>
                                    <a:pt x="84" y="1226"/>
                                    <a:pt x="87" y="1228"/>
                                  </a:cubicBezTo>
                                  <a:cubicBezTo>
                                    <a:pt x="90" y="1230"/>
                                    <a:pt x="91" y="1233"/>
                                    <a:pt x="88" y="1234"/>
                                  </a:cubicBezTo>
                                  <a:cubicBezTo>
                                    <a:pt x="85" y="1235"/>
                                    <a:pt x="79" y="1235"/>
                                    <a:pt x="76" y="1237"/>
                                  </a:cubicBezTo>
                                  <a:cubicBezTo>
                                    <a:pt x="72" y="1239"/>
                                    <a:pt x="68" y="1240"/>
                                    <a:pt x="67" y="1244"/>
                                  </a:cubicBezTo>
                                  <a:cubicBezTo>
                                    <a:pt x="67" y="1249"/>
                                    <a:pt x="68" y="1252"/>
                                    <a:pt x="66" y="1253"/>
                                  </a:cubicBezTo>
                                  <a:cubicBezTo>
                                    <a:pt x="63" y="1253"/>
                                    <a:pt x="60" y="1256"/>
                                    <a:pt x="58" y="1251"/>
                                  </a:cubicBezTo>
                                  <a:cubicBezTo>
                                    <a:pt x="55" y="1247"/>
                                    <a:pt x="54" y="1245"/>
                                    <a:pt x="49" y="1245"/>
                                  </a:cubicBezTo>
                                  <a:cubicBezTo>
                                    <a:pt x="45" y="1244"/>
                                    <a:pt x="38" y="1246"/>
                                    <a:pt x="36" y="1244"/>
                                  </a:cubicBezTo>
                                  <a:cubicBezTo>
                                    <a:pt x="34" y="1242"/>
                                    <a:pt x="32" y="1240"/>
                                    <a:pt x="29" y="1243"/>
                                  </a:cubicBezTo>
                                  <a:cubicBezTo>
                                    <a:pt x="27" y="1246"/>
                                    <a:pt x="22" y="1251"/>
                                    <a:pt x="23" y="1256"/>
                                  </a:cubicBezTo>
                                  <a:cubicBezTo>
                                    <a:pt x="25" y="1260"/>
                                    <a:pt x="22" y="1268"/>
                                    <a:pt x="28" y="1271"/>
                                  </a:cubicBezTo>
                                  <a:cubicBezTo>
                                    <a:pt x="34" y="1275"/>
                                    <a:pt x="39" y="1277"/>
                                    <a:pt x="44" y="1281"/>
                                  </a:cubicBezTo>
                                  <a:cubicBezTo>
                                    <a:pt x="48" y="1284"/>
                                    <a:pt x="58" y="1293"/>
                                    <a:pt x="63" y="1295"/>
                                  </a:cubicBezTo>
                                  <a:cubicBezTo>
                                    <a:pt x="68" y="1297"/>
                                    <a:pt x="70" y="1300"/>
                                    <a:pt x="77" y="1300"/>
                                  </a:cubicBezTo>
                                  <a:cubicBezTo>
                                    <a:pt x="85" y="1300"/>
                                    <a:pt x="89" y="1299"/>
                                    <a:pt x="94" y="1299"/>
                                  </a:cubicBezTo>
                                  <a:cubicBezTo>
                                    <a:pt x="98" y="1299"/>
                                    <a:pt x="100" y="1299"/>
                                    <a:pt x="99" y="1302"/>
                                  </a:cubicBezTo>
                                  <a:cubicBezTo>
                                    <a:pt x="99" y="1304"/>
                                    <a:pt x="91" y="1306"/>
                                    <a:pt x="92" y="1311"/>
                                  </a:cubicBezTo>
                                  <a:cubicBezTo>
                                    <a:pt x="92" y="1315"/>
                                    <a:pt x="95" y="1321"/>
                                    <a:pt x="97" y="1321"/>
                                  </a:cubicBezTo>
                                  <a:cubicBezTo>
                                    <a:pt x="99" y="1321"/>
                                    <a:pt x="102" y="1321"/>
                                    <a:pt x="107" y="1321"/>
                                  </a:cubicBezTo>
                                  <a:cubicBezTo>
                                    <a:pt x="112" y="1321"/>
                                    <a:pt x="115" y="1322"/>
                                    <a:pt x="116" y="1318"/>
                                  </a:cubicBezTo>
                                  <a:cubicBezTo>
                                    <a:pt x="118" y="1314"/>
                                    <a:pt x="121" y="1310"/>
                                    <a:pt x="124" y="1312"/>
                                  </a:cubicBezTo>
                                  <a:cubicBezTo>
                                    <a:pt x="127" y="1313"/>
                                    <a:pt x="126" y="1319"/>
                                    <a:pt x="131" y="1319"/>
                                  </a:cubicBezTo>
                                  <a:cubicBezTo>
                                    <a:pt x="137" y="1320"/>
                                    <a:pt x="139" y="1319"/>
                                    <a:pt x="143" y="1318"/>
                                  </a:cubicBezTo>
                                  <a:cubicBezTo>
                                    <a:pt x="148" y="1317"/>
                                    <a:pt x="148" y="1313"/>
                                    <a:pt x="155" y="1313"/>
                                  </a:cubicBezTo>
                                  <a:cubicBezTo>
                                    <a:pt x="162" y="1313"/>
                                    <a:pt x="164" y="1313"/>
                                    <a:pt x="170" y="1313"/>
                                  </a:cubicBezTo>
                                  <a:cubicBezTo>
                                    <a:pt x="176" y="1312"/>
                                    <a:pt x="184" y="1308"/>
                                    <a:pt x="188" y="1306"/>
                                  </a:cubicBezTo>
                                  <a:cubicBezTo>
                                    <a:pt x="193" y="1303"/>
                                    <a:pt x="195" y="1301"/>
                                    <a:pt x="203" y="1299"/>
                                  </a:cubicBezTo>
                                  <a:cubicBezTo>
                                    <a:pt x="211" y="1297"/>
                                    <a:pt x="217" y="1285"/>
                                    <a:pt x="220" y="1282"/>
                                  </a:cubicBezTo>
                                  <a:cubicBezTo>
                                    <a:pt x="223" y="1279"/>
                                    <a:pt x="229" y="1272"/>
                                    <a:pt x="234" y="1270"/>
                                  </a:cubicBezTo>
                                  <a:cubicBezTo>
                                    <a:pt x="239" y="1267"/>
                                    <a:pt x="241" y="1261"/>
                                    <a:pt x="245" y="1258"/>
                                  </a:cubicBezTo>
                                  <a:cubicBezTo>
                                    <a:pt x="249" y="1254"/>
                                    <a:pt x="255" y="1257"/>
                                    <a:pt x="256" y="1252"/>
                                  </a:cubicBezTo>
                                  <a:cubicBezTo>
                                    <a:pt x="256" y="1246"/>
                                    <a:pt x="258" y="1241"/>
                                    <a:pt x="262" y="1241"/>
                                  </a:cubicBezTo>
                                  <a:cubicBezTo>
                                    <a:pt x="266" y="1241"/>
                                    <a:pt x="273" y="1243"/>
                                    <a:pt x="275" y="1238"/>
                                  </a:cubicBezTo>
                                  <a:cubicBezTo>
                                    <a:pt x="276" y="1233"/>
                                    <a:pt x="269" y="1229"/>
                                    <a:pt x="269" y="1226"/>
                                  </a:cubicBezTo>
                                  <a:cubicBezTo>
                                    <a:pt x="269" y="1222"/>
                                    <a:pt x="273" y="1219"/>
                                    <a:pt x="277" y="1222"/>
                                  </a:cubicBezTo>
                                  <a:cubicBezTo>
                                    <a:pt x="281" y="1224"/>
                                    <a:pt x="283" y="1227"/>
                                    <a:pt x="287" y="1229"/>
                                  </a:cubicBezTo>
                                  <a:cubicBezTo>
                                    <a:pt x="292" y="1232"/>
                                    <a:pt x="297" y="1232"/>
                                    <a:pt x="301" y="1231"/>
                                  </a:cubicBezTo>
                                  <a:cubicBezTo>
                                    <a:pt x="305" y="1230"/>
                                    <a:pt x="308" y="1229"/>
                                    <a:pt x="310" y="1225"/>
                                  </a:cubicBezTo>
                                  <a:cubicBezTo>
                                    <a:pt x="313" y="1220"/>
                                    <a:pt x="314" y="1217"/>
                                    <a:pt x="318" y="1215"/>
                                  </a:cubicBezTo>
                                  <a:cubicBezTo>
                                    <a:pt x="321" y="1212"/>
                                    <a:pt x="325" y="1210"/>
                                    <a:pt x="325" y="1207"/>
                                  </a:cubicBezTo>
                                  <a:cubicBezTo>
                                    <a:pt x="325" y="1204"/>
                                    <a:pt x="326" y="1204"/>
                                    <a:pt x="323" y="1200"/>
                                  </a:cubicBezTo>
                                  <a:cubicBezTo>
                                    <a:pt x="321" y="1196"/>
                                    <a:pt x="313" y="1192"/>
                                    <a:pt x="314" y="1187"/>
                                  </a:cubicBezTo>
                                  <a:cubicBezTo>
                                    <a:pt x="314" y="1182"/>
                                    <a:pt x="316" y="1182"/>
                                    <a:pt x="321" y="1180"/>
                                  </a:cubicBezTo>
                                  <a:cubicBezTo>
                                    <a:pt x="326" y="1178"/>
                                    <a:pt x="330" y="1176"/>
                                    <a:pt x="331" y="1174"/>
                                  </a:cubicBezTo>
                                  <a:cubicBezTo>
                                    <a:pt x="331" y="1171"/>
                                    <a:pt x="330" y="1167"/>
                                    <a:pt x="330" y="1162"/>
                                  </a:cubicBezTo>
                                  <a:cubicBezTo>
                                    <a:pt x="330" y="1158"/>
                                    <a:pt x="330" y="1155"/>
                                    <a:pt x="333" y="1153"/>
                                  </a:cubicBezTo>
                                  <a:cubicBezTo>
                                    <a:pt x="337" y="1151"/>
                                    <a:pt x="341" y="1149"/>
                                    <a:pt x="343" y="1151"/>
                                  </a:cubicBezTo>
                                  <a:cubicBezTo>
                                    <a:pt x="346" y="1154"/>
                                    <a:pt x="348" y="1157"/>
                                    <a:pt x="345" y="1161"/>
                                  </a:cubicBezTo>
                                  <a:cubicBezTo>
                                    <a:pt x="342" y="1165"/>
                                    <a:pt x="341" y="1164"/>
                                    <a:pt x="341" y="1168"/>
                                  </a:cubicBezTo>
                                  <a:cubicBezTo>
                                    <a:pt x="340" y="1173"/>
                                    <a:pt x="339" y="1173"/>
                                    <a:pt x="342" y="1177"/>
                                  </a:cubicBezTo>
                                  <a:cubicBezTo>
                                    <a:pt x="344" y="1182"/>
                                    <a:pt x="344" y="1185"/>
                                    <a:pt x="344" y="1190"/>
                                  </a:cubicBezTo>
                                  <a:cubicBezTo>
                                    <a:pt x="343" y="1194"/>
                                    <a:pt x="340" y="1196"/>
                                    <a:pt x="343" y="1200"/>
                                  </a:cubicBezTo>
                                  <a:cubicBezTo>
                                    <a:pt x="347" y="1204"/>
                                    <a:pt x="347" y="1202"/>
                                    <a:pt x="348" y="1208"/>
                                  </a:cubicBezTo>
                                  <a:cubicBezTo>
                                    <a:pt x="349" y="1213"/>
                                    <a:pt x="351" y="1214"/>
                                    <a:pt x="356" y="1215"/>
                                  </a:cubicBezTo>
                                  <a:cubicBezTo>
                                    <a:pt x="361" y="1217"/>
                                    <a:pt x="365" y="1217"/>
                                    <a:pt x="367" y="1219"/>
                                  </a:cubicBezTo>
                                  <a:cubicBezTo>
                                    <a:pt x="368" y="1220"/>
                                    <a:pt x="371" y="1217"/>
                                    <a:pt x="371" y="1222"/>
                                  </a:cubicBezTo>
                                  <a:cubicBezTo>
                                    <a:pt x="371" y="1223"/>
                                    <a:pt x="371" y="1225"/>
                                    <a:pt x="372" y="1226"/>
                                  </a:cubicBezTo>
                                  <a:cubicBezTo>
                                    <a:pt x="377" y="1225"/>
                                    <a:pt x="382" y="1225"/>
                                    <a:pt x="387" y="1228"/>
                                  </a:cubicBezTo>
                                  <a:cubicBezTo>
                                    <a:pt x="392" y="1230"/>
                                    <a:pt x="396" y="1231"/>
                                    <a:pt x="398" y="1230"/>
                                  </a:cubicBezTo>
                                  <a:cubicBezTo>
                                    <a:pt x="400" y="1229"/>
                                    <a:pt x="402" y="1227"/>
                                    <a:pt x="402" y="1223"/>
                                  </a:cubicBezTo>
                                  <a:cubicBezTo>
                                    <a:pt x="404" y="1216"/>
                                    <a:pt x="403" y="1202"/>
                                    <a:pt x="402" y="1191"/>
                                  </a:cubicBezTo>
                                  <a:cubicBezTo>
                                    <a:pt x="402" y="1185"/>
                                    <a:pt x="402" y="1180"/>
                                    <a:pt x="402" y="1177"/>
                                  </a:cubicBezTo>
                                  <a:cubicBezTo>
                                    <a:pt x="402" y="1173"/>
                                    <a:pt x="404" y="1170"/>
                                    <a:pt x="407" y="1166"/>
                                  </a:cubicBezTo>
                                  <a:cubicBezTo>
                                    <a:pt x="409" y="1163"/>
                                    <a:pt x="411" y="1159"/>
                                    <a:pt x="412" y="1155"/>
                                  </a:cubicBezTo>
                                  <a:cubicBezTo>
                                    <a:pt x="413" y="1146"/>
                                    <a:pt x="419" y="1145"/>
                                    <a:pt x="426" y="1143"/>
                                  </a:cubicBezTo>
                                  <a:cubicBezTo>
                                    <a:pt x="426" y="1143"/>
                                    <a:pt x="426" y="1143"/>
                                    <a:pt x="426" y="1143"/>
                                  </a:cubicBezTo>
                                  <a:cubicBezTo>
                                    <a:pt x="429" y="1142"/>
                                    <a:pt x="433" y="1141"/>
                                    <a:pt x="436" y="1138"/>
                                  </a:cubicBezTo>
                                  <a:cubicBezTo>
                                    <a:pt x="440" y="1135"/>
                                    <a:pt x="442" y="1131"/>
                                    <a:pt x="444" y="1126"/>
                                  </a:cubicBezTo>
                                  <a:cubicBezTo>
                                    <a:pt x="447" y="1121"/>
                                    <a:pt x="448" y="1115"/>
                                    <a:pt x="449" y="1108"/>
                                  </a:cubicBezTo>
                                  <a:cubicBezTo>
                                    <a:pt x="450" y="1103"/>
                                    <a:pt x="451" y="1101"/>
                                    <a:pt x="452" y="1099"/>
                                  </a:cubicBezTo>
                                  <a:cubicBezTo>
                                    <a:pt x="453" y="1097"/>
                                    <a:pt x="453" y="1096"/>
                                    <a:pt x="448" y="1083"/>
                                  </a:cubicBezTo>
                                  <a:cubicBezTo>
                                    <a:pt x="445" y="1074"/>
                                    <a:pt x="441" y="1069"/>
                                    <a:pt x="438" y="1065"/>
                                  </a:cubicBezTo>
                                  <a:cubicBezTo>
                                    <a:pt x="437" y="1064"/>
                                    <a:pt x="436" y="1062"/>
                                    <a:pt x="435" y="1061"/>
                                  </a:cubicBezTo>
                                  <a:cubicBezTo>
                                    <a:pt x="431" y="1055"/>
                                    <a:pt x="431" y="1052"/>
                                    <a:pt x="439" y="1047"/>
                                  </a:cubicBezTo>
                                  <a:cubicBezTo>
                                    <a:pt x="445" y="1044"/>
                                    <a:pt x="451" y="1043"/>
                                    <a:pt x="456" y="1043"/>
                                  </a:cubicBezTo>
                                  <a:cubicBezTo>
                                    <a:pt x="461" y="1043"/>
                                    <a:pt x="466" y="1043"/>
                                    <a:pt x="466" y="1039"/>
                                  </a:cubicBezTo>
                                  <a:cubicBezTo>
                                    <a:pt x="467" y="1034"/>
                                    <a:pt x="468" y="1031"/>
                                    <a:pt x="469" y="1028"/>
                                  </a:cubicBezTo>
                                  <a:cubicBezTo>
                                    <a:pt x="469" y="1028"/>
                                    <a:pt x="469" y="1028"/>
                                    <a:pt x="469" y="1028"/>
                                  </a:cubicBezTo>
                                  <a:cubicBezTo>
                                    <a:pt x="471" y="1024"/>
                                    <a:pt x="472" y="1022"/>
                                    <a:pt x="466" y="1015"/>
                                  </a:cubicBezTo>
                                  <a:cubicBezTo>
                                    <a:pt x="463" y="1011"/>
                                    <a:pt x="457" y="1007"/>
                                    <a:pt x="451" y="1004"/>
                                  </a:cubicBezTo>
                                  <a:cubicBezTo>
                                    <a:pt x="440" y="998"/>
                                    <a:pt x="429" y="991"/>
                                    <a:pt x="431" y="977"/>
                                  </a:cubicBezTo>
                                  <a:cubicBezTo>
                                    <a:pt x="432" y="975"/>
                                    <a:pt x="432" y="972"/>
                                    <a:pt x="433" y="969"/>
                                  </a:cubicBezTo>
                                  <a:cubicBezTo>
                                    <a:pt x="433" y="969"/>
                                    <a:pt x="433" y="969"/>
                                    <a:pt x="433" y="969"/>
                                  </a:cubicBezTo>
                                  <a:cubicBezTo>
                                    <a:pt x="435" y="953"/>
                                    <a:pt x="437" y="935"/>
                                    <a:pt x="437" y="926"/>
                                  </a:cubicBezTo>
                                  <a:cubicBezTo>
                                    <a:pt x="437" y="921"/>
                                    <a:pt x="434" y="917"/>
                                    <a:pt x="432" y="912"/>
                                  </a:cubicBezTo>
                                  <a:cubicBezTo>
                                    <a:pt x="430" y="908"/>
                                    <a:pt x="427" y="903"/>
                                    <a:pt x="427" y="897"/>
                                  </a:cubicBezTo>
                                  <a:cubicBezTo>
                                    <a:pt x="426" y="890"/>
                                    <a:pt x="428" y="884"/>
                                    <a:pt x="430" y="878"/>
                                  </a:cubicBezTo>
                                  <a:cubicBezTo>
                                    <a:pt x="431" y="873"/>
                                    <a:pt x="433" y="868"/>
                                    <a:pt x="433" y="863"/>
                                  </a:cubicBezTo>
                                  <a:cubicBezTo>
                                    <a:pt x="433" y="858"/>
                                    <a:pt x="430" y="853"/>
                                    <a:pt x="428" y="849"/>
                                  </a:cubicBezTo>
                                  <a:cubicBezTo>
                                    <a:pt x="425" y="844"/>
                                    <a:pt x="422" y="839"/>
                                    <a:pt x="422" y="832"/>
                                  </a:cubicBezTo>
                                  <a:cubicBezTo>
                                    <a:pt x="422" y="826"/>
                                    <a:pt x="423" y="820"/>
                                    <a:pt x="427" y="812"/>
                                  </a:cubicBezTo>
                                  <a:cubicBezTo>
                                    <a:pt x="430" y="805"/>
                                    <a:pt x="436" y="797"/>
                                    <a:pt x="444" y="787"/>
                                  </a:cubicBezTo>
                                  <a:cubicBezTo>
                                    <a:pt x="447" y="783"/>
                                    <a:pt x="450" y="779"/>
                                    <a:pt x="453" y="776"/>
                                  </a:cubicBezTo>
                                  <a:cubicBezTo>
                                    <a:pt x="462" y="763"/>
                                    <a:pt x="468" y="756"/>
                                    <a:pt x="477" y="752"/>
                                  </a:cubicBezTo>
                                  <a:cubicBezTo>
                                    <a:pt x="482" y="750"/>
                                    <a:pt x="487" y="748"/>
                                    <a:pt x="493" y="747"/>
                                  </a:cubicBezTo>
                                  <a:cubicBezTo>
                                    <a:pt x="499" y="746"/>
                                    <a:pt x="506" y="746"/>
                                    <a:pt x="514" y="748"/>
                                  </a:cubicBezTo>
                                  <a:cubicBezTo>
                                    <a:pt x="518" y="749"/>
                                    <a:pt x="521" y="750"/>
                                    <a:pt x="524" y="751"/>
                                  </a:cubicBezTo>
                                  <a:cubicBezTo>
                                    <a:pt x="531" y="754"/>
                                    <a:pt x="535" y="755"/>
                                    <a:pt x="540" y="749"/>
                                  </a:cubicBezTo>
                                  <a:cubicBezTo>
                                    <a:pt x="544" y="745"/>
                                    <a:pt x="546" y="739"/>
                                    <a:pt x="548" y="734"/>
                                  </a:cubicBezTo>
                                  <a:cubicBezTo>
                                    <a:pt x="549" y="728"/>
                                    <a:pt x="549" y="723"/>
                                    <a:pt x="547" y="719"/>
                                  </a:cubicBezTo>
                                  <a:cubicBezTo>
                                    <a:pt x="547" y="719"/>
                                    <a:pt x="547" y="719"/>
                                    <a:pt x="547" y="719"/>
                                  </a:cubicBezTo>
                                  <a:cubicBezTo>
                                    <a:pt x="547" y="718"/>
                                    <a:pt x="545" y="716"/>
                                    <a:pt x="543" y="715"/>
                                  </a:cubicBezTo>
                                  <a:cubicBezTo>
                                    <a:pt x="537" y="711"/>
                                    <a:pt x="531" y="706"/>
                                    <a:pt x="534" y="692"/>
                                  </a:cubicBezTo>
                                  <a:cubicBezTo>
                                    <a:pt x="536" y="681"/>
                                    <a:pt x="539" y="678"/>
                                    <a:pt x="545" y="673"/>
                                  </a:cubicBezTo>
                                  <a:cubicBezTo>
                                    <a:pt x="548" y="670"/>
                                    <a:pt x="552" y="666"/>
                                    <a:pt x="558" y="657"/>
                                  </a:cubicBezTo>
                                  <a:cubicBezTo>
                                    <a:pt x="561" y="653"/>
                                    <a:pt x="561" y="653"/>
                                    <a:pt x="561" y="653"/>
                                  </a:cubicBezTo>
                                  <a:cubicBezTo>
                                    <a:pt x="572" y="636"/>
                                    <a:pt x="575" y="631"/>
                                    <a:pt x="577" y="616"/>
                                  </a:cubicBezTo>
                                  <a:cubicBezTo>
                                    <a:pt x="577" y="609"/>
                                    <a:pt x="578" y="601"/>
                                    <a:pt x="578" y="593"/>
                                  </a:cubicBezTo>
                                  <a:cubicBezTo>
                                    <a:pt x="578" y="580"/>
                                    <a:pt x="578" y="568"/>
                                    <a:pt x="578" y="561"/>
                                  </a:cubicBezTo>
                                  <a:cubicBezTo>
                                    <a:pt x="578" y="555"/>
                                    <a:pt x="582" y="550"/>
                                    <a:pt x="587" y="545"/>
                                  </a:cubicBezTo>
                                  <a:cubicBezTo>
                                    <a:pt x="593" y="539"/>
                                    <a:pt x="602" y="534"/>
                                    <a:pt x="607" y="532"/>
                                  </a:cubicBezTo>
                                  <a:cubicBezTo>
                                    <a:pt x="609" y="531"/>
                                    <a:pt x="611" y="531"/>
                                    <a:pt x="613" y="530"/>
                                  </a:cubicBezTo>
                                  <a:cubicBezTo>
                                    <a:pt x="619" y="528"/>
                                    <a:pt x="625" y="525"/>
                                    <a:pt x="628" y="523"/>
                                  </a:cubicBezTo>
                                  <a:cubicBezTo>
                                    <a:pt x="629" y="522"/>
                                    <a:pt x="630" y="521"/>
                                    <a:pt x="630" y="519"/>
                                  </a:cubicBezTo>
                                  <a:cubicBezTo>
                                    <a:pt x="631" y="516"/>
                                    <a:pt x="632" y="512"/>
                                    <a:pt x="635" y="505"/>
                                  </a:cubicBezTo>
                                  <a:cubicBezTo>
                                    <a:pt x="640" y="494"/>
                                    <a:pt x="649" y="487"/>
                                    <a:pt x="659" y="479"/>
                                  </a:cubicBezTo>
                                  <a:cubicBezTo>
                                    <a:pt x="664" y="475"/>
                                    <a:pt x="669" y="471"/>
                                    <a:pt x="674" y="466"/>
                                  </a:cubicBezTo>
                                  <a:cubicBezTo>
                                    <a:pt x="675" y="465"/>
                                    <a:pt x="676" y="464"/>
                                    <a:pt x="678" y="462"/>
                                  </a:cubicBezTo>
                                  <a:cubicBezTo>
                                    <a:pt x="689" y="451"/>
                                    <a:pt x="696" y="444"/>
                                    <a:pt x="694" y="436"/>
                                  </a:cubicBezTo>
                                  <a:cubicBezTo>
                                    <a:pt x="693" y="432"/>
                                    <a:pt x="691" y="430"/>
                                    <a:pt x="689" y="428"/>
                                  </a:cubicBezTo>
                                  <a:cubicBezTo>
                                    <a:pt x="684" y="423"/>
                                    <a:pt x="679" y="418"/>
                                    <a:pt x="683" y="407"/>
                                  </a:cubicBezTo>
                                  <a:cubicBezTo>
                                    <a:pt x="687" y="398"/>
                                    <a:pt x="693" y="395"/>
                                    <a:pt x="699" y="391"/>
                                  </a:cubicBezTo>
                                  <a:cubicBezTo>
                                    <a:pt x="704" y="389"/>
                                    <a:pt x="708" y="386"/>
                                    <a:pt x="710" y="382"/>
                                  </a:cubicBezTo>
                                  <a:cubicBezTo>
                                    <a:pt x="711" y="379"/>
                                    <a:pt x="712" y="377"/>
                                    <a:pt x="713" y="375"/>
                                  </a:cubicBezTo>
                                  <a:cubicBezTo>
                                    <a:pt x="717" y="364"/>
                                    <a:pt x="721" y="354"/>
                                    <a:pt x="733" y="349"/>
                                  </a:cubicBezTo>
                                  <a:cubicBezTo>
                                    <a:pt x="734" y="349"/>
                                    <a:pt x="734" y="349"/>
                                    <a:pt x="734" y="349"/>
                                  </a:cubicBezTo>
                                  <a:cubicBezTo>
                                    <a:pt x="748" y="343"/>
                                    <a:pt x="758" y="339"/>
                                    <a:pt x="773" y="343"/>
                                  </a:cubicBezTo>
                                  <a:cubicBezTo>
                                    <a:pt x="778" y="344"/>
                                    <a:pt x="781" y="345"/>
                                    <a:pt x="783" y="347"/>
                                  </a:cubicBezTo>
                                  <a:cubicBezTo>
                                    <a:pt x="786" y="348"/>
                                    <a:pt x="787" y="348"/>
                                    <a:pt x="790" y="345"/>
                                  </a:cubicBezTo>
                                  <a:cubicBezTo>
                                    <a:pt x="793" y="342"/>
                                    <a:pt x="795" y="337"/>
                                    <a:pt x="797" y="332"/>
                                  </a:cubicBezTo>
                                  <a:cubicBezTo>
                                    <a:pt x="798" y="327"/>
                                    <a:pt x="799" y="321"/>
                                    <a:pt x="800" y="314"/>
                                  </a:cubicBezTo>
                                  <a:cubicBezTo>
                                    <a:pt x="800" y="313"/>
                                    <a:pt x="800" y="313"/>
                                    <a:pt x="800" y="312"/>
                                  </a:cubicBezTo>
                                  <a:cubicBezTo>
                                    <a:pt x="802" y="305"/>
                                    <a:pt x="805" y="300"/>
                                    <a:pt x="810" y="297"/>
                                  </a:cubicBezTo>
                                  <a:cubicBezTo>
                                    <a:pt x="815" y="295"/>
                                    <a:pt x="821" y="294"/>
                                    <a:pt x="827" y="295"/>
                                  </a:cubicBezTo>
                                  <a:cubicBezTo>
                                    <a:pt x="828" y="295"/>
                                    <a:pt x="829" y="295"/>
                                    <a:pt x="830" y="295"/>
                                  </a:cubicBezTo>
                                  <a:cubicBezTo>
                                    <a:pt x="834" y="296"/>
                                    <a:pt x="841" y="297"/>
                                    <a:pt x="848" y="298"/>
                                  </a:cubicBezTo>
                                  <a:cubicBezTo>
                                    <a:pt x="863" y="300"/>
                                    <a:pt x="882" y="303"/>
                                    <a:pt x="895" y="306"/>
                                  </a:cubicBezTo>
                                  <a:cubicBezTo>
                                    <a:pt x="896" y="307"/>
                                    <a:pt x="898" y="307"/>
                                    <a:pt x="900" y="308"/>
                                  </a:cubicBezTo>
                                  <a:cubicBezTo>
                                    <a:pt x="905" y="309"/>
                                    <a:pt x="908" y="310"/>
                                    <a:pt x="910" y="310"/>
                                  </a:cubicBezTo>
                                  <a:cubicBezTo>
                                    <a:pt x="913" y="310"/>
                                    <a:pt x="914" y="309"/>
                                    <a:pt x="915" y="304"/>
                                  </a:cubicBezTo>
                                  <a:cubicBezTo>
                                    <a:pt x="916" y="299"/>
                                    <a:pt x="915" y="296"/>
                                    <a:pt x="915" y="293"/>
                                  </a:cubicBezTo>
                                  <a:cubicBezTo>
                                    <a:pt x="914" y="288"/>
                                    <a:pt x="914" y="284"/>
                                    <a:pt x="918" y="278"/>
                                  </a:cubicBezTo>
                                  <a:cubicBezTo>
                                    <a:pt x="921" y="274"/>
                                    <a:pt x="923" y="273"/>
                                    <a:pt x="925" y="271"/>
                                  </a:cubicBezTo>
                                  <a:cubicBezTo>
                                    <a:pt x="927" y="270"/>
                                    <a:pt x="928" y="269"/>
                                    <a:pt x="927" y="263"/>
                                  </a:cubicBezTo>
                                  <a:cubicBezTo>
                                    <a:pt x="927" y="259"/>
                                    <a:pt x="925" y="256"/>
                                    <a:pt x="925" y="253"/>
                                  </a:cubicBezTo>
                                  <a:cubicBezTo>
                                    <a:pt x="924" y="250"/>
                                    <a:pt x="923" y="248"/>
                                    <a:pt x="923" y="246"/>
                                  </a:cubicBezTo>
                                  <a:cubicBezTo>
                                    <a:pt x="922" y="241"/>
                                    <a:pt x="924" y="237"/>
                                    <a:pt x="930" y="236"/>
                                  </a:cubicBezTo>
                                  <a:cubicBezTo>
                                    <a:pt x="933" y="236"/>
                                    <a:pt x="940" y="236"/>
                                    <a:pt x="948" y="235"/>
                                  </a:cubicBezTo>
                                  <a:cubicBezTo>
                                    <a:pt x="958" y="235"/>
                                    <a:pt x="969" y="234"/>
                                    <a:pt x="972" y="233"/>
                                  </a:cubicBezTo>
                                  <a:cubicBezTo>
                                    <a:pt x="973" y="233"/>
                                    <a:pt x="975" y="232"/>
                                    <a:pt x="976" y="230"/>
                                  </a:cubicBezTo>
                                  <a:cubicBezTo>
                                    <a:pt x="978" y="227"/>
                                    <a:pt x="979" y="224"/>
                                    <a:pt x="980" y="221"/>
                                  </a:cubicBezTo>
                                  <a:cubicBezTo>
                                    <a:pt x="980" y="221"/>
                                    <a:pt x="981" y="220"/>
                                    <a:pt x="981" y="220"/>
                                  </a:cubicBezTo>
                                  <a:cubicBezTo>
                                    <a:pt x="983" y="215"/>
                                    <a:pt x="988" y="212"/>
                                    <a:pt x="993" y="211"/>
                                  </a:cubicBezTo>
                                  <a:cubicBezTo>
                                    <a:pt x="998" y="210"/>
                                    <a:pt x="1004" y="210"/>
                                    <a:pt x="1007" y="211"/>
                                  </a:cubicBezTo>
                                  <a:cubicBezTo>
                                    <a:pt x="1007" y="211"/>
                                    <a:pt x="1007" y="211"/>
                                    <a:pt x="1007" y="211"/>
                                  </a:cubicBezTo>
                                  <a:cubicBezTo>
                                    <a:pt x="1007" y="211"/>
                                    <a:pt x="1008" y="211"/>
                                    <a:pt x="1008" y="212"/>
                                  </a:cubicBezTo>
                                  <a:cubicBezTo>
                                    <a:pt x="1011" y="213"/>
                                    <a:pt x="1020" y="218"/>
                                    <a:pt x="1029" y="225"/>
                                  </a:cubicBezTo>
                                  <a:cubicBezTo>
                                    <a:pt x="1035" y="230"/>
                                    <a:pt x="1042" y="235"/>
                                    <a:pt x="1047" y="240"/>
                                  </a:cubicBezTo>
                                  <a:cubicBezTo>
                                    <a:pt x="1052" y="246"/>
                                    <a:pt x="1053" y="251"/>
                                    <a:pt x="1054" y="256"/>
                                  </a:cubicBezTo>
                                  <a:cubicBezTo>
                                    <a:pt x="1054" y="256"/>
                                    <a:pt x="1054" y="256"/>
                                    <a:pt x="1054" y="256"/>
                                  </a:cubicBezTo>
                                  <a:cubicBezTo>
                                    <a:pt x="1055" y="260"/>
                                    <a:pt x="1056" y="264"/>
                                    <a:pt x="1065" y="266"/>
                                  </a:cubicBezTo>
                                  <a:cubicBezTo>
                                    <a:pt x="1072" y="268"/>
                                    <a:pt x="1084" y="269"/>
                                    <a:pt x="1097" y="269"/>
                                  </a:cubicBezTo>
                                  <a:cubicBezTo>
                                    <a:pt x="1114" y="269"/>
                                    <a:pt x="1132" y="268"/>
                                    <a:pt x="1139" y="267"/>
                                  </a:cubicBezTo>
                                  <a:cubicBezTo>
                                    <a:pt x="1142" y="266"/>
                                    <a:pt x="1144" y="265"/>
                                    <a:pt x="1145" y="263"/>
                                  </a:cubicBezTo>
                                  <a:cubicBezTo>
                                    <a:pt x="1150" y="259"/>
                                    <a:pt x="1154" y="255"/>
                                    <a:pt x="1174" y="263"/>
                                  </a:cubicBezTo>
                                  <a:cubicBezTo>
                                    <a:pt x="1184" y="268"/>
                                    <a:pt x="1193" y="273"/>
                                    <a:pt x="1200" y="277"/>
                                  </a:cubicBezTo>
                                  <a:cubicBezTo>
                                    <a:pt x="1210" y="283"/>
                                    <a:pt x="1216" y="287"/>
                                    <a:pt x="1220" y="285"/>
                                  </a:cubicBezTo>
                                  <a:cubicBezTo>
                                    <a:pt x="1220" y="285"/>
                                    <a:pt x="1220" y="285"/>
                                    <a:pt x="1220" y="285"/>
                                  </a:cubicBezTo>
                                  <a:cubicBezTo>
                                    <a:pt x="1223" y="283"/>
                                    <a:pt x="1227" y="278"/>
                                    <a:pt x="1231" y="272"/>
                                  </a:cubicBezTo>
                                  <a:cubicBezTo>
                                    <a:pt x="1237" y="264"/>
                                    <a:pt x="1243" y="256"/>
                                    <a:pt x="1250" y="253"/>
                                  </a:cubicBezTo>
                                  <a:cubicBezTo>
                                    <a:pt x="1254" y="252"/>
                                    <a:pt x="1258" y="252"/>
                                    <a:pt x="1261" y="252"/>
                                  </a:cubicBezTo>
                                  <a:cubicBezTo>
                                    <a:pt x="1263" y="252"/>
                                    <a:pt x="1265" y="252"/>
                                    <a:pt x="1266" y="249"/>
                                  </a:cubicBezTo>
                                  <a:cubicBezTo>
                                    <a:pt x="1268" y="244"/>
                                    <a:pt x="1270" y="232"/>
                                    <a:pt x="1273" y="219"/>
                                  </a:cubicBezTo>
                                  <a:cubicBezTo>
                                    <a:pt x="1275" y="202"/>
                                    <a:pt x="1279" y="184"/>
                                    <a:pt x="1282" y="177"/>
                                  </a:cubicBezTo>
                                  <a:cubicBezTo>
                                    <a:pt x="1285" y="170"/>
                                    <a:pt x="1292" y="163"/>
                                    <a:pt x="1299" y="156"/>
                                  </a:cubicBezTo>
                                  <a:cubicBezTo>
                                    <a:pt x="1307" y="148"/>
                                    <a:pt x="1316" y="142"/>
                                    <a:pt x="1321" y="141"/>
                                  </a:cubicBezTo>
                                  <a:cubicBezTo>
                                    <a:pt x="1326" y="139"/>
                                    <a:pt x="1332" y="139"/>
                                    <a:pt x="1340" y="138"/>
                                  </a:cubicBezTo>
                                  <a:cubicBezTo>
                                    <a:pt x="1346" y="137"/>
                                    <a:pt x="1353" y="136"/>
                                    <a:pt x="1361" y="134"/>
                                  </a:cubicBezTo>
                                  <a:cubicBezTo>
                                    <a:pt x="1371" y="132"/>
                                    <a:pt x="1378" y="129"/>
                                    <a:pt x="1382" y="126"/>
                                  </a:cubicBezTo>
                                  <a:cubicBezTo>
                                    <a:pt x="1386" y="124"/>
                                    <a:pt x="1389" y="122"/>
                                    <a:pt x="1393" y="122"/>
                                  </a:cubicBezTo>
                                  <a:cubicBezTo>
                                    <a:pt x="1399" y="121"/>
                                    <a:pt x="1404" y="125"/>
                                    <a:pt x="1412" y="130"/>
                                  </a:cubicBezTo>
                                  <a:cubicBezTo>
                                    <a:pt x="1417" y="134"/>
                                    <a:pt x="1422" y="138"/>
                                    <a:pt x="1429" y="142"/>
                                  </a:cubicBezTo>
                                  <a:cubicBezTo>
                                    <a:pt x="1437" y="146"/>
                                    <a:pt x="1444" y="149"/>
                                    <a:pt x="1450" y="152"/>
                                  </a:cubicBezTo>
                                  <a:cubicBezTo>
                                    <a:pt x="1459" y="156"/>
                                    <a:pt x="1467" y="159"/>
                                    <a:pt x="1474" y="165"/>
                                  </a:cubicBezTo>
                                  <a:cubicBezTo>
                                    <a:pt x="1481" y="170"/>
                                    <a:pt x="1486" y="174"/>
                                    <a:pt x="1489" y="177"/>
                                  </a:cubicBezTo>
                                  <a:cubicBezTo>
                                    <a:pt x="1493" y="181"/>
                                    <a:pt x="1494" y="185"/>
                                    <a:pt x="1491" y="190"/>
                                  </a:cubicBezTo>
                                  <a:cubicBezTo>
                                    <a:pt x="1490" y="193"/>
                                    <a:pt x="1487" y="196"/>
                                    <a:pt x="1484" y="199"/>
                                  </a:cubicBezTo>
                                  <a:cubicBezTo>
                                    <a:pt x="1478" y="206"/>
                                    <a:pt x="1470" y="214"/>
                                    <a:pt x="1472" y="218"/>
                                  </a:cubicBezTo>
                                  <a:cubicBezTo>
                                    <a:pt x="1474" y="224"/>
                                    <a:pt x="1476" y="229"/>
                                    <a:pt x="1477" y="233"/>
                                  </a:cubicBezTo>
                                  <a:cubicBezTo>
                                    <a:pt x="1479" y="231"/>
                                    <a:pt x="1480" y="229"/>
                                    <a:pt x="1481" y="227"/>
                                  </a:cubicBezTo>
                                  <a:cubicBezTo>
                                    <a:pt x="1484" y="222"/>
                                    <a:pt x="1487" y="217"/>
                                    <a:pt x="1490" y="214"/>
                                  </a:cubicBezTo>
                                  <a:cubicBezTo>
                                    <a:pt x="1495" y="207"/>
                                    <a:pt x="1502" y="206"/>
                                    <a:pt x="1511" y="205"/>
                                  </a:cubicBezTo>
                                  <a:cubicBezTo>
                                    <a:pt x="1514" y="204"/>
                                    <a:pt x="1517" y="204"/>
                                    <a:pt x="1521" y="203"/>
                                  </a:cubicBezTo>
                                  <a:cubicBezTo>
                                    <a:pt x="1527" y="202"/>
                                    <a:pt x="1530" y="200"/>
                                    <a:pt x="1533" y="198"/>
                                  </a:cubicBezTo>
                                  <a:cubicBezTo>
                                    <a:pt x="1535" y="196"/>
                                    <a:pt x="1536" y="194"/>
                                    <a:pt x="1537" y="191"/>
                                  </a:cubicBezTo>
                                  <a:cubicBezTo>
                                    <a:pt x="1539" y="186"/>
                                    <a:pt x="1541" y="181"/>
                                    <a:pt x="1545" y="179"/>
                                  </a:cubicBezTo>
                                  <a:cubicBezTo>
                                    <a:pt x="1549" y="176"/>
                                    <a:pt x="1553" y="175"/>
                                    <a:pt x="1558" y="176"/>
                                  </a:cubicBezTo>
                                  <a:cubicBezTo>
                                    <a:pt x="1564" y="177"/>
                                    <a:pt x="1569" y="180"/>
                                    <a:pt x="1574" y="182"/>
                                  </a:cubicBezTo>
                                  <a:cubicBezTo>
                                    <a:pt x="1576" y="183"/>
                                    <a:pt x="1578" y="184"/>
                                    <a:pt x="1579" y="184"/>
                                  </a:cubicBezTo>
                                  <a:cubicBezTo>
                                    <a:pt x="1579" y="184"/>
                                    <a:pt x="1579" y="184"/>
                                    <a:pt x="1579" y="184"/>
                                  </a:cubicBezTo>
                                  <a:cubicBezTo>
                                    <a:pt x="1581" y="184"/>
                                    <a:pt x="1583" y="184"/>
                                    <a:pt x="1584" y="183"/>
                                  </a:cubicBezTo>
                                  <a:cubicBezTo>
                                    <a:pt x="1586" y="182"/>
                                    <a:pt x="1587" y="181"/>
                                    <a:pt x="1587" y="180"/>
                                  </a:cubicBezTo>
                                  <a:cubicBezTo>
                                    <a:pt x="1587" y="180"/>
                                    <a:pt x="1587" y="180"/>
                                    <a:pt x="1587" y="180"/>
                                  </a:cubicBezTo>
                                  <a:cubicBezTo>
                                    <a:pt x="1587" y="178"/>
                                    <a:pt x="1587" y="175"/>
                                    <a:pt x="1587" y="172"/>
                                  </a:cubicBezTo>
                                  <a:cubicBezTo>
                                    <a:pt x="1587" y="167"/>
                                    <a:pt x="1587" y="161"/>
                                    <a:pt x="1586" y="155"/>
                                  </a:cubicBezTo>
                                  <a:cubicBezTo>
                                    <a:pt x="1581" y="155"/>
                                    <a:pt x="1578" y="155"/>
                                    <a:pt x="1574" y="155"/>
                                  </a:cubicBezTo>
                                  <a:cubicBezTo>
                                    <a:pt x="1568" y="155"/>
                                    <a:pt x="1561" y="158"/>
                                    <a:pt x="1562" y="163"/>
                                  </a:cubicBezTo>
                                  <a:cubicBezTo>
                                    <a:pt x="1563" y="169"/>
                                    <a:pt x="1565" y="173"/>
                                    <a:pt x="1561" y="171"/>
                                  </a:cubicBezTo>
                                  <a:cubicBezTo>
                                    <a:pt x="1558" y="169"/>
                                    <a:pt x="1559" y="164"/>
                                    <a:pt x="1556" y="159"/>
                                  </a:cubicBezTo>
                                  <a:cubicBezTo>
                                    <a:pt x="1553" y="154"/>
                                    <a:pt x="1552" y="150"/>
                                    <a:pt x="1547" y="150"/>
                                  </a:cubicBezTo>
                                  <a:cubicBezTo>
                                    <a:pt x="1541" y="150"/>
                                    <a:pt x="1542" y="154"/>
                                    <a:pt x="1534" y="157"/>
                                  </a:cubicBezTo>
                                  <a:cubicBezTo>
                                    <a:pt x="1527" y="159"/>
                                    <a:pt x="1523" y="159"/>
                                    <a:pt x="1520" y="163"/>
                                  </a:cubicBezTo>
                                  <a:cubicBezTo>
                                    <a:pt x="1517" y="167"/>
                                    <a:pt x="1511" y="173"/>
                                    <a:pt x="1508" y="171"/>
                                  </a:cubicBezTo>
                                  <a:cubicBezTo>
                                    <a:pt x="1505" y="169"/>
                                    <a:pt x="1510" y="164"/>
                                    <a:pt x="1511" y="160"/>
                                  </a:cubicBezTo>
                                  <a:cubicBezTo>
                                    <a:pt x="1512" y="157"/>
                                    <a:pt x="1513" y="156"/>
                                    <a:pt x="1505" y="153"/>
                                  </a:cubicBezTo>
                                  <a:cubicBezTo>
                                    <a:pt x="1498" y="150"/>
                                    <a:pt x="1496" y="147"/>
                                    <a:pt x="1496" y="142"/>
                                  </a:cubicBezTo>
                                  <a:cubicBezTo>
                                    <a:pt x="1496" y="136"/>
                                    <a:pt x="1498" y="134"/>
                                    <a:pt x="1491" y="132"/>
                                  </a:cubicBezTo>
                                  <a:cubicBezTo>
                                    <a:pt x="1484" y="130"/>
                                    <a:pt x="1486" y="131"/>
                                    <a:pt x="1474" y="129"/>
                                  </a:cubicBezTo>
                                  <a:cubicBezTo>
                                    <a:pt x="1463" y="126"/>
                                    <a:pt x="1458" y="129"/>
                                    <a:pt x="1454" y="125"/>
                                  </a:cubicBezTo>
                                  <a:cubicBezTo>
                                    <a:pt x="1449" y="122"/>
                                    <a:pt x="1448" y="116"/>
                                    <a:pt x="1453" y="116"/>
                                  </a:cubicBezTo>
                                  <a:cubicBezTo>
                                    <a:pt x="1458" y="116"/>
                                    <a:pt x="1465" y="117"/>
                                    <a:pt x="1470" y="118"/>
                                  </a:cubicBezTo>
                                  <a:cubicBezTo>
                                    <a:pt x="1476" y="120"/>
                                    <a:pt x="1480" y="121"/>
                                    <a:pt x="1489" y="122"/>
                                  </a:cubicBezTo>
                                  <a:cubicBezTo>
                                    <a:pt x="1497" y="123"/>
                                    <a:pt x="1499" y="124"/>
                                    <a:pt x="1507" y="124"/>
                                  </a:cubicBezTo>
                                  <a:cubicBezTo>
                                    <a:pt x="1514" y="124"/>
                                    <a:pt x="1516" y="124"/>
                                    <a:pt x="1524" y="124"/>
                                  </a:cubicBezTo>
                                  <a:cubicBezTo>
                                    <a:pt x="1531" y="124"/>
                                    <a:pt x="1535" y="124"/>
                                    <a:pt x="1543" y="123"/>
                                  </a:cubicBezTo>
                                  <a:cubicBezTo>
                                    <a:pt x="1550" y="121"/>
                                    <a:pt x="1553" y="122"/>
                                    <a:pt x="1558" y="116"/>
                                  </a:cubicBezTo>
                                  <a:cubicBezTo>
                                    <a:pt x="1562" y="111"/>
                                    <a:pt x="1561" y="109"/>
                                    <a:pt x="1569" y="107"/>
                                  </a:cubicBezTo>
                                  <a:cubicBezTo>
                                    <a:pt x="1577" y="106"/>
                                    <a:pt x="1578" y="105"/>
                                    <a:pt x="1586" y="105"/>
                                  </a:cubicBezTo>
                                  <a:cubicBezTo>
                                    <a:pt x="1593" y="104"/>
                                    <a:pt x="1596" y="106"/>
                                    <a:pt x="1599" y="101"/>
                                  </a:cubicBezTo>
                                  <a:cubicBezTo>
                                    <a:pt x="1601" y="97"/>
                                    <a:pt x="1605" y="94"/>
                                    <a:pt x="1598" y="89"/>
                                  </a:cubicBezTo>
                                  <a:cubicBezTo>
                                    <a:pt x="1592" y="85"/>
                                    <a:pt x="1589" y="83"/>
                                    <a:pt x="1581" y="82"/>
                                  </a:cubicBezTo>
                                  <a:cubicBezTo>
                                    <a:pt x="1572" y="82"/>
                                    <a:pt x="1573" y="80"/>
                                    <a:pt x="1564" y="81"/>
                                  </a:cubicBezTo>
                                  <a:cubicBezTo>
                                    <a:pt x="1555" y="82"/>
                                    <a:pt x="1544" y="79"/>
                                    <a:pt x="1540" y="77"/>
                                  </a:cubicBezTo>
                                  <a:cubicBezTo>
                                    <a:pt x="1537" y="76"/>
                                    <a:pt x="1534" y="76"/>
                                    <a:pt x="1537" y="73"/>
                                  </a:cubicBezTo>
                                  <a:cubicBezTo>
                                    <a:pt x="1540" y="71"/>
                                    <a:pt x="1545" y="75"/>
                                    <a:pt x="1545" y="68"/>
                                  </a:cubicBezTo>
                                  <a:cubicBezTo>
                                    <a:pt x="1545" y="61"/>
                                    <a:pt x="1548" y="60"/>
                                    <a:pt x="1544" y="58"/>
                                  </a:cubicBezTo>
                                  <a:cubicBezTo>
                                    <a:pt x="1540" y="56"/>
                                    <a:pt x="1538" y="54"/>
                                    <a:pt x="1533" y="58"/>
                                  </a:cubicBezTo>
                                  <a:cubicBezTo>
                                    <a:pt x="1527" y="61"/>
                                    <a:pt x="1529" y="66"/>
                                    <a:pt x="1523" y="63"/>
                                  </a:cubicBezTo>
                                  <a:cubicBezTo>
                                    <a:pt x="1518" y="61"/>
                                    <a:pt x="1516" y="60"/>
                                    <a:pt x="1516" y="57"/>
                                  </a:cubicBezTo>
                                  <a:cubicBezTo>
                                    <a:pt x="1516" y="55"/>
                                    <a:pt x="1510" y="53"/>
                                    <a:pt x="1507" y="55"/>
                                  </a:cubicBezTo>
                                  <a:cubicBezTo>
                                    <a:pt x="1503" y="57"/>
                                    <a:pt x="1504" y="55"/>
                                    <a:pt x="1501" y="57"/>
                                  </a:cubicBezTo>
                                  <a:cubicBezTo>
                                    <a:pt x="1497" y="59"/>
                                    <a:pt x="1493" y="63"/>
                                    <a:pt x="1490" y="59"/>
                                  </a:cubicBezTo>
                                  <a:cubicBezTo>
                                    <a:pt x="1487" y="55"/>
                                    <a:pt x="1489" y="54"/>
                                    <a:pt x="1485" y="51"/>
                                  </a:cubicBezTo>
                                  <a:cubicBezTo>
                                    <a:pt x="1482" y="47"/>
                                    <a:pt x="1478" y="45"/>
                                    <a:pt x="1475" y="44"/>
                                  </a:cubicBezTo>
                                  <a:cubicBezTo>
                                    <a:pt x="1473" y="43"/>
                                    <a:pt x="1471" y="39"/>
                                    <a:pt x="1467" y="42"/>
                                  </a:cubicBezTo>
                                  <a:cubicBezTo>
                                    <a:pt x="1464" y="45"/>
                                    <a:pt x="1459" y="48"/>
                                    <a:pt x="1456" y="53"/>
                                  </a:cubicBezTo>
                                  <a:cubicBezTo>
                                    <a:pt x="1453" y="58"/>
                                    <a:pt x="1446" y="58"/>
                                    <a:pt x="1445" y="65"/>
                                  </a:cubicBezTo>
                                  <a:cubicBezTo>
                                    <a:pt x="1445" y="72"/>
                                    <a:pt x="1444" y="76"/>
                                    <a:pt x="1444" y="81"/>
                                  </a:cubicBezTo>
                                  <a:cubicBezTo>
                                    <a:pt x="1443" y="87"/>
                                    <a:pt x="1439" y="90"/>
                                    <a:pt x="1436" y="92"/>
                                  </a:cubicBezTo>
                                  <a:cubicBezTo>
                                    <a:pt x="1433" y="94"/>
                                    <a:pt x="1430" y="100"/>
                                    <a:pt x="1428" y="101"/>
                                  </a:cubicBezTo>
                                  <a:cubicBezTo>
                                    <a:pt x="1427" y="102"/>
                                    <a:pt x="1420" y="104"/>
                                    <a:pt x="1420" y="99"/>
                                  </a:cubicBezTo>
                                  <a:cubicBezTo>
                                    <a:pt x="1420" y="94"/>
                                    <a:pt x="1428" y="89"/>
                                    <a:pt x="1427" y="86"/>
                                  </a:cubicBezTo>
                                  <a:cubicBezTo>
                                    <a:pt x="1426" y="83"/>
                                    <a:pt x="1426" y="81"/>
                                    <a:pt x="1419" y="83"/>
                                  </a:cubicBezTo>
                                  <a:cubicBezTo>
                                    <a:pt x="1413" y="84"/>
                                    <a:pt x="1405" y="86"/>
                                    <a:pt x="1404" y="83"/>
                                  </a:cubicBezTo>
                                  <a:cubicBezTo>
                                    <a:pt x="1403" y="80"/>
                                    <a:pt x="1402" y="77"/>
                                    <a:pt x="1408" y="75"/>
                                  </a:cubicBezTo>
                                  <a:cubicBezTo>
                                    <a:pt x="1414" y="73"/>
                                    <a:pt x="1416" y="73"/>
                                    <a:pt x="1421" y="69"/>
                                  </a:cubicBezTo>
                                  <a:cubicBezTo>
                                    <a:pt x="1425" y="65"/>
                                    <a:pt x="1428" y="60"/>
                                    <a:pt x="1427" y="58"/>
                                  </a:cubicBezTo>
                                  <a:cubicBezTo>
                                    <a:pt x="1425" y="56"/>
                                    <a:pt x="1426" y="54"/>
                                    <a:pt x="1419" y="57"/>
                                  </a:cubicBezTo>
                                  <a:cubicBezTo>
                                    <a:pt x="1412" y="61"/>
                                    <a:pt x="1406" y="62"/>
                                    <a:pt x="1401" y="63"/>
                                  </a:cubicBezTo>
                                  <a:cubicBezTo>
                                    <a:pt x="1396" y="64"/>
                                    <a:pt x="1399" y="61"/>
                                    <a:pt x="1401" y="57"/>
                                  </a:cubicBezTo>
                                  <a:cubicBezTo>
                                    <a:pt x="1403" y="53"/>
                                    <a:pt x="1405" y="52"/>
                                    <a:pt x="1406" y="48"/>
                                  </a:cubicBezTo>
                                  <a:cubicBezTo>
                                    <a:pt x="1407" y="45"/>
                                    <a:pt x="1406" y="44"/>
                                    <a:pt x="1414" y="43"/>
                                  </a:cubicBezTo>
                                  <a:cubicBezTo>
                                    <a:pt x="1422" y="43"/>
                                    <a:pt x="1427" y="43"/>
                                    <a:pt x="1432" y="42"/>
                                  </a:cubicBezTo>
                                  <a:cubicBezTo>
                                    <a:pt x="1438" y="40"/>
                                    <a:pt x="1438" y="39"/>
                                    <a:pt x="1440" y="35"/>
                                  </a:cubicBezTo>
                                  <a:cubicBezTo>
                                    <a:pt x="1443" y="31"/>
                                    <a:pt x="1442" y="29"/>
                                    <a:pt x="1436" y="28"/>
                                  </a:cubicBezTo>
                                  <a:cubicBezTo>
                                    <a:pt x="1430" y="27"/>
                                    <a:pt x="1425" y="25"/>
                                    <a:pt x="1422" y="23"/>
                                  </a:cubicBezTo>
                                  <a:cubicBezTo>
                                    <a:pt x="1419" y="20"/>
                                    <a:pt x="1416" y="22"/>
                                    <a:pt x="1410" y="19"/>
                                  </a:cubicBezTo>
                                  <a:cubicBezTo>
                                    <a:pt x="1405" y="17"/>
                                    <a:pt x="1404" y="12"/>
                                    <a:pt x="1400" y="14"/>
                                  </a:cubicBezTo>
                                  <a:cubicBezTo>
                                    <a:pt x="1396" y="15"/>
                                    <a:pt x="1392" y="17"/>
                                    <a:pt x="1390" y="21"/>
                                  </a:cubicBezTo>
                                  <a:cubicBezTo>
                                    <a:pt x="1389" y="25"/>
                                    <a:pt x="1391" y="28"/>
                                    <a:pt x="1387" y="29"/>
                                  </a:cubicBezTo>
                                  <a:cubicBezTo>
                                    <a:pt x="1382" y="31"/>
                                    <a:pt x="1379" y="31"/>
                                    <a:pt x="1377" y="33"/>
                                  </a:cubicBezTo>
                                  <a:cubicBezTo>
                                    <a:pt x="1375" y="34"/>
                                    <a:pt x="1373" y="34"/>
                                    <a:pt x="1375" y="36"/>
                                  </a:cubicBezTo>
                                  <a:cubicBezTo>
                                    <a:pt x="1376" y="38"/>
                                    <a:pt x="1379" y="41"/>
                                    <a:pt x="1382" y="41"/>
                                  </a:cubicBezTo>
                                  <a:cubicBezTo>
                                    <a:pt x="1386" y="42"/>
                                    <a:pt x="1388" y="41"/>
                                    <a:pt x="1388" y="43"/>
                                  </a:cubicBezTo>
                                  <a:cubicBezTo>
                                    <a:pt x="1389" y="46"/>
                                    <a:pt x="1390" y="49"/>
                                    <a:pt x="1384" y="50"/>
                                  </a:cubicBezTo>
                                  <a:cubicBezTo>
                                    <a:pt x="1378" y="50"/>
                                    <a:pt x="1379" y="49"/>
                                    <a:pt x="1372" y="51"/>
                                  </a:cubicBezTo>
                                  <a:cubicBezTo>
                                    <a:pt x="1366" y="53"/>
                                    <a:pt x="1363" y="52"/>
                                    <a:pt x="1362" y="55"/>
                                  </a:cubicBezTo>
                                  <a:cubicBezTo>
                                    <a:pt x="1361" y="59"/>
                                    <a:pt x="1361" y="61"/>
                                    <a:pt x="1363" y="62"/>
                                  </a:cubicBezTo>
                                  <a:cubicBezTo>
                                    <a:pt x="1366" y="64"/>
                                    <a:pt x="1368" y="64"/>
                                    <a:pt x="1368" y="67"/>
                                  </a:cubicBezTo>
                                  <a:cubicBezTo>
                                    <a:pt x="1369" y="70"/>
                                    <a:pt x="1370" y="71"/>
                                    <a:pt x="1366" y="71"/>
                                  </a:cubicBezTo>
                                  <a:cubicBezTo>
                                    <a:pt x="1363" y="71"/>
                                    <a:pt x="1359" y="69"/>
                                    <a:pt x="1358" y="71"/>
                                  </a:cubicBezTo>
                                  <a:cubicBezTo>
                                    <a:pt x="1356" y="73"/>
                                    <a:pt x="1357" y="75"/>
                                    <a:pt x="1357" y="78"/>
                                  </a:cubicBezTo>
                                  <a:cubicBezTo>
                                    <a:pt x="1358" y="80"/>
                                    <a:pt x="1358" y="82"/>
                                    <a:pt x="1356" y="83"/>
                                  </a:cubicBezTo>
                                  <a:cubicBezTo>
                                    <a:pt x="1353" y="83"/>
                                    <a:pt x="1353" y="83"/>
                                    <a:pt x="1347" y="83"/>
                                  </a:cubicBezTo>
                                  <a:cubicBezTo>
                                    <a:pt x="1341" y="83"/>
                                    <a:pt x="1340" y="79"/>
                                    <a:pt x="1337" y="83"/>
                                  </a:cubicBezTo>
                                  <a:cubicBezTo>
                                    <a:pt x="1334" y="87"/>
                                    <a:pt x="1334" y="86"/>
                                    <a:pt x="1332" y="90"/>
                                  </a:cubicBezTo>
                                  <a:cubicBezTo>
                                    <a:pt x="1330" y="93"/>
                                    <a:pt x="1331" y="95"/>
                                    <a:pt x="1327" y="94"/>
                                  </a:cubicBezTo>
                                  <a:cubicBezTo>
                                    <a:pt x="1324" y="92"/>
                                    <a:pt x="1322" y="93"/>
                                    <a:pt x="1322" y="89"/>
                                  </a:cubicBezTo>
                                  <a:cubicBezTo>
                                    <a:pt x="1321" y="84"/>
                                    <a:pt x="1321" y="82"/>
                                    <a:pt x="1321" y="77"/>
                                  </a:cubicBezTo>
                                  <a:cubicBezTo>
                                    <a:pt x="1321" y="72"/>
                                    <a:pt x="1322" y="70"/>
                                    <a:pt x="1320" y="67"/>
                                  </a:cubicBezTo>
                                  <a:cubicBezTo>
                                    <a:pt x="1318" y="64"/>
                                    <a:pt x="1317" y="66"/>
                                    <a:pt x="1316" y="62"/>
                                  </a:cubicBezTo>
                                  <a:cubicBezTo>
                                    <a:pt x="1314" y="59"/>
                                    <a:pt x="1311" y="58"/>
                                    <a:pt x="1317" y="56"/>
                                  </a:cubicBezTo>
                                  <a:cubicBezTo>
                                    <a:pt x="1323" y="55"/>
                                    <a:pt x="1324" y="56"/>
                                    <a:pt x="1327" y="53"/>
                                  </a:cubicBezTo>
                                  <a:cubicBezTo>
                                    <a:pt x="1330" y="50"/>
                                    <a:pt x="1330" y="49"/>
                                    <a:pt x="1330" y="45"/>
                                  </a:cubicBezTo>
                                  <a:cubicBezTo>
                                    <a:pt x="1330" y="41"/>
                                    <a:pt x="1331" y="40"/>
                                    <a:pt x="1331" y="35"/>
                                  </a:cubicBezTo>
                                  <a:cubicBezTo>
                                    <a:pt x="1331" y="30"/>
                                    <a:pt x="1331" y="29"/>
                                    <a:pt x="1329" y="29"/>
                                  </a:cubicBezTo>
                                  <a:cubicBezTo>
                                    <a:pt x="1326" y="30"/>
                                    <a:pt x="1322" y="32"/>
                                    <a:pt x="1318" y="36"/>
                                  </a:cubicBezTo>
                                  <a:cubicBezTo>
                                    <a:pt x="1314" y="40"/>
                                    <a:pt x="1312" y="43"/>
                                    <a:pt x="1306" y="48"/>
                                  </a:cubicBezTo>
                                  <a:cubicBezTo>
                                    <a:pt x="1301" y="52"/>
                                    <a:pt x="1296" y="53"/>
                                    <a:pt x="1293" y="57"/>
                                  </a:cubicBezTo>
                                  <a:cubicBezTo>
                                    <a:pt x="1290" y="61"/>
                                    <a:pt x="1284" y="64"/>
                                    <a:pt x="1278" y="71"/>
                                  </a:cubicBezTo>
                                  <a:cubicBezTo>
                                    <a:pt x="1272" y="78"/>
                                    <a:pt x="1256" y="87"/>
                                    <a:pt x="1255" y="92"/>
                                  </a:cubicBezTo>
                                  <a:cubicBezTo>
                                    <a:pt x="1255" y="98"/>
                                    <a:pt x="1257" y="100"/>
                                    <a:pt x="1254" y="105"/>
                                  </a:cubicBezTo>
                                  <a:cubicBezTo>
                                    <a:pt x="1252" y="111"/>
                                    <a:pt x="1252" y="112"/>
                                    <a:pt x="1244" y="116"/>
                                  </a:cubicBezTo>
                                  <a:cubicBezTo>
                                    <a:pt x="1236" y="120"/>
                                    <a:pt x="1232" y="124"/>
                                    <a:pt x="1229" y="118"/>
                                  </a:cubicBezTo>
                                  <a:cubicBezTo>
                                    <a:pt x="1225" y="113"/>
                                    <a:pt x="1219" y="115"/>
                                    <a:pt x="1225" y="107"/>
                                  </a:cubicBezTo>
                                  <a:cubicBezTo>
                                    <a:pt x="1230" y="98"/>
                                    <a:pt x="1233" y="95"/>
                                    <a:pt x="1234" y="87"/>
                                  </a:cubicBezTo>
                                  <a:cubicBezTo>
                                    <a:pt x="1234" y="79"/>
                                    <a:pt x="1228" y="78"/>
                                    <a:pt x="1236" y="72"/>
                                  </a:cubicBezTo>
                                  <a:cubicBezTo>
                                    <a:pt x="1243" y="66"/>
                                    <a:pt x="1246" y="65"/>
                                    <a:pt x="1254" y="60"/>
                                  </a:cubicBezTo>
                                  <a:cubicBezTo>
                                    <a:pt x="1263" y="55"/>
                                    <a:pt x="1277" y="49"/>
                                    <a:pt x="1278" y="42"/>
                                  </a:cubicBezTo>
                                  <a:cubicBezTo>
                                    <a:pt x="1280" y="36"/>
                                    <a:pt x="1280" y="39"/>
                                    <a:pt x="1269" y="36"/>
                                  </a:cubicBezTo>
                                  <a:cubicBezTo>
                                    <a:pt x="1258" y="34"/>
                                    <a:pt x="1261" y="31"/>
                                    <a:pt x="1252" y="32"/>
                                  </a:cubicBezTo>
                                  <a:cubicBezTo>
                                    <a:pt x="1244" y="33"/>
                                    <a:pt x="1238" y="39"/>
                                    <a:pt x="1231" y="39"/>
                                  </a:cubicBezTo>
                                  <a:cubicBezTo>
                                    <a:pt x="1223" y="39"/>
                                    <a:pt x="1227" y="42"/>
                                    <a:pt x="1219" y="36"/>
                                  </a:cubicBezTo>
                                  <a:cubicBezTo>
                                    <a:pt x="1212" y="29"/>
                                    <a:pt x="1201" y="22"/>
                                    <a:pt x="1199" y="26"/>
                                  </a:cubicBezTo>
                                  <a:cubicBezTo>
                                    <a:pt x="1196" y="29"/>
                                    <a:pt x="1200" y="33"/>
                                    <a:pt x="1198" y="38"/>
                                  </a:cubicBezTo>
                                  <a:cubicBezTo>
                                    <a:pt x="1196" y="43"/>
                                    <a:pt x="1192" y="41"/>
                                    <a:pt x="1190" y="44"/>
                                  </a:cubicBezTo>
                                  <a:cubicBezTo>
                                    <a:pt x="1188" y="46"/>
                                    <a:pt x="1188" y="50"/>
                                    <a:pt x="1192" y="51"/>
                                  </a:cubicBezTo>
                                  <a:cubicBezTo>
                                    <a:pt x="1197" y="53"/>
                                    <a:pt x="1197" y="49"/>
                                    <a:pt x="1201" y="54"/>
                                  </a:cubicBezTo>
                                  <a:cubicBezTo>
                                    <a:pt x="1205" y="58"/>
                                    <a:pt x="1209" y="60"/>
                                    <a:pt x="1205" y="62"/>
                                  </a:cubicBezTo>
                                  <a:cubicBezTo>
                                    <a:pt x="1201" y="64"/>
                                    <a:pt x="1199" y="60"/>
                                    <a:pt x="1192" y="61"/>
                                  </a:cubicBezTo>
                                  <a:cubicBezTo>
                                    <a:pt x="1185" y="63"/>
                                    <a:pt x="1183" y="64"/>
                                    <a:pt x="1183" y="69"/>
                                  </a:cubicBezTo>
                                  <a:cubicBezTo>
                                    <a:pt x="1184" y="73"/>
                                    <a:pt x="1186" y="76"/>
                                    <a:pt x="1185" y="80"/>
                                  </a:cubicBezTo>
                                  <a:cubicBezTo>
                                    <a:pt x="1184" y="84"/>
                                    <a:pt x="1183" y="86"/>
                                    <a:pt x="1177" y="84"/>
                                  </a:cubicBezTo>
                                  <a:cubicBezTo>
                                    <a:pt x="1171" y="82"/>
                                    <a:pt x="1164" y="80"/>
                                    <a:pt x="1157" y="84"/>
                                  </a:cubicBezTo>
                                  <a:cubicBezTo>
                                    <a:pt x="1149" y="88"/>
                                    <a:pt x="1149" y="91"/>
                                    <a:pt x="1143" y="93"/>
                                  </a:cubicBezTo>
                                  <a:cubicBezTo>
                                    <a:pt x="1137" y="94"/>
                                    <a:pt x="1131" y="98"/>
                                    <a:pt x="1131" y="101"/>
                                  </a:cubicBezTo>
                                  <a:cubicBezTo>
                                    <a:pt x="1131" y="103"/>
                                    <a:pt x="1131" y="104"/>
                                    <a:pt x="1133" y="106"/>
                                  </a:cubicBezTo>
                                  <a:cubicBezTo>
                                    <a:pt x="1135" y="109"/>
                                    <a:pt x="1137" y="111"/>
                                    <a:pt x="1132" y="112"/>
                                  </a:cubicBezTo>
                                  <a:cubicBezTo>
                                    <a:pt x="1127" y="113"/>
                                    <a:pt x="1124" y="111"/>
                                    <a:pt x="1124" y="115"/>
                                  </a:cubicBezTo>
                                  <a:cubicBezTo>
                                    <a:pt x="1124" y="119"/>
                                    <a:pt x="1123" y="121"/>
                                    <a:pt x="1125" y="124"/>
                                  </a:cubicBezTo>
                                  <a:cubicBezTo>
                                    <a:pt x="1128" y="127"/>
                                    <a:pt x="1130" y="127"/>
                                    <a:pt x="1132" y="129"/>
                                  </a:cubicBezTo>
                                  <a:cubicBezTo>
                                    <a:pt x="1134" y="132"/>
                                    <a:pt x="1135" y="133"/>
                                    <a:pt x="1133" y="134"/>
                                  </a:cubicBezTo>
                                  <a:cubicBezTo>
                                    <a:pt x="1130" y="136"/>
                                    <a:pt x="1126" y="135"/>
                                    <a:pt x="1122" y="138"/>
                                  </a:cubicBezTo>
                                  <a:cubicBezTo>
                                    <a:pt x="1118" y="140"/>
                                    <a:pt x="1117" y="142"/>
                                    <a:pt x="1114" y="142"/>
                                  </a:cubicBezTo>
                                  <a:cubicBezTo>
                                    <a:pt x="1111" y="142"/>
                                    <a:pt x="1108" y="139"/>
                                    <a:pt x="1105" y="134"/>
                                  </a:cubicBezTo>
                                  <a:cubicBezTo>
                                    <a:pt x="1103" y="130"/>
                                    <a:pt x="1098" y="125"/>
                                    <a:pt x="1092" y="127"/>
                                  </a:cubicBezTo>
                                  <a:cubicBezTo>
                                    <a:pt x="1085" y="129"/>
                                    <a:pt x="1080" y="133"/>
                                    <a:pt x="1076" y="131"/>
                                  </a:cubicBezTo>
                                  <a:cubicBezTo>
                                    <a:pt x="1071" y="130"/>
                                    <a:pt x="1070" y="132"/>
                                    <a:pt x="1070" y="128"/>
                                  </a:cubicBezTo>
                                  <a:cubicBezTo>
                                    <a:pt x="1070" y="123"/>
                                    <a:pt x="1073" y="122"/>
                                    <a:pt x="1067" y="120"/>
                                  </a:cubicBezTo>
                                  <a:cubicBezTo>
                                    <a:pt x="1061" y="119"/>
                                    <a:pt x="1054" y="120"/>
                                    <a:pt x="1051" y="121"/>
                                  </a:cubicBezTo>
                                  <a:cubicBezTo>
                                    <a:pt x="1048" y="123"/>
                                    <a:pt x="1048" y="127"/>
                                    <a:pt x="1047" y="132"/>
                                  </a:cubicBezTo>
                                  <a:cubicBezTo>
                                    <a:pt x="1047" y="137"/>
                                    <a:pt x="1048" y="140"/>
                                    <a:pt x="1043" y="142"/>
                                  </a:cubicBezTo>
                                  <a:cubicBezTo>
                                    <a:pt x="1039" y="145"/>
                                    <a:pt x="1038" y="146"/>
                                    <a:pt x="1040" y="149"/>
                                  </a:cubicBezTo>
                                  <a:cubicBezTo>
                                    <a:pt x="1041" y="152"/>
                                    <a:pt x="1045" y="156"/>
                                    <a:pt x="1044" y="158"/>
                                  </a:cubicBezTo>
                                  <a:cubicBezTo>
                                    <a:pt x="1043" y="160"/>
                                    <a:pt x="1043" y="163"/>
                                    <a:pt x="1038" y="160"/>
                                  </a:cubicBezTo>
                                  <a:cubicBezTo>
                                    <a:pt x="1033" y="157"/>
                                    <a:pt x="1027" y="154"/>
                                    <a:pt x="1020" y="152"/>
                                  </a:cubicBezTo>
                                  <a:cubicBezTo>
                                    <a:pt x="1014" y="149"/>
                                    <a:pt x="1010" y="148"/>
                                    <a:pt x="1006" y="145"/>
                                  </a:cubicBezTo>
                                  <a:cubicBezTo>
                                    <a:pt x="1003" y="141"/>
                                    <a:pt x="1000" y="139"/>
                                    <a:pt x="997" y="141"/>
                                  </a:cubicBezTo>
                                  <a:cubicBezTo>
                                    <a:pt x="994" y="143"/>
                                    <a:pt x="993" y="148"/>
                                    <a:pt x="993" y="151"/>
                                  </a:cubicBezTo>
                                  <a:cubicBezTo>
                                    <a:pt x="993" y="153"/>
                                    <a:pt x="995" y="154"/>
                                    <a:pt x="990" y="155"/>
                                  </a:cubicBezTo>
                                  <a:cubicBezTo>
                                    <a:pt x="986" y="157"/>
                                    <a:pt x="982" y="160"/>
                                    <a:pt x="982" y="154"/>
                                  </a:cubicBezTo>
                                  <a:cubicBezTo>
                                    <a:pt x="981" y="149"/>
                                    <a:pt x="982" y="144"/>
                                    <a:pt x="974" y="146"/>
                                  </a:cubicBezTo>
                                  <a:cubicBezTo>
                                    <a:pt x="965" y="149"/>
                                    <a:pt x="959" y="153"/>
                                    <a:pt x="956" y="156"/>
                                  </a:cubicBezTo>
                                  <a:cubicBezTo>
                                    <a:pt x="952" y="159"/>
                                    <a:pt x="949" y="162"/>
                                    <a:pt x="950" y="168"/>
                                  </a:cubicBezTo>
                                  <a:cubicBezTo>
                                    <a:pt x="952" y="173"/>
                                    <a:pt x="951" y="176"/>
                                    <a:pt x="955" y="177"/>
                                  </a:cubicBezTo>
                                  <a:cubicBezTo>
                                    <a:pt x="958" y="179"/>
                                    <a:pt x="959" y="180"/>
                                    <a:pt x="964" y="182"/>
                                  </a:cubicBezTo>
                                  <a:cubicBezTo>
                                    <a:pt x="969" y="184"/>
                                    <a:pt x="971" y="185"/>
                                    <a:pt x="970" y="187"/>
                                  </a:cubicBezTo>
                                  <a:cubicBezTo>
                                    <a:pt x="969" y="188"/>
                                    <a:pt x="967" y="191"/>
                                    <a:pt x="964" y="189"/>
                                  </a:cubicBezTo>
                                  <a:cubicBezTo>
                                    <a:pt x="961" y="187"/>
                                    <a:pt x="960" y="183"/>
                                    <a:pt x="955" y="185"/>
                                  </a:cubicBezTo>
                                  <a:cubicBezTo>
                                    <a:pt x="950" y="187"/>
                                    <a:pt x="946" y="187"/>
                                    <a:pt x="945" y="192"/>
                                  </a:cubicBezTo>
                                  <a:cubicBezTo>
                                    <a:pt x="944" y="196"/>
                                    <a:pt x="945" y="197"/>
                                    <a:pt x="941" y="200"/>
                                  </a:cubicBezTo>
                                  <a:cubicBezTo>
                                    <a:pt x="936" y="204"/>
                                    <a:pt x="932" y="204"/>
                                    <a:pt x="928" y="209"/>
                                  </a:cubicBezTo>
                                  <a:cubicBezTo>
                                    <a:pt x="923" y="213"/>
                                    <a:pt x="917" y="218"/>
                                    <a:pt x="915" y="215"/>
                                  </a:cubicBezTo>
                                  <a:cubicBezTo>
                                    <a:pt x="914" y="213"/>
                                    <a:pt x="914" y="211"/>
                                    <a:pt x="918" y="207"/>
                                  </a:cubicBezTo>
                                  <a:cubicBezTo>
                                    <a:pt x="921" y="203"/>
                                    <a:pt x="922" y="203"/>
                                    <a:pt x="927" y="198"/>
                                  </a:cubicBezTo>
                                  <a:cubicBezTo>
                                    <a:pt x="931" y="192"/>
                                    <a:pt x="928" y="193"/>
                                    <a:pt x="932" y="188"/>
                                  </a:cubicBezTo>
                                  <a:cubicBezTo>
                                    <a:pt x="936" y="183"/>
                                    <a:pt x="936" y="183"/>
                                    <a:pt x="937" y="178"/>
                                  </a:cubicBezTo>
                                  <a:cubicBezTo>
                                    <a:pt x="938" y="174"/>
                                    <a:pt x="937" y="173"/>
                                    <a:pt x="936" y="167"/>
                                  </a:cubicBezTo>
                                  <a:cubicBezTo>
                                    <a:pt x="936" y="161"/>
                                    <a:pt x="936" y="158"/>
                                    <a:pt x="938" y="155"/>
                                  </a:cubicBezTo>
                                  <a:cubicBezTo>
                                    <a:pt x="941" y="153"/>
                                    <a:pt x="939" y="139"/>
                                    <a:pt x="937" y="139"/>
                                  </a:cubicBezTo>
                                  <a:cubicBezTo>
                                    <a:pt x="935" y="139"/>
                                    <a:pt x="930" y="144"/>
                                    <a:pt x="928" y="148"/>
                                  </a:cubicBezTo>
                                  <a:cubicBezTo>
                                    <a:pt x="927" y="153"/>
                                    <a:pt x="924" y="153"/>
                                    <a:pt x="919" y="157"/>
                                  </a:cubicBezTo>
                                  <a:cubicBezTo>
                                    <a:pt x="915" y="162"/>
                                    <a:pt x="910" y="162"/>
                                    <a:pt x="910" y="166"/>
                                  </a:cubicBezTo>
                                  <a:cubicBezTo>
                                    <a:pt x="911" y="171"/>
                                    <a:pt x="909" y="176"/>
                                    <a:pt x="914" y="177"/>
                                  </a:cubicBezTo>
                                  <a:cubicBezTo>
                                    <a:pt x="919" y="178"/>
                                    <a:pt x="921" y="178"/>
                                    <a:pt x="919" y="182"/>
                                  </a:cubicBezTo>
                                  <a:cubicBezTo>
                                    <a:pt x="916" y="186"/>
                                    <a:pt x="912" y="189"/>
                                    <a:pt x="906" y="193"/>
                                  </a:cubicBezTo>
                                  <a:cubicBezTo>
                                    <a:pt x="900" y="197"/>
                                    <a:pt x="893" y="203"/>
                                    <a:pt x="892" y="198"/>
                                  </a:cubicBezTo>
                                  <a:cubicBezTo>
                                    <a:pt x="891" y="194"/>
                                    <a:pt x="891" y="192"/>
                                    <a:pt x="895" y="188"/>
                                  </a:cubicBezTo>
                                  <a:cubicBezTo>
                                    <a:pt x="900" y="185"/>
                                    <a:pt x="902" y="181"/>
                                    <a:pt x="901" y="175"/>
                                  </a:cubicBezTo>
                                  <a:cubicBezTo>
                                    <a:pt x="900" y="169"/>
                                    <a:pt x="904" y="167"/>
                                    <a:pt x="900" y="162"/>
                                  </a:cubicBezTo>
                                  <a:cubicBezTo>
                                    <a:pt x="896" y="158"/>
                                    <a:pt x="894" y="155"/>
                                    <a:pt x="889" y="158"/>
                                  </a:cubicBezTo>
                                  <a:cubicBezTo>
                                    <a:pt x="884" y="160"/>
                                    <a:pt x="874" y="162"/>
                                    <a:pt x="869" y="163"/>
                                  </a:cubicBezTo>
                                  <a:cubicBezTo>
                                    <a:pt x="864" y="164"/>
                                    <a:pt x="858" y="166"/>
                                    <a:pt x="858" y="169"/>
                                  </a:cubicBezTo>
                                  <a:cubicBezTo>
                                    <a:pt x="859" y="172"/>
                                    <a:pt x="860" y="177"/>
                                    <a:pt x="863" y="178"/>
                                  </a:cubicBezTo>
                                  <a:cubicBezTo>
                                    <a:pt x="866" y="179"/>
                                    <a:pt x="868" y="178"/>
                                    <a:pt x="867" y="182"/>
                                  </a:cubicBezTo>
                                  <a:cubicBezTo>
                                    <a:pt x="867" y="185"/>
                                    <a:pt x="863" y="184"/>
                                    <a:pt x="862" y="187"/>
                                  </a:cubicBezTo>
                                  <a:cubicBezTo>
                                    <a:pt x="860" y="192"/>
                                    <a:pt x="860" y="195"/>
                                    <a:pt x="864" y="197"/>
                                  </a:cubicBezTo>
                                  <a:cubicBezTo>
                                    <a:pt x="868" y="200"/>
                                    <a:pt x="864" y="197"/>
                                    <a:pt x="874" y="200"/>
                                  </a:cubicBezTo>
                                  <a:cubicBezTo>
                                    <a:pt x="883" y="204"/>
                                    <a:pt x="884" y="204"/>
                                    <a:pt x="887" y="208"/>
                                  </a:cubicBezTo>
                                  <a:cubicBezTo>
                                    <a:pt x="890" y="212"/>
                                    <a:pt x="893" y="217"/>
                                    <a:pt x="891" y="218"/>
                                  </a:cubicBezTo>
                                  <a:cubicBezTo>
                                    <a:pt x="888" y="219"/>
                                    <a:pt x="881" y="217"/>
                                    <a:pt x="878" y="214"/>
                                  </a:cubicBezTo>
                                  <a:cubicBezTo>
                                    <a:pt x="874" y="211"/>
                                    <a:pt x="872" y="211"/>
                                    <a:pt x="866" y="208"/>
                                  </a:cubicBezTo>
                                  <a:cubicBezTo>
                                    <a:pt x="861" y="204"/>
                                    <a:pt x="860" y="203"/>
                                    <a:pt x="858" y="200"/>
                                  </a:cubicBezTo>
                                  <a:cubicBezTo>
                                    <a:pt x="856" y="197"/>
                                    <a:pt x="845" y="191"/>
                                    <a:pt x="844" y="194"/>
                                  </a:cubicBezTo>
                                  <a:cubicBezTo>
                                    <a:pt x="843" y="197"/>
                                    <a:pt x="842" y="199"/>
                                    <a:pt x="845" y="202"/>
                                  </a:cubicBezTo>
                                  <a:cubicBezTo>
                                    <a:pt x="849" y="205"/>
                                    <a:pt x="851" y="204"/>
                                    <a:pt x="852" y="209"/>
                                  </a:cubicBezTo>
                                  <a:cubicBezTo>
                                    <a:pt x="852" y="213"/>
                                    <a:pt x="847" y="214"/>
                                    <a:pt x="842" y="214"/>
                                  </a:cubicBezTo>
                                  <a:cubicBezTo>
                                    <a:pt x="837" y="215"/>
                                    <a:pt x="831" y="215"/>
                                    <a:pt x="828" y="213"/>
                                  </a:cubicBezTo>
                                  <a:cubicBezTo>
                                    <a:pt x="824" y="211"/>
                                    <a:pt x="818" y="210"/>
                                    <a:pt x="816" y="206"/>
                                  </a:cubicBezTo>
                                  <a:cubicBezTo>
                                    <a:pt x="815" y="202"/>
                                    <a:pt x="815" y="198"/>
                                    <a:pt x="810" y="198"/>
                                  </a:cubicBezTo>
                                  <a:cubicBezTo>
                                    <a:pt x="806" y="199"/>
                                    <a:pt x="802" y="203"/>
                                    <a:pt x="801" y="206"/>
                                  </a:cubicBezTo>
                                  <a:cubicBezTo>
                                    <a:pt x="800" y="210"/>
                                    <a:pt x="798" y="214"/>
                                    <a:pt x="800" y="218"/>
                                  </a:cubicBezTo>
                                  <a:cubicBezTo>
                                    <a:pt x="802" y="223"/>
                                    <a:pt x="803" y="225"/>
                                    <a:pt x="795" y="228"/>
                                  </a:cubicBezTo>
                                  <a:cubicBezTo>
                                    <a:pt x="787" y="231"/>
                                    <a:pt x="782" y="231"/>
                                    <a:pt x="778" y="233"/>
                                  </a:cubicBezTo>
                                  <a:cubicBezTo>
                                    <a:pt x="774" y="235"/>
                                    <a:pt x="772" y="244"/>
                                    <a:pt x="774" y="249"/>
                                  </a:cubicBezTo>
                                  <a:cubicBezTo>
                                    <a:pt x="777" y="254"/>
                                    <a:pt x="779" y="252"/>
                                    <a:pt x="780" y="256"/>
                                  </a:cubicBezTo>
                                  <a:cubicBezTo>
                                    <a:pt x="781" y="260"/>
                                    <a:pt x="778" y="258"/>
                                    <a:pt x="777" y="261"/>
                                  </a:cubicBezTo>
                                  <a:cubicBezTo>
                                    <a:pt x="775" y="263"/>
                                    <a:pt x="775" y="266"/>
                                    <a:pt x="777" y="267"/>
                                  </a:cubicBezTo>
                                  <a:cubicBezTo>
                                    <a:pt x="780" y="267"/>
                                    <a:pt x="782" y="268"/>
                                    <a:pt x="781" y="270"/>
                                  </a:cubicBezTo>
                                  <a:cubicBezTo>
                                    <a:pt x="780" y="272"/>
                                    <a:pt x="778" y="274"/>
                                    <a:pt x="776" y="272"/>
                                  </a:cubicBezTo>
                                  <a:cubicBezTo>
                                    <a:pt x="773" y="271"/>
                                    <a:pt x="769" y="269"/>
                                    <a:pt x="767" y="271"/>
                                  </a:cubicBezTo>
                                  <a:cubicBezTo>
                                    <a:pt x="764" y="273"/>
                                    <a:pt x="765" y="274"/>
                                    <a:pt x="766" y="276"/>
                                  </a:cubicBezTo>
                                  <a:cubicBezTo>
                                    <a:pt x="768" y="277"/>
                                    <a:pt x="771" y="277"/>
                                    <a:pt x="770" y="280"/>
                                  </a:cubicBezTo>
                                  <a:cubicBezTo>
                                    <a:pt x="770" y="282"/>
                                    <a:pt x="766" y="284"/>
                                    <a:pt x="764" y="282"/>
                                  </a:cubicBezTo>
                                  <a:cubicBezTo>
                                    <a:pt x="762" y="281"/>
                                    <a:pt x="761" y="280"/>
                                    <a:pt x="757" y="278"/>
                                  </a:cubicBezTo>
                                  <a:cubicBezTo>
                                    <a:pt x="752" y="276"/>
                                    <a:pt x="748" y="274"/>
                                    <a:pt x="744" y="276"/>
                                  </a:cubicBezTo>
                                  <a:cubicBezTo>
                                    <a:pt x="740" y="278"/>
                                    <a:pt x="741" y="280"/>
                                    <a:pt x="736" y="283"/>
                                  </a:cubicBezTo>
                                  <a:cubicBezTo>
                                    <a:pt x="730" y="286"/>
                                    <a:pt x="728" y="285"/>
                                    <a:pt x="721" y="288"/>
                                  </a:cubicBezTo>
                                  <a:cubicBezTo>
                                    <a:pt x="714" y="290"/>
                                    <a:pt x="708" y="290"/>
                                    <a:pt x="707" y="294"/>
                                  </a:cubicBezTo>
                                  <a:cubicBezTo>
                                    <a:pt x="707" y="298"/>
                                    <a:pt x="704" y="301"/>
                                    <a:pt x="709" y="302"/>
                                  </a:cubicBezTo>
                                  <a:cubicBezTo>
                                    <a:pt x="713" y="303"/>
                                    <a:pt x="719" y="303"/>
                                    <a:pt x="725" y="303"/>
                                  </a:cubicBezTo>
                                  <a:cubicBezTo>
                                    <a:pt x="730" y="303"/>
                                    <a:pt x="737" y="302"/>
                                    <a:pt x="742" y="301"/>
                                  </a:cubicBezTo>
                                  <a:cubicBezTo>
                                    <a:pt x="747" y="299"/>
                                    <a:pt x="746" y="297"/>
                                    <a:pt x="752" y="295"/>
                                  </a:cubicBezTo>
                                  <a:cubicBezTo>
                                    <a:pt x="758" y="293"/>
                                    <a:pt x="759" y="292"/>
                                    <a:pt x="764" y="292"/>
                                  </a:cubicBezTo>
                                  <a:cubicBezTo>
                                    <a:pt x="769" y="293"/>
                                    <a:pt x="769" y="292"/>
                                    <a:pt x="773" y="297"/>
                                  </a:cubicBezTo>
                                  <a:cubicBezTo>
                                    <a:pt x="777" y="301"/>
                                    <a:pt x="779" y="300"/>
                                    <a:pt x="782" y="303"/>
                                  </a:cubicBezTo>
                                  <a:cubicBezTo>
                                    <a:pt x="784" y="305"/>
                                    <a:pt x="788" y="307"/>
                                    <a:pt x="782" y="309"/>
                                  </a:cubicBezTo>
                                  <a:cubicBezTo>
                                    <a:pt x="775" y="312"/>
                                    <a:pt x="771" y="311"/>
                                    <a:pt x="765" y="315"/>
                                  </a:cubicBezTo>
                                  <a:cubicBezTo>
                                    <a:pt x="760" y="318"/>
                                    <a:pt x="756" y="322"/>
                                    <a:pt x="756" y="324"/>
                                  </a:cubicBezTo>
                                  <a:cubicBezTo>
                                    <a:pt x="756" y="326"/>
                                    <a:pt x="758" y="330"/>
                                    <a:pt x="756" y="331"/>
                                  </a:cubicBezTo>
                                  <a:cubicBezTo>
                                    <a:pt x="755" y="332"/>
                                    <a:pt x="752" y="333"/>
                                    <a:pt x="751" y="332"/>
                                  </a:cubicBezTo>
                                  <a:cubicBezTo>
                                    <a:pt x="749" y="330"/>
                                    <a:pt x="750" y="328"/>
                                    <a:pt x="748" y="326"/>
                                  </a:cubicBezTo>
                                  <a:cubicBezTo>
                                    <a:pt x="745" y="324"/>
                                    <a:pt x="743" y="325"/>
                                    <a:pt x="741" y="321"/>
                                  </a:cubicBezTo>
                                  <a:cubicBezTo>
                                    <a:pt x="738" y="317"/>
                                    <a:pt x="738" y="315"/>
                                    <a:pt x="736" y="315"/>
                                  </a:cubicBezTo>
                                  <a:cubicBezTo>
                                    <a:pt x="733" y="315"/>
                                    <a:pt x="730" y="317"/>
                                    <a:pt x="727" y="320"/>
                                  </a:cubicBezTo>
                                  <a:cubicBezTo>
                                    <a:pt x="724" y="323"/>
                                    <a:pt x="719" y="322"/>
                                    <a:pt x="719" y="326"/>
                                  </a:cubicBezTo>
                                  <a:cubicBezTo>
                                    <a:pt x="718" y="329"/>
                                    <a:pt x="721" y="332"/>
                                    <a:pt x="722" y="334"/>
                                  </a:cubicBezTo>
                                  <a:cubicBezTo>
                                    <a:pt x="723" y="335"/>
                                    <a:pt x="719" y="337"/>
                                    <a:pt x="718" y="337"/>
                                  </a:cubicBezTo>
                                  <a:cubicBezTo>
                                    <a:pt x="717" y="337"/>
                                    <a:pt x="717" y="335"/>
                                    <a:pt x="715" y="334"/>
                                  </a:cubicBezTo>
                                  <a:cubicBezTo>
                                    <a:pt x="713" y="334"/>
                                    <a:pt x="711" y="333"/>
                                    <a:pt x="708" y="334"/>
                                  </a:cubicBezTo>
                                  <a:cubicBezTo>
                                    <a:pt x="705" y="335"/>
                                    <a:pt x="706" y="338"/>
                                    <a:pt x="706" y="338"/>
                                  </a:cubicBezTo>
                                  <a:cubicBezTo>
                                    <a:pt x="707" y="338"/>
                                    <a:pt x="709" y="339"/>
                                    <a:pt x="710" y="339"/>
                                  </a:cubicBezTo>
                                  <a:cubicBezTo>
                                    <a:pt x="712" y="339"/>
                                    <a:pt x="714" y="339"/>
                                    <a:pt x="714" y="340"/>
                                  </a:cubicBezTo>
                                  <a:cubicBezTo>
                                    <a:pt x="715" y="341"/>
                                    <a:pt x="715" y="344"/>
                                    <a:pt x="713" y="345"/>
                                  </a:cubicBezTo>
                                  <a:cubicBezTo>
                                    <a:pt x="711" y="345"/>
                                    <a:pt x="707" y="345"/>
                                    <a:pt x="706" y="347"/>
                                  </a:cubicBezTo>
                                  <a:cubicBezTo>
                                    <a:pt x="705" y="349"/>
                                    <a:pt x="705" y="351"/>
                                    <a:pt x="705" y="353"/>
                                  </a:cubicBezTo>
                                  <a:cubicBezTo>
                                    <a:pt x="705" y="355"/>
                                    <a:pt x="702" y="356"/>
                                    <a:pt x="701" y="358"/>
                                  </a:cubicBezTo>
                                  <a:cubicBezTo>
                                    <a:pt x="699" y="360"/>
                                    <a:pt x="698" y="358"/>
                                    <a:pt x="699" y="362"/>
                                  </a:cubicBezTo>
                                  <a:cubicBezTo>
                                    <a:pt x="700" y="366"/>
                                    <a:pt x="703" y="366"/>
                                    <a:pt x="702" y="369"/>
                                  </a:cubicBezTo>
                                  <a:cubicBezTo>
                                    <a:pt x="700" y="371"/>
                                    <a:pt x="696" y="372"/>
                                    <a:pt x="693" y="370"/>
                                  </a:cubicBezTo>
                                  <a:cubicBezTo>
                                    <a:pt x="690" y="369"/>
                                    <a:pt x="685" y="367"/>
                                    <a:pt x="683" y="363"/>
                                  </a:cubicBezTo>
                                  <a:cubicBezTo>
                                    <a:pt x="682" y="359"/>
                                    <a:pt x="684" y="357"/>
                                    <a:pt x="681" y="351"/>
                                  </a:cubicBezTo>
                                  <a:cubicBezTo>
                                    <a:pt x="678" y="344"/>
                                    <a:pt x="677" y="351"/>
                                    <a:pt x="676" y="342"/>
                                  </a:cubicBezTo>
                                  <a:cubicBezTo>
                                    <a:pt x="676" y="334"/>
                                    <a:pt x="674" y="328"/>
                                    <a:pt x="670" y="328"/>
                                  </a:cubicBezTo>
                                  <a:cubicBezTo>
                                    <a:pt x="666" y="328"/>
                                    <a:pt x="662" y="333"/>
                                    <a:pt x="659" y="336"/>
                                  </a:cubicBezTo>
                                  <a:cubicBezTo>
                                    <a:pt x="657" y="339"/>
                                    <a:pt x="655" y="338"/>
                                    <a:pt x="653" y="341"/>
                                  </a:cubicBezTo>
                                  <a:cubicBezTo>
                                    <a:pt x="651" y="345"/>
                                    <a:pt x="651" y="350"/>
                                    <a:pt x="655" y="350"/>
                                  </a:cubicBezTo>
                                  <a:cubicBezTo>
                                    <a:pt x="659" y="349"/>
                                    <a:pt x="661" y="346"/>
                                    <a:pt x="662" y="349"/>
                                  </a:cubicBezTo>
                                  <a:cubicBezTo>
                                    <a:pt x="664" y="351"/>
                                    <a:pt x="662" y="354"/>
                                    <a:pt x="660" y="355"/>
                                  </a:cubicBezTo>
                                  <a:cubicBezTo>
                                    <a:pt x="657" y="356"/>
                                    <a:pt x="650" y="361"/>
                                    <a:pt x="646" y="361"/>
                                  </a:cubicBezTo>
                                  <a:cubicBezTo>
                                    <a:pt x="642" y="362"/>
                                    <a:pt x="636" y="360"/>
                                    <a:pt x="636" y="363"/>
                                  </a:cubicBezTo>
                                  <a:cubicBezTo>
                                    <a:pt x="635" y="366"/>
                                    <a:pt x="637" y="370"/>
                                    <a:pt x="641" y="370"/>
                                  </a:cubicBezTo>
                                  <a:cubicBezTo>
                                    <a:pt x="645" y="370"/>
                                    <a:pt x="646" y="370"/>
                                    <a:pt x="650" y="372"/>
                                  </a:cubicBezTo>
                                  <a:cubicBezTo>
                                    <a:pt x="654" y="374"/>
                                    <a:pt x="658" y="376"/>
                                    <a:pt x="655" y="377"/>
                                  </a:cubicBezTo>
                                  <a:cubicBezTo>
                                    <a:pt x="652" y="379"/>
                                    <a:pt x="651" y="379"/>
                                    <a:pt x="645" y="380"/>
                                  </a:cubicBezTo>
                                  <a:cubicBezTo>
                                    <a:pt x="639" y="380"/>
                                    <a:pt x="637" y="380"/>
                                    <a:pt x="635" y="383"/>
                                  </a:cubicBezTo>
                                  <a:cubicBezTo>
                                    <a:pt x="633" y="387"/>
                                    <a:pt x="629" y="386"/>
                                    <a:pt x="630" y="390"/>
                                  </a:cubicBezTo>
                                  <a:cubicBezTo>
                                    <a:pt x="630" y="393"/>
                                    <a:pt x="635" y="394"/>
                                    <a:pt x="638" y="396"/>
                                  </a:cubicBezTo>
                                  <a:cubicBezTo>
                                    <a:pt x="642" y="398"/>
                                    <a:pt x="642" y="399"/>
                                    <a:pt x="645" y="399"/>
                                  </a:cubicBezTo>
                                  <a:cubicBezTo>
                                    <a:pt x="647" y="399"/>
                                    <a:pt x="648" y="398"/>
                                    <a:pt x="650" y="396"/>
                                  </a:cubicBezTo>
                                  <a:cubicBezTo>
                                    <a:pt x="652" y="395"/>
                                    <a:pt x="656" y="393"/>
                                    <a:pt x="659" y="393"/>
                                  </a:cubicBezTo>
                                  <a:cubicBezTo>
                                    <a:pt x="662" y="393"/>
                                    <a:pt x="665" y="393"/>
                                    <a:pt x="664" y="396"/>
                                  </a:cubicBezTo>
                                  <a:cubicBezTo>
                                    <a:pt x="664" y="398"/>
                                    <a:pt x="663" y="399"/>
                                    <a:pt x="659" y="401"/>
                                  </a:cubicBezTo>
                                  <a:cubicBezTo>
                                    <a:pt x="655" y="403"/>
                                    <a:pt x="652" y="404"/>
                                    <a:pt x="652" y="407"/>
                                  </a:cubicBezTo>
                                  <a:cubicBezTo>
                                    <a:pt x="651" y="410"/>
                                    <a:pt x="651" y="414"/>
                                    <a:pt x="653" y="415"/>
                                  </a:cubicBezTo>
                                  <a:cubicBezTo>
                                    <a:pt x="656" y="416"/>
                                    <a:pt x="659" y="416"/>
                                    <a:pt x="657" y="418"/>
                                  </a:cubicBezTo>
                                  <a:cubicBezTo>
                                    <a:pt x="656" y="421"/>
                                    <a:pt x="654" y="422"/>
                                    <a:pt x="652" y="421"/>
                                  </a:cubicBezTo>
                                  <a:cubicBezTo>
                                    <a:pt x="650" y="420"/>
                                    <a:pt x="647" y="417"/>
                                    <a:pt x="643" y="415"/>
                                  </a:cubicBezTo>
                                  <a:cubicBezTo>
                                    <a:pt x="638" y="413"/>
                                    <a:pt x="633" y="412"/>
                                    <a:pt x="629" y="410"/>
                                  </a:cubicBezTo>
                                  <a:cubicBezTo>
                                    <a:pt x="626" y="408"/>
                                    <a:pt x="618" y="403"/>
                                    <a:pt x="614" y="407"/>
                                  </a:cubicBezTo>
                                  <a:cubicBezTo>
                                    <a:pt x="611" y="411"/>
                                    <a:pt x="613" y="413"/>
                                    <a:pt x="605" y="414"/>
                                  </a:cubicBezTo>
                                  <a:cubicBezTo>
                                    <a:pt x="597" y="414"/>
                                    <a:pt x="602" y="411"/>
                                    <a:pt x="593" y="413"/>
                                  </a:cubicBezTo>
                                  <a:cubicBezTo>
                                    <a:pt x="585" y="415"/>
                                    <a:pt x="577" y="417"/>
                                    <a:pt x="577" y="419"/>
                                  </a:cubicBezTo>
                                  <a:cubicBezTo>
                                    <a:pt x="577" y="422"/>
                                    <a:pt x="577" y="428"/>
                                    <a:pt x="588" y="426"/>
                                  </a:cubicBezTo>
                                  <a:cubicBezTo>
                                    <a:pt x="598" y="424"/>
                                    <a:pt x="598" y="423"/>
                                    <a:pt x="605" y="423"/>
                                  </a:cubicBezTo>
                                  <a:cubicBezTo>
                                    <a:pt x="612" y="423"/>
                                    <a:pt x="616" y="422"/>
                                    <a:pt x="622" y="425"/>
                                  </a:cubicBezTo>
                                  <a:cubicBezTo>
                                    <a:pt x="629" y="428"/>
                                    <a:pt x="636" y="429"/>
                                    <a:pt x="639" y="433"/>
                                  </a:cubicBezTo>
                                  <a:cubicBezTo>
                                    <a:pt x="641" y="437"/>
                                    <a:pt x="645" y="445"/>
                                    <a:pt x="638" y="442"/>
                                  </a:cubicBezTo>
                                  <a:cubicBezTo>
                                    <a:pt x="631" y="439"/>
                                    <a:pt x="624" y="434"/>
                                    <a:pt x="619" y="434"/>
                                  </a:cubicBezTo>
                                  <a:cubicBezTo>
                                    <a:pt x="614" y="434"/>
                                    <a:pt x="599" y="434"/>
                                    <a:pt x="595" y="436"/>
                                  </a:cubicBezTo>
                                  <a:cubicBezTo>
                                    <a:pt x="590" y="438"/>
                                    <a:pt x="581" y="435"/>
                                    <a:pt x="575" y="439"/>
                                  </a:cubicBezTo>
                                  <a:cubicBezTo>
                                    <a:pt x="570" y="442"/>
                                    <a:pt x="568" y="446"/>
                                    <a:pt x="570" y="446"/>
                                  </a:cubicBezTo>
                                  <a:cubicBezTo>
                                    <a:pt x="573" y="447"/>
                                    <a:pt x="580" y="446"/>
                                    <a:pt x="582" y="449"/>
                                  </a:cubicBezTo>
                                  <a:cubicBezTo>
                                    <a:pt x="583" y="451"/>
                                    <a:pt x="581" y="455"/>
                                    <a:pt x="578" y="455"/>
                                  </a:cubicBezTo>
                                  <a:cubicBezTo>
                                    <a:pt x="575" y="455"/>
                                    <a:pt x="568" y="455"/>
                                    <a:pt x="562" y="455"/>
                                  </a:cubicBezTo>
                                  <a:cubicBezTo>
                                    <a:pt x="555" y="455"/>
                                    <a:pt x="553" y="453"/>
                                    <a:pt x="550" y="456"/>
                                  </a:cubicBezTo>
                                  <a:cubicBezTo>
                                    <a:pt x="548" y="459"/>
                                    <a:pt x="538" y="461"/>
                                    <a:pt x="533" y="461"/>
                                  </a:cubicBezTo>
                                  <a:cubicBezTo>
                                    <a:pt x="528" y="461"/>
                                    <a:pt x="527" y="466"/>
                                    <a:pt x="529" y="469"/>
                                  </a:cubicBezTo>
                                  <a:cubicBezTo>
                                    <a:pt x="531" y="473"/>
                                    <a:pt x="532" y="474"/>
                                    <a:pt x="539" y="475"/>
                                  </a:cubicBezTo>
                                  <a:cubicBezTo>
                                    <a:pt x="545" y="475"/>
                                    <a:pt x="550" y="477"/>
                                    <a:pt x="546" y="480"/>
                                  </a:cubicBezTo>
                                  <a:cubicBezTo>
                                    <a:pt x="542" y="484"/>
                                    <a:pt x="539" y="483"/>
                                    <a:pt x="529" y="484"/>
                                  </a:cubicBezTo>
                                  <a:cubicBezTo>
                                    <a:pt x="520" y="485"/>
                                    <a:pt x="515" y="483"/>
                                    <a:pt x="514" y="487"/>
                                  </a:cubicBezTo>
                                  <a:cubicBezTo>
                                    <a:pt x="513" y="491"/>
                                    <a:pt x="511" y="497"/>
                                    <a:pt x="515" y="497"/>
                                  </a:cubicBezTo>
                                  <a:cubicBezTo>
                                    <a:pt x="518" y="497"/>
                                    <a:pt x="521" y="496"/>
                                    <a:pt x="526" y="497"/>
                                  </a:cubicBezTo>
                                  <a:cubicBezTo>
                                    <a:pt x="530" y="497"/>
                                    <a:pt x="531" y="501"/>
                                    <a:pt x="530" y="504"/>
                                  </a:cubicBezTo>
                                  <a:cubicBezTo>
                                    <a:pt x="528" y="506"/>
                                    <a:pt x="527" y="508"/>
                                    <a:pt x="520" y="508"/>
                                  </a:cubicBezTo>
                                  <a:cubicBezTo>
                                    <a:pt x="514" y="508"/>
                                    <a:pt x="504" y="507"/>
                                    <a:pt x="497" y="508"/>
                                  </a:cubicBezTo>
                                  <a:cubicBezTo>
                                    <a:pt x="490" y="510"/>
                                    <a:pt x="481" y="510"/>
                                    <a:pt x="483" y="516"/>
                                  </a:cubicBezTo>
                                  <a:cubicBezTo>
                                    <a:pt x="485" y="523"/>
                                    <a:pt x="492" y="526"/>
                                    <a:pt x="497" y="526"/>
                                  </a:cubicBezTo>
                                  <a:cubicBezTo>
                                    <a:pt x="502" y="526"/>
                                    <a:pt x="502" y="527"/>
                                    <a:pt x="508" y="528"/>
                                  </a:cubicBezTo>
                                  <a:cubicBezTo>
                                    <a:pt x="513" y="529"/>
                                    <a:pt x="515" y="532"/>
                                    <a:pt x="524" y="529"/>
                                  </a:cubicBezTo>
                                  <a:cubicBezTo>
                                    <a:pt x="533" y="527"/>
                                    <a:pt x="537" y="525"/>
                                    <a:pt x="542" y="524"/>
                                  </a:cubicBezTo>
                                  <a:cubicBezTo>
                                    <a:pt x="548" y="523"/>
                                    <a:pt x="552" y="522"/>
                                    <a:pt x="552" y="524"/>
                                  </a:cubicBezTo>
                                  <a:cubicBezTo>
                                    <a:pt x="552" y="527"/>
                                    <a:pt x="546" y="531"/>
                                    <a:pt x="542" y="534"/>
                                  </a:cubicBezTo>
                                  <a:cubicBezTo>
                                    <a:pt x="538" y="536"/>
                                    <a:pt x="530" y="544"/>
                                    <a:pt x="526" y="545"/>
                                  </a:cubicBezTo>
                                  <a:cubicBezTo>
                                    <a:pt x="522" y="545"/>
                                    <a:pt x="517" y="539"/>
                                    <a:pt x="506" y="540"/>
                                  </a:cubicBezTo>
                                  <a:cubicBezTo>
                                    <a:pt x="494" y="540"/>
                                    <a:pt x="487" y="544"/>
                                    <a:pt x="486" y="546"/>
                                  </a:cubicBezTo>
                                  <a:cubicBezTo>
                                    <a:pt x="484" y="549"/>
                                    <a:pt x="488" y="550"/>
                                    <a:pt x="486" y="555"/>
                                  </a:cubicBezTo>
                                  <a:cubicBezTo>
                                    <a:pt x="484" y="560"/>
                                    <a:pt x="487" y="565"/>
                                    <a:pt x="489" y="566"/>
                                  </a:cubicBezTo>
                                  <a:cubicBezTo>
                                    <a:pt x="492" y="568"/>
                                    <a:pt x="497" y="568"/>
                                    <a:pt x="498" y="571"/>
                                  </a:cubicBezTo>
                                  <a:cubicBezTo>
                                    <a:pt x="499" y="575"/>
                                    <a:pt x="495" y="577"/>
                                    <a:pt x="492" y="577"/>
                                  </a:cubicBezTo>
                                  <a:cubicBezTo>
                                    <a:pt x="490" y="576"/>
                                    <a:pt x="488" y="570"/>
                                    <a:pt x="482" y="569"/>
                                  </a:cubicBezTo>
                                  <a:cubicBezTo>
                                    <a:pt x="477" y="567"/>
                                    <a:pt x="472" y="567"/>
                                    <a:pt x="469" y="572"/>
                                  </a:cubicBezTo>
                                  <a:cubicBezTo>
                                    <a:pt x="466" y="576"/>
                                    <a:pt x="463" y="581"/>
                                    <a:pt x="465" y="583"/>
                                  </a:cubicBezTo>
                                  <a:cubicBezTo>
                                    <a:pt x="467" y="585"/>
                                    <a:pt x="472" y="591"/>
                                    <a:pt x="472" y="593"/>
                                  </a:cubicBezTo>
                                  <a:cubicBezTo>
                                    <a:pt x="472" y="595"/>
                                    <a:pt x="469" y="597"/>
                                    <a:pt x="467" y="597"/>
                                  </a:cubicBezTo>
                                  <a:cubicBezTo>
                                    <a:pt x="464" y="596"/>
                                    <a:pt x="462" y="590"/>
                                    <a:pt x="459" y="591"/>
                                  </a:cubicBezTo>
                                  <a:cubicBezTo>
                                    <a:pt x="457" y="591"/>
                                    <a:pt x="454" y="592"/>
                                    <a:pt x="454" y="596"/>
                                  </a:cubicBezTo>
                                  <a:cubicBezTo>
                                    <a:pt x="454" y="600"/>
                                    <a:pt x="455" y="605"/>
                                    <a:pt x="460" y="607"/>
                                  </a:cubicBezTo>
                                  <a:cubicBezTo>
                                    <a:pt x="464" y="610"/>
                                    <a:pt x="468" y="608"/>
                                    <a:pt x="469" y="613"/>
                                  </a:cubicBezTo>
                                  <a:cubicBezTo>
                                    <a:pt x="470" y="618"/>
                                    <a:pt x="468" y="623"/>
                                    <a:pt x="466" y="623"/>
                                  </a:cubicBezTo>
                                  <a:cubicBezTo>
                                    <a:pt x="463" y="623"/>
                                    <a:pt x="459" y="619"/>
                                    <a:pt x="456" y="616"/>
                                  </a:cubicBezTo>
                                  <a:cubicBezTo>
                                    <a:pt x="453" y="614"/>
                                    <a:pt x="445" y="606"/>
                                    <a:pt x="443" y="610"/>
                                  </a:cubicBezTo>
                                  <a:cubicBezTo>
                                    <a:pt x="442" y="613"/>
                                    <a:pt x="443" y="615"/>
                                    <a:pt x="440" y="618"/>
                                  </a:cubicBezTo>
                                  <a:cubicBezTo>
                                    <a:pt x="438" y="621"/>
                                    <a:pt x="438" y="627"/>
                                    <a:pt x="442" y="627"/>
                                  </a:cubicBezTo>
                                  <a:cubicBezTo>
                                    <a:pt x="446" y="628"/>
                                    <a:pt x="450" y="629"/>
                                    <a:pt x="450" y="632"/>
                                  </a:cubicBezTo>
                                  <a:cubicBezTo>
                                    <a:pt x="451" y="635"/>
                                    <a:pt x="449" y="637"/>
                                    <a:pt x="453" y="637"/>
                                  </a:cubicBezTo>
                                  <a:cubicBezTo>
                                    <a:pt x="457" y="638"/>
                                    <a:pt x="460" y="638"/>
                                    <a:pt x="466" y="637"/>
                                  </a:cubicBezTo>
                                  <a:cubicBezTo>
                                    <a:pt x="471" y="635"/>
                                    <a:pt x="480" y="627"/>
                                    <a:pt x="482" y="629"/>
                                  </a:cubicBezTo>
                                  <a:cubicBezTo>
                                    <a:pt x="483" y="630"/>
                                    <a:pt x="480" y="635"/>
                                    <a:pt x="476" y="638"/>
                                  </a:cubicBezTo>
                                  <a:cubicBezTo>
                                    <a:pt x="472" y="642"/>
                                    <a:pt x="455" y="651"/>
                                    <a:pt x="451" y="653"/>
                                  </a:cubicBezTo>
                                  <a:cubicBezTo>
                                    <a:pt x="447" y="655"/>
                                    <a:pt x="440" y="658"/>
                                    <a:pt x="439" y="657"/>
                                  </a:cubicBezTo>
                                  <a:cubicBezTo>
                                    <a:pt x="438" y="656"/>
                                    <a:pt x="443" y="649"/>
                                    <a:pt x="438" y="647"/>
                                  </a:cubicBezTo>
                                  <a:cubicBezTo>
                                    <a:pt x="433" y="644"/>
                                    <a:pt x="424" y="644"/>
                                    <a:pt x="423" y="649"/>
                                  </a:cubicBezTo>
                                  <a:cubicBezTo>
                                    <a:pt x="422" y="655"/>
                                    <a:pt x="411" y="661"/>
                                    <a:pt x="413" y="663"/>
                                  </a:cubicBezTo>
                                  <a:cubicBezTo>
                                    <a:pt x="416" y="666"/>
                                    <a:pt x="420" y="666"/>
                                    <a:pt x="425" y="666"/>
                                  </a:cubicBezTo>
                                  <a:cubicBezTo>
                                    <a:pt x="430" y="666"/>
                                    <a:pt x="441" y="664"/>
                                    <a:pt x="445" y="667"/>
                                  </a:cubicBezTo>
                                  <a:cubicBezTo>
                                    <a:pt x="449" y="669"/>
                                    <a:pt x="452" y="673"/>
                                    <a:pt x="447" y="673"/>
                                  </a:cubicBezTo>
                                  <a:cubicBezTo>
                                    <a:pt x="441" y="673"/>
                                    <a:pt x="427" y="671"/>
                                    <a:pt x="423" y="673"/>
                                  </a:cubicBezTo>
                                  <a:cubicBezTo>
                                    <a:pt x="419" y="674"/>
                                    <a:pt x="411" y="680"/>
                                    <a:pt x="411" y="683"/>
                                  </a:cubicBezTo>
                                  <a:cubicBezTo>
                                    <a:pt x="412" y="686"/>
                                    <a:pt x="407" y="685"/>
                                    <a:pt x="401" y="689"/>
                                  </a:cubicBezTo>
                                  <a:cubicBezTo>
                                    <a:pt x="395" y="693"/>
                                    <a:pt x="398" y="700"/>
                                    <a:pt x="401" y="700"/>
                                  </a:cubicBezTo>
                                  <a:cubicBezTo>
                                    <a:pt x="404" y="700"/>
                                    <a:pt x="407" y="703"/>
                                    <a:pt x="404" y="707"/>
                                  </a:cubicBezTo>
                                  <a:cubicBezTo>
                                    <a:pt x="400" y="712"/>
                                    <a:pt x="381" y="726"/>
                                    <a:pt x="379" y="727"/>
                                  </a:cubicBezTo>
                                  <a:cubicBezTo>
                                    <a:pt x="378" y="728"/>
                                    <a:pt x="379" y="721"/>
                                    <a:pt x="374" y="717"/>
                                  </a:cubicBezTo>
                                  <a:cubicBezTo>
                                    <a:pt x="370" y="714"/>
                                    <a:pt x="364" y="707"/>
                                    <a:pt x="357" y="711"/>
                                  </a:cubicBezTo>
                                  <a:cubicBezTo>
                                    <a:pt x="350" y="715"/>
                                    <a:pt x="338" y="722"/>
                                    <a:pt x="333" y="727"/>
                                  </a:cubicBezTo>
                                  <a:cubicBezTo>
                                    <a:pt x="329" y="732"/>
                                    <a:pt x="324" y="735"/>
                                    <a:pt x="324" y="739"/>
                                  </a:cubicBezTo>
                                  <a:cubicBezTo>
                                    <a:pt x="325" y="742"/>
                                    <a:pt x="316" y="745"/>
                                    <a:pt x="313" y="749"/>
                                  </a:cubicBezTo>
                                  <a:cubicBezTo>
                                    <a:pt x="311" y="752"/>
                                    <a:pt x="309" y="756"/>
                                    <a:pt x="310" y="759"/>
                                  </a:cubicBezTo>
                                  <a:cubicBezTo>
                                    <a:pt x="312" y="762"/>
                                    <a:pt x="318" y="765"/>
                                    <a:pt x="316" y="769"/>
                                  </a:cubicBezTo>
                                  <a:cubicBezTo>
                                    <a:pt x="313" y="773"/>
                                    <a:pt x="306" y="772"/>
                                    <a:pt x="303" y="772"/>
                                  </a:cubicBezTo>
                                  <a:cubicBezTo>
                                    <a:pt x="300" y="772"/>
                                    <a:pt x="287" y="776"/>
                                    <a:pt x="285" y="778"/>
                                  </a:cubicBezTo>
                                  <a:cubicBezTo>
                                    <a:pt x="283" y="781"/>
                                    <a:pt x="279" y="783"/>
                                    <a:pt x="282" y="785"/>
                                  </a:cubicBezTo>
                                  <a:cubicBezTo>
                                    <a:pt x="285" y="786"/>
                                    <a:pt x="289" y="789"/>
                                    <a:pt x="294" y="787"/>
                                  </a:cubicBezTo>
                                  <a:cubicBezTo>
                                    <a:pt x="298" y="786"/>
                                    <a:pt x="302" y="783"/>
                                    <a:pt x="303" y="786"/>
                                  </a:cubicBezTo>
                                  <a:cubicBezTo>
                                    <a:pt x="305" y="790"/>
                                    <a:pt x="299" y="790"/>
                                    <a:pt x="298" y="795"/>
                                  </a:cubicBezTo>
                                  <a:cubicBezTo>
                                    <a:pt x="297" y="800"/>
                                    <a:pt x="297" y="806"/>
                                    <a:pt x="298" y="807"/>
                                  </a:cubicBezTo>
                                  <a:cubicBezTo>
                                    <a:pt x="300" y="808"/>
                                    <a:pt x="303" y="811"/>
                                    <a:pt x="311" y="806"/>
                                  </a:cubicBezTo>
                                  <a:cubicBezTo>
                                    <a:pt x="319" y="802"/>
                                    <a:pt x="320" y="801"/>
                                    <a:pt x="325" y="799"/>
                                  </a:cubicBezTo>
                                  <a:cubicBezTo>
                                    <a:pt x="330" y="797"/>
                                    <a:pt x="333" y="795"/>
                                    <a:pt x="338" y="792"/>
                                  </a:cubicBezTo>
                                  <a:cubicBezTo>
                                    <a:pt x="343" y="789"/>
                                    <a:pt x="350" y="787"/>
                                    <a:pt x="353" y="783"/>
                                  </a:cubicBezTo>
                                  <a:cubicBezTo>
                                    <a:pt x="356" y="779"/>
                                    <a:pt x="346" y="781"/>
                                    <a:pt x="342" y="780"/>
                                  </a:cubicBezTo>
                                  <a:cubicBezTo>
                                    <a:pt x="339" y="778"/>
                                    <a:pt x="338" y="772"/>
                                    <a:pt x="345" y="772"/>
                                  </a:cubicBezTo>
                                  <a:cubicBezTo>
                                    <a:pt x="351" y="772"/>
                                    <a:pt x="352" y="773"/>
                                    <a:pt x="358" y="767"/>
                                  </a:cubicBezTo>
                                  <a:cubicBezTo>
                                    <a:pt x="364" y="761"/>
                                    <a:pt x="367" y="756"/>
                                    <a:pt x="372" y="753"/>
                                  </a:cubicBezTo>
                                  <a:cubicBezTo>
                                    <a:pt x="376" y="751"/>
                                    <a:pt x="380" y="745"/>
                                    <a:pt x="384" y="750"/>
                                  </a:cubicBezTo>
                                  <a:cubicBezTo>
                                    <a:pt x="388" y="754"/>
                                    <a:pt x="391" y="757"/>
                                    <a:pt x="387" y="760"/>
                                  </a:cubicBezTo>
                                  <a:cubicBezTo>
                                    <a:pt x="383" y="764"/>
                                    <a:pt x="375" y="764"/>
                                    <a:pt x="374" y="767"/>
                                  </a:cubicBezTo>
                                  <a:cubicBezTo>
                                    <a:pt x="373" y="771"/>
                                    <a:pt x="376" y="777"/>
                                    <a:pt x="381" y="777"/>
                                  </a:cubicBezTo>
                                  <a:cubicBezTo>
                                    <a:pt x="385" y="777"/>
                                    <a:pt x="386" y="781"/>
                                    <a:pt x="384" y="783"/>
                                  </a:cubicBezTo>
                                  <a:cubicBezTo>
                                    <a:pt x="382" y="786"/>
                                    <a:pt x="374" y="789"/>
                                    <a:pt x="369" y="791"/>
                                  </a:cubicBezTo>
                                  <a:cubicBezTo>
                                    <a:pt x="364" y="793"/>
                                    <a:pt x="352" y="793"/>
                                    <a:pt x="350" y="801"/>
                                  </a:cubicBezTo>
                                  <a:cubicBezTo>
                                    <a:pt x="349" y="808"/>
                                    <a:pt x="352" y="813"/>
                                    <a:pt x="350" y="815"/>
                                  </a:cubicBezTo>
                                  <a:cubicBezTo>
                                    <a:pt x="348" y="817"/>
                                    <a:pt x="336" y="817"/>
                                    <a:pt x="330" y="817"/>
                                  </a:cubicBezTo>
                                  <a:cubicBezTo>
                                    <a:pt x="325" y="817"/>
                                    <a:pt x="316" y="821"/>
                                    <a:pt x="310" y="825"/>
                                  </a:cubicBezTo>
                                  <a:cubicBezTo>
                                    <a:pt x="304" y="828"/>
                                    <a:pt x="296" y="833"/>
                                    <a:pt x="293" y="829"/>
                                  </a:cubicBezTo>
                                  <a:cubicBezTo>
                                    <a:pt x="291" y="824"/>
                                    <a:pt x="292" y="821"/>
                                    <a:pt x="291" y="816"/>
                                  </a:cubicBezTo>
                                  <a:cubicBezTo>
                                    <a:pt x="290" y="811"/>
                                    <a:pt x="286" y="806"/>
                                    <a:pt x="281" y="804"/>
                                  </a:cubicBezTo>
                                  <a:cubicBezTo>
                                    <a:pt x="277" y="801"/>
                                    <a:pt x="275" y="800"/>
                                    <a:pt x="269" y="803"/>
                                  </a:cubicBezTo>
                                  <a:cubicBezTo>
                                    <a:pt x="263" y="806"/>
                                    <a:pt x="256" y="808"/>
                                    <a:pt x="261" y="810"/>
                                  </a:cubicBezTo>
                                  <a:cubicBezTo>
                                    <a:pt x="265" y="812"/>
                                    <a:pt x="268" y="814"/>
                                    <a:pt x="267" y="816"/>
                                  </a:cubicBezTo>
                                  <a:cubicBezTo>
                                    <a:pt x="266" y="819"/>
                                    <a:pt x="261" y="821"/>
                                    <a:pt x="256" y="824"/>
                                  </a:cubicBezTo>
                                  <a:cubicBezTo>
                                    <a:pt x="251" y="827"/>
                                    <a:pt x="249" y="831"/>
                                    <a:pt x="247" y="833"/>
                                  </a:cubicBezTo>
                                  <a:cubicBezTo>
                                    <a:pt x="244" y="836"/>
                                    <a:pt x="239" y="837"/>
                                    <a:pt x="239" y="834"/>
                                  </a:cubicBezTo>
                                  <a:cubicBezTo>
                                    <a:pt x="238" y="831"/>
                                    <a:pt x="241" y="832"/>
                                    <a:pt x="238" y="827"/>
                                  </a:cubicBezTo>
                                  <a:cubicBezTo>
                                    <a:pt x="235" y="822"/>
                                    <a:pt x="232" y="820"/>
                                    <a:pt x="228" y="821"/>
                                  </a:cubicBezTo>
                                  <a:cubicBezTo>
                                    <a:pt x="225" y="822"/>
                                    <a:pt x="220" y="822"/>
                                    <a:pt x="219" y="826"/>
                                  </a:cubicBezTo>
                                  <a:cubicBezTo>
                                    <a:pt x="218" y="829"/>
                                    <a:pt x="221" y="833"/>
                                    <a:pt x="222" y="834"/>
                                  </a:cubicBezTo>
                                  <a:cubicBezTo>
                                    <a:pt x="223" y="835"/>
                                    <a:pt x="228" y="836"/>
                                    <a:pt x="226" y="839"/>
                                  </a:cubicBezTo>
                                  <a:cubicBezTo>
                                    <a:pt x="224" y="841"/>
                                    <a:pt x="222" y="844"/>
                                    <a:pt x="215" y="844"/>
                                  </a:cubicBezTo>
                                  <a:cubicBezTo>
                                    <a:pt x="208" y="843"/>
                                    <a:pt x="200" y="842"/>
                                    <a:pt x="197" y="845"/>
                                  </a:cubicBezTo>
                                  <a:cubicBezTo>
                                    <a:pt x="193" y="848"/>
                                    <a:pt x="192" y="853"/>
                                    <a:pt x="196" y="855"/>
                                  </a:cubicBezTo>
                                  <a:cubicBezTo>
                                    <a:pt x="200" y="857"/>
                                    <a:pt x="200" y="854"/>
                                    <a:pt x="206" y="857"/>
                                  </a:cubicBezTo>
                                  <a:cubicBezTo>
                                    <a:pt x="213" y="860"/>
                                    <a:pt x="216" y="861"/>
                                    <a:pt x="218" y="866"/>
                                  </a:cubicBezTo>
                                  <a:cubicBezTo>
                                    <a:pt x="220" y="870"/>
                                    <a:pt x="223" y="874"/>
                                    <a:pt x="220" y="875"/>
                                  </a:cubicBezTo>
                                  <a:cubicBezTo>
                                    <a:pt x="217" y="876"/>
                                    <a:pt x="211" y="875"/>
                                    <a:pt x="208" y="875"/>
                                  </a:cubicBezTo>
                                  <a:cubicBezTo>
                                    <a:pt x="205" y="876"/>
                                    <a:pt x="201" y="877"/>
                                    <a:pt x="205" y="880"/>
                                  </a:cubicBezTo>
                                  <a:cubicBezTo>
                                    <a:pt x="208" y="883"/>
                                    <a:pt x="212" y="884"/>
                                    <a:pt x="210" y="886"/>
                                  </a:cubicBezTo>
                                  <a:cubicBezTo>
                                    <a:pt x="208" y="889"/>
                                    <a:pt x="208" y="890"/>
                                    <a:pt x="200" y="885"/>
                                  </a:cubicBezTo>
                                  <a:cubicBezTo>
                                    <a:pt x="191" y="880"/>
                                    <a:pt x="190" y="879"/>
                                    <a:pt x="184" y="874"/>
                                  </a:cubicBezTo>
                                  <a:cubicBezTo>
                                    <a:pt x="178" y="870"/>
                                    <a:pt x="177" y="866"/>
                                    <a:pt x="167" y="866"/>
                                  </a:cubicBezTo>
                                  <a:cubicBezTo>
                                    <a:pt x="158" y="866"/>
                                    <a:pt x="153" y="869"/>
                                    <a:pt x="147" y="868"/>
                                  </a:cubicBezTo>
                                  <a:cubicBezTo>
                                    <a:pt x="140" y="868"/>
                                    <a:pt x="135" y="861"/>
                                    <a:pt x="129" y="860"/>
                                  </a:cubicBezTo>
                                  <a:cubicBezTo>
                                    <a:pt x="124" y="860"/>
                                    <a:pt x="118" y="863"/>
                                    <a:pt x="118" y="866"/>
                                  </a:cubicBezTo>
                                  <a:cubicBezTo>
                                    <a:pt x="118" y="869"/>
                                    <a:pt x="123" y="870"/>
                                    <a:pt x="125" y="874"/>
                                  </a:cubicBezTo>
                                  <a:cubicBezTo>
                                    <a:pt x="127" y="878"/>
                                    <a:pt x="121" y="883"/>
                                    <a:pt x="126" y="884"/>
                                  </a:cubicBezTo>
                                  <a:cubicBezTo>
                                    <a:pt x="132" y="885"/>
                                    <a:pt x="131" y="885"/>
                                    <a:pt x="140" y="884"/>
                                  </a:cubicBezTo>
                                  <a:cubicBezTo>
                                    <a:pt x="148" y="884"/>
                                    <a:pt x="155" y="886"/>
                                    <a:pt x="159" y="883"/>
                                  </a:cubicBezTo>
                                  <a:cubicBezTo>
                                    <a:pt x="164" y="880"/>
                                    <a:pt x="162" y="877"/>
                                    <a:pt x="170" y="878"/>
                                  </a:cubicBezTo>
                                  <a:cubicBezTo>
                                    <a:pt x="178" y="879"/>
                                    <a:pt x="183" y="880"/>
                                    <a:pt x="179" y="884"/>
                                  </a:cubicBezTo>
                                  <a:cubicBezTo>
                                    <a:pt x="176" y="887"/>
                                    <a:pt x="166" y="885"/>
                                    <a:pt x="163" y="889"/>
                                  </a:cubicBezTo>
                                  <a:cubicBezTo>
                                    <a:pt x="159" y="893"/>
                                    <a:pt x="161" y="897"/>
                                    <a:pt x="161" y="899"/>
                                  </a:cubicBezTo>
                                  <a:cubicBezTo>
                                    <a:pt x="162" y="901"/>
                                    <a:pt x="155" y="907"/>
                                    <a:pt x="153" y="908"/>
                                  </a:cubicBezTo>
                                  <a:cubicBezTo>
                                    <a:pt x="150" y="908"/>
                                    <a:pt x="142" y="906"/>
                                    <a:pt x="138" y="902"/>
                                  </a:cubicBezTo>
                                  <a:cubicBezTo>
                                    <a:pt x="134" y="897"/>
                                    <a:pt x="129" y="896"/>
                                    <a:pt x="118" y="896"/>
                                  </a:cubicBezTo>
                                  <a:cubicBezTo>
                                    <a:pt x="106" y="897"/>
                                    <a:pt x="88" y="892"/>
                                    <a:pt x="88" y="898"/>
                                  </a:cubicBezTo>
                                  <a:cubicBezTo>
                                    <a:pt x="88" y="903"/>
                                    <a:pt x="91" y="907"/>
                                    <a:pt x="98" y="907"/>
                                  </a:cubicBezTo>
                                  <a:cubicBezTo>
                                    <a:pt x="104" y="907"/>
                                    <a:pt x="106" y="903"/>
                                    <a:pt x="110" y="909"/>
                                  </a:cubicBezTo>
                                  <a:cubicBezTo>
                                    <a:pt x="115" y="915"/>
                                    <a:pt x="110" y="917"/>
                                    <a:pt x="115" y="920"/>
                                  </a:cubicBezTo>
                                  <a:cubicBezTo>
                                    <a:pt x="120" y="922"/>
                                    <a:pt x="126" y="923"/>
                                    <a:pt x="131" y="924"/>
                                  </a:cubicBezTo>
                                  <a:cubicBezTo>
                                    <a:pt x="135" y="924"/>
                                    <a:pt x="142" y="922"/>
                                    <a:pt x="143" y="927"/>
                                  </a:cubicBezTo>
                                  <a:cubicBezTo>
                                    <a:pt x="143" y="932"/>
                                    <a:pt x="138" y="936"/>
                                    <a:pt x="131" y="934"/>
                                  </a:cubicBezTo>
                                  <a:cubicBezTo>
                                    <a:pt x="125" y="932"/>
                                    <a:pt x="121" y="926"/>
                                    <a:pt x="121" y="933"/>
                                  </a:cubicBezTo>
                                  <a:cubicBezTo>
                                    <a:pt x="121" y="939"/>
                                    <a:pt x="125" y="940"/>
                                    <a:pt x="128" y="944"/>
                                  </a:cubicBezTo>
                                  <a:cubicBezTo>
                                    <a:pt x="130" y="948"/>
                                    <a:pt x="109" y="955"/>
                                    <a:pt x="107" y="947"/>
                                  </a:cubicBezTo>
                                  <a:cubicBezTo>
                                    <a:pt x="105" y="940"/>
                                    <a:pt x="108" y="938"/>
                                    <a:pt x="109" y="934"/>
                                  </a:cubicBezTo>
                                  <a:cubicBezTo>
                                    <a:pt x="111" y="930"/>
                                    <a:pt x="108" y="923"/>
                                    <a:pt x="103" y="921"/>
                                  </a:cubicBezTo>
                                  <a:cubicBezTo>
                                    <a:pt x="98" y="919"/>
                                    <a:pt x="89" y="916"/>
                                    <a:pt x="89" y="920"/>
                                  </a:cubicBezTo>
                                  <a:cubicBezTo>
                                    <a:pt x="88" y="924"/>
                                    <a:pt x="89" y="931"/>
                                    <a:pt x="92" y="934"/>
                                  </a:cubicBezTo>
                                  <a:cubicBezTo>
                                    <a:pt x="94" y="937"/>
                                    <a:pt x="94" y="943"/>
                                    <a:pt x="91" y="943"/>
                                  </a:cubicBezTo>
                                  <a:cubicBezTo>
                                    <a:pt x="88" y="943"/>
                                    <a:pt x="82" y="940"/>
                                    <a:pt x="82" y="936"/>
                                  </a:cubicBezTo>
                                  <a:cubicBezTo>
                                    <a:pt x="81" y="932"/>
                                    <a:pt x="82" y="923"/>
                                    <a:pt x="73" y="924"/>
                                  </a:cubicBezTo>
                                  <a:cubicBezTo>
                                    <a:pt x="64" y="924"/>
                                    <a:pt x="56" y="926"/>
                                    <a:pt x="59" y="930"/>
                                  </a:cubicBezTo>
                                  <a:cubicBezTo>
                                    <a:pt x="62" y="934"/>
                                    <a:pt x="69" y="939"/>
                                    <a:pt x="70" y="944"/>
                                  </a:cubicBezTo>
                                  <a:cubicBezTo>
                                    <a:pt x="72" y="948"/>
                                    <a:pt x="67" y="952"/>
                                    <a:pt x="65" y="951"/>
                                  </a:cubicBezTo>
                                  <a:cubicBezTo>
                                    <a:pt x="62" y="950"/>
                                    <a:pt x="61" y="945"/>
                                    <a:pt x="56" y="946"/>
                                  </a:cubicBezTo>
                                  <a:cubicBezTo>
                                    <a:pt x="52" y="947"/>
                                    <a:pt x="46" y="957"/>
                                    <a:pt x="42" y="953"/>
                                  </a:cubicBezTo>
                                  <a:cubicBezTo>
                                    <a:pt x="38" y="948"/>
                                    <a:pt x="43" y="941"/>
                                    <a:pt x="36" y="942"/>
                                  </a:cubicBezTo>
                                  <a:cubicBezTo>
                                    <a:pt x="28" y="942"/>
                                    <a:pt x="27" y="948"/>
                                    <a:pt x="22" y="951"/>
                                  </a:cubicBezTo>
                                  <a:cubicBezTo>
                                    <a:pt x="18" y="954"/>
                                    <a:pt x="10" y="952"/>
                                    <a:pt x="13" y="956"/>
                                  </a:cubicBezTo>
                                  <a:cubicBezTo>
                                    <a:pt x="16" y="959"/>
                                    <a:pt x="18" y="961"/>
                                    <a:pt x="29" y="961"/>
                                  </a:cubicBezTo>
                                  <a:cubicBezTo>
                                    <a:pt x="40" y="961"/>
                                    <a:pt x="45" y="959"/>
                                    <a:pt x="55" y="961"/>
                                  </a:cubicBezTo>
                                  <a:cubicBezTo>
                                    <a:pt x="66" y="962"/>
                                    <a:pt x="71" y="963"/>
                                    <a:pt x="80" y="963"/>
                                  </a:cubicBezTo>
                                  <a:cubicBezTo>
                                    <a:pt x="89" y="963"/>
                                    <a:pt x="96" y="963"/>
                                    <a:pt x="97" y="965"/>
                                  </a:cubicBezTo>
                                  <a:cubicBezTo>
                                    <a:pt x="98" y="967"/>
                                    <a:pt x="85" y="969"/>
                                    <a:pt x="78" y="970"/>
                                  </a:cubicBezTo>
                                  <a:cubicBezTo>
                                    <a:pt x="71" y="970"/>
                                    <a:pt x="67" y="972"/>
                                    <a:pt x="62" y="975"/>
                                  </a:cubicBezTo>
                                  <a:cubicBezTo>
                                    <a:pt x="57" y="979"/>
                                    <a:pt x="52" y="983"/>
                                    <a:pt x="46" y="979"/>
                                  </a:cubicBezTo>
                                  <a:cubicBezTo>
                                    <a:pt x="39" y="974"/>
                                    <a:pt x="34" y="969"/>
                                    <a:pt x="28" y="969"/>
                                  </a:cubicBezTo>
                                  <a:cubicBezTo>
                                    <a:pt x="21" y="969"/>
                                    <a:pt x="17" y="973"/>
                                    <a:pt x="13" y="975"/>
                                  </a:cubicBezTo>
                                  <a:cubicBezTo>
                                    <a:pt x="9" y="977"/>
                                    <a:pt x="2" y="974"/>
                                    <a:pt x="5" y="980"/>
                                  </a:cubicBezTo>
                                  <a:cubicBezTo>
                                    <a:pt x="8" y="985"/>
                                    <a:pt x="18" y="989"/>
                                    <a:pt x="20" y="991"/>
                                  </a:cubicBezTo>
                                  <a:cubicBezTo>
                                    <a:pt x="22" y="993"/>
                                    <a:pt x="17" y="997"/>
                                    <a:pt x="23" y="999"/>
                                  </a:cubicBezTo>
                                  <a:cubicBezTo>
                                    <a:pt x="28" y="1000"/>
                                    <a:pt x="35" y="995"/>
                                    <a:pt x="38" y="1000"/>
                                  </a:cubicBezTo>
                                  <a:cubicBezTo>
                                    <a:pt x="41" y="1005"/>
                                    <a:pt x="38" y="1006"/>
                                    <a:pt x="35" y="1007"/>
                                  </a:cubicBezTo>
                                  <a:cubicBezTo>
                                    <a:pt x="32" y="1007"/>
                                    <a:pt x="22" y="1003"/>
                                    <a:pt x="19" y="1008"/>
                                  </a:cubicBezTo>
                                  <a:cubicBezTo>
                                    <a:pt x="17" y="1014"/>
                                    <a:pt x="22" y="1015"/>
                                    <a:pt x="22" y="1017"/>
                                  </a:cubicBezTo>
                                  <a:cubicBezTo>
                                    <a:pt x="23" y="1019"/>
                                    <a:pt x="13" y="1020"/>
                                    <a:pt x="11" y="1022"/>
                                  </a:cubicBezTo>
                                  <a:cubicBezTo>
                                    <a:pt x="9" y="1024"/>
                                    <a:pt x="7" y="1028"/>
                                    <a:pt x="11" y="1030"/>
                                  </a:cubicBezTo>
                                  <a:cubicBezTo>
                                    <a:pt x="15" y="1032"/>
                                    <a:pt x="19" y="1035"/>
                                    <a:pt x="23" y="1035"/>
                                  </a:cubicBezTo>
                                  <a:cubicBezTo>
                                    <a:pt x="27" y="1035"/>
                                    <a:pt x="31" y="1035"/>
                                    <a:pt x="38" y="1033"/>
                                  </a:cubicBezTo>
                                  <a:cubicBezTo>
                                    <a:pt x="45" y="1030"/>
                                    <a:pt x="49" y="1027"/>
                                    <a:pt x="55" y="1029"/>
                                  </a:cubicBezTo>
                                  <a:cubicBezTo>
                                    <a:pt x="61" y="1032"/>
                                    <a:pt x="64" y="1032"/>
                                    <a:pt x="70" y="1032"/>
                                  </a:cubicBezTo>
                                  <a:cubicBezTo>
                                    <a:pt x="76" y="1031"/>
                                    <a:pt x="81" y="1029"/>
                                    <a:pt x="81" y="1025"/>
                                  </a:cubicBezTo>
                                  <a:cubicBezTo>
                                    <a:pt x="82" y="1020"/>
                                    <a:pt x="83" y="1014"/>
                                    <a:pt x="90" y="1018"/>
                                  </a:cubicBezTo>
                                  <a:cubicBezTo>
                                    <a:pt x="97" y="1022"/>
                                    <a:pt x="100" y="1027"/>
                                    <a:pt x="105" y="1028"/>
                                  </a:cubicBezTo>
                                  <a:cubicBezTo>
                                    <a:pt x="110" y="1028"/>
                                    <a:pt x="114" y="1028"/>
                                    <a:pt x="119" y="1027"/>
                                  </a:cubicBezTo>
                                  <a:cubicBezTo>
                                    <a:pt x="123" y="1026"/>
                                    <a:pt x="129" y="1028"/>
                                    <a:pt x="131" y="1021"/>
                                  </a:cubicBezTo>
                                  <a:cubicBezTo>
                                    <a:pt x="133" y="1013"/>
                                    <a:pt x="137" y="1003"/>
                                    <a:pt x="143" y="1004"/>
                                  </a:cubicBezTo>
                                  <a:cubicBezTo>
                                    <a:pt x="148" y="1005"/>
                                    <a:pt x="149" y="1012"/>
                                    <a:pt x="147" y="1015"/>
                                  </a:cubicBezTo>
                                  <a:cubicBezTo>
                                    <a:pt x="146" y="1019"/>
                                    <a:pt x="143" y="1021"/>
                                    <a:pt x="145" y="1023"/>
                                  </a:cubicBezTo>
                                  <a:cubicBezTo>
                                    <a:pt x="148" y="1025"/>
                                    <a:pt x="152" y="1023"/>
                                    <a:pt x="155" y="1025"/>
                                  </a:cubicBezTo>
                                  <a:cubicBezTo>
                                    <a:pt x="158" y="1027"/>
                                    <a:pt x="162" y="1031"/>
                                    <a:pt x="156" y="1031"/>
                                  </a:cubicBezTo>
                                  <a:cubicBezTo>
                                    <a:pt x="150" y="1032"/>
                                    <a:pt x="143" y="1032"/>
                                    <a:pt x="139" y="1034"/>
                                  </a:cubicBezTo>
                                  <a:cubicBezTo>
                                    <a:pt x="134" y="1036"/>
                                    <a:pt x="121" y="1036"/>
                                    <a:pt x="122" y="1041"/>
                                  </a:cubicBezTo>
                                  <a:cubicBezTo>
                                    <a:pt x="123" y="1046"/>
                                    <a:pt x="128" y="1051"/>
                                    <a:pt x="128" y="1054"/>
                                  </a:cubicBezTo>
                                  <a:cubicBezTo>
                                    <a:pt x="127" y="1057"/>
                                    <a:pt x="114" y="1058"/>
                                    <a:pt x="110" y="1058"/>
                                  </a:cubicBezTo>
                                  <a:cubicBezTo>
                                    <a:pt x="107" y="1058"/>
                                    <a:pt x="100" y="1054"/>
                                    <a:pt x="102" y="1050"/>
                                  </a:cubicBezTo>
                                  <a:cubicBezTo>
                                    <a:pt x="104" y="1047"/>
                                    <a:pt x="109" y="1044"/>
                                    <a:pt x="104" y="1042"/>
                                  </a:cubicBezTo>
                                  <a:cubicBezTo>
                                    <a:pt x="98" y="1040"/>
                                    <a:pt x="89" y="1037"/>
                                    <a:pt x="87" y="1039"/>
                                  </a:cubicBezTo>
                                  <a:cubicBezTo>
                                    <a:pt x="86" y="1041"/>
                                    <a:pt x="82" y="1047"/>
                                    <a:pt x="77" y="1047"/>
                                  </a:cubicBezTo>
                                  <a:cubicBezTo>
                                    <a:pt x="72" y="1046"/>
                                    <a:pt x="64" y="1040"/>
                                    <a:pt x="59" y="1040"/>
                                  </a:cubicBezTo>
                                  <a:cubicBezTo>
                                    <a:pt x="54" y="1040"/>
                                    <a:pt x="44" y="1043"/>
                                    <a:pt x="41" y="1044"/>
                                  </a:cubicBezTo>
                                  <a:cubicBezTo>
                                    <a:pt x="37" y="1045"/>
                                    <a:pt x="17" y="1044"/>
                                    <a:pt x="13" y="1044"/>
                                  </a:cubicBezTo>
                                  <a:cubicBezTo>
                                    <a:pt x="10" y="1044"/>
                                    <a:pt x="5" y="1047"/>
                                    <a:pt x="5" y="1050"/>
                                  </a:cubicBezTo>
                                  <a:cubicBezTo>
                                    <a:pt x="6" y="1054"/>
                                    <a:pt x="1" y="1056"/>
                                    <a:pt x="6" y="1058"/>
                                  </a:cubicBezTo>
                                  <a:cubicBezTo>
                                    <a:pt x="12" y="1060"/>
                                    <a:pt x="21" y="1054"/>
                                    <a:pt x="23" y="1057"/>
                                  </a:cubicBezTo>
                                  <a:cubicBezTo>
                                    <a:pt x="25" y="1060"/>
                                    <a:pt x="12" y="1067"/>
                                    <a:pt x="14" y="1072"/>
                                  </a:cubicBezTo>
                                  <a:cubicBezTo>
                                    <a:pt x="16" y="1077"/>
                                    <a:pt x="18" y="1080"/>
                                    <a:pt x="22" y="1081"/>
                                  </a:cubicBezTo>
                                  <a:cubicBezTo>
                                    <a:pt x="26" y="1081"/>
                                    <a:pt x="32" y="1077"/>
                                    <a:pt x="35" y="1076"/>
                                  </a:cubicBezTo>
                                  <a:cubicBezTo>
                                    <a:pt x="37" y="1075"/>
                                    <a:pt x="43" y="1081"/>
                                    <a:pt x="42" y="1084"/>
                                  </a:cubicBezTo>
                                  <a:cubicBezTo>
                                    <a:pt x="40" y="1087"/>
                                    <a:pt x="37" y="1092"/>
                                    <a:pt x="32" y="1096"/>
                                  </a:cubicBezTo>
                                  <a:cubicBezTo>
                                    <a:pt x="28" y="1100"/>
                                    <a:pt x="22" y="1098"/>
                                    <a:pt x="16" y="1098"/>
                                  </a:cubicBezTo>
                                  <a:cubicBezTo>
                                    <a:pt x="11" y="1098"/>
                                    <a:pt x="0" y="1100"/>
                                    <a:pt x="0" y="1102"/>
                                  </a:cubicBezTo>
                                  <a:cubicBezTo>
                                    <a:pt x="0" y="1104"/>
                                    <a:pt x="1" y="1109"/>
                                    <a:pt x="5" y="1113"/>
                                  </a:cubicBezTo>
                                  <a:cubicBezTo>
                                    <a:pt x="8" y="1117"/>
                                    <a:pt x="10" y="1124"/>
                                    <a:pt x="16" y="1120"/>
                                  </a:cubicBezTo>
                                  <a:close/>
                                  <a:moveTo>
                                    <a:pt x="534" y="318"/>
                                  </a:moveTo>
                                  <a:cubicBezTo>
                                    <a:pt x="531" y="321"/>
                                    <a:pt x="529" y="322"/>
                                    <a:pt x="527" y="324"/>
                                  </a:cubicBezTo>
                                  <a:cubicBezTo>
                                    <a:pt x="524" y="326"/>
                                    <a:pt x="525" y="330"/>
                                    <a:pt x="523" y="331"/>
                                  </a:cubicBezTo>
                                  <a:cubicBezTo>
                                    <a:pt x="521" y="333"/>
                                    <a:pt x="519" y="336"/>
                                    <a:pt x="521" y="338"/>
                                  </a:cubicBezTo>
                                  <a:cubicBezTo>
                                    <a:pt x="522" y="340"/>
                                    <a:pt x="528" y="342"/>
                                    <a:pt x="530" y="341"/>
                                  </a:cubicBezTo>
                                  <a:cubicBezTo>
                                    <a:pt x="532" y="339"/>
                                    <a:pt x="534" y="336"/>
                                    <a:pt x="538" y="336"/>
                                  </a:cubicBezTo>
                                  <a:cubicBezTo>
                                    <a:pt x="541" y="335"/>
                                    <a:pt x="539" y="332"/>
                                    <a:pt x="544" y="330"/>
                                  </a:cubicBezTo>
                                  <a:cubicBezTo>
                                    <a:pt x="549" y="328"/>
                                    <a:pt x="552" y="325"/>
                                    <a:pt x="551" y="323"/>
                                  </a:cubicBezTo>
                                  <a:cubicBezTo>
                                    <a:pt x="551" y="321"/>
                                    <a:pt x="550" y="319"/>
                                    <a:pt x="548" y="318"/>
                                  </a:cubicBezTo>
                                  <a:cubicBezTo>
                                    <a:pt x="545" y="317"/>
                                    <a:pt x="539" y="316"/>
                                    <a:pt x="534" y="318"/>
                                  </a:cubicBezTo>
                                  <a:close/>
                                  <a:moveTo>
                                    <a:pt x="1026" y="118"/>
                                  </a:moveTo>
                                  <a:cubicBezTo>
                                    <a:pt x="1023" y="118"/>
                                    <a:pt x="1019" y="117"/>
                                    <a:pt x="1017" y="115"/>
                                  </a:cubicBezTo>
                                  <a:cubicBezTo>
                                    <a:pt x="1016" y="114"/>
                                    <a:pt x="1015" y="113"/>
                                    <a:pt x="1012" y="113"/>
                                  </a:cubicBezTo>
                                  <a:cubicBezTo>
                                    <a:pt x="1009" y="113"/>
                                    <a:pt x="1001" y="107"/>
                                    <a:pt x="1001" y="112"/>
                                  </a:cubicBezTo>
                                  <a:cubicBezTo>
                                    <a:pt x="1002" y="115"/>
                                    <a:pt x="1003" y="117"/>
                                    <a:pt x="1005" y="117"/>
                                  </a:cubicBezTo>
                                  <a:cubicBezTo>
                                    <a:pt x="1008" y="118"/>
                                    <a:pt x="1010" y="116"/>
                                    <a:pt x="1013" y="120"/>
                                  </a:cubicBezTo>
                                  <a:cubicBezTo>
                                    <a:pt x="1017" y="124"/>
                                    <a:pt x="1018" y="126"/>
                                    <a:pt x="1018" y="127"/>
                                  </a:cubicBezTo>
                                  <a:cubicBezTo>
                                    <a:pt x="1019" y="129"/>
                                    <a:pt x="1023" y="128"/>
                                    <a:pt x="1025" y="128"/>
                                  </a:cubicBezTo>
                                  <a:cubicBezTo>
                                    <a:pt x="1027" y="128"/>
                                    <a:pt x="1030" y="125"/>
                                    <a:pt x="1032" y="124"/>
                                  </a:cubicBezTo>
                                  <a:cubicBezTo>
                                    <a:pt x="1034" y="122"/>
                                    <a:pt x="1037" y="119"/>
                                    <a:pt x="1034" y="118"/>
                                  </a:cubicBezTo>
                                  <a:cubicBezTo>
                                    <a:pt x="1031" y="118"/>
                                    <a:pt x="1030" y="119"/>
                                    <a:pt x="1026" y="118"/>
                                  </a:cubicBezTo>
                                  <a:close/>
                                  <a:moveTo>
                                    <a:pt x="960" y="117"/>
                                  </a:moveTo>
                                  <a:cubicBezTo>
                                    <a:pt x="957" y="117"/>
                                    <a:pt x="953" y="117"/>
                                    <a:pt x="950" y="117"/>
                                  </a:cubicBezTo>
                                  <a:cubicBezTo>
                                    <a:pt x="948" y="117"/>
                                    <a:pt x="945" y="115"/>
                                    <a:pt x="945" y="118"/>
                                  </a:cubicBezTo>
                                  <a:cubicBezTo>
                                    <a:pt x="945" y="122"/>
                                    <a:pt x="945" y="124"/>
                                    <a:pt x="948" y="123"/>
                                  </a:cubicBezTo>
                                  <a:cubicBezTo>
                                    <a:pt x="952" y="123"/>
                                    <a:pt x="953" y="121"/>
                                    <a:pt x="955" y="123"/>
                                  </a:cubicBezTo>
                                  <a:cubicBezTo>
                                    <a:pt x="957" y="125"/>
                                    <a:pt x="957" y="127"/>
                                    <a:pt x="960" y="126"/>
                                  </a:cubicBezTo>
                                  <a:cubicBezTo>
                                    <a:pt x="964" y="125"/>
                                    <a:pt x="966" y="122"/>
                                    <a:pt x="965" y="121"/>
                                  </a:cubicBezTo>
                                  <a:cubicBezTo>
                                    <a:pt x="964" y="119"/>
                                    <a:pt x="964" y="117"/>
                                    <a:pt x="960" y="117"/>
                                  </a:cubicBezTo>
                                  <a:close/>
                                  <a:moveTo>
                                    <a:pt x="907" y="117"/>
                                  </a:moveTo>
                                  <a:cubicBezTo>
                                    <a:pt x="903" y="114"/>
                                    <a:pt x="903" y="113"/>
                                    <a:pt x="901" y="113"/>
                                  </a:cubicBezTo>
                                  <a:cubicBezTo>
                                    <a:pt x="900" y="112"/>
                                    <a:pt x="896" y="109"/>
                                    <a:pt x="896" y="112"/>
                                  </a:cubicBezTo>
                                  <a:cubicBezTo>
                                    <a:pt x="896" y="114"/>
                                    <a:pt x="896" y="114"/>
                                    <a:pt x="897" y="117"/>
                                  </a:cubicBezTo>
                                  <a:cubicBezTo>
                                    <a:pt x="899" y="119"/>
                                    <a:pt x="899" y="120"/>
                                    <a:pt x="901" y="123"/>
                                  </a:cubicBezTo>
                                  <a:cubicBezTo>
                                    <a:pt x="903" y="125"/>
                                    <a:pt x="903" y="127"/>
                                    <a:pt x="908" y="127"/>
                                  </a:cubicBezTo>
                                  <a:cubicBezTo>
                                    <a:pt x="913" y="127"/>
                                    <a:pt x="915" y="127"/>
                                    <a:pt x="916" y="126"/>
                                  </a:cubicBezTo>
                                  <a:cubicBezTo>
                                    <a:pt x="917" y="125"/>
                                    <a:pt x="918" y="122"/>
                                    <a:pt x="916" y="120"/>
                                  </a:cubicBezTo>
                                  <a:cubicBezTo>
                                    <a:pt x="913" y="119"/>
                                    <a:pt x="911" y="120"/>
                                    <a:pt x="907" y="117"/>
                                  </a:cubicBezTo>
                                  <a:close/>
                                  <a:moveTo>
                                    <a:pt x="1151" y="73"/>
                                  </a:moveTo>
                                  <a:cubicBezTo>
                                    <a:pt x="1153" y="74"/>
                                    <a:pt x="1155" y="74"/>
                                    <a:pt x="1157" y="73"/>
                                  </a:cubicBezTo>
                                  <a:cubicBezTo>
                                    <a:pt x="1159" y="72"/>
                                    <a:pt x="1159" y="71"/>
                                    <a:pt x="1163" y="69"/>
                                  </a:cubicBezTo>
                                  <a:cubicBezTo>
                                    <a:pt x="1166" y="67"/>
                                    <a:pt x="1169" y="65"/>
                                    <a:pt x="1169" y="63"/>
                                  </a:cubicBezTo>
                                  <a:cubicBezTo>
                                    <a:pt x="1169" y="61"/>
                                    <a:pt x="1169" y="60"/>
                                    <a:pt x="1166" y="60"/>
                                  </a:cubicBezTo>
                                  <a:cubicBezTo>
                                    <a:pt x="1163" y="60"/>
                                    <a:pt x="1162" y="61"/>
                                    <a:pt x="1158" y="59"/>
                                  </a:cubicBezTo>
                                  <a:cubicBezTo>
                                    <a:pt x="1154" y="56"/>
                                    <a:pt x="1151" y="56"/>
                                    <a:pt x="1149" y="58"/>
                                  </a:cubicBezTo>
                                  <a:cubicBezTo>
                                    <a:pt x="1148" y="61"/>
                                    <a:pt x="1150" y="61"/>
                                    <a:pt x="1150" y="66"/>
                                  </a:cubicBezTo>
                                  <a:cubicBezTo>
                                    <a:pt x="1150" y="71"/>
                                    <a:pt x="1149" y="72"/>
                                    <a:pt x="1151" y="73"/>
                                  </a:cubicBezTo>
                                  <a:close/>
                                  <a:moveTo>
                                    <a:pt x="1075" y="99"/>
                                  </a:moveTo>
                                  <a:cubicBezTo>
                                    <a:pt x="1078" y="103"/>
                                    <a:pt x="1080" y="103"/>
                                    <a:pt x="1083" y="103"/>
                                  </a:cubicBezTo>
                                  <a:cubicBezTo>
                                    <a:pt x="1085" y="103"/>
                                    <a:pt x="1090" y="104"/>
                                    <a:pt x="1089" y="102"/>
                                  </a:cubicBezTo>
                                  <a:cubicBezTo>
                                    <a:pt x="1088" y="101"/>
                                    <a:pt x="1088" y="100"/>
                                    <a:pt x="1084" y="99"/>
                                  </a:cubicBezTo>
                                  <a:cubicBezTo>
                                    <a:pt x="1081" y="98"/>
                                    <a:pt x="1078" y="95"/>
                                    <a:pt x="1076" y="93"/>
                                  </a:cubicBezTo>
                                  <a:cubicBezTo>
                                    <a:pt x="1075" y="92"/>
                                    <a:pt x="1069" y="89"/>
                                    <a:pt x="1067" y="91"/>
                                  </a:cubicBezTo>
                                  <a:cubicBezTo>
                                    <a:pt x="1066" y="93"/>
                                    <a:pt x="1063" y="95"/>
                                    <a:pt x="1067" y="96"/>
                                  </a:cubicBezTo>
                                  <a:cubicBezTo>
                                    <a:pt x="1072" y="98"/>
                                    <a:pt x="1073" y="96"/>
                                    <a:pt x="1075" y="99"/>
                                  </a:cubicBezTo>
                                  <a:close/>
                                  <a:moveTo>
                                    <a:pt x="1101" y="67"/>
                                  </a:moveTo>
                                  <a:cubicBezTo>
                                    <a:pt x="1103" y="65"/>
                                    <a:pt x="1104" y="64"/>
                                    <a:pt x="1108" y="62"/>
                                  </a:cubicBezTo>
                                  <a:cubicBezTo>
                                    <a:pt x="1112" y="60"/>
                                    <a:pt x="1116" y="57"/>
                                    <a:pt x="1118" y="54"/>
                                  </a:cubicBezTo>
                                  <a:cubicBezTo>
                                    <a:pt x="1119" y="51"/>
                                    <a:pt x="1129" y="47"/>
                                    <a:pt x="1127" y="46"/>
                                  </a:cubicBezTo>
                                  <a:cubicBezTo>
                                    <a:pt x="1125" y="45"/>
                                    <a:pt x="1121" y="42"/>
                                    <a:pt x="1119" y="46"/>
                                  </a:cubicBezTo>
                                  <a:cubicBezTo>
                                    <a:pt x="1116" y="49"/>
                                    <a:pt x="1117" y="51"/>
                                    <a:pt x="1111" y="55"/>
                                  </a:cubicBezTo>
                                  <a:cubicBezTo>
                                    <a:pt x="1106" y="59"/>
                                    <a:pt x="1104" y="60"/>
                                    <a:pt x="1097" y="61"/>
                                  </a:cubicBezTo>
                                  <a:cubicBezTo>
                                    <a:pt x="1089" y="62"/>
                                    <a:pt x="1083" y="60"/>
                                    <a:pt x="1080" y="60"/>
                                  </a:cubicBezTo>
                                  <a:cubicBezTo>
                                    <a:pt x="1071" y="59"/>
                                    <a:pt x="1072" y="58"/>
                                    <a:pt x="1068" y="58"/>
                                  </a:cubicBezTo>
                                  <a:cubicBezTo>
                                    <a:pt x="1064" y="58"/>
                                    <a:pt x="1063" y="59"/>
                                    <a:pt x="1060" y="61"/>
                                  </a:cubicBezTo>
                                  <a:cubicBezTo>
                                    <a:pt x="1057" y="64"/>
                                    <a:pt x="1055" y="64"/>
                                    <a:pt x="1052" y="64"/>
                                  </a:cubicBezTo>
                                  <a:cubicBezTo>
                                    <a:pt x="1049" y="64"/>
                                    <a:pt x="1047" y="60"/>
                                    <a:pt x="1045" y="63"/>
                                  </a:cubicBezTo>
                                  <a:cubicBezTo>
                                    <a:pt x="1044" y="67"/>
                                    <a:pt x="1041" y="70"/>
                                    <a:pt x="1046" y="73"/>
                                  </a:cubicBezTo>
                                  <a:cubicBezTo>
                                    <a:pt x="1050" y="75"/>
                                    <a:pt x="1054" y="78"/>
                                    <a:pt x="1060" y="77"/>
                                  </a:cubicBezTo>
                                  <a:cubicBezTo>
                                    <a:pt x="1066" y="75"/>
                                    <a:pt x="1068" y="75"/>
                                    <a:pt x="1073" y="75"/>
                                  </a:cubicBezTo>
                                  <a:cubicBezTo>
                                    <a:pt x="1077" y="75"/>
                                    <a:pt x="1083" y="76"/>
                                    <a:pt x="1086" y="75"/>
                                  </a:cubicBezTo>
                                  <a:cubicBezTo>
                                    <a:pt x="1090" y="74"/>
                                    <a:pt x="1094" y="74"/>
                                    <a:pt x="1096" y="72"/>
                                  </a:cubicBezTo>
                                  <a:cubicBezTo>
                                    <a:pt x="1098" y="70"/>
                                    <a:pt x="1099" y="70"/>
                                    <a:pt x="1101" y="67"/>
                                  </a:cubicBezTo>
                                  <a:close/>
                                  <a:moveTo>
                                    <a:pt x="1069" y="113"/>
                                  </a:moveTo>
                                  <a:cubicBezTo>
                                    <a:pt x="1072" y="115"/>
                                    <a:pt x="1074" y="117"/>
                                    <a:pt x="1076" y="119"/>
                                  </a:cubicBezTo>
                                  <a:cubicBezTo>
                                    <a:pt x="1078" y="120"/>
                                    <a:pt x="1081" y="120"/>
                                    <a:pt x="1085" y="118"/>
                                  </a:cubicBezTo>
                                  <a:cubicBezTo>
                                    <a:pt x="1089" y="116"/>
                                    <a:pt x="1094" y="118"/>
                                    <a:pt x="1093" y="115"/>
                                  </a:cubicBezTo>
                                  <a:cubicBezTo>
                                    <a:pt x="1092" y="113"/>
                                    <a:pt x="1088" y="112"/>
                                    <a:pt x="1086" y="112"/>
                                  </a:cubicBezTo>
                                  <a:cubicBezTo>
                                    <a:pt x="1083" y="113"/>
                                    <a:pt x="1081" y="114"/>
                                    <a:pt x="1079" y="111"/>
                                  </a:cubicBezTo>
                                  <a:cubicBezTo>
                                    <a:pt x="1077" y="108"/>
                                    <a:pt x="1070" y="104"/>
                                    <a:pt x="1067" y="107"/>
                                  </a:cubicBezTo>
                                  <a:cubicBezTo>
                                    <a:pt x="1066" y="109"/>
                                    <a:pt x="1065" y="111"/>
                                    <a:pt x="1069" y="113"/>
                                  </a:cubicBezTo>
                                  <a:close/>
                                  <a:moveTo>
                                    <a:pt x="1103" y="92"/>
                                  </a:moveTo>
                                  <a:cubicBezTo>
                                    <a:pt x="1110" y="95"/>
                                    <a:pt x="1109" y="100"/>
                                    <a:pt x="1115" y="97"/>
                                  </a:cubicBezTo>
                                  <a:cubicBezTo>
                                    <a:pt x="1121" y="95"/>
                                    <a:pt x="1124" y="92"/>
                                    <a:pt x="1125" y="89"/>
                                  </a:cubicBezTo>
                                  <a:cubicBezTo>
                                    <a:pt x="1127" y="86"/>
                                    <a:pt x="1129" y="85"/>
                                    <a:pt x="1132" y="83"/>
                                  </a:cubicBezTo>
                                  <a:cubicBezTo>
                                    <a:pt x="1134" y="81"/>
                                    <a:pt x="1137" y="81"/>
                                    <a:pt x="1138" y="77"/>
                                  </a:cubicBezTo>
                                  <a:cubicBezTo>
                                    <a:pt x="1138" y="74"/>
                                    <a:pt x="1136" y="70"/>
                                    <a:pt x="1133" y="72"/>
                                  </a:cubicBezTo>
                                  <a:cubicBezTo>
                                    <a:pt x="1129" y="73"/>
                                    <a:pt x="1122" y="76"/>
                                    <a:pt x="1119" y="78"/>
                                  </a:cubicBezTo>
                                  <a:cubicBezTo>
                                    <a:pt x="1116" y="80"/>
                                    <a:pt x="1107" y="82"/>
                                    <a:pt x="1104" y="83"/>
                                  </a:cubicBezTo>
                                  <a:cubicBezTo>
                                    <a:pt x="1101" y="83"/>
                                    <a:pt x="1097" y="83"/>
                                    <a:pt x="1098" y="86"/>
                                  </a:cubicBezTo>
                                  <a:cubicBezTo>
                                    <a:pt x="1099" y="90"/>
                                    <a:pt x="1097" y="89"/>
                                    <a:pt x="1103" y="92"/>
                                  </a:cubicBezTo>
                                  <a:close/>
                                  <a:moveTo>
                                    <a:pt x="836" y="168"/>
                                  </a:moveTo>
                                  <a:cubicBezTo>
                                    <a:pt x="833" y="169"/>
                                    <a:pt x="831" y="170"/>
                                    <a:pt x="830" y="167"/>
                                  </a:cubicBezTo>
                                  <a:cubicBezTo>
                                    <a:pt x="830" y="164"/>
                                    <a:pt x="827" y="163"/>
                                    <a:pt x="824" y="163"/>
                                  </a:cubicBezTo>
                                  <a:cubicBezTo>
                                    <a:pt x="821" y="163"/>
                                    <a:pt x="818" y="162"/>
                                    <a:pt x="816" y="161"/>
                                  </a:cubicBezTo>
                                  <a:cubicBezTo>
                                    <a:pt x="815" y="160"/>
                                    <a:pt x="811" y="160"/>
                                    <a:pt x="809" y="165"/>
                                  </a:cubicBezTo>
                                  <a:cubicBezTo>
                                    <a:pt x="808" y="168"/>
                                    <a:pt x="809" y="171"/>
                                    <a:pt x="811" y="174"/>
                                  </a:cubicBezTo>
                                  <a:cubicBezTo>
                                    <a:pt x="812" y="177"/>
                                    <a:pt x="812" y="179"/>
                                    <a:pt x="814" y="179"/>
                                  </a:cubicBezTo>
                                  <a:cubicBezTo>
                                    <a:pt x="816" y="179"/>
                                    <a:pt x="818" y="179"/>
                                    <a:pt x="821" y="179"/>
                                  </a:cubicBezTo>
                                  <a:cubicBezTo>
                                    <a:pt x="825" y="179"/>
                                    <a:pt x="829" y="180"/>
                                    <a:pt x="832" y="179"/>
                                  </a:cubicBezTo>
                                  <a:cubicBezTo>
                                    <a:pt x="834" y="179"/>
                                    <a:pt x="837" y="178"/>
                                    <a:pt x="839" y="176"/>
                                  </a:cubicBezTo>
                                  <a:cubicBezTo>
                                    <a:pt x="840" y="174"/>
                                    <a:pt x="842" y="171"/>
                                    <a:pt x="844" y="170"/>
                                  </a:cubicBezTo>
                                  <a:cubicBezTo>
                                    <a:pt x="846" y="169"/>
                                    <a:pt x="846" y="165"/>
                                    <a:pt x="848" y="165"/>
                                  </a:cubicBezTo>
                                  <a:cubicBezTo>
                                    <a:pt x="850" y="164"/>
                                    <a:pt x="852" y="165"/>
                                    <a:pt x="852" y="163"/>
                                  </a:cubicBezTo>
                                  <a:cubicBezTo>
                                    <a:pt x="852" y="160"/>
                                    <a:pt x="851" y="158"/>
                                    <a:pt x="849" y="158"/>
                                  </a:cubicBezTo>
                                  <a:cubicBezTo>
                                    <a:pt x="847" y="157"/>
                                    <a:pt x="844" y="154"/>
                                    <a:pt x="843" y="154"/>
                                  </a:cubicBezTo>
                                  <a:cubicBezTo>
                                    <a:pt x="841" y="153"/>
                                    <a:pt x="837" y="152"/>
                                    <a:pt x="837" y="155"/>
                                  </a:cubicBezTo>
                                  <a:cubicBezTo>
                                    <a:pt x="836" y="157"/>
                                    <a:pt x="837" y="158"/>
                                    <a:pt x="837" y="161"/>
                                  </a:cubicBezTo>
                                  <a:cubicBezTo>
                                    <a:pt x="838" y="165"/>
                                    <a:pt x="838" y="168"/>
                                    <a:pt x="836" y="168"/>
                                  </a:cubicBezTo>
                                  <a:close/>
                                  <a:moveTo>
                                    <a:pt x="624" y="276"/>
                                  </a:moveTo>
                                  <a:cubicBezTo>
                                    <a:pt x="625" y="274"/>
                                    <a:pt x="631" y="274"/>
                                    <a:pt x="630" y="269"/>
                                  </a:cubicBezTo>
                                  <a:cubicBezTo>
                                    <a:pt x="629" y="263"/>
                                    <a:pt x="626" y="261"/>
                                    <a:pt x="624" y="260"/>
                                  </a:cubicBezTo>
                                  <a:cubicBezTo>
                                    <a:pt x="622" y="259"/>
                                    <a:pt x="621" y="257"/>
                                    <a:pt x="620" y="254"/>
                                  </a:cubicBezTo>
                                  <a:cubicBezTo>
                                    <a:pt x="620" y="251"/>
                                    <a:pt x="617" y="248"/>
                                    <a:pt x="616" y="247"/>
                                  </a:cubicBezTo>
                                  <a:cubicBezTo>
                                    <a:pt x="615" y="247"/>
                                    <a:pt x="614" y="245"/>
                                    <a:pt x="613" y="247"/>
                                  </a:cubicBezTo>
                                  <a:cubicBezTo>
                                    <a:pt x="612" y="250"/>
                                    <a:pt x="612" y="252"/>
                                    <a:pt x="610" y="255"/>
                                  </a:cubicBezTo>
                                  <a:cubicBezTo>
                                    <a:pt x="608" y="257"/>
                                    <a:pt x="604" y="259"/>
                                    <a:pt x="603" y="262"/>
                                  </a:cubicBezTo>
                                  <a:cubicBezTo>
                                    <a:pt x="600" y="265"/>
                                    <a:pt x="599" y="265"/>
                                    <a:pt x="594" y="267"/>
                                  </a:cubicBezTo>
                                  <a:cubicBezTo>
                                    <a:pt x="589" y="270"/>
                                    <a:pt x="590" y="271"/>
                                    <a:pt x="587" y="273"/>
                                  </a:cubicBezTo>
                                  <a:cubicBezTo>
                                    <a:pt x="584" y="276"/>
                                    <a:pt x="579" y="274"/>
                                    <a:pt x="578" y="276"/>
                                  </a:cubicBezTo>
                                  <a:cubicBezTo>
                                    <a:pt x="577" y="278"/>
                                    <a:pt x="571" y="282"/>
                                    <a:pt x="578" y="283"/>
                                  </a:cubicBezTo>
                                  <a:cubicBezTo>
                                    <a:pt x="585" y="285"/>
                                    <a:pt x="586" y="282"/>
                                    <a:pt x="590" y="279"/>
                                  </a:cubicBezTo>
                                  <a:cubicBezTo>
                                    <a:pt x="594" y="277"/>
                                    <a:pt x="596" y="274"/>
                                    <a:pt x="601" y="274"/>
                                  </a:cubicBezTo>
                                  <a:cubicBezTo>
                                    <a:pt x="606" y="274"/>
                                    <a:pt x="607" y="273"/>
                                    <a:pt x="609" y="276"/>
                                  </a:cubicBezTo>
                                  <a:cubicBezTo>
                                    <a:pt x="610" y="279"/>
                                    <a:pt x="608" y="280"/>
                                    <a:pt x="611" y="282"/>
                                  </a:cubicBezTo>
                                  <a:cubicBezTo>
                                    <a:pt x="614" y="284"/>
                                    <a:pt x="617" y="283"/>
                                    <a:pt x="620" y="282"/>
                                  </a:cubicBezTo>
                                  <a:cubicBezTo>
                                    <a:pt x="622" y="281"/>
                                    <a:pt x="623" y="278"/>
                                    <a:pt x="624" y="276"/>
                                  </a:cubicBezTo>
                                  <a:close/>
                                  <a:moveTo>
                                    <a:pt x="603" y="312"/>
                                  </a:moveTo>
                                  <a:cubicBezTo>
                                    <a:pt x="602" y="308"/>
                                    <a:pt x="600" y="306"/>
                                    <a:pt x="595" y="307"/>
                                  </a:cubicBezTo>
                                  <a:cubicBezTo>
                                    <a:pt x="590" y="308"/>
                                    <a:pt x="582" y="306"/>
                                    <a:pt x="576" y="312"/>
                                  </a:cubicBezTo>
                                  <a:cubicBezTo>
                                    <a:pt x="575" y="317"/>
                                    <a:pt x="572" y="318"/>
                                    <a:pt x="571" y="320"/>
                                  </a:cubicBezTo>
                                  <a:cubicBezTo>
                                    <a:pt x="570" y="322"/>
                                    <a:pt x="568" y="326"/>
                                    <a:pt x="571" y="326"/>
                                  </a:cubicBezTo>
                                  <a:cubicBezTo>
                                    <a:pt x="574" y="327"/>
                                    <a:pt x="577" y="328"/>
                                    <a:pt x="579" y="325"/>
                                  </a:cubicBezTo>
                                  <a:cubicBezTo>
                                    <a:pt x="581" y="322"/>
                                    <a:pt x="581" y="321"/>
                                    <a:pt x="588" y="321"/>
                                  </a:cubicBezTo>
                                  <a:cubicBezTo>
                                    <a:pt x="594" y="320"/>
                                    <a:pt x="597" y="316"/>
                                    <a:pt x="599" y="315"/>
                                  </a:cubicBezTo>
                                  <a:cubicBezTo>
                                    <a:pt x="601" y="315"/>
                                    <a:pt x="604" y="315"/>
                                    <a:pt x="603" y="312"/>
                                  </a:cubicBezTo>
                                  <a:close/>
                                  <a:moveTo>
                                    <a:pt x="485" y="347"/>
                                  </a:moveTo>
                                  <a:cubicBezTo>
                                    <a:pt x="484" y="355"/>
                                    <a:pt x="479" y="356"/>
                                    <a:pt x="478" y="361"/>
                                  </a:cubicBezTo>
                                  <a:cubicBezTo>
                                    <a:pt x="477" y="366"/>
                                    <a:pt x="480" y="369"/>
                                    <a:pt x="482" y="366"/>
                                  </a:cubicBezTo>
                                  <a:cubicBezTo>
                                    <a:pt x="485" y="363"/>
                                    <a:pt x="486" y="360"/>
                                    <a:pt x="489" y="358"/>
                                  </a:cubicBezTo>
                                  <a:cubicBezTo>
                                    <a:pt x="493" y="356"/>
                                    <a:pt x="496" y="355"/>
                                    <a:pt x="496" y="353"/>
                                  </a:cubicBezTo>
                                  <a:cubicBezTo>
                                    <a:pt x="496" y="350"/>
                                    <a:pt x="497" y="343"/>
                                    <a:pt x="495" y="342"/>
                                  </a:cubicBezTo>
                                  <a:cubicBezTo>
                                    <a:pt x="493" y="341"/>
                                    <a:pt x="486" y="344"/>
                                    <a:pt x="485" y="347"/>
                                  </a:cubicBezTo>
                                  <a:close/>
                                  <a:moveTo>
                                    <a:pt x="1269" y="15"/>
                                  </a:moveTo>
                                  <a:cubicBezTo>
                                    <a:pt x="1267" y="16"/>
                                    <a:pt x="1266" y="16"/>
                                    <a:pt x="1262" y="17"/>
                                  </a:cubicBezTo>
                                  <a:cubicBezTo>
                                    <a:pt x="1258" y="19"/>
                                    <a:pt x="1256" y="18"/>
                                    <a:pt x="1257" y="21"/>
                                  </a:cubicBezTo>
                                  <a:cubicBezTo>
                                    <a:pt x="1259" y="24"/>
                                    <a:pt x="1257" y="25"/>
                                    <a:pt x="1261" y="26"/>
                                  </a:cubicBezTo>
                                  <a:cubicBezTo>
                                    <a:pt x="1265" y="26"/>
                                    <a:pt x="1269" y="27"/>
                                    <a:pt x="1272" y="25"/>
                                  </a:cubicBezTo>
                                  <a:cubicBezTo>
                                    <a:pt x="1274" y="24"/>
                                    <a:pt x="1278" y="24"/>
                                    <a:pt x="1283" y="23"/>
                                  </a:cubicBezTo>
                                  <a:cubicBezTo>
                                    <a:pt x="1288" y="23"/>
                                    <a:pt x="1294" y="23"/>
                                    <a:pt x="1296" y="19"/>
                                  </a:cubicBezTo>
                                  <a:cubicBezTo>
                                    <a:pt x="1297" y="16"/>
                                    <a:pt x="1300" y="15"/>
                                    <a:pt x="1294" y="14"/>
                                  </a:cubicBezTo>
                                  <a:cubicBezTo>
                                    <a:pt x="1288" y="12"/>
                                    <a:pt x="1285" y="11"/>
                                    <a:pt x="1284" y="8"/>
                                  </a:cubicBezTo>
                                  <a:cubicBezTo>
                                    <a:pt x="1283" y="6"/>
                                    <a:pt x="1283" y="5"/>
                                    <a:pt x="1280" y="4"/>
                                  </a:cubicBezTo>
                                  <a:cubicBezTo>
                                    <a:pt x="1277" y="4"/>
                                    <a:pt x="1270" y="0"/>
                                    <a:pt x="1268" y="3"/>
                                  </a:cubicBezTo>
                                  <a:cubicBezTo>
                                    <a:pt x="1267" y="7"/>
                                    <a:pt x="1267" y="8"/>
                                    <a:pt x="1269" y="10"/>
                                  </a:cubicBezTo>
                                  <a:cubicBezTo>
                                    <a:pt x="1270" y="12"/>
                                    <a:pt x="1271" y="14"/>
                                    <a:pt x="1269" y="15"/>
                                  </a:cubicBezTo>
                                  <a:close/>
                                  <a:moveTo>
                                    <a:pt x="654" y="250"/>
                                  </a:moveTo>
                                  <a:cubicBezTo>
                                    <a:pt x="653" y="253"/>
                                    <a:pt x="654" y="255"/>
                                    <a:pt x="652" y="258"/>
                                  </a:cubicBezTo>
                                  <a:cubicBezTo>
                                    <a:pt x="651" y="261"/>
                                    <a:pt x="649" y="261"/>
                                    <a:pt x="649" y="263"/>
                                  </a:cubicBezTo>
                                  <a:cubicBezTo>
                                    <a:pt x="649" y="265"/>
                                    <a:pt x="649" y="266"/>
                                    <a:pt x="652" y="266"/>
                                  </a:cubicBezTo>
                                  <a:cubicBezTo>
                                    <a:pt x="654" y="267"/>
                                    <a:pt x="656" y="269"/>
                                    <a:pt x="657" y="264"/>
                                  </a:cubicBezTo>
                                  <a:cubicBezTo>
                                    <a:pt x="657" y="259"/>
                                    <a:pt x="657" y="258"/>
                                    <a:pt x="659" y="256"/>
                                  </a:cubicBezTo>
                                  <a:cubicBezTo>
                                    <a:pt x="661" y="253"/>
                                    <a:pt x="663" y="252"/>
                                    <a:pt x="662" y="250"/>
                                  </a:cubicBezTo>
                                  <a:cubicBezTo>
                                    <a:pt x="661" y="249"/>
                                    <a:pt x="656" y="248"/>
                                    <a:pt x="654" y="250"/>
                                  </a:cubicBezTo>
                                  <a:close/>
                                  <a:moveTo>
                                    <a:pt x="671" y="226"/>
                                  </a:moveTo>
                                  <a:cubicBezTo>
                                    <a:pt x="671" y="224"/>
                                    <a:pt x="675" y="218"/>
                                    <a:pt x="669" y="222"/>
                                  </a:cubicBezTo>
                                  <a:cubicBezTo>
                                    <a:pt x="667" y="224"/>
                                    <a:pt x="667" y="224"/>
                                    <a:pt x="662" y="226"/>
                                  </a:cubicBezTo>
                                  <a:cubicBezTo>
                                    <a:pt x="658" y="227"/>
                                    <a:pt x="653" y="229"/>
                                    <a:pt x="652" y="231"/>
                                  </a:cubicBezTo>
                                  <a:cubicBezTo>
                                    <a:pt x="651" y="234"/>
                                    <a:pt x="648" y="234"/>
                                    <a:pt x="648" y="236"/>
                                  </a:cubicBezTo>
                                  <a:cubicBezTo>
                                    <a:pt x="648" y="239"/>
                                    <a:pt x="651" y="240"/>
                                    <a:pt x="653" y="240"/>
                                  </a:cubicBezTo>
                                  <a:cubicBezTo>
                                    <a:pt x="655" y="240"/>
                                    <a:pt x="659" y="240"/>
                                    <a:pt x="660" y="237"/>
                                  </a:cubicBezTo>
                                  <a:cubicBezTo>
                                    <a:pt x="661" y="235"/>
                                    <a:pt x="659" y="233"/>
                                    <a:pt x="663" y="231"/>
                                  </a:cubicBezTo>
                                  <a:cubicBezTo>
                                    <a:pt x="668" y="229"/>
                                    <a:pt x="670" y="228"/>
                                    <a:pt x="671" y="226"/>
                                  </a:cubicBezTo>
                                  <a:close/>
                                  <a:moveTo>
                                    <a:pt x="605" y="378"/>
                                  </a:moveTo>
                                  <a:cubicBezTo>
                                    <a:pt x="608" y="376"/>
                                    <a:pt x="608" y="374"/>
                                    <a:pt x="612" y="372"/>
                                  </a:cubicBezTo>
                                  <a:cubicBezTo>
                                    <a:pt x="616" y="371"/>
                                    <a:pt x="619" y="371"/>
                                    <a:pt x="619" y="368"/>
                                  </a:cubicBezTo>
                                  <a:cubicBezTo>
                                    <a:pt x="619" y="365"/>
                                    <a:pt x="609" y="361"/>
                                    <a:pt x="604" y="362"/>
                                  </a:cubicBezTo>
                                  <a:cubicBezTo>
                                    <a:pt x="601" y="363"/>
                                    <a:pt x="601" y="364"/>
                                    <a:pt x="600" y="368"/>
                                  </a:cubicBezTo>
                                  <a:cubicBezTo>
                                    <a:pt x="599" y="372"/>
                                    <a:pt x="597" y="372"/>
                                    <a:pt x="598" y="375"/>
                                  </a:cubicBezTo>
                                  <a:cubicBezTo>
                                    <a:pt x="600" y="378"/>
                                    <a:pt x="603" y="380"/>
                                    <a:pt x="605" y="378"/>
                                  </a:cubicBezTo>
                                  <a:close/>
                                  <a:moveTo>
                                    <a:pt x="867" y="152"/>
                                  </a:moveTo>
                                  <a:cubicBezTo>
                                    <a:pt x="871" y="152"/>
                                    <a:pt x="875" y="153"/>
                                    <a:pt x="878" y="151"/>
                                  </a:cubicBezTo>
                                  <a:cubicBezTo>
                                    <a:pt x="880" y="150"/>
                                    <a:pt x="881" y="148"/>
                                    <a:pt x="883" y="146"/>
                                  </a:cubicBezTo>
                                  <a:cubicBezTo>
                                    <a:pt x="885" y="144"/>
                                    <a:pt x="885" y="141"/>
                                    <a:pt x="888" y="140"/>
                                  </a:cubicBezTo>
                                  <a:cubicBezTo>
                                    <a:pt x="891" y="139"/>
                                    <a:pt x="893" y="137"/>
                                    <a:pt x="893" y="136"/>
                                  </a:cubicBezTo>
                                  <a:cubicBezTo>
                                    <a:pt x="893" y="135"/>
                                    <a:pt x="889" y="132"/>
                                    <a:pt x="886" y="132"/>
                                  </a:cubicBezTo>
                                  <a:cubicBezTo>
                                    <a:pt x="883" y="132"/>
                                    <a:pt x="879" y="131"/>
                                    <a:pt x="877" y="129"/>
                                  </a:cubicBezTo>
                                  <a:cubicBezTo>
                                    <a:pt x="875" y="127"/>
                                    <a:pt x="873" y="125"/>
                                    <a:pt x="869" y="126"/>
                                  </a:cubicBezTo>
                                  <a:cubicBezTo>
                                    <a:pt x="864" y="127"/>
                                    <a:pt x="862" y="128"/>
                                    <a:pt x="861" y="129"/>
                                  </a:cubicBezTo>
                                  <a:cubicBezTo>
                                    <a:pt x="860" y="131"/>
                                    <a:pt x="857" y="132"/>
                                    <a:pt x="855" y="133"/>
                                  </a:cubicBezTo>
                                  <a:cubicBezTo>
                                    <a:pt x="852" y="136"/>
                                    <a:pt x="849" y="136"/>
                                    <a:pt x="847" y="137"/>
                                  </a:cubicBezTo>
                                  <a:cubicBezTo>
                                    <a:pt x="845" y="138"/>
                                    <a:pt x="842" y="138"/>
                                    <a:pt x="845" y="142"/>
                                  </a:cubicBezTo>
                                  <a:cubicBezTo>
                                    <a:pt x="847" y="145"/>
                                    <a:pt x="847" y="145"/>
                                    <a:pt x="851" y="146"/>
                                  </a:cubicBezTo>
                                  <a:cubicBezTo>
                                    <a:pt x="855" y="147"/>
                                    <a:pt x="857" y="149"/>
                                    <a:pt x="859" y="150"/>
                                  </a:cubicBezTo>
                                  <a:cubicBezTo>
                                    <a:pt x="861" y="152"/>
                                    <a:pt x="864" y="152"/>
                                    <a:pt x="867" y="152"/>
                                  </a:cubicBezTo>
                                  <a:close/>
                                  <a:moveTo>
                                    <a:pt x="734" y="224"/>
                                  </a:moveTo>
                                  <a:cubicBezTo>
                                    <a:pt x="731" y="226"/>
                                    <a:pt x="729" y="225"/>
                                    <a:pt x="728" y="227"/>
                                  </a:cubicBezTo>
                                  <a:cubicBezTo>
                                    <a:pt x="728" y="229"/>
                                    <a:pt x="726" y="231"/>
                                    <a:pt x="727" y="233"/>
                                  </a:cubicBezTo>
                                  <a:cubicBezTo>
                                    <a:pt x="728" y="235"/>
                                    <a:pt x="727" y="237"/>
                                    <a:pt x="731" y="238"/>
                                  </a:cubicBezTo>
                                  <a:cubicBezTo>
                                    <a:pt x="735" y="238"/>
                                    <a:pt x="739" y="240"/>
                                    <a:pt x="741" y="239"/>
                                  </a:cubicBezTo>
                                  <a:cubicBezTo>
                                    <a:pt x="744" y="237"/>
                                    <a:pt x="744" y="236"/>
                                    <a:pt x="746" y="235"/>
                                  </a:cubicBezTo>
                                  <a:cubicBezTo>
                                    <a:pt x="749" y="233"/>
                                    <a:pt x="752" y="232"/>
                                    <a:pt x="755" y="232"/>
                                  </a:cubicBezTo>
                                  <a:cubicBezTo>
                                    <a:pt x="758" y="232"/>
                                    <a:pt x="761" y="233"/>
                                    <a:pt x="762" y="230"/>
                                  </a:cubicBezTo>
                                  <a:cubicBezTo>
                                    <a:pt x="764" y="227"/>
                                    <a:pt x="765" y="226"/>
                                    <a:pt x="769" y="226"/>
                                  </a:cubicBezTo>
                                  <a:cubicBezTo>
                                    <a:pt x="774" y="226"/>
                                    <a:pt x="778" y="226"/>
                                    <a:pt x="780" y="225"/>
                                  </a:cubicBezTo>
                                  <a:cubicBezTo>
                                    <a:pt x="783" y="223"/>
                                    <a:pt x="787" y="222"/>
                                    <a:pt x="787" y="219"/>
                                  </a:cubicBezTo>
                                  <a:cubicBezTo>
                                    <a:pt x="788" y="217"/>
                                    <a:pt x="789" y="212"/>
                                    <a:pt x="789" y="209"/>
                                  </a:cubicBezTo>
                                  <a:cubicBezTo>
                                    <a:pt x="789" y="206"/>
                                    <a:pt x="791" y="204"/>
                                    <a:pt x="791" y="201"/>
                                  </a:cubicBezTo>
                                  <a:cubicBezTo>
                                    <a:pt x="792" y="199"/>
                                    <a:pt x="793" y="194"/>
                                    <a:pt x="791" y="192"/>
                                  </a:cubicBezTo>
                                  <a:cubicBezTo>
                                    <a:pt x="790" y="189"/>
                                    <a:pt x="788" y="186"/>
                                    <a:pt x="784" y="186"/>
                                  </a:cubicBezTo>
                                  <a:cubicBezTo>
                                    <a:pt x="779" y="186"/>
                                    <a:pt x="773" y="186"/>
                                    <a:pt x="772" y="191"/>
                                  </a:cubicBezTo>
                                  <a:cubicBezTo>
                                    <a:pt x="772" y="195"/>
                                    <a:pt x="772" y="197"/>
                                    <a:pt x="768" y="198"/>
                                  </a:cubicBezTo>
                                  <a:cubicBezTo>
                                    <a:pt x="764" y="198"/>
                                    <a:pt x="761" y="198"/>
                                    <a:pt x="760" y="201"/>
                                  </a:cubicBezTo>
                                  <a:cubicBezTo>
                                    <a:pt x="758" y="205"/>
                                    <a:pt x="756" y="207"/>
                                    <a:pt x="754" y="206"/>
                                  </a:cubicBezTo>
                                  <a:cubicBezTo>
                                    <a:pt x="751" y="205"/>
                                    <a:pt x="749" y="202"/>
                                    <a:pt x="745" y="202"/>
                                  </a:cubicBezTo>
                                  <a:cubicBezTo>
                                    <a:pt x="741" y="202"/>
                                    <a:pt x="735" y="200"/>
                                    <a:pt x="733" y="203"/>
                                  </a:cubicBezTo>
                                  <a:cubicBezTo>
                                    <a:pt x="732" y="205"/>
                                    <a:pt x="731" y="206"/>
                                    <a:pt x="733" y="208"/>
                                  </a:cubicBezTo>
                                  <a:cubicBezTo>
                                    <a:pt x="735" y="211"/>
                                    <a:pt x="736" y="212"/>
                                    <a:pt x="737" y="213"/>
                                  </a:cubicBezTo>
                                  <a:cubicBezTo>
                                    <a:pt x="739" y="215"/>
                                    <a:pt x="740" y="216"/>
                                    <a:pt x="738" y="219"/>
                                  </a:cubicBezTo>
                                  <a:cubicBezTo>
                                    <a:pt x="737" y="222"/>
                                    <a:pt x="737" y="222"/>
                                    <a:pt x="734" y="224"/>
                                  </a:cubicBezTo>
                                  <a:close/>
                                  <a:moveTo>
                                    <a:pt x="640" y="335"/>
                                  </a:moveTo>
                                  <a:cubicBezTo>
                                    <a:pt x="638" y="339"/>
                                    <a:pt x="636" y="339"/>
                                    <a:pt x="635" y="341"/>
                                  </a:cubicBezTo>
                                  <a:cubicBezTo>
                                    <a:pt x="635" y="343"/>
                                    <a:pt x="636" y="344"/>
                                    <a:pt x="637" y="344"/>
                                  </a:cubicBezTo>
                                  <a:cubicBezTo>
                                    <a:pt x="639" y="344"/>
                                    <a:pt x="639" y="344"/>
                                    <a:pt x="641" y="343"/>
                                  </a:cubicBezTo>
                                  <a:cubicBezTo>
                                    <a:pt x="642" y="341"/>
                                    <a:pt x="645" y="341"/>
                                    <a:pt x="645" y="339"/>
                                  </a:cubicBezTo>
                                  <a:cubicBezTo>
                                    <a:pt x="646" y="337"/>
                                    <a:pt x="641" y="333"/>
                                    <a:pt x="640" y="335"/>
                                  </a:cubicBezTo>
                                  <a:close/>
                                  <a:moveTo>
                                    <a:pt x="702" y="265"/>
                                  </a:moveTo>
                                  <a:cubicBezTo>
                                    <a:pt x="700" y="265"/>
                                    <a:pt x="697" y="265"/>
                                    <a:pt x="694" y="265"/>
                                  </a:cubicBezTo>
                                  <a:cubicBezTo>
                                    <a:pt x="691" y="265"/>
                                    <a:pt x="688" y="261"/>
                                    <a:pt x="686" y="261"/>
                                  </a:cubicBezTo>
                                  <a:cubicBezTo>
                                    <a:pt x="684" y="261"/>
                                    <a:pt x="678" y="260"/>
                                    <a:pt x="678" y="263"/>
                                  </a:cubicBezTo>
                                  <a:cubicBezTo>
                                    <a:pt x="677" y="267"/>
                                    <a:pt x="678" y="270"/>
                                    <a:pt x="679" y="273"/>
                                  </a:cubicBezTo>
                                  <a:cubicBezTo>
                                    <a:pt x="680" y="276"/>
                                    <a:pt x="680" y="277"/>
                                    <a:pt x="679" y="280"/>
                                  </a:cubicBezTo>
                                  <a:cubicBezTo>
                                    <a:pt x="677" y="282"/>
                                    <a:pt x="676" y="283"/>
                                    <a:pt x="674" y="282"/>
                                  </a:cubicBezTo>
                                  <a:cubicBezTo>
                                    <a:pt x="670" y="284"/>
                                    <a:pt x="661" y="292"/>
                                    <a:pt x="658" y="294"/>
                                  </a:cubicBezTo>
                                  <a:cubicBezTo>
                                    <a:pt x="655" y="296"/>
                                    <a:pt x="650" y="297"/>
                                    <a:pt x="650" y="296"/>
                                  </a:cubicBezTo>
                                  <a:cubicBezTo>
                                    <a:pt x="650" y="294"/>
                                    <a:pt x="646" y="291"/>
                                    <a:pt x="652" y="289"/>
                                  </a:cubicBezTo>
                                  <a:cubicBezTo>
                                    <a:pt x="657" y="286"/>
                                    <a:pt x="661" y="284"/>
                                    <a:pt x="662" y="282"/>
                                  </a:cubicBezTo>
                                  <a:cubicBezTo>
                                    <a:pt x="663" y="279"/>
                                    <a:pt x="663" y="278"/>
                                    <a:pt x="661" y="276"/>
                                  </a:cubicBezTo>
                                  <a:cubicBezTo>
                                    <a:pt x="659" y="275"/>
                                    <a:pt x="658" y="273"/>
                                    <a:pt x="655" y="274"/>
                                  </a:cubicBezTo>
                                  <a:cubicBezTo>
                                    <a:pt x="652" y="275"/>
                                    <a:pt x="654" y="276"/>
                                    <a:pt x="650" y="277"/>
                                  </a:cubicBezTo>
                                  <a:cubicBezTo>
                                    <a:pt x="647" y="277"/>
                                    <a:pt x="646" y="274"/>
                                    <a:pt x="644" y="277"/>
                                  </a:cubicBezTo>
                                  <a:cubicBezTo>
                                    <a:pt x="643" y="280"/>
                                    <a:pt x="641" y="282"/>
                                    <a:pt x="640" y="285"/>
                                  </a:cubicBezTo>
                                  <a:cubicBezTo>
                                    <a:pt x="639" y="288"/>
                                    <a:pt x="638" y="289"/>
                                    <a:pt x="636" y="290"/>
                                  </a:cubicBezTo>
                                  <a:cubicBezTo>
                                    <a:pt x="633" y="292"/>
                                    <a:pt x="631" y="290"/>
                                    <a:pt x="631" y="294"/>
                                  </a:cubicBezTo>
                                  <a:cubicBezTo>
                                    <a:pt x="630" y="298"/>
                                    <a:pt x="631" y="298"/>
                                    <a:pt x="629" y="302"/>
                                  </a:cubicBezTo>
                                  <a:cubicBezTo>
                                    <a:pt x="628" y="305"/>
                                    <a:pt x="627" y="302"/>
                                    <a:pt x="625" y="306"/>
                                  </a:cubicBezTo>
                                  <a:cubicBezTo>
                                    <a:pt x="624" y="309"/>
                                    <a:pt x="617" y="307"/>
                                    <a:pt x="625" y="312"/>
                                  </a:cubicBezTo>
                                  <a:cubicBezTo>
                                    <a:pt x="632" y="317"/>
                                    <a:pt x="634" y="316"/>
                                    <a:pt x="637" y="318"/>
                                  </a:cubicBezTo>
                                  <a:cubicBezTo>
                                    <a:pt x="640" y="321"/>
                                    <a:pt x="644" y="323"/>
                                    <a:pt x="648" y="321"/>
                                  </a:cubicBezTo>
                                  <a:cubicBezTo>
                                    <a:pt x="652" y="318"/>
                                    <a:pt x="653" y="316"/>
                                    <a:pt x="656" y="312"/>
                                  </a:cubicBezTo>
                                  <a:cubicBezTo>
                                    <a:pt x="658" y="308"/>
                                    <a:pt x="658" y="304"/>
                                    <a:pt x="663" y="303"/>
                                  </a:cubicBezTo>
                                  <a:cubicBezTo>
                                    <a:pt x="669" y="301"/>
                                    <a:pt x="669" y="297"/>
                                    <a:pt x="673" y="296"/>
                                  </a:cubicBezTo>
                                  <a:cubicBezTo>
                                    <a:pt x="677" y="295"/>
                                    <a:pt x="682" y="294"/>
                                    <a:pt x="687" y="294"/>
                                  </a:cubicBezTo>
                                  <a:cubicBezTo>
                                    <a:pt x="691" y="294"/>
                                    <a:pt x="694" y="294"/>
                                    <a:pt x="696" y="293"/>
                                  </a:cubicBezTo>
                                  <a:cubicBezTo>
                                    <a:pt x="699" y="292"/>
                                    <a:pt x="702" y="291"/>
                                    <a:pt x="701" y="285"/>
                                  </a:cubicBezTo>
                                  <a:cubicBezTo>
                                    <a:pt x="701" y="280"/>
                                    <a:pt x="701" y="277"/>
                                    <a:pt x="702" y="274"/>
                                  </a:cubicBezTo>
                                  <a:cubicBezTo>
                                    <a:pt x="703" y="270"/>
                                    <a:pt x="703" y="266"/>
                                    <a:pt x="702" y="265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4" name="Freeform 261"/>
                            <p:cNvSpPr>
                              <a:spLocks/>
                            </p:cNvSpPr>
                            <p:nvPr/>
                          </p:nvSpPr>
                          <p:spPr bwMode="auto">
                            <a:xfrm>
                              <a:off x="4732847" y="3141557"/>
                              <a:ext cx="188119" cy="290512"/>
                            </a:xfrm>
                            <a:custGeom>
                              <a:avLst/>
                              <a:gdLst>
                                <a:gd name="T0" fmla="*/ 493 w 653"/>
                                <a:gd name="T1" fmla="*/ 112 h 1014"/>
                                <a:gd name="T2" fmla="*/ 513 w 653"/>
                                <a:gd name="T3" fmla="*/ 57 h 1014"/>
                                <a:gd name="T4" fmla="*/ 455 w 653"/>
                                <a:gd name="T5" fmla="*/ 19 h 1014"/>
                                <a:gd name="T6" fmla="*/ 391 w 653"/>
                                <a:gd name="T7" fmla="*/ 12 h 1014"/>
                                <a:gd name="T8" fmla="*/ 318 w 653"/>
                                <a:gd name="T9" fmla="*/ 50 h 1014"/>
                                <a:gd name="T10" fmla="*/ 281 w 653"/>
                                <a:gd name="T11" fmla="*/ 131 h 1014"/>
                                <a:gd name="T12" fmla="*/ 225 w 653"/>
                                <a:gd name="T13" fmla="*/ 154 h 1014"/>
                                <a:gd name="T14" fmla="*/ 126 w 653"/>
                                <a:gd name="T15" fmla="*/ 147 h 1014"/>
                                <a:gd name="T16" fmla="*/ 70 w 653"/>
                                <a:gd name="T17" fmla="*/ 116 h 1014"/>
                                <a:gd name="T18" fmla="*/ 34 w 653"/>
                                <a:gd name="T19" fmla="*/ 89 h 1014"/>
                                <a:gd name="T20" fmla="*/ 12 w 653"/>
                                <a:gd name="T21" fmla="*/ 104 h 1014"/>
                                <a:gd name="T22" fmla="*/ 9 w 653"/>
                                <a:gd name="T23" fmla="*/ 119 h 1014"/>
                                <a:gd name="T24" fmla="*/ 156 w 653"/>
                                <a:gd name="T25" fmla="*/ 207 h 1014"/>
                                <a:gd name="T26" fmla="*/ 168 w 653"/>
                                <a:gd name="T27" fmla="*/ 272 h 1014"/>
                                <a:gd name="T28" fmla="*/ 173 w 653"/>
                                <a:gd name="T29" fmla="*/ 312 h 1014"/>
                                <a:gd name="T30" fmla="*/ 181 w 653"/>
                                <a:gd name="T31" fmla="*/ 400 h 1014"/>
                                <a:gd name="T32" fmla="*/ 207 w 653"/>
                                <a:gd name="T33" fmla="*/ 447 h 1014"/>
                                <a:gd name="T34" fmla="*/ 273 w 653"/>
                                <a:gd name="T35" fmla="*/ 486 h 1014"/>
                                <a:gd name="T36" fmla="*/ 282 w 653"/>
                                <a:gd name="T37" fmla="*/ 537 h 1014"/>
                                <a:gd name="T38" fmla="*/ 255 w 653"/>
                                <a:gd name="T39" fmla="*/ 543 h 1014"/>
                                <a:gd name="T40" fmla="*/ 207 w 653"/>
                                <a:gd name="T41" fmla="*/ 588 h 1014"/>
                                <a:gd name="T42" fmla="*/ 157 w 653"/>
                                <a:gd name="T43" fmla="*/ 628 h 1014"/>
                                <a:gd name="T44" fmla="*/ 116 w 653"/>
                                <a:gd name="T45" fmla="*/ 667 h 1014"/>
                                <a:gd name="T46" fmla="*/ 82 w 653"/>
                                <a:gd name="T47" fmla="*/ 708 h 1014"/>
                                <a:gd name="T48" fmla="*/ 52 w 653"/>
                                <a:gd name="T49" fmla="*/ 723 h 1014"/>
                                <a:gd name="T50" fmla="*/ 20 w 653"/>
                                <a:gd name="T51" fmla="*/ 778 h 1014"/>
                                <a:gd name="T52" fmla="*/ 40 w 653"/>
                                <a:gd name="T53" fmla="*/ 843 h 1014"/>
                                <a:gd name="T54" fmla="*/ 44 w 653"/>
                                <a:gd name="T55" fmla="*/ 899 h 1014"/>
                                <a:gd name="T56" fmla="*/ 40 w 653"/>
                                <a:gd name="T57" fmla="*/ 961 h 1014"/>
                                <a:gd name="T58" fmla="*/ 87 w 653"/>
                                <a:gd name="T59" fmla="*/ 969 h 1014"/>
                                <a:gd name="T60" fmla="*/ 135 w 653"/>
                                <a:gd name="T61" fmla="*/ 983 h 1014"/>
                                <a:gd name="T62" fmla="*/ 176 w 653"/>
                                <a:gd name="T63" fmla="*/ 1009 h 1014"/>
                                <a:gd name="T64" fmla="*/ 240 w 653"/>
                                <a:gd name="T65" fmla="*/ 993 h 1014"/>
                                <a:gd name="T66" fmla="*/ 309 w 653"/>
                                <a:gd name="T67" fmla="*/ 984 h 1014"/>
                                <a:gd name="T68" fmla="*/ 373 w 653"/>
                                <a:gd name="T69" fmla="*/ 962 h 1014"/>
                                <a:gd name="T70" fmla="*/ 443 w 653"/>
                                <a:gd name="T71" fmla="*/ 941 h 1014"/>
                                <a:gd name="T72" fmla="*/ 539 w 653"/>
                                <a:gd name="T73" fmla="*/ 868 h 1014"/>
                                <a:gd name="T74" fmla="*/ 649 w 653"/>
                                <a:gd name="T75" fmla="*/ 749 h 1014"/>
                                <a:gd name="T76" fmla="*/ 619 w 653"/>
                                <a:gd name="T77" fmla="*/ 701 h 1014"/>
                                <a:gd name="T78" fmla="*/ 580 w 653"/>
                                <a:gd name="T79" fmla="*/ 637 h 1014"/>
                                <a:gd name="T80" fmla="*/ 566 w 653"/>
                                <a:gd name="T81" fmla="*/ 585 h 1014"/>
                                <a:gd name="T82" fmla="*/ 560 w 653"/>
                                <a:gd name="T83" fmla="*/ 558 h 1014"/>
                                <a:gd name="T84" fmla="*/ 544 w 653"/>
                                <a:gd name="T85" fmla="*/ 525 h 1014"/>
                                <a:gd name="T86" fmla="*/ 539 w 653"/>
                                <a:gd name="T87" fmla="*/ 494 h 1014"/>
                                <a:gd name="T88" fmla="*/ 561 w 653"/>
                                <a:gd name="T89" fmla="*/ 462 h 1014"/>
                                <a:gd name="T90" fmla="*/ 557 w 653"/>
                                <a:gd name="T91" fmla="*/ 439 h 1014"/>
                                <a:gd name="T92" fmla="*/ 504 w 653"/>
                                <a:gd name="T93" fmla="*/ 335 h 1014"/>
                                <a:gd name="T94" fmla="*/ 553 w 653"/>
                                <a:gd name="T95" fmla="*/ 257 h 1014"/>
                                <a:gd name="T96" fmla="*/ 513 w 653"/>
                                <a:gd name="T97" fmla="*/ 213 h 1014"/>
                                <a:gd name="T98" fmla="*/ 466 w 653"/>
                                <a:gd name="T99" fmla="*/ 176 h 1014"/>
                                <a:gd name="T100" fmla="*/ 468 w 653"/>
                                <a:gd name="T101" fmla="*/ 134 h 101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  <a:cxn ang="0">
                                  <a:pos x="T100" y="T101"/>
                                </a:cxn>
                              </a:cxnLst>
                              <a:rect l="0" t="0" r="r" b="b"/>
                              <a:pathLst>
                                <a:path w="653" h="1014">
                                  <a:moveTo>
                                    <a:pt x="470" y="120"/>
                                  </a:moveTo>
                                  <a:cubicBezTo>
                                    <a:pt x="470" y="120"/>
                                    <a:pt x="470" y="120"/>
                                    <a:pt x="470" y="120"/>
                                  </a:cubicBezTo>
                                  <a:cubicBezTo>
                                    <a:pt x="473" y="118"/>
                                    <a:pt x="478" y="116"/>
                                    <a:pt x="483" y="114"/>
                                  </a:cubicBezTo>
                                  <a:cubicBezTo>
                                    <a:pt x="486" y="113"/>
                                    <a:pt x="490" y="112"/>
                                    <a:pt x="493" y="112"/>
                                  </a:cubicBezTo>
                                  <a:cubicBezTo>
                                    <a:pt x="496" y="111"/>
                                    <a:pt x="499" y="110"/>
                                    <a:pt x="501" y="109"/>
                                  </a:cubicBezTo>
                                  <a:cubicBezTo>
                                    <a:pt x="499" y="105"/>
                                    <a:pt x="496" y="98"/>
                                    <a:pt x="493" y="91"/>
                                  </a:cubicBezTo>
                                  <a:cubicBezTo>
                                    <a:pt x="490" y="82"/>
                                    <a:pt x="499" y="72"/>
                                    <a:pt x="507" y="64"/>
                                  </a:cubicBezTo>
                                  <a:cubicBezTo>
                                    <a:pt x="510" y="61"/>
                                    <a:pt x="512" y="58"/>
                                    <a:pt x="513" y="57"/>
                                  </a:cubicBezTo>
                                  <a:cubicBezTo>
                                    <a:pt x="514" y="55"/>
                                    <a:pt x="513" y="54"/>
                                    <a:pt x="512" y="52"/>
                                  </a:cubicBezTo>
                                  <a:cubicBezTo>
                                    <a:pt x="509" y="49"/>
                                    <a:pt x="505" y="46"/>
                                    <a:pt x="499" y="41"/>
                                  </a:cubicBezTo>
                                  <a:cubicBezTo>
                                    <a:pt x="491" y="36"/>
                                    <a:pt x="484" y="33"/>
                                    <a:pt x="475" y="29"/>
                                  </a:cubicBezTo>
                                  <a:cubicBezTo>
                                    <a:pt x="469" y="26"/>
                                    <a:pt x="462" y="23"/>
                                    <a:pt x="455" y="19"/>
                                  </a:cubicBezTo>
                                  <a:cubicBezTo>
                                    <a:pt x="447" y="14"/>
                                    <a:pt x="441" y="10"/>
                                    <a:pt x="436" y="7"/>
                                  </a:cubicBezTo>
                                  <a:cubicBezTo>
                                    <a:pt x="430" y="3"/>
                                    <a:pt x="426" y="0"/>
                                    <a:pt x="423" y="0"/>
                                  </a:cubicBezTo>
                                  <a:cubicBezTo>
                                    <a:pt x="421" y="0"/>
                                    <a:pt x="418" y="2"/>
                                    <a:pt x="415" y="3"/>
                                  </a:cubicBezTo>
                                  <a:cubicBezTo>
                                    <a:pt x="410" y="6"/>
                                    <a:pt x="403" y="10"/>
                                    <a:pt x="391" y="12"/>
                                  </a:cubicBezTo>
                                  <a:cubicBezTo>
                                    <a:pt x="383" y="14"/>
                                    <a:pt x="376" y="15"/>
                                    <a:pt x="370" y="15"/>
                                  </a:cubicBezTo>
                                  <a:cubicBezTo>
                                    <a:pt x="363" y="16"/>
                                    <a:pt x="357" y="17"/>
                                    <a:pt x="352" y="18"/>
                                  </a:cubicBezTo>
                                  <a:cubicBezTo>
                                    <a:pt x="348" y="20"/>
                                    <a:pt x="341" y="25"/>
                                    <a:pt x="334" y="32"/>
                                  </a:cubicBezTo>
                                  <a:cubicBezTo>
                                    <a:pt x="327" y="38"/>
                                    <a:pt x="321" y="45"/>
                                    <a:pt x="318" y="50"/>
                                  </a:cubicBezTo>
                                  <a:cubicBezTo>
                                    <a:pt x="315" y="56"/>
                                    <a:pt x="312" y="74"/>
                                    <a:pt x="309" y="90"/>
                                  </a:cubicBezTo>
                                  <a:cubicBezTo>
                                    <a:pt x="307" y="104"/>
                                    <a:pt x="305" y="117"/>
                                    <a:pt x="303" y="122"/>
                                  </a:cubicBezTo>
                                  <a:cubicBezTo>
                                    <a:pt x="299" y="131"/>
                                    <a:pt x="295" y="131"/>
                                    <a:pt x="289" y="130"/>
                                  </a:cubicBezTo>
                                  <a:cubicBezTo>
                                    <a:pt x="287" y="130"/>
                                    <a:pt x="285" y="130"/>
                                    <a:pt x="281" y="131"/>
                                  </a:cubicBezTo>
                                  <a:cubicBezTo>
                                    <a:pt x="277" y="132"/>
                                    <a:pt x="272" y="140"/>
                                    <a:pt x="267" y="147"/>
                                  </a:cubicBezTo>
                                  <a:cubicBezTo>
                                    <a:pt x="262" y="153"/>
                                    <a:pt x="258" y="159"/>
                                    <a:pt x="253" y="162"/>
                                  </a:cubicBezTo>
                                  <a:cubicBezTo>
                                    <a:pt x="253" y="162"/>
                                    <a:pt x="253" y="162"/>
                                    <a:pt x="253" y="162"/>
                                  </a:cubicBezTo>
                                  <a:cubicBezTo>
                                    <a:pt x="245" y="166"/>
                                    <a:pt x="237" y="161"/>
                                    <a:pt x="225" y="154"/>
                                  </a:cubicBezTo>
                                  <a:cubicBezTo>
                                    <a:pt x="218" y="150"/>
                                    <a:pt x="209" y="145"/>
                                    <a:pt x="200" y="141"/>
                                  </a:cubicBezTo>
                                  <a:cubicBezTo>
                                    <a:pt x="185" y="134"/>
                                    <a:pt x="182" y="136"/>
                                    <a:pt x="180" y="139"/>
                                  </a:cubicBezTo>
                                  <a:cubicBezTo>
                                    <a:pt x="177" y="141"/>
                                    <a:pt x="175" y="143"/>
                                    <a:pt x="170" y="144"/>
                                  </a:cubicBezTo>
                                  <a:cubicBezTo>
                                    <a:pt x="162" y="146"/>
                                    <a:pt x="144" y="147"/>
                                    <a:pt x="126" y="147"/>
                                  </a:cubicBezTo>
                                  <a:cubicBezTo>
                                    <a:pt x="113" y="147"/>
                                    <a:pt x="100" y="146"/>
                                    <a:pt x="92" y="144"/>
                                  </a:cubicBezTo>
                                  <a:cubicBezTo>
                                    <a:pt x="78" y="140"/>
                                    <a:pt x="77" y="135"/>
                                    <a:pt x="76" y="127"/>
                                  </a:cubicBezTo>
                                  <a:cubicBezTo>
                                    <a:pt x="76" y="127"/>
                                    <a:pt x="76" y="127"/>
                                    <a:pt x="76" y="127"/>
                                  </a:cubicBezTo>
                                  <a:cubicBezTo>
                                    <a:pt x="75" y="124"/>
                                    <a:pt x="74" y="120"/>
                                    <a:pt x="70" y="116"/>
                                  </a:cubicBezTo>
                                  <a:cubicBezTo>
                                    <a:pt x="65" y="111"/>
                                    <a:pt x="59" y="106"/>
                                    <a:pt x="53" y="101"/>
                                  </a:cubicBezTo>
                                  <a:cubicBezTo>
                                    <a:pt x="45" y="95"/>
                                    <a:pt x="36" y="90"/>
                                    <a:pt x="34" y="89"/>
                                  </a:cubicBezTo>
                                  <a:cubicBezTo>
                                    <a:pt x="34" y="89"/>
                                    <a:pt x="34" y="89"/>
                                    <a:pt x="34" y="89"/>
                                  </a:cubicBezTo>
                                  <a:cubicBezTo>
                                    <a:pt x="34" y="89"/>
                                    <a:pt x="34" y="89"/>
                                    <a:pt x="34" y="89"/>
                                  </a:cubicBezTo>
                                  <a:cubicBezTo>
                                    <a:pt x="32" y="88"/>
                                    <a:pt x="28" y="88"/>
                                    <a:pt x="24" y="89"/>
                                  </a:cubicBezTo>
                                  <a:cubicBezTo>
                                    <a:pt x="21" y="90"/>
                                    <a:pt x="18" y="91"/>
                                    <a:pt x="17" y="93"/>
                                  </a:cubicBezTo>
                                  <a:cubicBezTo>
                                    <a:pt x="17" y="93"/>
                                    <a:pt x="17" y="93"/>
                                    <a:pt x="17" y="93"/>
                                  </a:cubicBezTo>
                                  <a:cubicBezTo>
                                    <a:pt x="16" y="97"/>
                                    <a:pt x="14" y="101"/>
                                    <a:pt x="12" y="104"/>
                                  </a:cubicBezTo>
                                  <a:cubicBezTo>
                                    <a:pt x="12" y="104"/>
                                    <a:pt x="12" y="104"/>
                                    <a:pt x="12" y="104"/>
                                  </a:cubicBezTo>
                                  <a:cubicBezTo>
                                    <a:pt x="9" y="108"/>
                                    <a:pt x="6" y="110"/>
                                    <a:pt x="3" y="111"/>
                                  </a:cubicBezTo>
                                  <a:cubicBezTo>
                                    <a:pt x="2" y="111"/>
                                    <a:pt x="1" y="112"/>
                                    <a:pt x="0" y="112"/>
                                  </a:cubicBezTo>
                                  <a:cubicBezTo>
                                    <a:pt x="2" y="114"/>
                                    <a:pt x="5" y="116"/>
                                    <a:pt x="9" y="119"/>
                                  </a:cubicBezTo>
                                  <a:cubicBezTo>
                                    <a:pt x="17" y="125"/>
                                    <a:pt x="29" y="133"/>
                                    <a:pt x="36" y="137"/>
                                  </a:cubicBezTo>
                                  <a:cubicBezTo>
                                    <a:pt x="41" y="140"/>
                                    <a:pt x="60" y="151"/>
                                    <a:pt x="82" y="163"/>
                                  </a:cubicBezTo>
                                  <a:cubicBezTo>
                                    <a:pt x="114" y="182"/>
                                    <a:pt x="151" y="203"/>
                                    <a:pt x="153" y="205"/>
                                  </a:cubicBezTo>
                                  <a:cubicBezTo>
                                    <a:pt x="154" y="205"/>
                                    <a:pt x="155" y="206"/>
                                    <a:pt x="156" y="207"/>
                                  </a:cubicBezTo>
                                  <a:cubicBezTo>
                                    <a:pt x="161" y="212"/>
                                    <a:pt x="173" y="222"/>
                                    <a:pt x="173" y="229"/>
                                  </a:cubicBezTo>
                                  <a:cubicBezTo>
                                    <a:pt x="173" y="231"/>
                                    <a:pt x="172" y="236"/>
                                    <a:pt x="171" y="241"/>
                                  </a:cubicBezTo>
                                  <a:cubicBezTo>
                                    <a:pt x="169" y="253"/>
                                    <a:pt x="166" y="269"/>
                                    <a:pt x="168" y="272"/>
                                  </a:cubicBezTo>
                                  <a:cubicBezTo>
                                    <a:pt x="168" y="272"/>
                                    <a:pt x="168" y="272"/>
                                    <a:pt x="168" y="272"/>
                                  </a:cubicBezTo>
                                  <a:cubicBezTo>
                                    <a:pt x="169" y="274"/>
                                    <a:pt x="172" y="276"/>
                                    <a:pt x="174" y="278"/>
                                  </a:cubicBezTo>
                                  <a:cubicBezTo>
                                    <a:pt x="180" y="283"/>
                                    <a:pt x="186" y="288"/>
                                    <a:pt x="184" y="294"/>
                                  </a:cubicBezTo>
                                  <a:cubicBezTo>
                                    <a:pt x="182" y="297"/>
                                    <a:pt x="180" y="299"/>
                                    <a:pt x="178" y="301"/>
                                  </a:cubicBezTo>
                                  <a:cubicBezTo>
                                    <a:pt x="176" y="304"/>
                                    <a:pt x="172" y="307"/>
                                    <a:pt x="173" y="312"/>
                                  </a:cubicBezTo>
                                  <a:cubicBezTo>
                                    <a:pt x="173" y="317"/>
                                    <a:pt x="179" y="323"/>
                                    <a:pt x="185" y="329"/>
                                  </a:cubicBezTo>
                                  <a:cubicBezTo>
                                    <a:pt x="190" y="335"/>
                                    <a:pt x="196" y="340"/>
                                    <a:pt x="197" y="346"/>
                                  </a:cubicBezTo>
                                  <a:cubicBezTo>
                                    <a:pt x="199" y="352"/>
                                    <a:pt x="193" y="366"/>
                                    <a:pt x="188" y="379"/>
                                  </a:cubicBezTo>
                                  <a:cubicBezTo>
                                    <a:pt x="184" y="389"/>
                                    <a:pt x="180" y="398"/>
                                    <a:pt x="181" y="400"/>
                                  </a:cubicBezTo>
                                  <a:cubicBezTo>
                                    <a:pt x="181" y="403"/>
                                    <a:pt x="183" y="407"/>
                                    <a:pt x="186" y="411"/>
                                  </a:cubicBezTo>
                                  <a:cubicBezTo>
                                    <a:pt x="186" y="411"/>
                                    <a:pt x="186" y="411"/>
                                    <a:pt x="186" y="411"/>
                                  </a:cubicBezTo>
                                  <a:cubicBezTo>
                                    <a:pt x="189" y="416"/>
                                    <a:pt x="193" y="421"/>
                                    <a:pt x="199" y="427"/>
                                  </a:cubicBezTo>
                                  <a:cubicBezTo>
                                    <a:pt x="206" y="434"/>
                                    <a:pt x="207" y="439"/>
                                    <a:pt x="207" y="447"/>
                                  </a:cubicBezTo>
                                  <a:cubicBezTo>
                                    <a:pt x="214" y="448"/>
                                    <a:pt x="215" y="449"/>
                                    <a:pt x="222" y="454"/>
                                  </a:cubicBezTo>
                                  <a:cubicBezTo>
                                    <a:pt x="229" y="459"/>
                                    <a:pt x="232" y="464"/>
                                    <a:pt x="244" y="466"/>
                                  </a:cubicBezTo>
                                  <a:cubicBezTo>
                                    <a:pt x="256" y="467"/>
                                    <a:pt x="264" y="465"/>
                                    <a:pt x="268" y="470"/>
                                  </a:cubicBezTo>
                                  <a:cubicBezTo>
                                    <a:pt x="272" y="475"/>
                                    <a:pt x="273" y="474"/>
                                    <a:pt x="273" y="486"/>
                                  </a:cubicBezTo>
                                  <a:cubicBezTo>
                                    <a:pt x="273" y="498"/>
                                    <a:pt x="274" y="500"/>
                                    <a:pt x="272" y="506"/>
                                  </a:cubicBezTo>
                                  <a:cubicBezTo>
                                    <a:pt x="271" y="512"/>
                                    <a:pt x="270" y="515"/>
                                    <a:pt x="275" y="520"/>
                                  </a:cubicBezTo>
                                  <a:cubicBezTo>
                                    <a:pt x="281" y="525"/>
                                    <a:pt x="285" y="523"/>
                                    <a:pt x="285" y="529"/>
                                  </a:cubicBezTo>
                                  <a:cubicBezTo>
                                    <a:pt x="286" y="534"/>
                                    <a:pt x="286" y="537"/>
                                    <a:pt x="282" y="537"/>
                                  </a:cubicBezTo>
                                  <a:cubicBezTo>
                                    <a:pt x="277" y="537"/>
                                    <a:pt x="275" y="533"/>
                                    <a:pt x="274" y="537"/>
                                  </a:cubicBezTo>
                                  <a:cubicBezTo>
                                    <a:pt x="273" y="541"/>
                                    <a:pt x="278" y="543"/>
                                    <a:pt x="277" y="548"/>
                                  </a:cubicBezTo>
                                  <a:cubicBezTo>
                                    <a:pt x="276" y="552"/>
                                    <a:pt x="272" y="554"/>
                                    <a:pt x="269" y="551"/>
                                  </a:cubicBezTo>
                                  <a:cubicBezTo>
                                    <a:pt x="265" y="548"/>
                                    <a:pt x="261" y="541"/>
                                    <a:pt x="255" y="543"/>
                                  </a:cubicBezTo>
                                  <a:cubicBezTo>
                                    <a:pt x="250" y="545"/>
                                    <a:pt x="243" y="552"/>
                                    <a:pt x="239" y="553"/>
                                  </a:cubicBezTo>
                                  <a:cubicBezTo>
                                    <a:pt x="236" y="554"/>
                                    <a:pt x="231" y="552"/>
                                    <a:pt x="228" y="559"/>
                                  </a:cubicBezTo>
                                  <a:cubicBezTo>
                                    <a:pt x="225" y="566"/>
                                    <a:pt x="224" y="571"/>
                                    <a:pt x="220" y="576"/>
                                  </a:cubicBezTo>
                                  <a:cubicBezTo>
                                    <a:pt x="217" y="580"/>
                                    <a:pt x="213" y="583"/>
                                    <a:pt x="207" y="588"/>
                                  </a:cubicBezTo>
                                  <a:cubicBezTo>
                                    <a:pt x="201" y="594"/>
                                    <a:pt x="193" y="597"/>
                                    <a:pt x="190" y="602"/>
                                  </a:cubicBezTo>
                                  <a:cubicBezTo>
                                    <a:pt x="188" y="606"/>
                                    <a:pt x="177" y="615"/>
                                    <a:pt x="176" y="620"/>
                                  </a:cubicBezTo>
                                  <a:cubicBezTo>
                                    <a:pt x="174" y="625"/>
                                    <a:pt x="173" y="625"/>
                                    <a:pt x="169" y="626"/>
                                  </a:cubicBezTo>
                                  <a:cubicBezTo>
                                    <a:pt x="164" y="626"/>
                                    <a:pt x="159" y="624"/>
                                    <a:pt x="157" y="628"/>
                                  </a:cubicBezTo>
                                  <a:cubicBezTo>
                                    <a:pt x="155" y="633"/>
                                    <a:pt x="157" y="638"/>
                                    <a:pt x="156" y="640"/>
                                  </a:cubicBezTo>
                                  <a:cubicBezTo>
                                    <a:pt x="156" y="643"/>
                                    <a:pt x="150" y="642"/>
                                    <a:pt x="144" y="646"/>
                                  </a:cubicBezTo>
                                  <a:cubicBezTo>
                                    <a:pt x="139" y="649"/>
                                    <a:pt x="131" y="657"/>
                                    <a:pt x="127" y="661"/>
                                  </a:cubicBezTo>
                                  <a:cubicBezTo>
                                    <a:pt x="124" y="665"/>
                                    <a:pt x="122" y="664"/>
                                    <a:pt x="116" y="667"/>
                                  </a:cubicBezTo>
                                  <a:cubicBezTo>
                                    <a:pt x="110" y="669"/>
                                    <a:pt x="100" y="674"/>
                                    <a:pt x="97" y="677"/>
                                  </a:cubicBezTo>
                                  <a:cubicBezTo>
                                    <a:pt x="95" y="680"/>
                                    <a:pt x="89" y="679"/>
                                    <a:pt x="91" y="685"/>
                                  </a:cubicBezTo>
                                  <a:cubicBezTo>
                                    <a:pt x="93" y="691"/>
                                    <a:pt x="99" y="692"/>
                                    <a:pt x="96" y="697"/>
                                  </a:cubicBezTo>
                                  <a:cubicBezTo>
                                    <a:pt x="92" y="703"/>
                                    <a:pt x="87" y="705"/>
                                    <a:pt x="82" y="708"/>
                                  </a:cubicBezTo>
                                  <a:cubicBezTo>
                                    <a:pt x="76" y="710"/>
                                    <a:pt x="74" y="714"/>
                                    <a:pt x="69" y="712"/>
                                  </a:cubicBezTo>
                                  <a:cubicBezTo>
                                    <a:pt x="65" y="710"/>
                                    <a:pt x="64" y="706"/>
                                    <a:pt x="59" y="706"/>
                                  </a:cubicBezTo>
                                  <a:cubicBezTo>
                                    <a:pt x="54" y="706"/>
                                    <a:pt x="49" y="704"/>
                                    <a:pt x="46" y="707"/>
                                  </a:cubicBezTo>
                                  <a:cubicBezTo>
                                    <a:pt x="44" y="711"/>
                                    <a:pt x="51" y="720"/>
                                    <a:pt x="52" y="723"/>
                                  </a:cubicBezTo>
                                  <a:cubicBezTo>
                                    <a:pt x="53" y="727"/>
                                    <a:pt x="51" y="727"/>
                                    <a:pt x="47" y="730"/>
                                  </a:cubicBezTo>
                                  <a:cubicBezTo>
                                    <a:pt x="42" y="732"/>
                                    <a:pt x="34" y="734"/>
                                    <a:pt x="29" y="740"/>
                                  </a:cubicBezTo>
                                  <a:cubicBezTo>
                                    <a:pt x="23" y="746"/>
                                    <a:pt x="23" y="751"/>
                                    <a:pt x="21" y="757"/>
                                  </a:cubicBezTo>
                                  <a:cubicBezTo>
                                    <a:pt x="19" y="763"/>
                                    <a:pt x="16" y="772"/>
                                    <a:pt x="20" y="778"/>
                                  </a:cubicBezTo>
                                  <a:cubicBezTo>
                                    <a:pt x="24" y="783"/>
                                    <a:pt x="28" y="789"/>
                                    <a:pt x="32" y="794"/>
                                  </a:cubicBezTo>
                                  <a:cubicBezTo>
                                    <a:pt x="36" y="798"/>
                                    <a:pt x="39" y="804"/>
                                    <a:pt x="38" y="811"/>
                                  </a:cubicBezTo>
                                  <a:cubicBezTo>
                                    <a:pt x="36" y="818"/>
                                    <a:pt x="29" y="819"/>
                                    <a:pt x="30" y="825"/>
                                  </a:cubicBezTo>
                                  <a:cubicBezTo>
                                    <a:pt x="31" y="830"/>
                                    <a:pt x="32" y="835"/>
                                    <a:pt x="40" y="843"/>
                                  </a:cubicBezTo>
                                  <a:cubicBezTo>
                                    <a:pt x="49" y="850"/>
                                    <a:pt x="55" y="859"/>
                                    <a:pt x="55" y="863"/>
                                  </a:cubicBezTo>
                                  <a:cubicBezTo>
                                    <a:pt x="55" y="867"/>
                                    <a:pt x="46" y="865"/>
                                    <a:pt x="43" y="869"/>
                                  </a:cubicBezTo>
                                  <a:cubicBezTo>
                                    <a:pt x="41" y="874"/>
                                    <a:pt x="41" y="871"/>
                                    <a:pt x="42" y="880"/>
                                  </a:cubicBezTo>
                                  <a:cubicBezTo>
                                    <a:pt x="44" y="888"/>
                                    <a:pt x="47" y="892"/>
                                    <a:pt x="44" y="899"/>
                                  </a:cubicBezTo>
                                  <a:cubicBezTo>
                                    <a:pt x="41" y="906"/>
                                    <a:pt x="33" y="908"/>
                                    <a:pt x="32" y="913"/>
                                  </a:cubicBezTo>
                                  <a:cubicBezTo>
                                    <a:pt x="30" y="918"/>
                                    <a:pt x="35" y="923"/>
                                    <a:pt x="35" y="930"/>
                                  </a:cubicBezTo>
                                  <a:cubicBezTo>
                                    <a:pt x="36" y="938"/>
                                    <a:pt x="35" y="941"/>
                                    <a:pt x="35" y="948"/>
                                  </a:cubicBezTo>
                                  <a:cubicBezTo>
                                    <a:pt x="36" y="955"/>
                                    <a:pt x="36" y="961"/>
                                    <a:pt x="40" y="961"/>
                                  </a:cubicBezTo>
                                  <a:cubicBezTo>
                                    <a:pt x="44" y="961"/>
                                    <a:pt x="47" y="957"/>
                                    <a:pt x="49" y="955"/>
                                  </a:cubicBezTo>
                                  <a:cubicBezTo>
                                    <a:pt x="52" y="954"/>
                                    <a:pt x="54" y="954"/>
                                    <a:pt x="60" y="957"/>
                                  </a:cubicBezTo>
                                  <a:cubicBezTo>
                                    <a:pt x="66" y="961"/>
                                    <a:pt x="70" y="964"/>
                                    <a:pt x="75" y="966"/>
                                  </a:cubicBezTo>
                                  <a:cubicBezTo>
                                    <a:pt x="80" y="967"/>
                                    <a:pt x="82" y="968"/>
                                    <a:pt x="87" y="969"/>
                                  </a:cubicBezTo>
                                  <a:cubicBezTo>
                                    <a:pt x="93" y="970"/>
                                    <a:pt x="92" y="967"/>
                                    <a:pt x="99" y="971"/>
                                  </a:cubicBezTo>
                                  <a:cubicBezTo>
                                    <a:pt x="106" y="976"/>
                                    <a:pt x="102" y="978"/>
                                    <a:pt x="109" y="980"/>
                                  </a:cubicBezTo>
                                  <a:cubicBezTo>
                                    <a:pt x="117" y="982"/>
                                    <a:pt x="119" y="982"/>
                                    <a:pt x="125" y="981"/>
                                  </a:cubicBezTo>
                                  <a:cubicBezTo>
                                    <a:pt x="132" y="979"/>
                                    <a:pt x="135" y="978"/>
                                    <a:pt x="135" y="983"/>
                                  </a:cubicBezTo>
                                  <a:cubicBezTo>
                                    <a:pt x="135" y="987"/>
                                    <a:pt x="128" y="989"/>
                                    <a:pt x="131" y="994"/>
                                  </a:cubicBezTo>
                                  <a:cubicBezTo>
                                    <a:pt x="135" y="999"/>
                                    <a:pt x="137" y="999"/>
                                    <a:pt x="142" y="1001"/>
                                  </a:cubicBezTo>
                                  <a:cubicBezTo>
                                    <a:pt x="147" y="1004"/>
                                    <a:pt x="145" y="1009"/>
                                    <a:pt x="154" y="1009"/>
                                  </a:cubicBezTo>
                                  <a:cubicBezTo>
                                    <a:pt x="163" y="1009"/>
                                    <a:pt x="168" y="1011"/>
                                    <a:pt x="176" y="1009"/>
                                  </a:cubicBezTo>
                                  <a:cubicBezTo>
                                    <a:pt x="183" y="1008"/>
                                    <a:pt x="194" y="1007"/>
                                    <a:pt x="199" y="1007"/>
                                  </a:cubicBezTo>
                                  <a:cubicBezTo>
                                    <a:pt x="203" y="1007"/>
                                    <a:pt x="215" y="1003"/>
                                    <a:pt x="218" y="1008"/>
                                  </a:cubicBezTo>
                                  <a:cubicBezTo>
                                    <a:pt x="221" y="1014"/>
                                    <a:pt x="224" y="1001"/>
                                    <a:pt x="226" y="998"/>
                                  </a:cubicBezTo>
                                  <a:cubicBezTo>
                                    <a:pt x="228" y="995"/>
                                    <a:pt x="231" y="993"/>
                                    <a:pt x="240" y="993"/>
                                  </a:cubicBezTo>
                                  <a:cubicBezTo>
                                    <a:pt x="248" y="993"/>
                                    <a:pt x="253" y="992"/>
                                    <a:pt x="263" y="992"/>
                                  </a:cubicBezTo>
                                  <a:cubicBezTo>
                                    <a:pt x="273" y="992"/>
                                    <a:pt x="279" y="993"/>
                                    <a:pt x="284" y="988"/>
                                  </a:cubicBezTo>
                                  <a:cubicBezTo>
                                    <a:pt x="289" y="982"/>
                                    <a:pt x="292" y="974"/>
                                    <a:pt x="298" y="978"/>
                                  </a:cubicBezTo>
                                  <a:cubicBezTo>
                                    <a:pt x="304" y="982"/>
                                    <a:pt x="303" y="988"/>
                                    <a:pt x="309" y="984"/>
                                  </a:cubicBezTo>
                                  <a:cubicBezTo>
                                    <a:pt x="314" y="980"/>
                                    <a:pt x="313" y="972"/>
                                    <a:pt x="317" y="970"/>
                                  </a:cubicBezTo>
                                  <a:cubicBezTo>
                                    <a:pt x="320" y="969"/>
                                    <a:pt x="327" y="973"/>
                                    <a:pt x="330" y="973"/>
                                  </a:cubicBezTo>
                                  <a:cubicBezTo>
                                    <a:pt x="334" y="972"/>
                                    <a:pt x="337" y="967"/>
                                    <a:pt x="343" y="965"/>
                                  </a:cubicBezTo>
                                  <a:cubicBezTo>
                                    <a:pt x="349" y="964"/>
                                    <a:pt x="366" y="962"/>
                                    <a:pt x="373" y="962"/>
                                  </a:cubicBezTo>
                                  <a:cubicBezTo>
                                    <a:pt x="381" y="962"/>
                                    <a:pt x="384" y="960"/>
                                    <a:pt x="397" y="962"/>
                                  </a:cubicBezTo>
                                  <a:cubicBezTo>
                                    <a:pt x="405" y="963"/>
                                    <a:pt x="412" y="964"/>
                                    <a:pt x="420" y="965"/>
                                  </a:cubicBezTo>
                                  <a:cubicBezTo>
                                    <a:pt x="424" y="958"/>
                                    <a:pt x="431" y="951"/>
                                    <a:pt x="438" y="945"/>
                                  </a:cubicBezTo>
                                  <a:cubicBezTo>
                                    <a:pt x="440" y="943"/>
                                    <a:pt x="442" y="941"/>
                                    <a:pt x="443" y="941"/>
                                  </a:cubicBezTo>
                                  <a:cubicBezTo>
                                    <a:pt x="443" y="941"/>
                                    <a:pt x="443" y="941"/>
                                    <a:pt x="443" y="941"/>
                                  </a:cubicBezTo>
                                  <a:cubicBezTo>
                                    <a:pt x="449" y="935"/>
                                    <a:pt x="464" y="925"/>
                                    <a:pt x="480" y="916"/>
                                  </a:cubicBezTo>
                                  <a:cubicBezTo>
                                    <a:pt x="496" y="906"/>
                                    <a:pt x="512" y="896"/>
                                    <a:pt x="516" y="891"/>
                                  </a:cubicBezTo>
                                  <a:cubicBezTo>
                                    <a:pt x="521" y="886"/>
                                    <a:pt x="529" y="878"/>
                                    <a:pt x="539" y="868"/>
                                  </a:cubicBezTo>
                                  <a:cubicBezTo>
                                    <a:pt x="545" y="862"/>
                                    <a:pt x="552" y="855"/>
                                    <a:pt x="563" y="844"/>
                                  </a:cubicBezTo>
                                  <a:cubicBezTo>
                                    <a:pt x="577" y="830"/>
                                    <a:pt x="577" y="830"/>
                                    <a:pt x="577" y="830"/>
                                  </a:cubicBezTo>
                                  <a:cubicBezTo>
                                    <a:pt x="602" y="805"/>
                                    <a:pt x="636" y="772"/>
                                    <a:pt x="639" y="766"/>
                                  </a:cubicBezTo>
                                  <a:cubicBezTo>
                                    <a:pt x="642" y="763"/>
                                    <a:pt x="646" y="756"/>
                                    <a:pt x="649" y="749"/>
                                  </a:cubicBezTo>
                                  <a:cubicBezTo>
                                    <a:pt x="651" y="743"/>
                                    <a:pt x="653" y="737"/>
                                    <a:pt x="652" y="733"/>
                                  </a:cubicBezTo>
                                  <a:cubicBezTo>
                                    <a:pt x="650" y="729"/>
                                    <a:pt x="646" y="723"/>
                                    <a:pt x="641" y="718"/>
                                  </a:cubicBezTo>
                                  <a:cubicBezTo>
                                    <a:pt x="637" y="713"/>
                                    <a:pt x="631" y="709"/>
                                    <a:pt x="625" y="705"/>
                                  </a:cubicBezTo>
                                  <a:cubicBezTo>
                                    <a:pt x="619" y="701"/>
                                    <a:pt x="619" y="701"/>
                                    <a:pt x="619" y="701"/>
                                  </a:cubicBezTo>
                                  <a:cubicBezTo>
                                    <a:pt x="604" y="692"/>
                                    <a:pt x="583" y="679"/>
                                    <a:pt x="573" y="671"/>
                                  </a:cubicBezTo>
                                  <a:cubicBezTo>
                                    <a:pt x="561" y="661"/>
                                    <a:pt x="566" y="655"/>
                                    <a:pt x="570" y="650"/>
                                  </a:cubicBezTo>
                                  <a:cubicBezTo>
                                    <a:pt x="571" y="649"/>
                                    <a:pt x="571" y="648"/>
                                    <a:pt x="572" y="647"/>
                                  </a:cubicBezTo>
                                  <a:cubicBezTo>
                                    <a:pt x="573" y="645"/>
                                    <a:pt x="576" y="641"/>
                                    <a:pt x="580" y="637"/>
                                  </a:cubicBezTo>
                                  <a:cubicBezTo>
                                    <a:pt x="587" y="630"/>
                                    <a:pt x="595" y="621"/>
                                    <a:pt x="595" y="618"/>
                                  </a:cubicBezTo>
                                  <a:cubicBezTo>
                                    <a:pt x="594" y="615"/>
                                    <a:pt x="588" y="611"/>
                                    <a:pt x="583" y="607"/>
                                  </a:cubicBezTo>
                                  <a:cubicBezTo>
                                    <a:pt x="579" y="604"/>
                                    <a:pt x="575" y="601"/>
                                    <a:pt x="572" y="598"/>
                                  </a:cubicBezTo>
                                  <a:cubicBezTo>
                                    <a:pt x="569" y="595"/>
                                    <a:pt x="567" y="590"/>
                                    <a:pt x="566" y="585"/>
                                  </a:cubicBezTo>
                                  <a:cubicBezTo>
                                    <a:pt x="565" y="579"/>
                                    <a:pt x="565" y="573"/>
                                    <a:pt x="567" y="570"/>
                                  </a:cubicBezTo>
                                  <a:cubicBezTo>
                                    <a:pt x="568" y="568"/>
                                    <a:pt x="568" y="565"/>
                                    <a:pt x="568" y="563"/>
                                  </a:cubicBezTo>
                                  <a:cubicBezTo>
                                    <a:pt x="568" y="561"/>
                                    <a:pt x="567" y="560"/>
                                    <a:pt x="567" y="560"/>
                                  </a:cubicBezTo>
                                  <a:cubicBezTo>
                                    <a:pt x="565" y="559"/>
                                    <a:pt x="562" y="558"/>
                                    <a:pt x="560" y="558"/>
                                  </a:cubicBezTo>
                                  <a:cubicBezTo>
                                    <a:pt x="557" y="557"/>
                                    <a:pt x="553" y="556"/>
                                    <a:pt x="550" y="554"/>
                                  </a:cubicBezTo>
                                  <a:cubicBezTo>
                                    <a:pt x="547" y="553"/>
                                    <a:pt x="544" y="551"/>
                                    <a:pt x="542" y="549"/>
                                  </a:cubicBezTo>
                                  <a:cubicBezTo>
                                    <a:pt x="539" y="546"/>
                                    <a:pt x="538" y="543"/>
                                    <a:pt x="537" y="538"/>
                                  </a:cubicBezTo>
                                  <a:cubicBezTo>
                                    <a:pt x="536" y="533"/>
                                    <a:pt x="540" y="529"/>
                                    <a:pt x="544" y="525"/>
                                  </a:cubicBezTo>
                                  <a:cubicBezTo>
                                    <a:pt x="546" y="523"/>
                                    <a:pt x="547" y="522"/>
                                    <a:pt x="547" y="522"/>
                                  </a:cubicBezTo>
                                  <a:cubicBezTo>
                                    <a:pt x="547" y="521"/>
                                    <a:pt x="545" y="519"/>
                                    <a:pt x="543" y="518"/>
                                  </a:cubicBezTo>
                                  <a:cubicBezTo>
                                    <a:pt x="540" y="515"/>
                                    <a:pt x="536" y="511"/>
                                    <a:pt x="534" y="506"/>
                                  </a:cubicBezTo>
                                  <a:cubicBezTo>
                                    <a:pt x="533" y="499"/>
                                    <a:pt x="536" y="497"/>
                                    <a:pt x="539" y="494"/>
                                  </a:cubicBezTo>
                                  <a:cubicBezTo>
                                    <a:pt x="540" y="492"/>
                                    <a:pt x="541" y="491"/>
                                    <a:pt x="541" y="490"/>
                                  </a:cubicBezTo>
                                  <a:cubicBezTo>
                                    <a:pt x="541" y="487"/>
                                    <a:pt x="542" y="482"/>
                                    <a:pt x="543" y="478"/>
                                  </a:cubicBezTo>
                                  <a:cubicBezTo>
                                    <a:pt x="544" y="472"/>
                                    <a:pt x="546" y="468"/>
                                    <a:pt x="549" y="465"/>
                                  </a:cubicBezTo>
                                  <a:cubicBezTo>
                                    <a:pt x="552" y="462"/>
                                    <a:pt x="557" y="462"/>
                                    <a:pt x="561" y="462"/>
                                  </a:cubicBezTo>
                                  <a:cubicBezTo>
                                    <a:pt x="563" y="461"/>
                                    <a:pt x="566" y="461"/>
                                    <a:pt x="566" y="461"/>
                                  </a:cubicBezTo>
                                  <a:cubicBezTo>
                                    <a:pt x="566" y="461"/>
                                    <a:pt x="566" y="461"/>
                                    <a:pt x="566" y="461"/>
                                  </a:cubicBezTo>
                                  <a:cubicBezTo>
                                    <a:pt x="566" y="460"/>
                                    <a:pt x="566" y="458"/>
                                    <a:pt x="565" y="455"/>
                                  </a:cubicBezTo>
                                  <a:cubicBezTo>
                                    <a:pt x="564" y="451"/>
                                    <a:pt x="561" y="446"/>
                                    <a:pt x="557" y="439"/>
                                  </a:cubicBezTo>
                                  <a:cubicBezTo>
                                    <a:pt x="555" y="434"/>
                                    <a:pt x="552" y="427"/>
                                    <a:pt x="548" y="420"/>
                                  </a:cubicBezTo>
                                  <a:cubicBezTo>
                                    <a:pt x="541" y="404"/>
                                    <a:pt x="532" y="384"/>
                                    <a:pt x="524" y="372"/>
                                  </a:cubicBezTo>
                                  <a:cubicBezTo>
                                    <a:pt x="517" y="363"/>
                                    <a:pt x="513" y="357"/>
                                    <a:pt x="510" y="352"/>
                                  </a:cubicBezTo>
                                  <a:cubicBezTo>
                                    <a:pt x="507" y="346"/>
                                    <a:pt x="505" y="341"/>
                                    <a:pt x="504" y="335"/>
                                  </a:cubicBezTo>
                                  <a:cubicBezTo>
                                    <a:pt x="502" y="325"/>
                                    <a:pt x="506" y="320"/>
                                    <a:pt x="512" y="312"/>
                                  </a:cubicBezTo>
                                  <a:cubicBezTo>
                                    <a:pt x="514" y="309"/>
                                    <a:pt x="516" y="306"/>
                                    <a:pt x="518" y="303"/>
                                  </a:cubicBezTo>
                                  <a:cubicBezTo>
                                    <a:pt x="521" y="297"/>
                                    <a:pt x="527" y="290"/>
                                    <a:pt x="534" y="283"/>
                                  </a:cubicBezTo>
                                  <a:cubicBezTo>
                                    <a:pt x="543" y="272"/>
                                    <a:pt x="553" y="260"/>
                                    <a:pt x="553" y="257"/>
                                  </a:cubicBezTo>
                                  <a:cubicBezTo>
                                    <a:pt x="552" y="252"/>
                                    <a:pt x="548" y="249"/>
                                    <a:pt x="543" y="244"/>
                                  </a:cubicBezTo>
                                  <a:cubicBezTo>
                                    <a:pt x="541" y="241"/>
                                    <a:pt x="538" y="239"/>
                                    <a:pt x="535" y="236"/>
                                  </a:cubicBezTo>
                                  <a:cubicBezTo>
                                    <a:pt x="532" y="232"/>
                                    <a:pt x="529" y="228"/>
                                    <a:pt x="527" y="225"/>
                                  </a:cubicBezTo>
                                  <a:cubicBezTo>
                                    <a:pt x="524" y="219"/>
                                    <a:pt x="521" y="215"/>
                                    <a:pt x="513" y="213"/>
                                  </a:cubicBezTo>
                                  <a:cubicBezTo>
                                    <a:pt x="507" y="211"/>
                                    <a:pt x="503" y="210"/>
                                    <a:pt x="499" y="209"/>
                                  </a:cubicBezTo>
                                  <a:cubicBezTo>
                                    <a:pt x="493" y="208"/>
                                    <a:pt x="488" y="207"/>
                                    <a:pt x="481" y="203"/>
                                  </a:cubicBezTo>
                                  <a:cubicBezTo>
                                    <a:pt x="470" y="198"/>
                                    <a:pt x="468" y="187"/>
                                    <a:pt x="467" y="180"/>
                                  </a:cubicBezTo>
                                  <a:cubicBezTo>
                                    <a:pt x="467" y="179"/>
                                    <a:pt x="466" y="177"/>
                                    <a:pt x="466" y="176"/>
                                  </a:cubicBezTo>
                                  <a:cubicBezTo>
                                    <a:pt x="465" y="172"/>
                                    <a:pt x="467" y="163"/>
                                    <a:pt x="470" y="155"/>
                                  </a:cubicBezTo>
                                  <a:cubicBezTo>
                                    <a:pt x="471" y="150"/>
                                    <a:pt x="472" y="146"/>
                                    <a:pt x="472" y="145"/>
                                  </a:cubicBezTo>
                                  <a:cubicBezTo>
                                    <a:pt x="472" y="142"/>
                                    <a:pt x="470" y="139"/>
                                    <a:pt x="468" y="134"/>
                                  </a:cubicBezTo>
                                  <a:cubicBezTo>
                                    <a:pt x="468" y="134"/>
                                    <a:pt x="468" y="134"/>
                                    <a:pt x="468" y="134"/>
                                  </a:cubicBezTo>
                                  <a:cubicBezTo>
                                    <a:pt x="467" y="132"/>
                                    <a:pt x="467" y="132"/>
                                    <a:pt x="467" y="132"/>
                                  </a:cubicBezTo>
                                  <a:cubicBezTo>
                                    <a:pt x="464" y="127"/>
                                    <a:pt x="466" y="123"/>
                                    <a:pt x="470" y="120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5" name="Freeform 365"/>
                            <p:cNvSpPr>
                              <a:spLocks noEditPoints="1"/>
                            </p:cNvSpPr>
                            <p:nvPr/>
                          </p:nvSpPr>
                          <p:spPr bwMode="auto">
                            <a:xfrm>
                              <a:off x="4849528" y="2709360"/>
                              <a:ext cx="2908697" cy="1163241"/>
                            </a:xfrm>
                            <a:custGeom>
                              <a:avLst/>
                              <a:gdLst>
                                <a:gd name="T0" fmla="*/ 9640 w 10137"/>
                                <a:gd name="T1" fmla="*/ 1719 h 4054"/>
                                <a:gd name="T2" fmla="*/ 8082 w 10137"/>
                                <a:gd name="T3" fmla="*/ 1395 h 4054"/>
                                <a:gd name="T4" fmla="*/ 7303 w 10137"/>
                                <a:gd name="T5" fmla="*/ 1253 h 4054"/>
                                <a:gd name="T6" fmla="*/ 6821 w 10137"/>
                                <a:gd name="T7" fmla="*/ 1384 h 4054"/>
                                <a:gd name="T8" fmla="*/ 6245 w 10137"/>
                                <a:gd name="T9" fmla="*/ 1130 h 4054"/>
                                <a:gd name="T10" fmla="*/ 5187 w 10137"/>
                                <a:gd name="T11" fmla="*/ 1043 h 4054"/>
                                <a:gd name="T12" fmla="*/ 5339 w 10137"/>
                                <a:gd name="T13" fmla="*/ 834 h 4054"/>
                                <a:gd name="T14" fmla="*/ 4624 w 10137"/>
                                <a:gd name="T15" fmla="*/ 612 h 4054"/>
                                <a:gd name="T16" fmla="*/ 3704 w 10137"/>
                                <a:gd name="T17" fmla="*/ 928 h 4054"/>
                                <a:gd name="T18" fmla="*/ 3210 w 10137"/>
                                <a:gd name="T19" fmla="*/ 1252 h 4054"/>
                                <a:gd name="T20" fmla="*/ 2880 w 10137"/>
                                <a:gd name="T21" fmla="*/ 1293 h 4054"/>
                                <a:gd name="T22" fmla="*/ 3080 w 10137"/>
                                <a:gd name="T23" fmla="*/ 1669 h 4054"/>
                                <a:gd name="T24" fmla="*/ 2797 w 10137"/>
                                <a:gd name="T25" fmla="*/ 1394 h 4054"/>
                                <a:gd name="T26" fmla="*/ 2544 w 10137"/>
                                <a:gd name="T27" fmla="*/ 1693 h 4054"/>
                                <a:gd name="T28" fmla="*/ 1596 w 10137"/>
                                <a:gd name="T29" fmla="*/ 1634 h 4054"/>
                                <a:gd name="T30" fmla="*/ 1030 w 10137"/>
                                <a:gd name="T31" fmla="*/ 1740 h 4054"/>
                                <a:gd name="T32" fmla="*/ 637 w 10137"/>
                                <a:gd name="T33" fmla="*/ 2142 h 4054"/>
                                <a:gd name="T34" fmla="*/ 671 w 10137"/>
                                <a:gd name="T35" fmla="*/ 1687 h 4054"/>
                                <a:gd name="T36" fmla="*/ 153 w 10137"/>
                                <a:gd name="T37" fmla="*/ 1761 h 4054"/>
                                <a:gd name="T38" fmla="*/ 90 w 10137"/>
                                <a:gd name="T39" fmla="*/ 2536 h 4054"/>
                                <a:gd name="T40" fmla="*/ 254 w 10137"/>
                                <a:gd name="T41" fmla="*/ 3028 h 4054"/>
                                <a:gd name="T42" fmla="*/ 668 w 10137"/>
                                <a:gd name="T43" fmla="*/ 3377 h 4054"/>
                                <a:gd name="T44" fmla="*/ 597 w 10137"/>
                                <a:gd name="T45" fmla="*/ 3775 h 4054"/>
                                <a:gd name="T46" fmla="*/ 1231 w 10137"/>
                                <a:gd name="T47" fmla="*/ 3751 h 4054"/>
                                <a:gd name="T48" fmla="*/ 1476 w 10137"/>
                                <a:gd name="T49" fmla="*/ 3243 h 4054"/>
                                <a:gd name="T50" fmla="*/ 2060 w 10137"/>
                                <a:gd name="T51" fmla="*/ 3196 h 4054"/>
                                <a:gd name="T52" fmla="*/ 2523 w 10137"/>
                                <a:gd name="T53" fmla="*/ 2958 h 4054"/>
                                <a:gd name="T54" fmla="*/ 3056 w 10137"/>
                                <a:gd name="T55" fmla="*/ 3024 h 4054"/>
                                <a:gd name="T56" fmla="*/ 3731 w 10137"/>
                                <a:gd name="T57" fmla="*/ 3447 h 4054"/>
                                <a:gd name="T58" fmla="*/ 4629 w 10137"/>
                                <a:gd name="T59" fmla="*/ 3294 h 4054"/>
                                <a:gd name="T60" fmla="*/ 5762 w 10137"/>
                                <a:gd name="T61" fmla="*/ 3176 h 4054"/>
                                <a:gd name="T62" fmla="*/ 6298 w 10137"/>
                                <a:gd name="T63" fmla="*/ 3425 h 4054"/>
                                <a:gd name="T64" fmla="*/ 6538 w 10137"/>
                                <a:gd name="T65" fmla="*/ 3754 h 4054"/>
                                <a:gd name="T66" fmla="*/ 7033 w 10137"/>
                                <a:gd name="T67" fmla="*/ 3236 h 4054"/>
                                <a:gd name="T68" fmla="*/ 7232 w 10137"/>
                                <a:gd name="T69" fmla="*/ 2575 h 4054"/>
                                <a:gd name="T70" fmla="*/ 8211 w 10137"/>
                                <a:gd name="T71" fmla="*/ 2437 h 4054"/>
                                <a:gd name="T72" fmla="*/ 8101 w 10137"/>
                                <a:gd name="T73" fmla="*/ 3173 h 4054"/>
                                <a:gd name="T74" fmla="*/ 8433 w 10137"/>
                                <a:gd name="T75" fmla="*/ 2511 h 4054"/>
                                <a:gd name="T76" fmla="*/ 9266 w 10137"/>
                                <a:gd name="T77" fmla="*/ 2251 h 4054"/>
                                <a:gd name="T78" fmla="*/ 9449 w 10137"/>
                                <a:gd name="T79" fmla="*/ 2002 h 4054"/>
                                <a:gd name="T80" fmla="*/ 1786 w 10137"/>
                                <a:gd name="T81" fmla="*/ 93 h 4054"/>
                                <a:gd name="T82" fmla="*/ 1743 w 10137"/>
                                <a:gd name="T83" fmla="*/ 164 h 4054"/>
                                <a:gd name="T84" fmla="*/ 1828 w 10137"/>
                                <a:gd name="T85" fmla="*/ 49 h 4054"/>
                                <a:gd name="T86" fmla="*/ 1873 w 10137"/>
                                <a:gd name="T87" fmla="*/ 1039 h 4054"/>
                                <a:gd name="T88" fmla="*/ 2134 w 10137"/>
                                <a:gd name="T89" fmla="*/ 771 h 4054"/>
                                <a:gd name="T90" fmla="*/ 1678 w 10137"/>
                                <a:gd name="T91" fmla="*/ 1055 h 4054"/>
                                <a:gd name="T92" fmla="*/ 1596 w 10137"/>
                                <a:gd name="T93" fmla="*/ 1331 h 4054"/>
                                <a:gd name="T94" fmla="*/ 1751 w 10137"/>
                                <a:gd name="T95" fmla="*/ 1172 h 4054"/>
                                <a:gd name="T96" fmla="*/ 1323 w 10137"/>
                                <a:gd name="T97" fmla="*/ 224 h 4054"/>
                                <a:gd name="T98" fmla="*/ 2702 w 10137"/>
                                <a:gd name="T99" fmla="*/ 1115 h 4054"/>
                                <a:gd name="T100" fmla="*/ 5260 w 10137"/>
                                <a:gd name="T101" fmla="*/ 987 h 4054"/>
                                <a:gd name="T102" fmla="*/ 4766 w 10137"/>
                                <a:gd name="T103" fmla="*/ 410 h 4054"/>
                                <a:gd name="T104" fmla="*/ 4253 w 10137"/>
                                <a:gd name="T105" fmla="*/ 95 h 4054"/>
                                <a:gd name="T106" fmla="*/ 4452 w 10137"/>
                                <a:gd name="T107" fmla="*/ 382 h 4054"/>
                                <a:gd name="T108" fmla="*/ 6929 w 10137"/>
                                <a:gd name="T109" fmla="*/ 934 h 4054"/>
                                <a:gd name="T110" fmla="*/ 6820 w 10137"/>
                                <a:gd name="T111" fmla="*/ 805 h 4054"/>
                                <a:gd name="T112" fmla="*/ 6986 w 10137"/>
                                <a:gd name="T113" fmla="*/ 1056 h 4054"/>
                                <a:gd name="T114" fmla="*/ 8698 w 10137"/>
                                <a:gd name="T115" fmla="*/ 1520 h 4054"/>
                                <a:gd name="T116" fmla="*/ 10107 w 10137"/>
                                <a:gd name="T117" fmla="*/ 2217 h 4054"/>
                                <a:gd name="T118" fmla="*/ 7155 w 10137"/>
                                <a:gd name="T119" fmla="*/ 3214 h 4054"/>
                                <a:gd name="T120" fmla="*/ 7738 w 10137"/>
                                <a:gd name="T121" fmla="*/ 3593 h 4054"/>
                                <a:gd name="T122" fmla="*/ 7325 w 10137"/>
                                <a:gd name="T123" fmla="*/ 3843 h 4054"/>
                                <a:gd name="T124" fmla="*/ 555 w 10137"/>
                                <a:gd name="T125" fmla="*/ 2383 h 405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  <a:cxn ang="0">
                                  <a:pos x="T100" y="T101"/>
                                </a:cxn>
                                <a:cxn ang="0">
                                  <a:pos x="T102" y="T103"/>
                                </a:cxn>
                                <a:cxn ang="0">
                                  <a:pos x="T104" y="T105"/>
                                </a:cxn>
                                <a:cxn ang="0">
                                  <a:pos x="T106" y="T107"/>
                                </a:cxn>
                                <a:cxn ang="0">
                                  <a:pos x="T108" y="T109"/>
                                </a:cxn>
                                <a:cxn ang="0">
                                  <a:pos x="T110" y="T111"/>
                                </a:cxn>
                                <a:cxn ang="0">
                                  <a:pos x="T112" y="T113"/>
                                </a:cxn>
                                <a:cxn ang="0">
                                  <a:pos x="T114" y="T115"/>
                                </a:cxn>
                                <a:cxn ang="0">
                                  <a:pos x="T116" y="T117"/>
                                </a:cxn>
                                <a:cxn ang="0">
                                  <a:pos x="T118" y="T119"/>
                                </a:cxn>
                                <a:cxn ang="0">
                                  <a:pos x="T120" y="T121"/>
                                </a:cxn>
                                <a:cxn ang="0">
                                  <a:pos x="T122" y="T123"/>
                                </a:cxn>
                                <a:cxn ang="0">
                                  <a:pos x="T124" y="T125"/>
                                </a:cxn>
                              </a:cxnLst>
                              <a:rect l="0" t="0" r="r" b="b"/>
                              <a:pathLst>
                                <a:path w="10137" h="4054">
                                  <a:moveTo>
                                    <a:pt x="9910" y="2020"/>
                                  </a:moveTo>
                                  <a:cubicBezTo>
                                    <a:pt x="9903" y="2016"/>
                                    <a:pt x="9897" y="2019"/>
                                    <a:pt x="9894" y="2018"/>
                                  </a:cubicBezTo>
                                  <a:cubicBezTo>
                                    <a:pt x="9890" y="2017"/>
                                    <a:pt x="9891" y="2015"/>
                                    <a:pt x="9891" y="2010"/>
                                  </a:cubicBezTo>
                                  <a:cubicBezTo>
                                    <a:pt x="9891" y="2005"/>
                                    <a:pt x="9904" y="2010"/>
                                    <a:pt x="9906" y="2010"/>
                                  </a:cubicBezTo>
                                  <a:cubicBezTo>
                                    <a:pt x="9908" y="2009"/>
                                    <a:pt x="9911" y="2006"/>
                                    <a:pt x="9912" y="2004"/>
                                  </a:cubicBezTo>
                                  <a:cubicBezTo>
                                    <a:pt x="9913" y="2001"/>
                                    <a:pt x="9915" y="2001"/>
                                    <a:pt x="9912" y="1995"/>
                                  </a:cubicBezTo>
                                  <a:cubicBezTo>
                                    <a:pt x="9909" y="1988"/>
                                    <a:pt x="9906" y="1991"/>
                                    <a:pt x="9904" y="1986"/>
                                  </a:cubicBezTo>
                                  <a:cubicBezTo>
                                    <a:pt x="9902" y="1980"/>
                                    <a:pt x="9905" y="1982"/>
                                    <a:pt x="9899" y="1976"/>
                                  </a:cubicBezTo>
                                  <a:cubicBezTo>
                                    <a:pt x="9893" y="1969"/>
                                    <a:pt x="9890" y="1974"/>
                                    <a:pt x="9884" y="1972"/>
                                  </a:cubicBezTo>
                                  <a:cubicBezTo>
                                    <a:pt x="9878" y="1970"/>
                                    <a:pt x="9881" y="1967"/>
                                    <a:pt x="9885" y="1965"/>
                                  </a:cubicBezTo>
                                  <a:cubicBezTo>
                                    <a:pt x="9889" y="1962"/>
                                    <a:pt x="9899" y="1964"/>
                                    <a:pt x="9907" y="1966"/>
                                  </a:cubicBezTo>
                                  <a:cubicBezTo>
                                    <a:pt x="9914" y="1967"/>
                                    <a:pt x="9912" y="1972"/>
                                    <a:pt x="9916" y="1976"/>
                                  </a:cubicBezTo>
                                  <a:cubicBezTo>
                                    <a:pt x="9920" y="1979"/>
                                    <a:pt x="9938" y="1981"/>
                                    <a:pt x="9946" y="1981"/>
                                  </a:cubicBezTo>
                                  <a:cubicBezTo>
                                    <a:pt x="9954" y="1981"/>
                                    <a:pt x="9988" y="1988"/>
                                    <a:pt x="9988" y="1983"/>
                                  </a:cubicBezTo>
                                  <a:cubicBezTo>
                                    <a:pt x="9988" y="1977"/>
                                    <a:pt x="9982" y="1974"/>
                                    <a:pt x="9979" y="1970"/>
                                  </a:cubicBezTo>
                                  <a:cubicBezTo>
                                    <a:pt x="9976" y="1966"/>
                                    <a:pt x="9970" y="1962"/>
                                    <a:pt x="9965" y="1958"/>
                                  </a:cubicBezTo>
                                  <a:cubicBezTo>
                                    <a:pt x="9960" y="1954"/>
                                    <a:pt x="9963" y="1952"/>
                                    <a:pt x="9966" y="1951"/>
                                  </a:cubicBezTo>
                                  <a:cubicBezTo>
                                    <a:pt x="9969" y="1951"/>
                                    <a:pt x="9977" y="1959"/>
                                    <a:pt x="9983" y="1964"/>
                                  </a:cubicBezTo>
                                  <a:cubicBezTo>
                                    <a:pt x="9989" y="1969"/>
                                    <a:pt x="9993" y="1969"/>
                                    <a:pt x="10001" y="1970"/>
                                  </a:cubicBezTo>
                                  <a:cubicBezTo>
                                    <a:pt x="10008" y="1970"/>
                                    <a:pt x="10010" y="1973"/>
                                    <a:pt x="10014" y="1974"/>
                                  </a:cubicBezTo>
                                  <a:cubicBezTo>
                                    <a:pt x="10017" y="1976"/>
                                    <a:pt x="10019" y="1974"/>
                                    <a:pt x="10020" y="1965"/>
                                  </a:cubicBezTo>
                                  <a:cubicBezTo>
                                    <a:pt x="10022" y="1957"/>
                                    <a:pt x="10033" y="1955"/>
                                    <a:pt x="10043" y="1947"/>
                                  </a:cubicBezTo>
                                  <a:cubicBezTo>
                                    <a:pt x="10053" y="1938"/>
                                    <a:pt x="10065" y="1935"/>
                                    <a:pt x="10069" y="1932"/>
                                  </a:cubicBezTo>
                                  <a:cubicBezTo>
                                    <a:pt x="10073" y="1928"/>
                                    <a:pt x="10072" y="1923"/>
                                    <a:pt x="10060" y="1922"/>
                                  </a:cubicBezTo>
                                  <a:cubicBezTo>
                                    <a:pt x="10047" y="1921"/>
                                    <a:pt x="10045" y="1922"/>
                                    <a:pt x="10039" y="1916"/>
                                  </a:cubicBezTo>
                                  <a:cubicBezTo>
                                    <a:pt x="10033" y="1910"/>
                                    <a:pt x="10039" y="1909"/>
                                    <a:pt x="10028" y="1902"/>
                                  </a:cubicBezTo>
                                  <a:cubicBezTo>
                                    <a:pt x="10017" y="1894"/>
                                    <a:pt x="10011" y="1892"/>
                                    <a:pt x="9995" y="1885"/>
                                  </a:cubicBezTo>
                                  <a:cubicBezTo>
                                    <a:pt x="9979" y="1878"/>
                                    <a:pt x="9980" y="1874"/>
                                    <a:pt x="9964" y="1860"/>
                                  </a:cubicBezTo>
                                  <a:cubicBezTo>
                                    <a:pt x="9948" y="1845"/>
                                    <a:pt x="9948" y="1845"/>
                                    <a:pt x="9937" y="1837"/>
                                  </a:cubicBezTo>
                                  <a:cubicBezTo>
                                    <a:pt x="9926" y="1830"/>
                                    <a:pt x="9926" y="1834"/>
                                    <a:pt x="9915" y="1835"/>
                                  </a:cubicBezTo>
                                  <a:cubicBezTo>
                                    <a:pt x="9904" y="1835"/>
                                    <a:pt x="9907" y="1837"/>
                                    <a:pt x="9904" y="1842"/>
                                  </a:cubicBezTo>
                                  <a:cubicBezTo>
                                    <a:pt x="9902" y="1847"/>
                                    <a:pt x="9891" y="1839"/>
                                    <a:pt x="9880" y="1835"/>
                                  </a:cubicBezTo>
                                  <a:cubicBezTo>
                                    <a:pt x="9869" y="1832"/>
                                    <a:pt x="9864" y="1837"/>
                                    <a:pt x="9860" y="1839"/>
                                  </a:cubicBezTo>
                                  <a:cubicBezTo>
                                    <a:pt x="9856" y="1841"/>
                                    <a:pt x="9855" y="1848"/>
                                    <a:pt x="9847" y="1851"/>
                                  </a:cubicBezTo>
                                  <a:cubicBezTo>
                                    <a:pt x="9839" y="1854"/>
                                    <a:pt x="9845" y="1846"/>
                                    <a:pt x="9845" y="1839"/>
                                  </a:cubicBezTo>
                                  <a:cubicBezTo>
                                    <a:pt x="9845" y="1833"/>
                                    <a:pt x="9855" y="1833"/>
                                    <a:pt x="9854" y="1826"/>
                                  </a:cubicBezTo>
                                  <a:cubicBezTo>
                                    <a:pt x="9852" y="1819"/>
                                    <a:pt x="9843" y="1823"/>
                                    <a:pt x="9834" y="1823"/>
                                  </a:cubicBezTo>
                                  <a:cubicBezTo>
                                    <a:pt x="9825" y="1822"/>
                                    <a:pt x="9814" y="1821"/>
                                    <a:pt x="9805" y="1820"/>
                                  </a:cubicBezTo>
                                  <a:cubicBezTo>
                                    <a:pt x="9796" y="1818"/>
                                    <a:pt x="9790" y="1820"/>
                                    <a:pt x="9785" y="1823"/>
                                  </a:cubicBezTo>
                                  <a:cubicBezTo>
                                    <a:pt x="9781" y="1826"/>
                                    <a:pt x="9784" y="1827"/>
                                    <a:pt x="9793" y="1834"/>
                                  </a:cubicBezTo>
                                  <a:cubicBezTo>
                                    <a:pt x="9803" y="1841"/>
                                    <a:pt x="9803" y="1841"/>
                                    <a:pt x="9807" y="1846"/>
                                  </a:cubicBezTo>
                                  <a:cubicBezTo>
                                    <a:pt x="9811" y="1851"/>
                                    <a:pt x="9808" y="1858"/>
                                    <a:pt x="9808" y="1864"/>
                                  </a:cubicBezTo>
                                  <a:cubicBezTo>
                                    <a:pt x="9807" y="1870"/>
                                    <a:pt x="9805" y="1868"/>
                                    <a:pt x="9798" y="1871"/>
                                  </a:cubicBezTo>
                                  <a:cubicBezTo>
                                    <a:pt x="9792" y="1874"/>
                                    <a:pt x="9796" y="1875"/>
                                    <a:pt x="9800" y="1877"/>
                                  </a:cubicBezTo>
                                  <a:cubicBezTo>
                                    <a:pt x="9805" y="1879"/>
                                    <a:pt x="9810" y="1881"/>
                                    <a:pt x="9816" y="1885"/>
                                  </a:cubicBezTo>
                                  <a:cubicBezTo>
                                    <a:pt x="9822" y="1888"/>
                                    <a:pt x="9823" y="1889"/>
                                    <a:pt x="9822" y="1894"/>
                                  </a:cubicBezTo>
                                  <a:cubicBezTo>
                                    <a:pt x="9821" y="1900"/>
                                    <a:pt x="9814" y="1904"/>
                                    <a:pt x="9810" y="1910"/>
                                  </a:cubicBezTo>
                                  <a:cubicBezTo>
                                    <a:pt x="9806" y="1916"/>
                                    <a:pt x="9805" y="1914"/>
                                    <a:pt x="9802" y="1907"/>
                                  </a:cubicBezTo>
                                  <a:cubicBezTo>
                                    <a:pt x="9798" y="1901"/>
                                    <a:pt x="9802" y="1896"/>
                                    <a:pt x="9800" y="1889"/>
                                  </a:cubicBezTo>
                                  <a:cubicBezTo>
                                    <a:pt x="9797" y="1883"/>
                                    <a:pt x="9792" y="1890"/>
                                    <a:pt x="9788" y="1894"/>
                                  </a:cubicBezTo>
                                  <a:cubicBezTo>
                                    <a:pt x="9784" y="1898"/>
                                    <a:pt x="9782" y="1905"/>
                                    <a:pt x="9776" y="1901"/>
                                  </a:cubicBezTo>
                                  <a:cubicBezTo>
                                    <a:pt x="9770" y="1898"/>
                                    <a:pt x="9776" y="1891"/>
                                    <a:pt x="9774" y="1884"/>
                                  </a:cubicBezTo>
                                  <a:cubicBezTo>
                                    <a:pt x="9771" y="1877"/>
                                    <a:pt x="9770" y="1880"/>
                                    <a:pt x="9755" y="1873"/>
                                  </a:cubicBezTo>
                                  <a:cubicBezTo>
                                    <a:pt x="9741" y="1865"/>
                                    <a:pt x="9747" y="1868"/>
                                    <a:pt x="9748" y="1863"/>
                                  </a:cubicBezTo>
                                  <a:cubicBezTo>
                                    <a:pt x="9749" y="1857"/>
                                    <a:pt x="9755" y="1857"/>
                                    <a:pt x="9757" y="1852"/>
                                  </a:cubicBezTo>
                                  <a:cubicBezTo>
                                    <a:pt x="9759" y="1846"/>
                                    <a:pt x="9756" y="1840"/>
                                    <a:pt x="9754" y="1834"/>
                                  </a:cubicBezTo>
                                  <a:cubicBezTo>
                                    <a:pt x="9751" y="1828"/>
                                    <a:pt x="9747" y="1820"/>
                                    <a:pt x="9747" y="1811"/>
                                  </a:cubicBezTo>
                                  <a:cubicBezTo>
                                    <a:pt x="9748" y="1801"/>
                                    <a:pt x="9751" y="1800"/>
                                    <a:pt x="9752" y="1796"/>
                                  </a:cubicBezTo>
                                  <a:cubicBezTo>
                                    <a:pt x="9754" y="1792"/>
                                    <a:pt x="9751" y="1788"/>
                                    <a:pt x="9745" y="1783"/>
                                  </a:cubicBezTo>
                                  <a:cubicBezTo>
                                    <a:pt x="9740" y="1778"/>
                                    <a:pt x="9737" y="1784"/>
                                    <a:pt x="9734" y="1791"/>
                                  </a:cubicBezTo>
                                  <a:cubicBezTo>
                                    <a:pt x="9731" y="1798"/>
                                    <a:pt x="9729" y="1798"/>
                                    <a:pt x="9723" y="1796"/>
                                  </a:cubicBezTo>
                                  <a:cubicBezTo>
                                    <a:pt x="9717" y="1795"/>
                                    <a:pt x="9723" y="1788"/>
                                    <a:pt x="9726" y="1783"/>
                                  </a:cubicBezTo>
                                  <a:cubicBezTo>
                                    <a:pt x="9728" y="1777"/>
                                    <a:pt x="9726" y="1774"/>
                                    <a:pt x="9724" y="1767"/>
                                  </a:cubicBezTo>
                                  <a:cubicBezTo>
                                    <a:pt x="9722" y="1759"/>
                                    <a:pt x="9718" y="1758"/>
                                    <a:pt x="9708" y="1751"/>
                                  </a:cubicBezTo>
                                  <a:cubicBezTo>
                                    <a:pt x="9699" y="1744"/>
                                    <a:pt x="9696" y="1746"/>
                                    <a:pt x="9680" y="1740"/>
                                  </a:cubicBezTo>
                                  <a:cubicBezTo>
                                    <a:pt x="9663" y="1734"/>
                                    <a:pt x="9654" y="1727"/>
                                    <a:pt x="9640" y="1719"/>
                                  </a:cubicBezTo>
                                  <a:cubicBezTo>
                                    <a:pt x="9625" y="1710"/>
                                    <a:pt x="9611" y="1707"/>
                                    <a:pt x="9604" y="1704"/>
                                  </a:cubicBezTo>
                                  <a:cubicBezTo>
                                    <a:pt x="9596" y="1701"/>
                                    <a:pt x="9579" y="1699"/>
                                    <a:pt x="9574" y="1690"/>
                                  </a:cubicBezTo>
                                  <a:cubicBezTo>
                                    <a:pt x="9569" y="1682"/>
                                    <a:pt x="9565" y="1683"/>
                                    <a:pt x="9557" y="1679"/>
                                  </a:cubicBezTo>
                                  <a:cubicBezTo>
                                    <a:pt x="9549" y="1676"/>
                                    <a:pt x="9540" y="1676"/>
                                    <a:pt x="9527" y="1674"/>
                                  </a:cubicBezTo>
                                  <a:cubicBezTo>
                                    <a:pt x="9514" y="1672"/>
                                    <a:pt x="9516" y="1672"/>
                                    <a:pt x="9506" y="1663"/>
                                  </a:cubicBezTo>
                                  <a:cubicBezTo>
                                    <a:pt x="9496" y="1654"/>
                                    <a:pt x="9495" y="1649"/>
                                    <a:pt x="9489" y="1642"/>
                                  </a:cubicBezTo>
                                  <a:cubicBezTo>
                                    <a:pt x="9483" y="1636"/>
                                    <a:pt x="9467" y="1625"/>
                                    <a:pt x="9456" y="1624"/>
                                  </a:cubicBezTo>
                                  <a:cubicBezTo>
                                    <a:pt x="9445" y="1623"/>
                                    <a:pt x="9446" y="1624"/>
                                    <a:pt x="9428" y="1619"/>
                                  </a:cubicBezTo>
                                  <a:cubicBezTo>
                                    <a:pt x="9409" y="1614"/>
                                    <a:pt x="9406" y="1608"/>
                                    <a:pt x="9389" y="1600"/>
                                  </a:cubicBezTo>
                                  <a:cubicBezTo>
                                    <a:pt x="9371" y="1592"/>
                                    <a:pt x="9351" y="1577"/>
                                    <a:pt x="9333" y="1568"/>
                                  </a:cubicBezTo>
                                  <a:cubicBezTo>
                                    <a:pt x="9316" y="1560"/>
                                    <a:pt x="9311" y="1561"/>
                                    <a:pt x="9277" y="1558"/>
                                  </a:cubicBezTo>
                                  <a:cubicBezTo>
                                    <a:pt x="9242" y="1555"/>
                                    <a:pt x="9239" y="1546"/>
                                    <a:pt x="9215" y="1536"/>
                                  </a:cubicBezTo>
                                  <a:cubicBezTo>
                                    <a:pt x="9192" y="1525"/>
                                    <a:pt x="9191" y="1520"/>
                                    <a:pt x="9180" y="1522"/>
                                  </a:cubicBezTo>
                                  <a:cubicBezTo>
                                    <a:pt x="9168" y="1524"/>
                                    <a:pt x="9164" y="1527"/>
                                    <a:pt x="9141" y="1527"/>
                                  </a:cubicBezTo>
                                  <a:cubicBezTo>
                                    <a:pt x="9119" y="1527"/>
                                    <a:pt x="9118" y="1525"/>
                                    <a:pt x="9093" y="1521"/>
                                  </a:cubicBezTo>
                                  <a:cubicBezTo>
                                    <a:pt x="9067" y="1517"/>
                                    <a:pt x="9053" y="1518"/>
                                    <a:pt x="9039" y="1516"/>
                                  </a:cubicBezTo>
                                  <a:cubicBezTo>
                                    <a:pt x="9025" y="1513"/>
                                    <a:pt x="9028" y="1516"/>
                                    <a:pt x="9023" y="1521"/>
                                  </a:cubicBezTo>
                                  <a:cubicBezTo>
                                    <a:pt x="9019" y="1526"/>
                                    <a:pt x="9024" y="1529"/>
                                    <a:pt x="9019" y="1535"/>
                                  </a:cubicBezTo>
                                  <a:cubicBezTo>
                                    <a:pt x="9014" y="1540"/>
                                    <a:pt x="9001" y="1525"/>
                                    <a:pt x="8992" y="1518"/>
                                  </a:cubicBezTo>
                                  <a:cubicBezTo>
                                    <a:pt x="8983" y="1511"/>
                                    <a:pt x="8975" y="1509"/>
                                    <a:pt x="8963" y="1509"/>
                                  </a:cubicBezTo>
                                  <a:cubicBezTo>
                                    <a:pt x="8952" y="1509"/>
                                    <a:pt x="8936" y="1505"/>
                                    <a:pt x="8910" y="1505"/>
                                  </a:cubicBezTo>
                                  <a:cubicBezTo>
                                    <a:pt x="8883" y="1505"/>
                                    <a:pt x="8892" y="1502"/>
                                    <a:pt x="8885" y="1502"/>
                                  </a:cubicBezTo>
                                  <a:cubicBezTo>
                                    <a:pt x="8879" y="1501"/>
                                    <a:pt x="8866" y="1500"/>
                                    <a:pt x="8860" y="1497"/>
                                  </a:cubicBezTo>
                                  <a:cubicBezTo>
                                    <a:pt x="8855" y="1494"/>
                                    <a:pt x="8847" y="1495"/>
                                    <a:pt x="8847" y="1497"/>
                                  </a:cubicBezTo>
                                  <a:cubicBezTo>
                                    <a:pt x="8847" y="1499"/>
                                    <a:pt x="8849" y="1500"/>
                                    <a:pt x="8849" y="1504"/>
                                  </a:cubicBezTo>
                                  <a:cubicBezTo>
                                    <a:pt x="8849" y="1507"/>
                                    <a:pt x="8848" y="1513"/>
                                    <a:pt x="8850" y="1521"/>
                                  </a:cubicBezTo>
                                  <a:cubicBezTo>
                                    <a:pt x="8852" y="1529"/>
                                    <a:pt x="8850" y="1530"/>
                                    <a:pt x="8842" y="1536"/>
                                  </a:cubicBezTo>
                                  <a:cubicBezTo>
                                    <a:pt x="8834" y="1542"/>
                                    <a:pt x="8832" y="1544"/>
                                    <a:pt x="8828" y="1549"/>
                                  </a:cubicBezTo>
                                  <a:cubicBezTo>
                                    <a:pt x="8825" y="1554"/>
                                    <a:pt x="8824" y="1557"/>
                                    <a:pt x="8832" y="1558"/>
                                  </a:cubicBezTo>
                                  <a:cubicBezTo>
                                    <a:pt x="8840" y="1559"/>
                                    <a:pt x="8847" y="1556"/>
                                    <a:pt x="8853" y="1558"/>
                                  </a:cubicBezTo>
                                  <a:cubicBezTo>
                                    <a:pt x="8858" y="1560"/>
                                    <a:pt x="8858" y="1567"/>
                                    <a:pt x="8863" y="1581"/>
                                  </a:cubicBezTo>
                                  <a:cubicBezTo>
                                    <a:pt x="8869" y="1594"/>
                                    <a:pt x="8875" y="1594"/>
                                    <a:pt x="8878" y="1603"/>
                                  </a:cubicBezTo>
                                  <a:cubicBezTo>
                                    <a:pt x="8880" y="1612"/>
                                    <a:pt x="8877" y="1615"/>
                                    <a:pt x="8870" y="1619"/>
                                  </a:cubicBezTo>
                                  <a:cubicBezTo>
                                    <a:pt x="8862" y="1624"/>
                                    <a:pt x="8863" y="1625"/>
                                    <a:pt x="8862" y="1631"/>
                                  </a:cubicBezTo>
                                  <a:cubicBezTo>
                                    <a:pt x="8861" y="1638"/>
                                    <a:pt x="8861" y="1642"/>
                                    <a:pt x="8855" y="1646"/>
                                  </a:cubicBezTo>
                                  <a:cubicBezTo>
                                    <a:pt x="8849" y="1649"/>
                                    <a:pt x="8845" y="1641"/>
                                    <a:pt x="8835" y="1639"/>
                                  </a:cubicBezTo>
                                  <a:cubicBezTo>
                                    <a:pt x="8826" y="1636"/>
                                    <a:pt x="8818" y="1641"/>
                                    <a:pt x="8805" y="1641"/>
                                  </a:cubicBezTo>
                                  <a:cubicBezTo>
                                    <a:pt x="8792" y="1642"/>
                                    <a:pt x="8793" y="1640"/>
                                    <a:pt x="8784" y="1633"/>
                                  </a:cubicBezTo>
                                  <a:cubicBezTo>
                                    <a:pt x="8775" y="1625"/>
                                    <a:pt x="8778" y="1616"/>
                                    <a:pt x="8774" y="1609"/>
                                  </a:cubicBezTo>
                                  <a:cubicBezTo>
                                    <a:pt x="8769" y="1603"/>
                                    <a:pt x="8763" y="1606"/>
                                    <a:pt x="8739" y="1602"/>
                                  </a:cubicBezTo>
                                  <a:cubicBezTo>
                                    <a:pt x="8715" y="1599"/>
                                    <a:pt x="8717" y="1596"/>
                                    <a:pt x="8710" y="1590"/>
                                  </a:cubicBezTo>
                                  <a:cubicBezTo>
                                    <a:pt x="8704" y="1583"/>
                                    <a:pt x="8709" y="1574"/>
                                    <a:pt x="8706" y="1564"/>
                                  </a:cubicBezTo>
                                  <a:cubicBezTo>
                                    <a:pt x="8703" y="1554"/>
                                    <a:pt x="8701" y="1555"/>
                                    <a:pt x="8697" y="1551"/>
                                  </a:cubicBezTo>
                                  <a:cubicBezTo>
                                    <a:pt x="8693" y="1546"/>
                                    <a:pt x="8680" y="1540"/>
                                    <a:pt x="8675" y="1542"/>
                                  </a:cubicBezTo>
                                  <a:cubicBezTo>
                                    <a:pt x="8669" y="1544"/>
                                    <a:pt x="8663" y="1545"/>
                                    <a:pt x="8650" y="1552"/>
                                  </a:cubicBezTo>
                                  <a:cubicBezTo>
                                    <a:pt x="8638" y="1559"/>
                                    <a:pt x="8639" y="1555"/>
                                    <a:pt x="8621" y="1557"/>
                                  </a:cubicBezTo>
                                  <a:cubicBezTo>
                                    <a:pt x="8604" y="1558"/>
                                    <a:pt x="8593" y="1558"/>
                                    <a:pt x="8575" y="1555"/>
                                  </a:cubicBezTo>
                                  <a:cubicBezTo>
                                    <a:pt x="8558" y="1553"/>
                                    <a:pt x="8563" y="1556"/>
                                    <a:pt x="8546" y="1556"/>
                                  </a:cubicBezTo>
                                  <a:cubicBezTo>
                                    <a:pt x="8528" y="1556"/>
                                    <a:pt x="8529" y="1556"/>
                                    <a:pt x="8505" y="1551"/>
                                  </a:cubicBezTo>
                                  <a:cubicBezTo>
                                    <a:pt x="8481" y="1546"/>
                                    <a:pt x="8467" y="1540"/>
                                    <a:pt x="8453" y="1537"/>
                                  </a:cubicBezTo>
                                  <a:cubicBezTo>
                                    <a:pt x="8439" y="1535"/>
                                    <a:pt x="8433" y="1538"/>
                                    <a:pt x="8413" y="1538"/>
                                  </a:cubicBezTo>
                                  <a:cubicBezTo>
                                    <a:pt x="8393" y="1539"/>
                                    <a:pt x="8391" y="1539"/>
                                    <a:pt x="8376" y="1542"/>
                                  </a:cubicBezTo>
                                  <a:cubicBezTo>
                                    <a:pt x="8361" y="1545"/>
                                    <a:pt x="8343" y="1552"/>
                                    <a:pt x="8320" y="1550"/>
                                  </a:cubicBezTo>
                                  <a:cubicBezTo>
                                    <a:pt x="8296" y="1547"/>
                                    <a:pt x="8292" y="1552"/>
                                    <a:pt x="8287" y="1553"/>
                                  </a:cubicBezTo>
                                  <a:cubicBezTo>
                                    <a:pt x="8281" y="1553"/>
                                    <a:pt x="8268" y="1557"/>
                                    <a:pt x="8260" y="1557"/>
                                  </a:cubicBezTo>
                                  <a:cubicBezTo>
                                    <a:pt x="8252" y="1556"/>
                                    <a:pt x="8238" y="1553"/>
                                    <a:pt x="8229" y="1547"/>
                                  </a:cubicBezTo>
                                  <a:cubicBezTo>
                                    <a:pt x="8219" y="1542"/>
                                    <a:pt x="8216" y="1544"/>
                                    <a:pt x="8203" y="1543"/>
                                  </a:cubicBezTo>
                                  <a:cubicBezTo>
                                    <a:pt x="8190" y="1541"/>
                                    <a:pt x="8185" y="1536"/>
                                    <a:pt x="8182" y="1531"/>
                                  </a:cubicBezTo>
                                  <a:cubicBezTo>
                                    <a:pt x="8179" y="1527"/>
                                    <a:pt x="8180" y="1523"/>
                                    <a:pt x="8183" y="1518"/>
                                  </a:cubicBezTo>
                                  <a:cubicBezTo>
                                    <a:pt x="8185" y="1514"/>
                                    <a:pt x="8186" y="1512"/>
                                    <a:pt x="8185" y="1505"/>
                                  </a:cubicBezTo>
                                  <a:cubicBezTo>
                                    <a:pt x="8183" y="1498"/>
                                    <a:pt x="8185" y="1497"/>
                                    <a:pt x="8192" y="1496"/>
                                  </a:cubicBezTo>
                                  <a:cubicBezTo>
                                    <a:pt x="8200" y="1494"/>
                                    <a:pt x="8201" y="1491"/>
                                    <a:pt x="8202" y="1484"/>
                                  </a:cubicBezTo>
                                  <a:cubicBezTo>
                                    <a:pt x="8202" y="1478"/>
                                    <a:pt x="8199" y="1473"/>
                                    <a:pt x="8192" y="1457"/>
                                  </a:cubicBezTo>
                                  <a:cubicBezTo>
                                    <a:pt x="8186" y="1442"/>
                                    <a:pt x="8187" y="1445"/>
                                    <a:pt x="8181" y="1436"/>
                                  </a:cubicBezTo>
                                  <a:cubicBezTo>
                                    <a:pt x="8176" y="1427"/>
                                    <a:pt x="8163" y="1423"/>
                                    <a:pt x="8145" y="1416"/>
                                  </a:cubicBezTo>
                                  <a:cubicBezTo>
                                    <a:pt x="8127" y="1408"/>
                                    <a:pt x="8107" y="1401"/>
                                    <a:pt x="8082" y="1395"/>
                                  </a:cubicBezTo>
                                  <a:cubicBezTo>
                                    <a:pt x="8058" y="1390"/>
                                    <a:pt x="8055" y="1393"/>
                                    <a:pt x="8036" y="1392"/>
                                  </a:cubicBezTo>
                                  <a:cubicBezTo>
                                    <a:pt x="8017" y="1391"/>
                                    <a:pt x="8000" y="1390"/>
                                    <a:pt x="7975" y="1389"/>
                                  </a:cubicBezTo>
                                  <a:cubicBezTo>
                                    <a:pt x="7949" y="1388"/>
                                    <a:pt x="7922" y="1392"/>
                                    <a:pt x="7908" y="1393"/>
                                  </a:cubicBezTo>
                                  <a:cubicBezTo>
                                    <a:pt x="7895" y="1394"/>
                                    <a:pt x="7881" y="1399"/>
                                    <a:pt x="7863" y="1401"/>
                                  </a:cubicBezTo>
                                  <a:cubicBezTo>
                                    <a:pt x="7846" y="1403"/>
                                    <a:pt x="7817" y="1406"/>
                                    <a:pt x="7802" y="1412"/>
                                  </a:cubicBezTo>
                                  <a:cubicBezTo>
                                    <a:pt x="7788" y="1419"/>
                                    <a:pt x="7780" y="1416"/>
                                    <a:pt x="7765" y="1421"/>
                                  </a:cubicBezTo>
                                  <a:cubicBezTo>
                                    <a:pt x="7750" y="1425"/>
                                    <a:pt x="7735" y="1424"/>
                                    <a:pt x="7724" y="1416"/>
                                  </a:cubicBezTo>
                                  <a:cubicBezTo>
                                    <a:pt x="7714" y="1408"/>
                                    <a:pt x="7703" y="1409"/>
                                    <a:pt x="7697" y="1407"/>
                                  </a:cubicBezTo>
                                  <a:cubicBezTo>
                                    <a:pt x="7691" y="1405"/>
                                    <a:pt x="7689" y="1404"/>
                                    <a:pt x="7690" y="1401"/>
                                  </a:cubicBezTo>
                                  <a:cubicBezTo>
                                    <a:pt x="7691" y="1398"/>
                                    <a:pt x="7697" y="1399"/>
                                    <a:pt x="7695" y="1396"/>
                                  </a:cubicBezTo>
                                  <a:cubicBezTo>
                                    <a:pt x="7693" y="1392"/>
                                    <a:pt x="7691" y="1390"/>
                                    <a:pt x="7685" y="1384"/>
                                  </a:cubicBezTo>
                                  <a:cubicBezTo>
                                    <a:pt x="7679" y="1377"/>
                                    <a:pt x="7678" y="1376"/>
                                    <a:pt x="7676" y="1369"/>
                                  </a:cubicBezTo>
                                  <a:cubicBezTo>
                                    <a:pt x="7673" y="1361"/>
                                    <a:pt x="7668" y="1363"/>
                                    <a:pt x="7660" y="1359"/>
                                  </a:cubicBezTo>
                                  <a:cubicBezTo>
                                    <a:pt x="7652" y="1354"/>
                                    <a:pt x="7651" y="1356"/>
                                    <a:pt x="7647" y="1356"/>
                                  </a:cubicBezTo>
                                  <a:cubicBezTo>
                                    <a:pt x="7644" y="1356"/>
                                    <a:pt x="7639" y="1357"/>
                                    <a:pt x="7635" y="1360"/>
                                  </a:cubicBezTo>
                                  <a:cubicBezTo>
                                    <a:pt x="7630" y="1363"/>
                                    <a:pt x="7626" y="1365"/>
                                    <a:pt x="7622" y="1364"/>
                                  </a:cubicBezTo>
                                  <a:cubicBezTo>
                                    <a:pt x="7618" y="1363"/>
                                    <a:pt x="7623" y="1357"/>
                                    <a:pt x="7621" y="1354"/>
                                  </a:cubicBezTo>
                                  <a:cubicBezTo>
                                    <a:pt x="7619" y="1351"/>
                                    <a:pt x="7616" y="1355"/>
                                    <a:pt x="7612" y="1357"/>
                                  </a:cubicBezTo>
                                  <a:cubicBezTo>
                                    <a:pt x="7609" y="1359"/>
                                    <a:pt x="7606" y="1362"/>
                                    <a:pt x="7599" y="1367"/>
                                  </a:cubicBezTo>
                                  <a:cubicBezTo>
                                    <a:pt x="7592" y="1371"/>
                                    <a:pt x="7591" y="1373"/>
                                    <a:pt x="7587" y="1374"/>
                                  </a:cubicBezTo>
                                  <a:cubicBezTo>
                                    <a:pt x="7583" y="1376"/>
                                    <a:pt x="7584" y="1373"/>
                                    <a:pt x="7585" y="1368"/>
                                  </a:cubicBezTo>
                                  <a:cubicBezTo>
                                    <a:pt x="7585" y="1364"/>
                                    <a:pt x="7590" y="1362"/>
                                    <a:pt x="7596" y="1358"/>
                                  </a:cubicBezTo>
                                  <a:cubicBezTo>
                                    <a:pt x="7602" y="1353"/>
                                    <a:pt x="7606" y="1352"/>
                                    <a:pt x="7610" y="1349"/>
                                  </a:cubicBezTo>
                                  <a:cubicBezTo>
                                    <a:pt x="7615" y="1346"/>
                                    <a:pt x="7616" y="1341"/>
                                    <a:pt x="7614" y="1340"/>
                                  </a:cubicBezTo>
                                  <a:cubicBezTo>
                                    <a:pt x="7613" y="1339"/>
                                    <a:pt x="7597" y="1339"/>
                                    <a:pt x="7594" y="1341"/>
                                  </a:cubicBezTo>
                                  <a:cubicBezTo>
                                    <a:pt x="7590" y="1343"/>
                                    <a:pt x="7581" y="1342"/>
                                    <a:pt x="7578" y="1339"/>
                                  </a:cubicBezTo>
                                  <a:cubicBezTo>
                                    <a:pt x="7574" y="1337"/>
                                    <a:pt x="7577" y="1334"/>
                                    <a:pt x="7577" y="1330"/>
                                  </a:cubicBezTo>
                                  <a:cubicBezTo>
                                    <a:pt x="7577" y="1327"/>
                                    <a:pt x="7577" y="1324"/>
                                    <a:pt x="7571" y="1323"/>
                                  </a:cubicBezTo>
                                  <a:cubicBezTo>
                                    <a:pt x="7564" y="1322"/>
                                    <a:pt x="7563" y="1323"/>
                                    <a:pt x="7554" y="1322"/>
                                  </a:cubicBezTo>
                                  <a:cubicBezTo>
                                    <a:pt x="7545" y="1322"/>
                                    <a:pt x="7545" y="1321"/>
                                    <a:pt x="7539" y="1321"/>
                                  </a:cubicBezTo>
                                  <a:cubicBezTo>
                                    <a:pt x="7533" y="1321"/>
                                    <a:pt x="7531" y="1321"/>
                                    <a:pt x="7522" y="1324"/>
                                  </a:cubicBezTo>
                                  <a:cubicBezTo>
                                    <a:pt x="7513" y="1326"/>
                                    <a:pt x="7511" y="1323"/>
                                    <a:pt x="7509" y="1320"/>
                                  </a:cubicBezTo>
                                  <a:cubicBezTo>
                                    <a:pt x="7507" y="1317"/>
                                    <a:pt x="7508" y="1308"/>
                                    <a:pt x="7511" y="1305"/>
                                  </a:cubicBezTo>
                                  <a:cubicBezTo>
                                    <a:pt x="7515" y="1302"/>
                                    <a:pt x="7517" y="1307"/>
                                    <a:pt x="7522" y="1308"/>
                                  </a:cubicBezTo>
                                  <a:cubicBezTo>
                                    <a:pt x="7528" y="1309"/>
                                    <a:pt x="7528" y="1306"/>
                                    <a:pt x="7531" y="1303"/>
                                  </a:cubicBezTo>
                                  <a:cubicBezTo>
                                    <a:pt x="7533" y="1300"/>
                                    <a:pt x="7538" y="1297"/>
                                    <a:pt x="7541" y="1296"/>
                                  </a:cubicBezTo>
                                  <a:cubicBezTo>
                                    <a:pt x="7544" y="1295"/>
                                    <a:pt x="7548" y="1298"/>
                                    <a:pt x="7551" y="1303"/>
                                  </a:cubicBezTo>
                                  <a:cubicBezTo>
                                    <a:pt x="7554" y="1308"/>
                                    <a:pt x="7557" y="1307"/>
                                    <a:pt x="7561" y="1309"/>
                                  </a:cubicBezTo>
                                  <a:cubicBezTo>
                                    <a:pt x="7565" y="1311"/>
                                    <a:pt x="7567" y="1307"/>
                                    <a:pt x="7573" y="1302"/>
                                  </a:cubicBezTo>
                                  <a:cubicBezTo>
                                    <a:pt x="7578" y="1297"/>
                                    <a:pt x="7579" y="1297"/>
                                    <a:pt x="7580" y="1293"/>
                                  </a:cubicBezTo>
                                  <a:cubicBezTo>
                                    <a:pt x="7580" y="1289"/>
                                    <a:pt x="7576" y="1286"/>
                                    <a:pt x="7570" y="1281"/>
                                  </a:cubicBezTo>
                                  <a:cubicBezTo>
                                    <a:pt x="7565" y="1275"/>
                                    <a:pt x="7562" y="1273"/>
                                    <a:pt x="7551" y="1267"/>
                                  </a:cubicBezTo>
                                  <a:cubicBezTo>
                                    <a:pt x="7541" y="1261"/>
                                    <a:pt x="7533" y="1263"/>
                                    <a:pt x="7524" y="1258"/>
                                  </a:cubicBezTo>
                                  <a:cubicBezTo>
                                    <a:pt x="7516" y="1252"/>
                                    <a:pt x="7507" y="1252"/>
                                    <a:pt x="7489" y="1250"/>
                                  </a:cubicBezTo>
                                  <a:cubicBezTo>
                                    <a:pt x="7471" y="1249"/>
                                    <a:pt x="7468" y="1249"/>
                                    <a:pt x="7454" y="1248"/>
                                  </a:cubicBezTo>
                                  <a:cubicBezTo>
                                    <a:pt x="7440" y="1247"/>
                                    <a:pt x="7431" y="1244"/>
                                    <a:pt x="7416" y="1244"/>
                                  </a:cubicBezTo>
                                  <a:cubicBezTo>
                                    <a:pt x="7401" y="1244"/>
                                    <a:pt x="7396" y="1247"/>
                                    <a:pt x="7392" y="1257"/>
                                  </a:cubicBezTo>
                                  <a:cubicBezTo>
                                    <a:pt x="7389" y="1266"/>
                                    <a:pt x="7384" y="1268"/>
                                    <a:pt x="7377" y="1274"/>
                                  </a:cubicBezTo>
                                  <a:cubicBezTo>
                                    <a:pt x="7370" y="1281"/>
                                    <a:pt x="7366" y="1281"/>
                                    <a:pt x="7360" y="1287"/>
                                  </a:cubicBezTo>
                                  <a:cubicBezTo>
                                    <a:pt x="7354" y="1293"/>
                                    <a:pt x="7348" y="1300"/>
                                    <a:pt x="7342" y="1306"/>
                                  </a:cubicBezTo>
                                  <a:cubicBezTo>
                                    <a:pt x="7336" y="1311"/>
                                    <a:pt x="7324" y="1309"/>
                                    <a:pt x="7321" y="1312"/>
                                  </a:cubicBezTo>
                                  <a:cubicBezTo>
                                    <a:pt x="7319" y="1315"/>
                                    <a:pt x="7308" y="1315"/>
                                    <a:pt x="7300" y="1315"/>
                                  </a:cubicBezTo>
                                  <a:cubicBezTo>
                                    <a:pt x="7292" y="1315"/>
                                    <a:pt x="7290" y="1315"/>
                                    <a:pt x="7285" y="1317"/>
                                  </a:cubicBezTo>
                                  <a:cubicBezTo>
                                    <a:pt x="7279" y="1319"/>
                                    <a:pt x="7274" y="1322"/>
                                    <a:pt x="7269" y="1322"/>
                                  </a:cubicBezTo>
                                  <a:cubicBezTo>
                                    <a:pt x="7263" y="1322"/>
                                    <a:pt x="7265" y="1316"/>
                                    <a:pt x="7265" y="1313"/>
                                  </a:cubicBezTo>
                                  <a:cubicBezTo>
                                    <a:pt x="7265" y="1310"/>
                                    <a:pt x="7269" y="1310"/>
                                    <a:pt x="7274" y="1308"/>
                                  </a:cubicBezTo>
                                  <a:cubicBezTo>
                                    <a:pt x="7278" y="1306"/>
                                    <a:pt x="7278" y="1304"/>
                                    <a:pt x="7275" y="1301"/>
                                  </a:cubicBezTo>
                                  <a:cubicBezTo>
                                    <a:pt x="7273" y="1298"/>
                                    <a:pt x="7269" y="1295"/>
                                    <a:pt x="7269" y="1292"/>
                                  </a:cubicBezTo>
                                  <a:cubicBezTo>
                                    <a:pt x="7269" y="1290"/>
                                    <a:pt x="7271" y="1290"/>
                                    <a:pt x="7274" y="1290"/>
                                  </a:cubicBezTo>
                                  <a:cubicBezTo>
                                    <a:pt x="7277" y="1290"/>
                                    <a:pt x="7286" y="1295"/>
                                    <a:pt x="7291" y="1298"/>
                                  </a:cubicBezTo>
                                  <a:cubicBezTo>
                                    <a:pt x="7296" y="1300"/>
                                    <a:pt x="7301" y="1298"/>
                                    <a:pt x="7305" y="1298"/>
                                  </a:cubicBezTo>
                                  <a:cubicBezTo>
                                    <a:pt x="7309" y="1298"/>
                                    <a:pt x="7316" y="1294"/>
                                    <a:pt x="7317" y="1293"/>
                                  </a:cubicBezTo>
                                  <a:cubicBezTo>
                                    <a:pt x="7319" y="1291"/>
                                    <a:pt x="7316" y="1287"/>
                                    <a:pt x="7313" y="1284"/>
                                  </a:cubicBezTo>
                                  <a:cubicBezTo>
                                    <a:pt x="7309" y="1280"/>
                                    <a:pt x="7308" y="1274"/>
                                    <a:pt x="7308" y="1270"/>
                                  </a:cubicBezTo>
                                  <a:cubicBezTo>
                                    <a:pt x="7308" y="1266"/>
                                    <a:pt x="7313" y="1262"/>
                                    <a:pt x="7314" y="1258"/>
                                  </a:cubicBezTo>
                                  <a:cubicBezTo>
                                    <a:pt x="7315" y="1255"/>
                                    <a:pt x="7311" y="1253"/>
                                    <a:pt x="7303" y="1253"/>
                                  </a:cubicBezTo>
                                  <a:cubicBezTo>
                                    <a:pt x="7294" y="1252"/>
                                    <a:pt x="7286" y="1254"/>
                                    <a:pt x="7278" y="1255"/>
                                  </a:cubicBezTo>
                                  <a:cubicBezTo>
                                    <a:pt x="7269" y="1256"/>
                                    <a:pt x="7241" y="1260"/>
                                    <a:pt x="7237" y="1259"/>
                                  </a:cubicBezTo>
                                  <a:cubicBezTo>
                                    <a:pt x="7234" y="1259"/>
                                    <a:pt x="7235" y="1256"/>
                                    <a:pt x="7237" y="1252"/>
                                  </a:cubicBezTo>
                                  <a:cubicBezTo>
                                    <a:pt x="7239" y="1248"/>
                                    <a:pt x="7249" y="1245"/>
                                    <a:pt x="7250" y="1243"/>
                                  </a:cubicBezTo>
                                  <a:cubicBezTo>
                                    <a:pt x="7252" y="1241"/>
                                    <a:pt x="7264" y="1235"/>
                                    <a:pt x="7269" y="1234"/>
                                  </a:cubicBezTo>
                                  <a:cubicBezTo>
                                    <a:pt x="7274" y="1233"/>
                                    <a:pt x="7276" y="1235"/>
                                    <a:pt x="7278" y="1237"/>
                                  </a:cubicBezTo>
                                  <a:cubicBezTo>
                                    <a:pt x="7281" y="1239"/>
                                    <a:pt x="7285" y="1241"/>
                                    <a:pt x="7290" y="1243"/>
                                  </a:cubicBezTo>
                                  <a:cubicBezTo>
                                    <a:pt x="7295" y="1245"/>
                                    <a:pt x="7303" y="1245"/>
                                    <a:pt x="7308" y="1244"/>
                                  </a:cubicBezTo>
                                  <a:cubicBezTo>
                                    <a:pt x="7313" y="1243"/>
                                    <a:pt x="7324" y="1242"/>
                                    <a:pt x="7333" y="1242"/>
                                  </a:cubicBezTo>
                                  <a:cubicBezTo>
                                    <a:pt x="7342" y="1241"/>
                                    <a:pt x="7346" y="1242"/>
                                    <a:pt x="7350" y="1243"/>
                                  </a:cubicBezTo>
                                  <a:cubicBezTo>
                                    <a:pt x="7355" y="1244"/>
                                    <a:pt x="7374" y="1243"/>
                                    <a:pt x="7370" y="1240"/>
                                  </a:cubicBezTo>
                                  <a:cubicBezTo>
                                    <a:pt x="7367" y="1237"/>
                                    <a:pt x="7350" y="1234"/>
                                    <a:pt x="7342" y="1232"/>
                                  </a:cubicBezTo>
                                  <a:cubicBezTo>
                                    <a:pt x="7335" y="1231"/>
                                    <a:pt x="7327" y="1228"/>
                                    <a:pt x="7316" y="1225"/>
                                  </a:cubicBezTo>
                                  <a:cubicBezTo>
                                    <a:pt x="7306" y="1223"/>
                                    <a:pt x="7291" y="1220"/>
                                    <a:pt x="7280" y="1217"/>
                                  </a:cubicBezTo>
                                  <a:cubicBezTo>
                                    <a:pt x="7268" y="1213"/>
                                    <a:pt x="7266" y="1215"/>
                                    <a:pt x="7254" y="1214"/>
                                  </a:cubicBezTo>
                                  <a:cubicBezTo>
                                    <a:pt x="7243" y="1214"/>
                                    <a:pt x="7233" y="1212"/>
                                    <a:pt x="7222" y="1210"/>
                                  </a:cubicBezTo>
                                  <a:cubicBezTo>
                                    <a:pt x="7211" y="1207"/>
                                    <a:pt x="7190" y="1206"/>
                                    <a:pt x="7180" y="1208"/>
                                  </a:cubicBezTo>
                                  <a:cubicBezTo>
                                    <a:pt x="7170" y="1209"/>
                                    <a:pt x="7157" y="1207"/>
                                    <a:pt x="7148" y="1206"/>
                                  </a:cubicBezTo>
                                  <a:cubicBezTo>
                                    <a:pt x="7140" y="1205"/>
                                    <a:pt x="7133" y="1205"/>
                                    <a:pt x="7122" y="1205"/>
                                  </a:cubicBezTo>
                                  <a:cubicBezTo>
                                    <a:pt x="7112" y="1205"/>
                                    <a:pt x="7102" y="1205"/>
                                    <a:pt x="7092" y="1202"/>
                                  </a:cubicBezTo>
                                  <a:cubicBezTo>
                                    <a:pt x="7082" y="1200"/>
                                    <a:pt x="7075" y="1196"/>
                                    <a:pt x="7067" y="1193"/>
                                  </a:cubicBezTo>
                                  <a:cubicBezTo>
                                    <a:pt x="7060" y="1191"/>
                                    <a:pt x="7051" y="1186"/>
                                    <a:pt x="7043" y="1186"/>
                                  </a:cubicBezTo>
                                  <a:cubicBezTo>
                                    <a:pt x="7036" y="1185"/>
                                    <a:pt x="7033" y="1185"/>
                                    <a:pt x="7026" y="1185"/>
                                  </a:cubicBezTo>
                                  <a:cubicBezTo>
                                    <a:pt x="7020" y="1184"/>
                                    <a:pt x="7012" y="1183"/>
                                    <a:pt x="7008" y="1183"/>
                                  </a:cubicBezTo>
                                  <a:cubicBezTo>
                                    <a:pt x="7004" y="1183"/>
                                    <a:pt x="7000" y="1185"/>
                                    <a:pt x="7003" y="1189"/>
                                  </a:cubicBezTo>
                                  <a:cubicBezTo>
                                    <a:pt x="7007" y="1193"/>
                                    <a:pt x="7008" y="1193"/>
                                    <a:pt x="7009" y="1197"/>
                                  </a:cubicBezTo>
                                  <a:cubicBezTo>
                                    <a:pt x="7010" y="1201"/>
                                    <a:pt x="7017" y="1205"/>
                                    <a:pt x="7021" y="1210"/>
                                  </a:cubicBezTo>
                                  <a:cubicBezTo>
                                    <a:pt x="7026" y="1215"/>
                                    <a:pt x="7026" y="1215"/>
                                    <a:pt x="7024" y="1219"/>
                                  </a:cubicBezTo>
                                  <a:cubicBezTo>
                                    <a:pt x="7022" y="1223"/>
                                    <a:pt x="7015" y="1221"/>
                                    <a:pt x="7011" y="1222"/>
                                  </a:cubicBezTo>
                                  <a:cubicBezTo>
                                    <a:pt x="7008" y="1223"/>
                                    <a:pt x="7007" y="1226"/>
                                    <a:pt x="7002" y="1227"/>
                                  </a:cubicBezTo>
                                  <a:cubicBezTo>
                                    <a:pt x="6997" y="1228"/>
                                    <a:pt x="6991" y="1228"/>
                                    <a:pt x="6986" y="1228"/>
                                  </a:cubicBezTo>
                                  <a:cubicBezTo>
                                    <a:pt x="6981" y="1227"/>
                                    <a:pt x="6972" y="1227"/>
                                    <a:pt x="6967" y="1226"/>
                                  </a:cubicBezTo>
                                  <a:cubicBezTo>
                                    <a:pt x="6963" y="1226"/>
                                    <a:pt x="6959" y="1228"/>
                                    <a:pt x="6955" y="1230"/>
                                  </a:cubicBezTo>
                                  <a:cubicBezTo>
                                    <a:pt x="6951" y="1232"/>
                                    <a:pt x="6942" y="1237"/>
                                    <a:pt x="6939" y="1240"/>
                                  </a:cubicBezTo>
                                  <a:cubicBezTo>
                                    <a:pt x="6935" y="1243"/>
                                    <a:pt x="6930" y="1246"/>
                                    <a:pt x="6926" y="1247"/>
                                  </a:cubicBezTo>
                                  <a:cubicBezTo>
                                    <a:pt x="6923" y="1249"/>
                                    <a:pt x="6915" y="1253"/>
                                    <a:pt x="6912" y="1255"/>
                                  </a:cubicBezTo>
                                  <a:cubicBezTo>
                                    <a:pt x="6909" y="1257"/>
                                    <a:pt x="6908" y="1260"/>
                                    <a:pt x="6910" y="1264"/>
                                  </a:cubicBezTo>
                                  <a:cubicBezTo>
                                    <a:pt x="6912" y="1267"/>
                                    <a:pt x="6919" y="1265"/>
                                    <a:pt x="6922" y="1264"/>
                                  </a:cubicBezTo>
                                  <a:cubicBezTo>
                                    <a:pt x="6926" y="1263"/>
                                    <a:pt x="6929" y="1260"/>
                                    <a:pt x="6933" y="1257"/>
                                  </a:cubicBezTo>
                                  <a:cubicBezTo>
                                    <a:pt x="6937" y="1254"/>
                                    <a:pt x="6941" y="1255"/>
                                    <a:pt x="6946" y="1256"/>
                                  </a:cubicBezTo>
                                  <a:cubicBezTo>
                                    <a:pt x="6951" y="1256"/>
                                    <a:pt x="6956" y="1256"/>
                                    <a:pt x="6962" y="1256"/>
                                  </a:cubicBezTo>
                                  <a:cubicBezTo>
                                    <a:pt x="6967" y="1257"/>
                                    <a:pt x="6969" y="1261"/>
                                    <a:pt x="6968" y="1265"/>
                                  </a:cubicBezTo>
                                  <a:cubicBezTo>
                                    <a:pt x="6967" y="1270"/>
                                    <a:pt x="6964" y="1266"/>
                                    <a:pt x="6961" y="1267"/>
                                  </a:cubicBezTo>
                                  <a:cubicBezTo>
                                    <a:pt x="6958" y="1268"/>
                                    <a:pt x="6956" y="1270"/>
                                    <a:pt x="6952" y="1274"/>
                                  </a:cubicBezTo>
                                  <a:cubicBezTo>
                                    <a:pt x="6948" y="1277"/>
                                    <a:pt x="6945" y="1280"/>
                                    <a:pt x="6943" y="1283"/>
                                  </a:cubicBezTo>
                                  <a:cubicBezTo>
                                    <a:pt x="6941" y="1286"/>
                                    <a:pt x="6936" y="1287"/>
                                    <a:pt x="6933" y="1287"/>
                                  </a:cubicBezTo>
                                  <a:cubicBezTo>
                                    <a:pt x="6931" y="1287"/>
                                    <a:pt x="6924" y="1287"/>
                                    <a:pt x="6922" y="1289"/>
                                  </a:cubicBezTo>
                                  <a:cubicBezTo>
                                    <a:pt x="6921" y="1291"/>
                                    <a:pt x="6929" y="1293"/>
                                    <a:pt x="6933" y="1293"/>
                                  </a:cubicBezTo>
                                  <a:cubicBezTo>
                                    <a:pt x="6936" y="1293"/>
                                    <a:pt x="6939" y="1296"/>
                                    <a:pt x="6939" y="1300"/>
                                  </a:cubicBezTo>
                                  <a:cubicBezTo>
                                    <a:pt x="6939" y="1303"/>
                                    <a:pt x="6943" y="1313"/>
                                    <a:pt x="6946" y="1321"/>
                                  </a:cubicBezTo>
                                  <a:cubicBezTo>
                                    <a:pt x="6948" y="1329"/>
                                    <a:pt x="6954" y="1332"/>
                                    <a:pt x="6957" y="1336"/>
                                  </a:cubicBezTo>
                                  <a:cubicBezTo>
                                    <a:pt x="6961" y="1341"/>
                                    <a:pt x="6958" y="1344"/>
                                    <a:pt x="6955" y="1345"/>
                                  </a:cubicBezTo>
                                  <a:cubicBezTo>
                                    <a:pt x="6951" y="1345"/>
                                    <a:pt x="6942" y="1344"/>
                                    <a:pt x="6935" y="1343"/>
                                  </a:cubicBezTo>
                                  <a:cubicBezTo>
                                    <a:pt x="6928" y="1342"/>
                                    <a:pt x="6924" y="1343"/>
                                    <a:pt x="6922" y="1347"/>
                                  </a:cubicBezTo>
                                  <a:cubicBezTo>
                                    <a:pt x="6919" y="1351"/>
                                    <a:pt x="6913" y="1353"/>
                                    <a:pt x="6909" y="1349"/>
                                  </a:cubicBezTo>
                                  <a:cubicBezTo>
                                    <a:pt x="6905" y="1346"/>
                                    <a:pt x="6908" y="1343"/>
                                    <a:pt x="6907" y="1339"/>
                                  </a:cubicBezTo>
                                  <a:cubicBezTo>
                                    <a:pt x="6905" y="1334"/>
                                    <a:pt x="6900" y="1330"/>
                                    <a:pt x="6893" y="1330"/>
                                  </a:cubicBezTo>
                                  <a:cubicBezTo>
                                    <a:pt x="6886" y="1330"/>
                                    <a:pt x="6880" y="1332"/>
                                    <a:pt x="6878" y="1333"/>
                                  </a:cubicBezTo>
                                  <a:cubicBezTo>
                                    <a:pt x="6877" y="1335"/>
                                    <a:pt x="6871" y="1338"/>
                                    <a:pt x="6867" y="1334"/>
                                  </a:cubicBezTo>
                                  <a:cubicBezTo>
                                    <a:pt x="6863" y="1330"/>
                                    <a:pt x="6860" y="1330"/>
                                    <a:pt x="6854" y="1332"/>
                                  </a:cubicBezTo>
                                  <a:cubicBezTo>
                                    <a:pt x="6848" y="1334"/>
                                    <a:pt x="6841" y="1340"/>
                                    <a:pt x="6839" y="1343"/>
                                  </a:cubicBezTo>
                                  <a:cubicBezTo>
                                    <a:pt x="6837" y="1346"/>
                                    <a:pt x="6837" y="1353"/>
                                    <a:pt x="6839" y="1357"/>
                                  </a:cubicBezTo>
                                  <a:cubicBezTo>
                                    <a:pt x="6842" y="1361"/>
                                    <a:pt x="6848" y="1360"/>
                                    <a:pt x="6849" y="1364"/>
                                  </a:cubicBezTo>
                                  <a:cubicBezTo>
                                    <a:pt x="6850" y="1369"/>
                                    <a:pt x="6846" y="1369"/>
                                    <a:pt x="6841" y="1371"/>
                                  </a:cubicBezTo>
                                  <a:cubicBezTo>
                                    <a:pt x="6836" y="1374"/>
                                    <a:pt x="6832" y="1375"/>
                                    <a:pt x="6832" y="1380"/>
                                  </a:cubicBezTo>
                                  <a:cubicBezTo>
                                    <a:pt x="6831" y="1384"/>
                                    <a:pt x="6828" y="1385"/>
                                    <a:pt x="6821" y="1384"/>
                                  </a:cubicBezTo>
                                  <a:cubicBezTo>
                                    <a:pt x="6814" y="1382"/>
                                    <a:pt x="6812" y="1374"/>
                                    <a:pt x="6809" y="1370"/>
                                  </a:cubicBezTo>
                                  <a:cubicBezTo>
                                    <a:pt x="6806" y="1365"/>
                                    <a:pt x="6795" y="1358"/>
                                    <a:pt x="6790" y="1353"/>
                                  </a:cubicBezTo>
                                  <a:cubicBezTo>
                                    <a:pt x="6785" y="1349"/>
                                    <a:pt x="6777" y="1347"/>
                                    <a:pt x="6767" y="1346"/>
                                  </a:cubicBezTo>
                                  <a:cubicBezTo>
                                    <a:pt x="6758" y="1346"/>
                                    <a:pt x="6759" y="1346"/>
                                    <a:pt x="6751" y="1342"/>
                                  </a:cubicBezTo>
                                  <a:cubicBezTo>
                                    <a:pt x="6742" y="1339"/>
                                    <a:pt x="6740" y="1335"/>
                                    <a:pt x="6735" y="1332"/>
                                  </a:cubicBezTo>
                                  <a:cubicBezTo>
                                    <a:pt x="6729" y="1330"/>
                                    <a:pt x="6717" y="1328"/>
                                    <a:pt x="6710" y="1328"/>
                                  </a:cubicBezTo>
                                  <a:cubicBezTo>
                                    <a:pt x="6704" y="1329"/>
                                    <a:pt x="6699" y="1327"/>
                                    <a:pt x="6688" y="1332"/>
                                  </a:cubicBezTo>
                                  <a:cubicBezTo>
                                    <a:pt x="6678" y="1337"/>
                                    <a:pt x="6676" y="1336"/>
                                    <a:pt x="6664" y="1339"/>
                                  </a:cubicBezTo>
                                  <a:cubicBezTo>
                                    <a:pt x="6651" y="1341"/>
                                    <a:pt x="6644" y="1343"/>
                                    <a:pt x="6641" y="1346"/>
                                  </a:cubicBezTo>
                                  <a:cubicBezTo>
                                    <a:pt x="6638" y="1350"/>
                                    <a:pt x="6637" y="1352"/>
                                    <a:pt x="6637" y="1356"/>
                                  </a:cubicBezTo>
                                  <a:cubicBezTo>
                                    <a:pt x="6637" y="1361"/>
                                    <a:pt x="6634" y="1366"/>
                                    <a:pt x="6631" y="1365"/>
                                  </a:cubicBezTo>
                                  <a:cubicBezTo>
                                    <a:pt x="6628" y="1364"/>
                                    <a:pt x="6629" y="1358"/>
                                    <a:pt x="6626" y="1356"/>
                                  </a:cubicBezTo>
                                  <a:cubicBezTo>
                                    <a:pt x="6623" y="1355"/>
                                    <a:pt x="6619" y="1356"/>
                                    <a:pt x="6607" y="1356"/>
                                  </a:cubicBezTo>
                                  <a:cubicBezTo>
                                    <a:pt x="6594" y="1355"/>
                                    <a:pt x="6581" y="1352"/>
                                    <a:pt x="6573" y="1350"/>
                                  </a:cubicBezTo>
                                  <a:cubicBezTo>
                                    <a:pt x="6566" y="1347"/>
                                    <a:pt x="6542" y="1336"/>
                                    <a:pt x="6530" y="1328"/>
                                  </a:cubicBezTo>
                                  <a:cubicBezTo>
                                    <a:pt x="6519" y="1320"/>
                                    <a:pt x="6515" y="1313"/>
                                    <a:pt x="6513" y="1307"/>
                                  </a:cubicBezTo>
                                  <a:cubicBezTo>
                                    <a:pt x="6512" y="1300"/>
                                    <a:pt x="6508" y="1294"/>
                                    <a:pt x="6501" y="1297"/>
                                  </a:cubicBezTo>
                                  <a:cubicBezTo>
                                    <a:pt x="6493" y="1301"/>
                                    <a:pt x="6487" y="1308"/>
                                    <a:pt x="6482" y="1322"/>
                                  </a:cubicBezTo>
                                  <a:cubicBezTo>
                                    <a:pt x="6476" y="1335"/>
                                    <a:pt x="6471" y="1339"/>
                                    <a:pt x="6466" y="1356"/>
                                  </a:cubicBezTo>
                                  <a:cubicBezTo>
                                    <a:pt x="6461" y="1373"/>
                                    <a:pt x="6459" y="1375"/>
                                    <a:pt x="6456" y="1381"/>
                                  </a:cubicBezTo>
                                  <a:cubicBezTo>
                                    <a:pt x="6452" y="1387"/>
                                    <a:pt x="6445" y="1390"/>
                                    <a:pt x="6439" y="1399"/>
                                  </a:cubicBezTo>
                                  <a:cubicBezTo>
                                    <a:pt x="6433" y="1409"/>
                                    <a:pt x="6419" y="1420"/>
                                    <a:pt x="6415" y="1426"/>
                                  </a:cubicBezTo>
                                  <a:cubicBezTo>
                                    <a:pt x="6410" y="1431"/>
                                    <a:pt x="6405" y="1431"/>
                                    <a:pt x="6401" y="1429"/>
                                  </a:cubicBezTo>
                                  <a:cubicBezTo>
                                    <a:pt x="6397" y="1427"/>
                                    <a:pt x="6399" y="1419"/>
                                    <a:pt x="6394" y="1414"/>
                                  </a:cubicBezTo>
                                  <a:cubicBezTo>
                                    <a:pt x="6389" y="1409"/>
                                    <a:pt x="6385" y="1413"/>
                                    <a:pt x="6376" y="1412"/>
                                  </a:cubicBezTo>
                                  <a:cubicBezTo>
                                    <a:pt x="6368" y="1411"/>
                                    <a:pt x="6360" y="1408"/>
                                    <a:pt x="6351" y="1404"/>
                                  </a:cubicBezTo>
                                  <a:cubicBezTo>
                                    <a:pt x="6342" y="1400"/>
                                    <a:pt x="6326" y="1393"/>
                                    <a:pt x="6324" y="1390"/>
                                  </a:cubicBezTo>
                                  <a:cubicBezTo>
                                    <a:pt x="6321" y="1387"/>
                                    <a:pt x="6328" y="1385"/>
                                    <a:pt x="6326" y="1377"/>
                                  </a:cubicBezTo>
                                  <a:cubicBezTo>
                                    <a:pt x="6323" y="1368"/>
                                    <a:pt x="6322" y="1370"/>
                                    <a:pt x="6312" y="1362"/>
                                  </a:cubicBezTo>
                                  <a:cubicBezTo>
                                    <a:pt x="6302" y="1355"/>
                                    <a:pt x="6306" y="1354"/>
                                    <a:pt x="6294" y="1346"/>
                                  </a:cubicBezTo>
                                  <a:cubicBezTo>
                                    <a:pt x="6283" y="1337"/>
                                    <a:pt x="6276" y="1332"/>
                                    <a:pt x="6272" y="1330"/>
                                  </a:cubicBezTo>
                                  <a:cubicBezTo>
                                    <a:pt x="6269" y="1327"/>
                                    <a:pt x="6274" y="1324"/>
                                    <a:pt x="6283" y="1319"/>
                                  </a:cubicBezTo>
                                  <a:cubicBezTo>
                                    <a:pt x="6291" y="1314"/>
                                    <a:pt x="6290" y="1315"/>
                                    <a:pt x="6297" y="1315"/>
                                  </a:cubicBezTo>
                                  <a:cubicBezTo>
                                    <a:pt x="6304" y="1315"/>
                                    <a:pt x="6310" y="1320"/>
                                    <a:pt x="6313" y="1316"/>
                                  </a:cubicBezTo>
                                  <a:cubicBezTo>
                                    <a:pt x="6315" y="1312"/>
                                    <a:pt x="6310" y="1311"/>
                                    <a:pt x="6305" y="1305"/>
                                  </a:cubicBezTo>
                                  <a:cubicBezTo>
                                    <a:pt x="6300" y="1299"/>
                                    <a:pt x="6299" y="1295"/>
                                    <a:pt x="6295" y="1291"/>
                                  </a:cubicBezTo>
                                  <a:cubicBezTo>
                                    <a:pt x="6290" y="1286"/>
                                    <a:pt x="6285" y="1286"/>
                                    <a:pt x="6285" y="1291"/>
                                  </a:cubicBezTo>
                                  <a:cubicBezTo>
                                    <a:pt x="6286" y="1295"/>
                                    <a:pt x="6288" y="1301"/>
                                    <a:pt x="6287" y="1306"/>
                                  </a:cubicBezTo>
                                  <a:cubicBezTo>
                                    <a:pt x="6286" y="1312"/>
                                    <a:pt x="6279" y="1308"/>
                                    <a:pt x="6272" y="1308"/>
                                  </a:cubicBezTo>
                                  <a:cubicBezTo>
                                    <a:pt x="6265" y="1308"/>
                                    <a:pt x="6261" y="1308"/>
                                    <a:pt x="6255" y="1302"/>
                                  </a:cubicBezTo>
                                  <a:cubicBezTo>
                                    <a:pt x="6250" y="1296"/>
                                    <a:pt x="6242" y="1286"/>
                                    <a:pt x="6237" y="1277"/>
                                  </a:cubicBezTo>
                                  <a:cubicBezTo>
                                    <a:pt x="6233" y="1268"/>
                                    <a:pt x="6230" y="1260"/>
                                    <a:pt x="6235" y="1257"/>
                                  </a:cubicBezTo>
                                  <a:cubicBezTo>
                                    <a:pt x="6239" y="1254"/>
                                    <a:pt x="6252" y="1264"/>
                                    <a:pt x="6258" y="1265"/>
                                  </a:cubicBezTo>
                                  <a:cubicBezTo>
                                    <a:pt x="6263" y="1267"/>
                                    <a:pt x="6273" y="1274"/>
                                    <a:pt x="6279" y="1275"/>
                                  </a:cubicBezTo>
                                  <a:cubicBezTo>
                                    <a:pt x="6285" y="1276"/>
                                    <a:pt x="6294" y="1276"/>
                                    <a:pt x="6301" y="1274"/>
                                  </a:cubicBezTo>
                                  <a:cubicBezTo>
                                    <a:pt x="6308" y="1272"/>
                                    <a:pt x="6313" y="1265"/>
                                    <a:pt x="6313" y="1261"/>
                                  </a:cubicBezTo>
                                  <a:cubicBezTo>
                                    <a:pt x="6313" y="1257"/>
                                    <a:pt x="6313" y="1254"/>
                                    <a:pt x="6312" y="1249"/>
                                  </a:cubicBezTo>
                                  <a:cubicBezTo>
                                    <a:pt x="6310" y="1244"/>
                                    <a:pt x="6309" y="1241"/>
                                    <a:pt x="6303" y="1236"/>
                                  </a:cubicBezTo>
                                  <a:cubicBezTo>
                                    <a:pt x="6298" y="1231"/>
                                    <a:pt x="6292" y="1231"/>
                                    <a:pt x="6288" y="1231"/>
                                  </a:cubicBezTo>
                                  <a:cubicBezTo>
                                    <a:pt x="6284" y="1231"/>
                                    <a:pt x="6274" y="1229"/>
                                    <a:pt x="6269" y="1229"/>
                                  </a:cubicBezTo>
                                  <a:cubicBezTo>
                                    <a:pt x="6265" y="1229"/>
                                    <a:pt x="6254" y="1228"/>
                                    <a:pt x="6251" y="1227"/>
                                  </a:cubicBezTo>
                                  <a:cubicBezTo>
                                    <a:pt x="6248" y="1227"/>
                                    <a:pt x="6247" y="1225"/>
                                    <a:pt x="6249" y="1222"/>
                                  </a:cubicBezTo>
                                  <a:cubicBezTo>
                                    <a:pt x="6251" y="1219"/>
                                    <a:pt x="6257" y="1221"/>
                                    <a:pt x="6263" y="1221"/>
                                  </a:cubicBezTo>
                                  <a:cubicBezTo>
                                    <a:pt x="6270" y="1221"/>
                                    <a:pt x="6269" y="1220"/>
                                    <a:pt x="6272" y="1214"/>
                                  </a:cubicBezTo>
                                  <a:cubicBezTo>
                                    <a:pt x="6274" y="1209"/>
                                    <a:pt x="6277" y="1210"/>
                                    <a:pt x="6284" y="1208"/>
                                  </a:cubicBezTo>
                                  <a:cubicBezTo>
                                    <a:pt x="6292" y="1206"/>
                                    <a:pt x="6295" y="1208"/>
                                    <a:pt x="6294" y="1204"/>
                                  </a:cubicBezTo>
                                  <a:cubicBezTo>
                                    <a:pt x="6292" y="1200"/>
                                    <a:pt x="6288" y="1200"/>
                                    <a:pt x="6285" y="1198"/>
                                  </a:cubicBezTo>
                                  <a:cubicBezTo>
                                    <a:pt x="6282" y="1196"/>
                                    <a:pt x="6277" y="1193"/>
                                    <a:pt x="6272" y="1190"/>
                                  </a:cubicBezTo>
                                  <a:cubicBezTo>
                                    <a:pt x="6267" y="1187"/>
                                    <a:pt x="6262" y="1187"/>
                                    <a:pt x="6257" y="1186"/>
                                  </a:cubicBezTo>
                                  <a:cubicBezTo>
                                    <a:pt x="6252" y="1186"/>
                                    <a:pt x="6250" y="1182"/>
                                    <a:pt x="6249" y="1180"/>
                                  </a:cubicBezTo>
                                  <a:cubicBezTo>
                                    <a:pt x="6249" y="1178"/>
                                    <a:pt x="6251" y="1176"/>
                                    <a:pt x="6254" y="1174"/>
                                  </a:cubicBezTo>
                                  <a:cubicBezTo>
                                    <a:pt x="6257" y="1172"/>
                                    <a:pt x="6264" y="1171"/>
                                    <a:pt x="6270" y="1169"/>
                                  </a:cubicBezTo>
                                  <a:cubicBezTo>
                                    <a:pt x="6276" y="1167"/>
                                    <a:pt x="6278" y="1166"/>
                                    <a:pt x="6281" y="1165"/>
                                  </a:cubicBezTo>
                                  <a:cubicBezTo>
                                    <a:pt x="6283" y="1164"/>
                                    <a:pt x="6286" y="1158"/>
                                    <a:pt x="6285" y="1154"/>
                                  </a:cubicBezTo>
                                  <a:cubicBezTo>
                                    <a:pt x="6283" y="1149"/>
                                    <a:pt x="6276" y="1148"/>
                                    <a:pt x="6270" y="1144"/>
                                  </a:cubicBezTo>
                                  <a:cubicBezTo>
                                    <a:pt x="6263" y="1139"/>
                                    <a:pt x="6253" y="1134"/>
                                    <a:pt x="6245" y="1130"/>
                                  </a:cubicBezTo>
                                  <a:cubicBezTo>
                                    <a:pt x="6237" y="1127"/>
                                    <a:pt x="6228" y="1123"/>
                                    <a:pt x="6221" y="1119"/>
                                  </a:cubicBezTo>
                                  <a:cubicBezTo>
                                    <a:pt x="6214" y="1114"/>
                                    <a:pt x="6206" y="1110"/>
                                    <a:pt x="6201" y="1108"/>
                                  </a:cubicBezTo>
                                  <a:cubicBezTo>
                                    <a:pt x="6195" y="1106"/>
                                    <a:pt x="6190" y="1107"/>
                                    <a:pt x="6181" y="1106"/>
                                  </a:cubicBezTo>
                                  <a:cubicBezTo>
                                    <a:pt x="6172" y="1105"/>
                                    <a:pt x="6159" y="1105"/>
                                    <a:pt x="6156" y="1106"/>
                                  </a:cubicBezTo>
                                  <a:cubicBezTo>
                                    <a:pt x="6153" y="1107"/>
                                    <a:pt x="6151" y="1112"/>
                                    <a:pt x="6143" y="1120"/>
                                  </a:cubicBezTo>
                                  <a:cubicBezTo>
                                    <a:pt x="6136" y="1128"/>
                                    <a:pt x="6136" y="1121"/>
                                    <a:pt x="6129" y="1123"/>
                                  </a:cubicBezTo>
                                  <a:cubicBezTo>
                                    <a:pt x="6123" y="1126"/>
                                    <a:pt x="6123" y="1124"/>
                                    <a:pt x="6118" y="1124"/>
                                  </a:cubicBezTo>
                                  <a:cubicBezTo>
                                    <a:pt x="6113" y="1123"/>
                                    <a:pt x="6113" y="1119"/>
                                    <a:pt x="6111" y="1116"/>
                                  </a:cubicBezTo>
                                  <a:cubicBezTo>
                                    <a:pt x="6110" y="1113"/>
                                    <a:pt x="6115" y="1112"/>
                                    <a:pt x="6117" y="1110"/>
                                  </a:cubicBezTo>
                                  <a:cubicBezTo>
                                    <a:pt x="6119" y="1108"/>
                                    <a:pt x="6115" y="1104"/>
                                    <a:pt x="6113" y="1103"/>
                                  </a:cubicBezTo>
                                  <a:cubicBezTo>
                                    <a:pt x="6110" y="1102"/>
                                    <a:pt x="6105" y="1101"/>
                                    <a:pt x="6098" y="1102"/>
                                  </a:cubicBezTo>
                                  <a:cubicBezTo>
                                    <a:pt x="6091" y="1102"/>
                                    <a:pt x="6082" y="1101"/>
                                    <a:pt x="6074" y="1102"/>
                                  </a:cubicBezTo>
                                  <a:cubicBezTo>
                                    <a:pt x="6066" y="1102"/>
                                    <a:pt x="6062" y="1102"/>
                                    <a:pt x="6056" y="1102"/>
                                  </a:cubicBezTo>
                                  <a:cubicBezTo>
                                    <a:pt x="6050" y="1102"/>
                                    <a:pt x="6048" y="1100"/>
                                    <a:pt x="6046" y="1097"/>
                                  </a:cubicBezTo>
                                  <a:cubicBezTo>
                                    <a:pt x="6044" y="1094"/>
                                    <a:pt x="6040" y="1089"/>
                                    <a:pt x="6037" y="1086"/>
                                  </a:cubicBezTo>
                                  <a:cubicBezTo>
                                    <a:pt x="6034" y="1084"/>
                                    <a:pt x="6027" y="1080"/>
                                    <a:pt x="6021" y="1078"/>
                                  </a:cubicBezTo>
                                  <a:cubicBezTo>
                                    <a:pt x="6016" y="1076"/>
                                    <a:pt x="6009" y="1077"/>
                                    <a:pt x="6006" y="1076"/>
                                  </a:cubicBezTo>
                                  <a:cubicBezTo>
                                    <a:pt x="6003" y="1075"/>
                                    <a:pt x="6003" y="1072"/>
                                    <a:pt x="6003" y="1070"/>
                                  </a:cubicBezTo>
                                  <a:cubicBezTo>
                                    <a:pt x="6003" y="1068"/>
                                    <a:pt x="6005" y="1065"/>
                                    <a:pt x="6007" y="1063"/>
                                  </a:cubicBezTo>
                                  <a:cubicBezTo>
                                    <a:pt x="6009" y="1061"/>
                                    <a:pt x="6007" y="1056"/>
                                    <a:pt x="6003" y="1056"/>
                                  </a:cubicBezTo>
                                  <a:cubicBezTo>
                                    <a:pt x="5999" y="1056"/>
                                    <a:pt x="5994" y="1061"/>
                                    <a:pt x="5993" y="1063"/>
                                  </a:cubicBezTo>
                                  <a:cubicBezTo>
                                    <a:pt x="5993" y="1065"/>
                                    <a:pt x="5996" y="1071"/>
                                    <a:pt x="5994" y="1073"/>
                                  </a:cubicBezTo>
                                  <a:cubicBezTo>
                                    <a:pt x="5993" y="1076"/>
                                    <a:pt x="5988" y="1076"/>
                                    <a:pt x="5985" y="1077"/>
                                  </a:cubicBezTo>
                                  <a:cubicBezTo>
                                    <a:pt x="5981" y="1078"/>
                                    <a:pt x="5976" y="1081"/>
                                    <a:pt x="5971" y="1082"/>
                                  </a:cubicBezTo>
                                  <a:cubicBezTo>
                                    <a:pt x="5967" y="1083"/>
                                    <a:pt x="5970" y="1086"/>
                                    <a:pt x="5969" y="1090"/>
                                  </a:cubicBezTo>
                                  <a:cubicBezTo>
                                    <a:pt x="5968" y="1095"/>
                                    <a:pt x="5961" y="1095"/>
                                    <a:pt x="5953" y="1094"/>
                                  </a:cubicBezTo>
                                  <a:cubicBezTo>
                                    <a:pt x="5944" y="1093"/>
                                    <a:pt x="5949" y="1087"/>
                                    <a:pt x="5947" y="1085"/>
                                  </a:cubicBezTo>
                                  <a:cubicBezTo>
                                    <a:pt x="5945" y="1083"/>
                                    <a:pt x="5941" y="1084"/>
                                    <a:pt x="5936" y="1088"/>
                                  </a:cubicBezTo>
                                  <a:cubicBezTo>
                                    <a:pt x="5931" y="1092"/>
                                    <a:pt x="5928" y="1098"/>
                                    <a:pt x="5930" y="1103"/>
                                  </a:cubicBezTo>
                                  <a:cubicBezTo>
                                    <a:pt x="5932" y="1107"/>
                                    <a:pt x="5931" y="1109"/>
                                    <a:pt x="5929" y="1114"/>
                                  </a:cubicBezTo>
                                  <a:cubicBezTo>
                                    <a:pt x="5927" y="1119"/>
                                    <a:pt x="5930" y="1123"/>
                                    <a:pt x="5936" y="1129"/>
                                  </a:cubicBezTo>
                                  <a:cubicBezTo>
                                    <a:pt x="5942" y="1135"/>
                                    <a:pt x="5944" y="1136"/>
                                    <a:pt x="5944" y="1144"/>
                                  </a:cubicBezTo>
                                  <a:cubicBezTo>
                                    <a:pt x="5943" y="1152"/>
                                    <a:pt x="5938" y="1147"/>
                                    <a:pt x="5934" y="1151"/>
                                  </a:cubicBezTo>
                                  <a:cubicBezTo>
                                    <a:pt x="5930" y="1156"/>
                                    <a:pt x="5936" y="1159"/>
                                    <a:pt x="5929" y="1167"/>
                                  </a:cubicBezTo>
                                  <a:cubicBezTo>
                                    <a:pt x="5922" y="1176"/>
                                    <a:pt x="5919" y="1175"/>
                                    <a:pt x="5907" y="1175"/>
                                  </a:cubicBezTo>
                                  <a:cubicBezTo>
                                    <a:pt x="5894" y="1174"/>
                                    <a:pt x="5886" y="1172"/>
                                    <a:pt x="5878" y="1169"/>
                                  </a:cubicBezTo>
                                  <a:cubicBezTo>
                                    <a:pt x="5871" y="1165"/>
                                    <a:pt x="5849" y="1168"/>
                                    <a:pt x="5832" y="1170"/>
                                  </a:cubicBezTo>
                                  <a:cubicBezTo>
                                    <a:pt x="5816" y="1172"/>
                                    <a:pt x="5797" y="1170"/>
                                    <a:pt x="5780" y="1169"/>
                                  </a:cubicBezTo>
                                  <a:cubicBezTo>
                                    <a:pt x="5762" y="1168"/>
                                    <a:pt x="5762" y="1168"/>
                                    <a:pt x="5739" y="1169"/>
                                  </a:cubicBezTo>
                                  <a:cubicBezTo>
                                    <a:pt x="5716" y="1170"/>
                                    <a:pt x="5718" y="1169"/>
                                    <a:pt x="5704" y="1164"/>
                                  </a:cubicBezTo>
                                  <a:cubicBezTo>
                                    <a:pt x="5690" y="1160"/>
                                    <a:pt x="5675" y="1156"/>
                                    <a:pt x="5664" y="1153"/>
                                  </a:cubicBezTo>
                                  <a:cubicBezTo>
                                    <a:pt x="5653" y="1149"/>
                                    <a:pt x="5643" y="1147"/>
                                    <a:pt x="5634" y="1144"/>
                                  </a:cubicBezTo>
                                  <a:cubicBezTo>
                                    <a:pt x="5626" y="1140"/>
                                    <a:pt x="5625" y="1130"/>
                                    <a:pt x="5624" y="1124"/>
                                  </a:cubicBezTo>
                                  <a:cubicBezTo>
                                    <a:pt x="5623" y="1118"/>
                                    <a:pt x="5630" y="1115"/>
                                    <a:pt x="5639" y="1111"/>
                                  </a:cubicBezTo>
                                  <a:cubicBezTo>
                                    <a:pt x="5649" y="1108"/>
                                    <a:pt x="5657" y="1111"/>
                                    <a:pt x="5656" y="1106"/>
                                  </a:cubicBezTo>
                                  <a:cubicBezTo>
                                    <a:pt x="5655" y="1102"/>
                                    <a:pt x="5645" y="1098"/>
                                    <a:pt x="5629" y="1097"/>
                                  </a:cubicBezTo>
                                  <a:cubicBezTo>
                                    <a:pt x="5613" y="1096"/>
                                    <a:pt x="5598" y="1097"/>
                                    <a:pt x="5579" y="1097"/>
                                  </a:cubicBezTo>
                                  <a:cubicBezTo>
                                    <a:pt x="5561" y="1097"/>
                                    <a:pt x="5539" y="1096"/>
                                    <a:pt x="5526" y="1094"/>
                                  </a:cubicBezTo>
                                  <a:cubicBezTo>
                                    <a:pt x="5513" y="1091"/>
                                    <a:pt x="5494" y="1090"/>
                                    <a:pt x="5472" y="1089"/>
                                  </a:cubicBezTo>
                                  <a:cubicBezTo>
                                    <a:pt x="5449" y="1088"/>
                                    <a:pt x="5443" y="1083"/>
                                    <a:pt x="5431" y="1087"/>
                                  </a:cubicBezTo>
                                  <a:cubicBezTo>
                                    <a:pt x="5420" y="1090"/>
                                    <a:pt x="5409" y="1094"/>
                                    <a:pt x="5400" y="1099"/>
                                  </a:cubicBezTo>
                                  <a:cubicBezTo>
                                    <a:pt x="5391" y="1103"/>
                                    <a:pt x="5366" y="1104"/>
                                    <a:pt x="5355" y="1104"/>
                                  </a:cubicBezTo>
                                  <a:cubicBezTo>
                                    <a:pt x="5345" y="1104"/>
                                    <a:pt x="5330" y="1105"/>
                                    <a:pt x="5327" y="1110"/>
                                  </a:cubicBezTo>
                                  <a:cubicBezTo>
                                    <a:pt x="5324" y="1114"/>
                                    <a:pt x="5334" y="1120"/>
                                    <a:pt x="5335" y="1125"/>
                                  </a:cubicBezTo>
                                  <a:cubicBezTo>
                                    <a:pt x="5336" y="1130"/>
                                    <a:pt x="5330" y="1132"/>
                                    <a:pt x="5324" y="1134"/>
                                  </a:cubicBezTo>
                                  <a:cubicBezTo>
                                    <a:pt x="5318" y="1137"/>
                                    <a:pt x="5317" y="1129"/>
                                    <a:pt x="5312" y="1121"/>
                                  </a:cubicBezTo>
                                  <a:cubicBezTo>
                                    <a:pt x="5306" y="1113"/>
                                    <a:pt x="5303" y="1113"/>
                                    <a:pt x="5301" y="1106"/>
                                  </a:cubicBezTo>
                                  <a:cubicBezTo>
                                    <a:pt x="5300" y="1099"/>
                                    <a:pt x="5311" y="1093"/>
                                    <a:pt x="5315" y="1088"/>
                                  </a:cubicBezTo>
                                  <a:cubicBezTo>
                                    <a:pt x="5318" y="1082"/>
                                    <a:pt x="5311" y="1077"/>
                                    <a:pt x="5302" y="1070"/>
                                  </a:cubicBezTo>
                                  <a:cubicBezTo>
                                    <a:pt x="5294" y="1062"/>
                                    <a:pt x="5292" y="1056"/>
                                    <a:pt x="5287" y="1056"/>
                                  </a:cubicBezTo>
                                  <a:cubicBezTo>
                                    <a:pt x="5282" y="1056"/>
                                    <a:pt x="5284" y="1066"/>
                                    <a:pt x="5284" y="1072"/>
                                  </a:cubicBezTo>
                                  <a:cubicBezTo>
                                    <a:pt x="5284" y="1078"/>
                                    <a:pt x="5279" y="1079"/>
                                    <a:pt x="5272" y="1083"/>
                                  </a:cubicBezTo>
                                  <a:cubicBezTo>
                                    <a:pt x="5264" y="1086"/>
                                    <a:pt x="5251" y="1084"/>
                                    <a:pt x="5238" y="1079"/>
                                  </a:cubicBezTo>
                                  <a:cubicBezTo>
                                    <a:pt x="5226" y="1074"/>
                                    <a:pt x="5223" y="1076"/>
                                    <a:pt x="5208" y="1070"/>
                                  </a:cubicBezTo>
                                  <a:cubicBezTo>
                                    <a:pt x="5193" y="1065"/>
                                    <a:pt x="5193" y="1063"/>
                                    <a:pt x="5189" y="1058"/>
                                  </a:cubicBezTo>
                                  <a:cubicBezTo>
                                    <a:pt x="5185" y="1053"/>
                                    <a:pt x="5193" y="1045"/>
                                    <a:pt x="5187" y="1043"/>
                                  </a:cubicBezTo>
                                  <a:cubicBezTo>
                                    <a:pt x="5182" y="1040"/>
                                    <a:pt x="5173" y="1048"/>
                                    <a:pt x="5163" y="1050"/>
                                  </a:cubicBezTo>
                                  <a:cubicBezTo>
                                    <a:pt x="5152" y="1051"/>
                                    <a:pt x="5146" y="1050"/>
                                    <a:pt x="5131" y="1048"/>
                                  </a:cubicBezTo>
                                  <a:cubicBezTo>
                                    <a:pt x="5115" y="1047"/>
                                    <a:pt x="5114" y="1047"/>
                                    <a:pt x="5103" y="1049"/>
                                  </a:cubicBezTo>
                                  <a:cubicBezTo>
                                    <a:pt x="5092" y="1051"/>
                                    <a:pt x="5096" y="1054"/>
                                    <a:pt x="5089" y="1058"/>
                                  </a:cubicBezTo>
                                  <a:cubicBezTo>
                                    <a:pt x="5082" y="1062"/>
                                    <a:pt x="5075" y="1069"/>
                                    <a:pt x="5075" y="1075"/>
                                  </a:cubicBezTo>
                                  <a:cubicBezTo>
                                    <a:pt x="5075" y="1080"/>
                                    <a:pt x="5081" y="1084"/>
                                    <a:pt x="5085" y="1086"/>
                                  </a:cubicBezTo>
                                  <a:cubicBezTo>
                                    <a:pt x="5089" y="1088"/>
                                    <a:pt x="5100" y="1083"/>
                                    <a:pt x="5112" y="1083"/>
                                  </a:cubicBezTo>
                                  <a:cubicBezTo>
                                    <a:pt x="5125" y="1082"/>
                                    <a:pt x="5132" y="1082"/>
                                    <a:pt x="5139" y="1080"/>
                                  </a:cubicBezTo>
                                  <a:cubicBezTo>
                                    <a:pt x="5146" y="1078"/>
                                    <a:pt x="5153" y="1077"/>
                                    <a:pt x="5157" y="1079"/>
                                  </a:cubicBezTo>
                                  <a:cubicBezTo>
                                    <a:pt x="5161" y="1081"/>
                                    <a:pt x="5146" y="1089"/>
                                    <a:pt x="5138" y="1095"/>
                                  </a:cubicBezTo>
                                  <a:cubicBezTo>
                                    <a:pt x="5130" y="1101"/>
                                    <a:pt x="5114" y="1105"/>
                                    <a:pt x="5103" y="1106"/>
                                  </a:cubicBezTo>
                                  <a:cubicBezTo>
                                    <a:pt x="5092" y="1106"/>
                                    <a:pt x="5073" y="1105"/>
                                    <a:pt x="5067" y="1105"/>
                                  </a:cubicBezTo>
                                  <a:cubicBezTo>
                                    <a:pt x="5061" y="1105"/>
                                    <a:pt x="5054" y="1108"/>
                                    <a:pt x="5056" y="1114"/>
                                  </a:cubicBezTo>
                                  <a:cubicBezTo>
                                    <a:pt x="5057" y="1120"/>
                                    <a:pt x="5050" y="1123"/>
                                    <a:pt x="5042" y="1125"/>
                                  </a:cubicBezTo>
                                  <a:cubicBezTo>
                                    <a:pt x="5035" y="1128"/>
                                    <a:pt x="5017" y="1130"/>
                                    <a:pt x="5005" y="1130"/>
                                  </a:cubicBezTo>
                                  <a:cubicBezTo>
                                    <a:pt x="4993" y="1130"/>
                                    <a:pt x="4979" y="1144"/>
                                    <a:pt x="4965" y="1146"/>
                                  </a:cubicBezTo>
                                  <a:cubicBezTo>
                                    <a:pt x="4951" y="1148"/>
                                    <a:pt x="4944" y="1146"/>
                                    <a:pt x="4935" y="1146"/>
                                  </a:cubicBezTo>
                                  <a:cubicBezTo>
                                    <a:pt x="4927" y="1146"/>
                                    <a:pt x="4896" y="1157"/>
                                    <a:pt x="4886" y="1157"/>
                                  </a:cubicBezTo>
                                  <a:cubicBezTo>
                                    <a:pt x="4877" y="1157"/>
                                    <a:pt x="4870" y="1158"/>
                                    <a:pt x="4865" y="1161"/>
                                  </a:cubicBezTo>
                                  <a:cubicBezTo>
                                    <a:pt x="4860" y="1165"/>
                                    <a:pt x="4868" y="1168"/>
                                    <a:pt x="4865" y="1174"/>
                                  </a:cubicBezTo>
                                  <a:cubicBezTo>
                                    <a:pt x="4862" y="1181"/>
                                    <a:pt x="4859" y="1175"/>
                                    <a:pt x="4847" y="1179"/>
                                  </a:cubicBezTo>
                                  <a:cubicBezTo>
                                    <a:pt x="4836" y="1182"/>
                                    <a:pt x="4839" y="1183"/>
                                    <a:pt x="4832" y="1184"/>
                                  </a:cubicBezTo>
                                  <a:cubicBezTo>
                                    <a:pt x="4825" y="1185"/>
                                    <a:pt x="4814" y="1190"/>
                                    <a:pt x="4810" y="1194"/>
                                  </a:cubicBezTo>
                                  <a:cubicBezTo>
                                    <a:pt x="4806" y="1198"/>
                                    <a:pt x="4798" y="1198"/>
                                    <a:pt x="4796" y="1196"/>
                                  </a:cubicBezTo>
                                  <a:cubicBezTo>
                                    <a:pt x="4794" y="1194"/>
                                    <a:pt x="4795" y="1190"/>
                                    <a:pt x="4801" y="1187"/>
                                  </a:cubicBezTo>
                                  <a:cubicBezTo>
                                    <a:pt x="4806" y="1184"/>
                                    <a:pt x="4823" y="1177"/>
                                    <a:pt x="4832" y="1173"/>
                                  </a:cubicBezTo>
                                  <a:cubicBezTo>
                                    <a:pt x="4840" y="1170"/>
                                    <a:pt x="4842" y="1165"/>
                                    <a:pt x="4844" y="1157"/>
                                  </a:cubicBezTo>
                                  <a:cubicBezTo>
                                    <a:pt x="4847" y="1149"/>
                                    <a:pt x="4853" y="1140"/>
                                    <a:pt x="4859" y="1133"/>
                                  </a:cubicBezTo>
                                  <a:cubicBezTo>
                                    <a:pt x="4865" y="1127"/>
                                    <a:pt x="4875" y="1130"/>
                                    <a:pt x="4886" y="1130"/>
                                  </a:cubicBezTo>
                                  <a:cubicBezTo>
                                    <a:pt x="4896" y="1130"/>
                                    <a:pt x="4899" y="1127"/>
                                    <a:pt x="4907" y="1123"/>
                                  </a:cubicBezTo>
                                  <a:cubicBezTo>
                                    <a:pt x="4915" y="1120"/>
                                    <a:pt x="4913" y="1108"/>
                                    <a:pt x="4917" y="1106"/>
                                  </a:cubicBezTo>
                                  <a:cubicBezTo>
                                    <a:pt x="4921" y="1104"/>
                                    <a:pt x="4925" y="1097"/>
                                    <a:pt x="4928" y="1094"/>
                                  </a:cubicBezTo>
                                  <a:cubicBezTo>
                                    <a:pt x="4932" y="1091"/>
                                    <a:pt x="4942" y="1093"/>
                                    <a:pt x="4951" y="1093"/>
                                  </a:cubicBezTo>
                                  <a:cubicBezTo>
                                    <a:pt x="4960" y="1092"/>
                                    <a:pt x="4966" y="1088"/>
                                    <a:pt x="4978" y="1082"/>
                                  </a:cubicBezTo>
                                  <a:cubicBezTo>
                                    <a:pt x="4989" y="1076"/>
                                    <a:pt x="4994" y="1073"/>
                                    <a:pt x="5005" y="1065"/>
                                  </a:cubicBezTo>
                                  <a:cubicBezTo>
                                    <a:pt x="5017" y="1057"/>
                                    <a:pt x="5035" y="1057"/>
                                    <a:pt x="5045" y="1050"/>
                                  </a:cubicBezTo>
                                  <a:cubicBezTo>
                                    <a:pt x="5054" y="1043"/>
                                    <a:pt x="5061" y="1040"/>
                                    <a:pt x="5070" y="1036"/>
                                  </a:cubicBezTo>
                                  <a:cubicBezTo>
                                    <a:pt x="5080" y="1032"/>
                                    <a:pt x="5092" y="1030"/>
                                    <a:pt x="5096" y="1024"/>
                                  </a:cubicBezTo>
                                  <a:cubicBezTo>
                                    <a:pt x="5101" y="1018"/>
                                    <a:pt x="5099" y="1015"/>
                                    <a:pt x="5094" y="1013"/>
                                  </a:cubicBezTo>
                                  <a:cubicBezTo>
                                    <a:pt x="5090" y="1011"/>
                                    <a:pt x="5084" y="1011"/>
                                    <a:pt x="5082" y="1008"/>
                                  </a:cubicBezTo>
                                  <a:cubicBezTo>
                                    <a:pt x="5080" y="1004"/>
                                    <a:pt x="5088" y="1003"/>
                                    <a:pt x="5094" y="1000"/>
                                  </a:cubicBezTo>
                                  <a:cubicBezTo>
                                    <a:pt x="5100" y="996"/>
                                    <a:pt x="5112" y="991"/>
                                    <a:pt x="5123" y="989"/>
                                  </a:cubicBezTo>
                                  <a:cubicBezTo>
                                    <a:pt x="5134" y="987"/>
                                    <a:pt x="5138" y="992"/>
                                    <a:pt x="5143" y="990"/>
                                  </a:cubicBezTo>
                                  <a:cubicBezTo>
                                    <a:pt x="5149" y="989"/>
                                    <a:pt x="5158" y="979"/>
                                    <a:pt x="5178" y="967"/>
                                  </a:cubicBezTo>
                                  <a:cubicBezTo>
                                    <a:pt x="5199" y="955"/>
                                    <a:pt x="5218" y="946"/>
                                    <a:pt x="5230" y="940"/>
                                  </a:cubicBezTo>
                                  <a:cubicBezTo>
                                    <a:pt x="5241" y="935"/>
                                    <a:pt x="5250" y="931"/>
                                    <a:pt x="5262" y="925"/>
                                  </a:cubicBezTo>
                                  <a:cubicBezTo>
                                    <a:pt x="5275" y="918"/>
                                    <a:pt x="5295" y="909"/>
                                    <a:pt x="5302" y="903"/>
                                  </a:cubicBezTo>
                                  <a:cubicBezTo>
                                    <a:pt x="5310" y="897"/>
                                    <a:pt x="5324" y="893"/>
                                    <a:pt x="5329" y="885"/>
                                  </a:cubicBezTo>
                                  <a:cubicBezTo>
                                    <a:pt x="5333" y="877"/>
                                    <a:pt x="5334" y="875"/>
                                    <a:pt x="5333" y="871"/>
                                  </a:cubicBezTo>
                                  <a:cubicBezTo>
                                    <a:pt x="5332" y="868"/>
                                    <a:pt x="5331" y="865"/>
                                    <a:pt x="5325" y="861"/>
                                  </a:cubicBezTo>
                                  <a:cubicBezTo>
                                    <a:pt x="5320" y="858"/>
                                    <a:pt x="5319" y="862"/>
                                    <a:pt x="5314" y="862"/>
                                  </a:cubicBezTo>
                                  <a:cubicBezTo>
                                    <a:pt x="5309" y="861"/>
                                    <a:pt x="5309" y="859"/>
                                    <a:pt x="5308" y="855"/>
                                  </a:cubicBezTo>
                                  <a:cubicBezTo>
                                    <a:pt x="5307" y="851"/>
                                    <a:pt x="5302" y="850"/>
                                    <a:pt x="5299" y="851"/>
                                  </a:cubicBezTo>
                                  <a:cubicBezTo>
                                    <a:pt x="5296" y="852"/>
                                    <a:pt x="5294" y="857"/>
                                    <a:pt x="5291" y="859"/>
                                  </a:cubicBezTo>
                                  <a:cubicBezTo>
                                    <a:pt x="5287" y="860"/>
                                    <a:pt x="5285" y="859"/>
                                    <a:pt x="5282" y="857"/>
                                  </a:cubicBezTo>
                                  <a:cubicBezTo>
                                    <a:pt x="5279" y="856"/>
                                    <a:pt x="5280" y="853"/>
                                    <a:pt x="5279" y="845"/>
                                  </a:cubicBezTo>
                                  <a:cubicBezTo>
                                    <a:pt x="5279" y="837"/>
                                    <a:pt x="5279" y="838"/>
                                    <a:pt x="5275" y="836"/>
                                  </a:cubicBezTo>
                                  <a:cubicBezTo>
                                    <a:pt x="5272" y="833"/>
                                    <a:pt x="5266" y="832"/>
                                    <a:pt x="5257" y="828"/>
                                  </a:cubicBezTo>
                                  <a:cubicBezTo>
                                    <a:pt x="5249" y="825"/>
                                    <a:pt x="5249" y="821"/>
                                    <a:pt x="5252" y="817"/>
                                  </a:cubicBezTo>
                                  <a:cubicBezTo>
                                    <a:pt x="5256" y="813"/>
                                    <a:pt x="5262" y="819"/>
                                    <a:pt x="5274" y="825"/>
                                  </a:cubicBezTo>
                                  <a:cubicBezTo>
                                    <a:pt x="5286" y="831"/>
                                    <a:pt x="5288" y="830"/>
                                    <a:pt x="5293" y="833"/>
                                  </a:cubicBezTo>
                                  <a:cubicBezTo>
                                    <a:pt x="5298" y="836"/>
                                    <a:pt x="5299" y="838"/>
                                    <a:pt x="5304" y="841"/>
                                  </a:cubicBezTo>
                                  <a:cubicBezTo>
                                    <a:pt x="5310" y="845"/>
                                    <a:pt x="5310" y="841"/>
                                    <a:pt x="5321" y="843"/>
                                  </a:cubicBezTo>
                                  <a:cubicBezTo>
                                    <a:pt x="5332" y="845"/>
                                    <a:pt x="5325" y="849"/>
                                    <a:pt x="5328" y="852"/>
                                  </a:cubicBezTo>
                                  <a:cubicBezTo>
                                    <a:pt x="5332" y="854"/>
                                    <a:pt x="5334" y="852"/>
                                    <a:pt x="5336" y="848"/>
                                  </a:cubicBezTo>
                                  <a:cubicBezTo>
                                    <a:pt x="5339" y="844"/>
                                    <a:pt x="5338" y="840"/>
                                    <a:pt x="5339" y="834"/>
                                  </a:cubicBezTo>
                                  <a:cubicBezTo>
                                    <a:pt x="5341" y="828"/>
                                    <a:pt x="5343" y="827"/>
                                    <a:pt x="5344" y="822"/>
                                  </a:cubicBezTo>
                                  <a:cubicBezTo>
                                    <a:pt x="5345" y="817"/>
                                    <a:pt x="5343" y="812"/>
                                    <a:pt x="5337" y="812"/>
                                  </a:cubicBezTo>
                                  <a:cubicBezTo>
                                    <a:pt x="5331" y="811"/>
                                    <a:pt x="5331" y="818"/>
                                    <a:pt x="5326" y="817"/>
                                  </a:cubicBezTo>
                                  <a:cubicBezTo>
                                    <a:pt x="5322" y="815"/>
                                    <a:pt x="5326" y="811"/>
                                    <a:pt x="5326" y="807"/>
                                  </a:cubicBezTo>
                                  <a:cubicBezTo>
                                    <a:pt x="5325" y="803"/>
                                    <a:pt x="5325" y="808"/>
                                    <a:pt x="5323" y="802"/>
                                  </a:cubicBezTo>
                                  <a:cubicBezTo>
                                    <a:pt x="5321" y="796"/>
                                    <a:pt x="5323" y="794"/>
                                    <a:pt x="5320" y="787"/>
                                  </a:cubicBezTo>
                                  <a:cubicBezTo>
                                    <a:pt x="5317" y="780"/>
                                    <a:pt x="5314" y="783"/>
                                    <a:pt x="5310" y="778"/>
                                  </a:cubicBezTo>
                                  <a:cubicBezTo>
                                    <a:pt x="5306" y="774"/>
                                    <a:pt x="5305" y="767"/>
                                    <a:pt x="5299" y="767"/>
                                  </a:cubicBezTo>
                                  <a:cubicBezTo>
                                    <a:pt x="5294" y="767"/>
                                    <a:pt x="5293" y="771"/>
                                    <a:pt x="5295" y="776"/>
                                  </a:cubicBezTo>
                                  <a:cubicBezTo>
                                    <a:pt x="5297" y="780"/>
                                    <a:pt x="5295" y="781"/>
                                    <a:pt x="5294" y="786"/>
                                  </a:cubicBezTo>
                                  <a:cubicBezTo>
                                    <a:pt x="5292" y="790"/>
                                    <a:pt x="5284" y="792"/>
                                    <a:pt x="5281" y="791"/>
                                  </a:cubicBezTo>
                                  <a:cubicBezTo>
                                    <a:pt x="5278" y="790"/>
                                    <a:pt x="5280" y="780"/>
                                    <a:pt x="5278" y="777"/>
                                  </a:cubicBezTo>
                                  <a:cubicBezTo>
                                    <a:pt x="5276" y="773"/>
                                    <a:pt x="5277" y="772"/>
                                    <a:pt x="5276" y="766"/>
                                  </a:cubicBezTo>
                                  <a:cubicBezTo>
                                    <a:pt x="5275" y="760"/>
                                    <a:pt x="5273" y="760"/>
                                    <a:pt x="5269" y="757"/>
                                  </a:cubicBezTo>
                                  <a:cubicBezTo>
                                    <a:pt x="5265" y="754"/>
                                    <a:pt x="5259" y="750"/>
                                    <a:pt x="5247" y="743"/>
                                  </a:cubicBezTo>
                                  <a:cubicBezTo>
                                    <a:pt x="5235" y="736"/>
                                    <a:pt x="5232" y="735"/>
                                    <a:pt x="5226" y="732"/>
                                  </a:cubicBezTo>
                                  <a:cubicBezTo>
                                    <a:pt x="5220" y="729"/>
                                    <a:pt x="5213" y="727"/>
                                    <a:pt x="5206" y="723"/>
                                  </a:cubicBezTo>
                                  <a:cubicBezTo>
                                    <a:pt x="5200" y="719"/>
                                    <a:pt x="5198" y="716"/>
                                    <a:pt x="5193" y="712"/>
                                  </a:cubicBezTo>
                                  <a:cubicBezTo>
                                    <a:pt x="5187" y="709"/>
                                    <a:pt x="5185" y="712"/>
                                    <a:pt x="5179" y="711"/>
                                  </a:cubicBezTo>
                                  <a:cubicBezTo>
                                    <a:pt x="5174" y="710"/>
                                    <a:pt x="5172" y="708"/>
                                    <a:pt x="5168" y="705"/>
                                  </a:cubicBezTo>
                                  <a:cubicBezTo>
                                    <a:pt x="5165" y="702"/>
                                    <a:pt x="5159" y="703"/>
                                    <a:pt x="5152" y="703"/>
                                  </a:cubicBezTo>
                                  <a:cubicBezTo>
                                    <a:pt x="5144" y="703"/>
                                    <a:pt x="5136" y="702"/>
                                    <a:pt x="5128" y="705"/>
                                  </a:cubicBezTo>
                                  <a:cubicBezTo>
                                    <a:pt x="5120" y="709"/>
                                    <a:pt x="5112" y="711"/>
                                    <a:pt x="5102" y="711"/>
                                  </a:cubicBezTo>
                                  <a:cubicBezTo>
                                    <a:pt x="5093" y="712"/>
                                    <a:pt x="5090" y="710"/>
                                    <a:pt x="5081" y="707"/>
                                  </a:cubicBezTo>
                                  <a:cubicBezTo>
                                    <a:pt x="5073" y="704"/>
                                    <a:pt x="5071" y="707"/>
                                    <a:pt x="5058" y="706"/>
                                  </a:cubicBezTo>
                                  <a:cubicBezTo>
                                    <a:pt x="5045" y="705"/>
                                    <a:pt x="5033" y="703"/>
                                    <a:pt x="5023" y="705"/>
                                  </a:cubicBezTo>
                                  <a:cubicBezTo>
                                    <a:pt x="5013" y="707"/>
                                    <a:pt x="5006" y="707"/>
                                    <a:pt x="4998" y="707"/>
                                  </a:cubicBezTo>
                                  <a:cubicBezTo>
                                    <a:pt x="4990" y="706"/>
                                    <a:pt x="4980" y="708"/>
                                    <a:pt x="4977" y="711"/>
                                  </a:cubicBezTo>
                                  <a:cubicBezTo>
                                    <a:pt x="4973" y="715"/>
                                    <a:pt x="4976" y="718"/>
                                    <a:pt x="4974" y="726"/>
                                  </a:cubicBezTo>
                                  <a:cubicBezTo>
                                    <a:pt x="4972" y="734"/>
                                    <a:pt x="4970" y="732"/>
                                    <a:pt x="4957" y="735"/>
                                  </a:cubicBezTo>
                                  <a:cubicBezTo>
                                    <a:pt x="4944" y="738"/>
                                    <a:pt x="4944" y="733"/>
                                    <a:pt x="4938" y="733"/>
                                  </a:cubicBezTo>
                                  <a:cubicBezTo>
                                    <a:pt x="4932" y="733"/>
                                    <a:pt x="4925" y="734"/>
                                    <a:pt x="4922" y="736"/>
                                  </a:cubicBezTo>
                                  <a:cubicBezTo>
                                    <a:pt x="4918" y="738"/>
                                    <a:pt x="4908" y="741"/>
                                    <a:pt x="4904" y="740"/>
                                  </a:cubicBezTo>
                                  <a:cubicBezTo>
                                    <a:pt x="4900" y="740"/>
                                    <a:pt x="4897" y="737"/>
                                    <a:pt x="4894" y="736"/>
                                  </a:cubicBezTo>
                                  <a:cubicBezTo>
                                    <a:pt x="4891" y="735"/>
                                    <a:pt x="4886" y="734"/>
                                    <a:pt x="4884" y="733"/>
                                  </a:cubicBezTo>
                                  <a:cubicBezTo>
                                    <a:pt x="4882" y="731"/>
                                    <a:pt x="4884" y="729"/>
                                    <a:pt x="4885" y="725"/>
                                  </a:cubicBezTo>
                                  <a:cubicBezTo>
                                    <a:pt x="4887" y="722"/>
                                    <a:pt x="4898" y="716"/>
                                    <a:pt x="4900" y="714"/>
                                  </a:cubicBezTo>
                                  <a:cubicBezTo>
                                    <a:pt x="4902" y="713"/>
                                    <a:pt x="4913" y="708"/>
                                    <a:pt x="4915" y="703"/>
                                  </a:cubicBezTo>
                                  <a:cubicBezTo>
                                    <a:pt x="4918" y="699"/>
                                    <a:pt x="4925" y="696"/>
                                    <a:pt x="4931" y="693"/>
                                  </a:cubicBezTo>
                                  <a:cubicBezTo>
                                    <a:pt x="4937" y="690"/>
                                    <a:pt x="4944" y="686"/>
                                    <a:pt x="4944" y="681"/>
                                  </a:cubicBezTo>
                                  <a:cubicBezTo>
                                    <a:pt x="4943" y="676"/>
                                    <a:pt x="4940" y="677"/>
                                    <a:pt x="4933" y="673"/>
                                  </a:cubicBezTo>
                                  <a:cubicBezTo>
                                    <a:pt x="4925" y="669"/>
                                    <a:pt x="4918" y="667"/>
                                    <a:pt x="4910" y="666"/>
                                  </a:cubicBezTo>
                                  <a:cubicBezTo>
                                    <a:pt x="4902" y="666"/>
                                    <a:pt x="4897" y="675"/>
                                    <a:pt x="4892" y="673"/>
                                  </a:cubicBezTo>
                                  <a:cubicBezTo>
                                    <a:pt x="4886" y="672"/>
                                    <a:pt x="4880" y="667"/>
                                    <a:pt x="4873" y="665"/>
                                  </a:cubicBezTo>
                                  <a:cubicBezTo>
                                    <a:pt x="4865" y="662"/>
                                    <a:pt x="4861" y="666"/>
                                    <a:pt x="4855" y="670"/>
                                  </a:cubicBezTo>
                                  <a:cubicBezTo>
                                    <a:pt x="4849" y="674"/>
                                    <a:pt x="4845" y="673"/>
                                    <a:pt x="4838" y="673"/>
                                  </a:cubicBezTo>
                                  <a:cubicBezTo>
                                    <a:pt x="4832" y="674"/>
                                    <a:pt x="4831" y="672"/>
                                    <a:pt x="4832" y="669"/>
                                  </a:cubicBezTo>
                                  <a:cubicBezTo>
                                    <a:pt x="4834" y="665"/>
                                    <a:pt x="4841" y="663"/>
                                    <a:pt x="4842" y="661"/>
                                  </a:cubicBezTo>
                                  <a:cubicBezTo>
                                    <a:pt x="4843" y="658"/>
                                    <a:pt x="4842" y="655"/>
                                    <a:pt x="4836" y="654"/>
                                  </a:cubicBezTo>
                                  <a:cubicBezTo>
                                    <a:pt x="4830" y="654"/>
                                    <a:pt x="4823" y="658"/>
                                    <a:pt x="4816" y="660"/>
                                  </a:cubicBezTo>
                                  <a:cubicBezTo>
                                    <a:pt x="4809" y="661"/>
                                    <a:pt x="4801" y="660"/>
                                    <a:pt x="4791" y="661"/>
                                  </a:cubicBezTo>
                                  <a:cubicBezTo>
                                    <a:pt x="4782" y="661"/>
                                    <a:pt x="4773" y="663"/>
                                    <a:pt x="4761" y="664"/>
                                  </a:cubicBezTo>
                                  <a:cubicBezTo>
                                    <a:pt x="4750" y="665"/>
                                    <a:pt x="4745" y="661"/>
                                    <a:pt x="4744" y="657"/>
                                  </a:cubicBezTo>
                                  <a:cubicBezTo>
                                    <a:pt x="4744" y="653"/>
                                    <a:pt x="4753" y="653"/>
                                    <a:pt x="4762" y="652"/>
                                  </a:cubicBezTo>
                                  <a:cubicBezTo>
                                    <a:pt x="4772" y="651"/>
                                    <a:pt x="4783" y="649"/>
                                    <a:pt x="4793" y="646"/>
                                  </a:cubicBezTo>
                                  <a:cubicBezTo>
                                    <a:pt x="4803" y="643"/>
                                    <a:pt x="4813" y="641"/>
                                    <a:pt x="4820" y="637"/>
                                  </a:cubicBezTo>
                                  <a:cubicBezTo>
                                    <a:pt x="4826" y="632"/>
                                    <a:pt x="4833" y="628"/>
                                    <a:pt x="4838" y="624"/>
                                  </a:cubicBezTo>
                                  <a:cubicBezTo>
                                    <a:pt x="4842" y="621"/>
                                    <a:pt x="4864" y="626"/>
                                    <a:pt x="4863" y="622"/>
                                  </a:cubicBezTo>
                                  <a:cubicBezTo>
                                    <a:pt x="4863" y="618"/>
                                    <a:pt x="4859" y="612"/>
                                    <a:pt x="4852" y="606"/>
                                  </a:cubicBezTo>
                                  <a:cubicBezTo>
                                    <a:pt x="4844" y="599"/>
                                    <a:pt x="4841" y="599"/>
                                    <a:pt x="4833" y="596"/>
                                  </a:cubicBezTo>
                                  <a:cubicBezTo>
                                    <a:pt x="4824" y="592"/>
                                    <a:pt x="4811" y="590"/>
                                    <a:pt x="4800" y="588"/>
                                  </a:cubicBezTo>
                                  <a:cubicBezTo>
                                    <a:pt x="4788" y="586"/>
                                    <a:pt x="4787" y="586"/>
                                    <a:pt x="4772" y="583"/>
                                  </a:cubicBezTo>
                                  <a:cubicBezTo>
                                    <a:pt x="4757" y="579"/>
                                    <a:pt x="4754" y="579"/>
                                    <a:pt x="4742" y="578"/>
                                  </a:cubicBezTo>
                                  <a:cubicBezTo>
                                    <a:pt x="4731" y="578"/>
                                    <a:pt x="4724" y="581"/>
                                    <a:pt x="4710" y="584"/>
                                  </a:cubicBezTo>
                                  <a:cubicBezTo>
                                    <a:pt x="4696" y="586"/>
                                    <a:pt x="4672" y="592"/>
                                    <a:pt x="4663" y="595"/>
                                  </a:cubicBezTo>
                                  <a:cubicBezTo>
                                    <a:pt x="4654" y="598"/>
                                    <a:pt x="4631" y="609"/>
                                    <a:pt x="4624" y="612"/>
                                  </a:cubicBezTo>
                                  <a:cubicBezTo>
                                    <a:pt x="4617" y="615"/>
                                    <a:pt x="4599" y="622"/>
                                    <a:pt x="4600" y="626"/>
                                  </a:cubicBezTo>
                                  <a:cubicBezTo>
                                    <a:pt x="4600" y="630"/>
                                    <a:pt x="4605" y="631"/>
                                    <a:pt x="4601" y="635"/>
                                  </a:cubicBezTo>
                                  <a:cubicBezTo>
                                    <a:pt x="4596" y="639"/>
                                    <a:pt x="4586" y="643"/>
                                    <a:pt x="4580" y="648"/>
                                  </a:cubicBezTo>
                                  <a:cubicBezTo>
                                    <a:pt x="4573" y="653"/>
                                    <a:pt x="4565" y="662"/>
                                    <a:pt x="4557" y="667"/>
                                  </a:cubicBezTo>
                                  <a:cubicBezTo>
                                    <a:pt x="4549" y="672"/>
                                    <a:pt x="4543" y="677"/>
                                    <a:pt x="4541" y="684"/>
                                  </a:cubicBezTo>
                                  <a:cubicBezTo>
                                    <a:pt x="4540" y="691"/>
                                    <a:pt x="4542" y="692"/>
                                    <a:pt x="4549" y="698"/>
                                  </a:cubicBezTo>
                                  <a:cubicBezTo>
                                    <a:pt x="4556" y="705"/>
                                    <a:pt x="4557" y="701"/>
                                    <a:pt x="4559" y="706"/>
                                  </a:cubicBezTo>
                                  <a:cubicBezTo>
                                    <a:pt x="4561" y="712"/>
                                    <a:pt x="4554" y="717"/>
                                    <a:pt x="4550" y="722"/>
                                  </a:cubicBezTo>
                                  <a:cubicBezTo>
                                    <a:pt x="4545" y="726"/>
                                    <a:pt x="4548" y="729"/>
                                    <a:pt x="4554" y="733"/>
                                  </a:cubicBezTo>
                                  <a:cubicBezTo>
                                    <a:pt x="4559" y="737"/>
                                    <a:pt x="4565" y="736"/>
                                    <a:pt x="4577" y="736"/>
                                  </a:cubicBezTo>
                                  <a:cubicBezTo>
                                    <a:pt x="4588" y="736"/>
                                    <a:pt x="4589" y="738"/>
                                    <a:pt x="4601" y="743"/>
                                  </a:cubicBezTo>
                                  <a:cubicBezTo>
                                    <a:pt x="4612" y="748"/>
                                    <a:pt x="4623" y="748"/>
                                    <a:pt x="4621" y="752"/>
                                  </a:cubicBezTo>
                                  <a:cubicBezTo>
                                    <a:pt x="4620" y="756"/>
                                    <a:pt x="4608" y="752"/>
                                    <a:pt x="4597" y="749"/>
                                  </a:cubicBezTo>
                                  <a:cubicBezTo>
                                    <a:pt x="4587" y="745"/>
                                    <a:pt x="4586" y="744"/>
                                    <a:pt x="4575" y="744"/>
                                  </a:cubicBezTo>
                                  <a:cubicBezTo>
                                    <a:pt x="4565" y="744"/>
                                    <a:pt x="4565" y="745"/>
                                    <a:pt x="4553" y="744"/>
                                  </a:cubicBezTo>
                                  <a:cubicBezTo>
                                    <a:pt x="4542" y="743"/>
                                    <a:pt x="4543" y="740"/>
                                    <a:pt x="4534" y="740"/>
                                  </a:cubicBezTo>
                                  <a:cubicBezTo>
                                    <a:pt x="4524" y="740"/>
                                    <a:pt x="4516" y="739"/>
                                    <a:pt x="4508" y="740"/>
                                  </a:cubicBezTo>
                                  <a:cubicBezTo>
                                    <a:pt x="4500" y="741"/>
                                    <a:pt x="4489" y="742"/>
                                    <a:pt x="4474" y="742"/>
                                  </a:cubicBezTo>
                                  <a:cubicBezTo>
                                    <a:pt x="4458" y="742"/>
                                    <a:pt x="4446" y="742"/>
                                    <a:pt x="4434" y="739"/>
                                  </a:cubicBezTo>
                                  <a:cubicBezTo>
                                    <a:pt x="4423" y="737"/>
                                    <a:pt x="4418" y="737"/>
                                    <a:pt x="4417" y="742"/>
                                  </a:cubicBezTo>
                                  <a:cubicBezTo>
                                    <a:pt x="4416" y="746"/>
                                    <a:pt x="4425" y="750"/>
                                    <a:pt x="4430" y="756"/>
                                  </a:cubicBezTo>
                                  <a:cubicBezTo>
                                    <a:pt x="4436" y="762"/>
                                    <a:pt x="4444" y="761"/>
                                    <a:pt x="4451" y="764"/>
                                  </a:cubicBezTo>
                                  <a:cubicBezTo>
                                    <a:pt x="4457" y="766"/>
                                    <a:pt x="4462" y="771"/>
                                    <a:pt x="4468" y="779"/>
                                  </a:cubicBezTo>
                                  <a:cubicBezTo>
                                    <a:pt x="4475" y="786"/>
                                    <a:pt x="4475" y="791"/>
                                    <a:pt x="4473" y="796"/>
                                  </a:cubicBezTo>
                                  <a:cubicBezTo>
                                    <a:pt x="4470" y="801"/>
                                    <a:pt x="4460" y="795"/>
                                    <a:pt x="4451" y="788"/>
                                  </a:cubicBezTo>
                                  <a:cubicBezTo>
                                    <a:pt x="4443" y="782"/>
                                    <a:pt x="4432" y="777"/>
                                    <a:pt x="4426" y="775"/>
                                  </a:cubicBezTo>
                                  <a:cubicBezTo>
                                    <a:pt x="4420" y="773"/>
                                    <a:pt x="4412" y="769"/>
                                    <a:pt x="4405" y="771"/>
                                  </a:cubicBezTo>
                                  <a:cubicBezTo>
                                    <a:pt x="4398" y="772"/>
                                    <a:pt x="4389" y="777"/>
                                    <a:pt x="4371" y="781"/>
                                  </a:cubicBezTo>
                                  <a:cubicBezTo>
                                    <a:pt x="4353" y="785"/>
                                    <a:pt x="4342" y="791"/>
                                    <a:pt x="4336" y="796"/>
                                  </a:cubicBezTo>
                                  <a:cubicBezTo>
                                    <a:pt x="4330" y="802"/>
                                    <a:pt x="4322" y="809"/>
                                    <a:pt x="4318" y="807"/>
                                  </a:cubicBezTo>
                                  <a:cubicBezTo>
                                    <a:pt x="4314" y="805"/>
                                    <a:pt x="4321" y="798"/>
                                    <a:pt x="4318" y="795"/>
                                  </a:cubicBezTo>
                                  <a:cubicBezTo>
                                    <a:pt x="4316" y="793"/>
                                    <a:pt x="4312" y="798"/>
                                    <a:pt x="4305" y="799"/>
                                  </a:cubicBezTo>
                                  <a:cubicBezTo>
                                    <a:pt x="4299" y="800"/>
                                    <a:pt x="4295" y="801"/>
                                    <a:pt x="4289" y="804"/>
                                  </a:cubicBezTo>
                                  <a:cubicBezTo>
                                    <a:pt x="4284" y="808"/>
                                    <a:pt x="4278" y="813"/>
                                    <a:pt x="4274" y="816"/>
                                  </a:cubicBezTo>
                                  <a:cubicBezTo>
                                    <a:pt x="4270" y="818"/>
                                    <a:pt x="4268" y="816"/>
                                    <a:pt x="4268" y="812"/>
                                  </a:cubicBezTo>
                                  <a:cubicBezTo>
                                    <a:pt x="4267" y="808"/>
                                    <a:pt x="4270" y="801"/>
                                    <a:pt x="4263" y="800"/>
                                  </a:cubicBezTo>
                                  <a:cubicBezTo>
                                    <a:pt x="4256" y="799"/>
                                    <a:pt x="4249" y="805"/>
                                    <a:pt x="4243" y="810"/>
                                  </a:cubicBezTo>
                                  <a:cubicBezTo>
                                    <a:pt x="4237" y="815"/>
                                    <a:pt x="4227" y="820"/>
                                    <a:pt x="4223" y="820"/>
                                  </a:cubicBezTo>
                                  <a:cubicBezTo>
                                    <a:pt x="4219" y="820"/>
                                    <a:pt x="4217" y="819"/>
                                    <a:pt x="4219" y="813"/>
                                  </a:cubicBezTo>
                                  <a:cubicBezTo>
                                    <a:pt x="4220" y="807"/>
                                    <a:pt x="4226" y="807"/>
                                    <a:pt x="4225" y="804"/>
                                  </a:cubicBezTo>
                                  <a:cubicBezTo>
                                    <a:pt x="4223" y="800"/>
                                    <a:pt x="4217" y="802"/>
                                    <a:pt x="4209" y="802"/>
                                  </a:cubicBezTo>
                                  <a:cubicBezTo>
                                    <a:pt x="4201" y="801"/>
                                    <a:pt x="4187" y="798"/>
                                    <a:pt x="4170" y="798"/>
                                  </a:cubicBezTo>
                                  <a:cubicBezTo>
                                    <a:pt x="4153" y="798"/>
                                    <a:pt x="4145" y="797"/>
                                    <a:pt x="4132" y="796"/>
                                  </a:cubicBezTo>
                                  <a:cubicBezTo>
                                    <a:pt x="4118" y="795"/>
                                    <a:pt x="4112" y="794"/>
                                    <a:pt x="4104" y="792"/>
                                  </a:cubicBezTo>
                                  <a:cubicBezTo>
                                    <a:pt x="4096" y="790"/>
                                    <a:pt x="4086" y="789"/>
                                    <a:pt x="4076" y="789"/>
                                  </a:cubicBezTo>
                                  <a:cubicBezTo>
                                    <a:pt x="4066" y="789"/>
                                    <a:pt x="4060" y="791"/>
                                    <a:pt x="4054" y="794"/>
                                  </a:cubicBezTo>
                                  <a:cubicBezTo>
                                    <a:pt x="4048" y="798"/>
                                    <a:pt x="4046" y="802"/>
                                    <a:pt x="4046" y="805"/>
                                  </a:cubicBezTo>
                                  <a:cubicBezTo>
                                    <a:pt x="4047" y="808"/>
                                    <a:pt x="4052" y="807"/>
                                    <a:pt x="4058" y="808"/>
                                  </a:cubicBezTo>
                                  <a:cubicBezTo>
                                    <a:pt x="4064" y="809"/>
                                    <a:pt x="4074" y="807"/>
                                    <a:pt x="4082" y="807"/>
                                  </a:cubicBezTo>
                                  <a:cubicBezTo>
                                    <a:pt x="4090" y="806"/>
                                    <a:pt x="4100" y="807"/>
                                    <a:pt x="4107" y="806"/>
                                  </a:cubicBezTo>
                                  <a:cubicBezTo>
                                    <a:pt x="4114" y="806"/>
                                    <a:pt x="4120" y="808"/>
                                    <a:pt x="4120" y="810"/>
                                  </a:cubicBezTo>
                                  <a:cubicBezTo>
                                    <a:pt x="4120" y="812"/>
                                    <a:pt x="4112" y="813"/>
                                    <a:pt x="4103" y="814"/>
                                  </a:cubicBezTo>
                                  <a:cubicBezTo>
                                    <a:pt x="4093" y="815"/>
                                    <a:pt x="4072" y="820"/>
                                    <a:pt x="4057" y="822"/>
                                  </a:cubicBezTo>
                                  <a:cubicBezTo>
                                    <a:pt x="4042" y="825"/>
                                    <a:pt x="4024" y="828"/>
                                    <a:pt x="4008" y="831"/>
                                  </a:cubicBezTo>
                                  <a:cubicBezTo>
                                    <a:pt x="3991" y="833"/>
                                    <a:pt x="3966" y="839"/>
                                    <a:pt x="3946" y="841"/>
                                  </a:cubicBezTo>
                                  <a:cubicBezTo>
                                    <a:pt x="3926" y="842"/>
                                    <a:pt x="3888" y="853"/>
                                    <a:pt x="3868" y="855"/>
                                  </a:cubicBezTo>
                                  <a:cubicBezTo>
                                    <a:pt x="3848" y="858"/>
                                    <a:pt x="3840" y="860"/>
                                    <a:pt x="3829" y="863"/>
                                  </a:cubicBezTo>
                                  <a:cubicBezTo>
                                    <a:pt x="3818" y="865"/>
                                    <a:pt x="3795" y="879"/>
                                    <a:pt x="3782" y="887"/>
                                  </a:cubicBezTo>
                                  <a:cubicBezTo>
                                    <a:pt x="3769" y="894"/>
                                    <a:pt x="3752" y="906"/>
                                    <a:pt x="3746" y="910"/>
                                  </a:cubicBezTo>
                                  <a:cubicBezTo>
                                    <a:pt x="3740" y="914"/>
                                    <a:pt x="3736" y="913"/>
                                    <a:pt x="3730" y="913"/>
                                  </a:cubicBezTo>
                                  <a:cubicBezTo>
                                    <a:pt x="3724" y="913"/>
                                    <a:pt x="3722" y="913"/>
                                    <a:pt x="3716" y="912"/>
                                  </a:cubicBezTo>
                                  <a:cubicBezTo>
                                    <a:pt x="3711" y="911"/>
                                    <a:pt x="3700" y="909"/>
                                    <a:pt x="3694" y="909"/>
                                  </a:cubicBezTo>
                                  <a:cubicBezTo>
                                    <a:pt x="3688" y="909"/>
                                    <a:pt x="3683" y="909"/>
                                    <a:pt x="3686" y="914"/>
                                  </a:cubicBezTo>
                                  <a:cubicBezTo>
                                    <a:pt x="3689" y="918"/>
                                    <a:pt x="3692" y="915"/>
                                    <a:pt x="3698" y="918"/>
                                  </a:cubicBezTo>
                                  <a:cubicBezTo>
                                    <a:pt x="3703" y="920"/>
                                    <a:pt x="3705" y="920"/>
                                    <a:pt x="3707" y="922"/>
                                  </a:cubicBezTo>
                                  <a:cubicBezTo>
                                    <a:pt x="3709" y="924"/>
                                    <a:pt x="3707" y="926"/>
                                    <a:pt x="3704" y="928"/>
                                  </a:cubicBezTo>
                                  <a:cubicBezTo>
                                    <a:pt x="3702" y="930"/>
                                    <a:pt x="3703" y="932"/>
                                    <a:pt x="3702" y="936"/>
                                  </a:cubicBezTo>
                                  <a:cubicBezTo>
                                    <a:pt x="3702" y="941"/>
                                    <a:pt x="3696" y="944"/>
                                    <a:pt x="3688" y="949"/>
                                  </a:cubicBezTo>
                                  <a:cubicBezTo>
                                    <a:pt x="3681" y="954"/>
                                    <a:pt x="3678" y="956"/>
                                    <a:pt x="3676" y="958"/>
                                  </a:cubicBezTo>
                                  <a:cubicBezTo>
                                    <a:pt x="3675" y="960"/>
                                    <a:pt x="3674" y="963"/>
                                    <a:pt x="3675" y="966"/>
                                  </a:cubicBezTo>
                                  <a:cubicBezTo>
                                    <a:pt x="3675" y="970"/>
                                    <a:pt x="3679" y="970"/>
                                    <a:pt x="3679" y="973"/>
                                  </a:cubicBezTo>
                                  <a:cubicBezTo>
                                    <a:pt x="3679" y="976"/>
                                    <a:pt x="3676" y="975"/>
                                    <a:pt x="3671" y="976"/>
                                  </a:cubicBezTo>
                                  <a:cubicBezTo>
                                    <a:pt x="3667" y="976"/>
                                    <a:pt x="3668" y="976"/>
                                    <a:pt x="3665" y="979"/>
                                  </a:cubicBezTo>
                                  <a:cubicBezTo>
                                    <a:pt x="3662" y="981"/>
                                    <a:pt x="3662" y="981"/>
                                    <a:pt x="3661" y="984"/>
                                  </a:cubicBezTo>
                                  <a:cubicBezTo>
                                    <a:pt x="3661" y="986"/>
                                    <a:pt x="3662" y="990"/>
                                    <a:pt x="3664" y="993"/>
                                  </a:cubicBezTo>
                                  <a:cubicBezTo>
                                    <a:pt x="3666" y="995"/>
                                    <a:pt x="3668" y="995"/>
                                    <a:pt x="3672" y="996"/>
                                  </a:cubicBezTo>
                                  <a:cubicBezTo>
                                    <a:pt x="3675" y="997"/>
                                    <a:pt x="3678" y="997"/>
                                    <a:pt x="3681" y="996"/>
                                  </a:cubicBezTo>
                                  <a:cubicBezTo>
                                    <a:pt x="3683" y="995"/>
                                    <a:pt x="3687" y="997"/>
                                    <a:pt x="3687" y="998"/>
                                  </a:cubicBezTo>
                                  <a:cubicBezTo>
                                    <a:pt x="3688" y="999"/>
                                    <a:pt x="3687" y="1003"/>
                                    <a:pt x="3686" y="1007"/>
                                  </a:cubicBezTo>
                                  <a:cubicBezTo>
                                    <a:pt x="3686" y="1011"/>
                                    <a:pt x="3681" y="1016"/>
                                    <a:pt x="3678" y="1016"/>
                                  </a:cubicBezTo>
                                  <a:cubicBezTo>
                                    <a:pt x="3675" y="1017"/>
                                    <a:pt x="3668" y="1012"/>
                                    <a:pt x="3668" y="1010"/>
                                  </a:cubicBezTo>
                                  <a:cubicBezTo>
                                    <a:pt x="3668" y="1009"/>
                                    <a:pt x="3667" y="1005"/>
                                    <a:pt x="3665" y="1003"/>
                                  </a:cubicBezTo>
                                  <a:cubicBezTo>
                                    <a:pt x="3662" y="1001"/>
                                    <a:pt x="3659" y="1002"/>
                                    <a:pt x="3655" y="1001"/>
                                  </a:cubicBezTo>
                                  <a:cubicBezTo>
                                    <a:pt x="3651" y="1001"/>
                                    <a:pt x="3644" y="1000"/>
                                    <a:pt x="3637" y="999"/>
                                  </a:cubicBezTo>
                                  <a:cubicBezTo>
                                    <a:pt x="3631" y="999"/>
                                    <a:pt x="3628" y="1000"/>
                                    <a:pt x="3625" y="1000"/>
                                  </a:cubicBezTo>
                                  <a:cubicBezTo>
                                    <a:pt x="3622" y="1001"/>
                                    <a:pt x="3619" y="1004"/>
                                    <a:pt x="3618" y="1007"/>
                                  </a:cubicBezTo>
                                  <a:cubicBezTo>
                                    <a:pt x="3617" y="1010"/>
                                    <a:pt x="3619" y="1011"/>
                                    <a:pt x="3623" y="1015"/>
                                  </a:cubicBezTo>
                                  <a:cubicBezTo>
                                    <a:pt x="3627" y="1019"/>
                                    <a:pt x="3630" y="1017"/>
                                    <a:pt x="3636" y="1018"/>
                                  </a:cubicBezTo>
                                  <a:cubicBezTo>
                                    <a:pt x="3642" y="1019"/>
                                    <a:pt x="3654" y="1020"/>
                                    <a:pt x="3661" y="1020"/>
                                  </a:cubicBezTo>
                                  <a:cubicBezTo>
                                    <a:pt x="3669" y="1020"/>
                                    <a:pt x="3668" y="1022"/>
                                    <a:pt x="3671" y="1025"/>
                                  </a:cubicBezTo>
                                  <a:cubicBezTo>
                                    <a:pt x="3674" y="1028"/>
                                    <a:pt x="3672" y="1030"/>
                                    <a:pt x="3672" y="1034"/>
                                  </a:cubicBezTo>
                                  <a:cubicBezTo>
                                    <a:pt x="3673" y="1038"/>
                                    <a:pt x="3675" y="1038"/>
                                    <a:pt x="3685" y="1040"/>
                                  </a:cubicBezTo>
                                  <a:cubicBezTo>
                                    <a:pt x="3695" y="1041"/>
                                    <a:pt x="3693" y="1042"/>
                                    <a:pt x="3693" y="1045"/>
                                  </a:cubicBezTo>
                                  <a:cubicBezTo>
                                    <a:pt x="3694" y="1048"/>
                                    <a:pt x="3692" y="1046"/>
                                    <a:pt x="3688" y="1049"/>
                                  </a:cubicBezTo>
                                  <a:cubicBezTo>
                                    <a:pt x="3684" y="1051"/>
                                    <a:pt x="3688" y="1052"/>
                                    <a:pt x="3692" y="1058"/>
                                  </a:cubicBezTo>
                                  <a:cubicBezTo>
                                    <a:pt x="3696" y="1065"/>
                                    <a:pt x="3692" y="1062"/>
                                    <a:pt x="3687" y="1065"/>
                                  </a:cubicBezTo>
                                  <a:cubicBezTo>
                                    <a:pt x="3683" y="1068"/>
                                    <a:pt x="3660" y="1068"/>
                                    <a:pt x="3641" y="1069"/>
                                  </a:cubicBezTo>
                                  <a:cubicBezTo>
                                    <a:pt x="3621" y="1071"/>
                                    <a:pt x="3611" y="1072"/>
                                    <a:pt x="3592" y="1073"/>
                                  </a:cubicBezTo>
                                  <a:cubicBezTo>
                                    <a:pt x="3573" y="1074"/>
                                    <a:pt x="3546" y="1077"/>
                                    <a:pt x="3527" y="1078"/>
                                  </a:cubicBezTo>
                                  <a:cubicBezTo>
                                    <a:pt x="3507" y="1078"/>
                                    <a:pt x="3458" y="1085"/>
                                    <a:pt x="3449" y="1086"/>
                                  </a:cubicBezTo>
                                  <a:cubicBezTo>
                                    <a:pt x="3439" y="1088"/>
                                    <a:pt x="3392" y="1089"/>
                                    <a:pt x="3386" y="1090"/>
                                  </a:cubicBezTo>
                                  <a:cubicBezTo>
                                    <a:pt x="3379" y="1090"/>
                                    <a:pt x="3367" y="1092"/>
                                    <a:pt x="3358" y="1093"/>
                                  </a:cubicBezTo>
                                  <a:cubicBezTo>
                                    <a:pt x="3349" y="1094"/>
                                    <a:pt x="3334" y="1096"/>
                                    <a:pt x="3322" y="1096"/>
                                  </a:cubicBezTo>
                                  <a:cubicBezTo>
                                    <a:pt x="3310" y="1096"/>
                                    <a:pt x="3295" y="1097"/>
                                    <a:pt x="3290" y="1098"/>
                                  </a:cubicBezTo>
                                  <a:cubicBezTo>
                                    <a:pt x="3285" y="1099"/>
                                    <a:pt x="3281" y="1101"/>
                                    <a:pt x="3281" y="1105"/>
                                  </a:cubicBezTo>
                                  <a:cubicBezTo>
                                    <a:pt x="3281" y="1109"/>
                                    <a:pt x="3284" y="1111"/>
                                    <a:pt x="3283" y="1115"/>
                                  </a:cubicBezTo>
                                  <a:cubicBezTo>
                                    <a:pt x="3281" y="1119"/>
                                    <a:pt x="3277" y="1120"/>
                                    <a:pt x="3274" y="1124"/>
                                  </a:cubicBezTo>
                                  <a:cubicBezTo>
                                    <a:pt x="3270" y="1127"/>
                                    <a:pt x="3268" y="1127"/>
                                    <a:pt x="3270" y="1131"/>
                                  </a:cubicBezTo>
                                  <a:cubicBezTo>
                                    <a:pt x="3273" y="1136"/>
                                    <a:pt x="3278" y="1136"/>
                                    <a:pt x="3276" y="1138"/>
                                  </a:cubicBezTo>
                                  <a:cubicBezTo>
                                    <a:pt x="3275" y="1140"/>
                                    <a:pt x="3270" y="1142"/>
                                    <a:pt x="3271" y="1148"/>
                                  </a:cubicBezTo>
                                  <a:cubicBezTo>
                                    <a:pt x="3272" y="1154"/>
                                    <a:pt x="3277" y="1149"/>
                                    <a:pt x="3279" y="1152"/>
                                  </a:cubicBezTo>
                                  <a:cubicBezTo>
                                    <a:pt x="3282" y="1155"/>
                                    <a:pt x="3283" y="1158"/>
                                    <a:pt x="3288" y="1160"/>
                                  </a:cubicBezTo>
                                  <a:cubicBezTo>
                                    <a:pt x="3292" y="1162"/>
                                    <a:pt x="3297" y="1167"/>
                                    <a:pt x="3300" y="1176"/>
                                  </a:cubicBezTo>
                                  <a:cubicBezTo>
                                    <a:pt x="3302" y="1185"/>
                                    <a:pt x="3299" y="1185"/>
                                    <a:pt x="3297" y="1191"/>
                                  </a:cubicBezTo>
                                  <a:cubicBezTo>
                                    <a:pt x="3295" y="1197"/>
                                    <a:pt x="3292" y="1200"/>
                                    <a:pt x="3292" y="1203"/>
                                  </a:cubicBezTo>
                                  <a:cubicBezTo>
                                    <a:pt x="3292" y="1206"/>
                                    <a:pt x="3297" y="1207"/>
                                    <a:pt x="3298" y="1213"/>
                                  </a:cubicBezTo>
                                  <a:cubicBezTo>
                                    <a:pt x="3299" y="1219"/>
                                    <a:pt x="3296" y="1221"/>
                                    <a:pt x="3298" y="1227"/>
                                  </a:cubicBezTo>
                                  <a:cubicBezTo>
                                    <a:pt x="3300" y="1233"/>
                                    <a:pt x="3309" y="1234"/>
                                    <a:pt x="3320" y="1238"/>
                                  </a:cubicBezTo>
                                  <a:cubicBezTo>
                                    <a:pt x="3331" y="1242"/>
                                    <a:pt x="3333" y="1240"/>
                                    <a:pt x="3344" y="1241"/>
                                  </a:cubicBezTo>
                                  <a:cubicBezTo>
                                    <a:pt x="3355" y="1241"/>
                                    <a:pt x="3356" y="1245"/>
                                    <a:pt x="3363" y="1246"/>
                                  </a:cubicBezTo>
                                  <a:cubicBezTo>
                                    <a:pt x="3370" y="1247"/>
                                    <a:pt x="3379" y="1247"/>
                                    <a:pt x="3386" y="1254"/>
                                  </a:cubicBezTo>
                                  <a:cubicBezTo>
                                    <a:pt x="3392" y="1261"/>
                                    <a:pt x="3387" y="1272"/>
                                    <a:pt x="3389" y="1276"/>
                                  </a:cubicBezTo>
                                  <a:cubicBezTo>
                                    <a:pt x="3391" y="1280"/>
                                    <a:pt x="3406" y="1292"/>
                                    <a:pt x="3413" y="1298"/>
                                  </a:cubicBezTo>
                                  <a:cubicBezTo>
                                    <a:pt x="3421" y="1304"/>
                                    <a:pt x="3417" y="1306"/>
                                    <a:pt x="3415" y="1311"/>
                                  </a:cubicBezTo>
                                  <a:cubicBezTo>
                                    <a:pt x="3414" y="1316"/>
                                    <a:pt x="3402" y="1313"/>
                                    <a:pt x="3393" y="1313"/>
                                  </a:cubicBezTo>
                                  <a:cubicBezTo>
                                    <a:pt x="3383" y="1313"/>
                                    <a:pt x="3383" y="1314"/>
                                    <a:pt x="3372" y="1318"/>
                                  </a:cubicBezTo>
                                  <a:cubicBezTo>
                                    <a:pt x="3361" y="1321"/>
                                    <a:pt x="3354" y="1316"/>
                                    <a:pt x="3348" y="1313"/>
                                  </a:cubicBezTo>
                                  <a:cubicBezTo>
                                    <a:pt x="3343" y="1310"/>
                                    <a:pt x="3334" y="1302"/>
                                    <a:pt x="3324" y="1295"/>
                                  </a:cubicBezTo>
                                  <a:cubicBezTo>
                                    <a:pt x="3314" y="1288"/>
                                    <a:pt x="3309" y="1282"/>
                                    <a:pt x="3302" y="1278"/>
                                  </a:cubicBezTo>
                                  <a:cubicBezTo>
                                    <a:pt x="3296" y="1273"/>
                                    <a:pt x="3280" y="1269"/>
                                    <a:pt x="3272" y="1265"/>
                                  </a:cubicBezTo>
                                  <a:cubicBezTo>
                                    <a:pt x="3263" y="1261"/>
                                    <a:pt x="3255" y="1260"/>
                                    <a:pt x="3237" y="1258"/>
                                  </a:cubicBezTo>
                                  <a:cubicBezTo>
                                    <a:pt x="3219" y="1256"/>
                                    <a:pt x="3217" y="1254"/>
                                    <a:pt x="3210" y="1252"/>
                                  </a:cubicBezTo>
                                  <a:cubicBezTo>
                                    <a:pt x="3203" y="1251"/>
                                    <a:pt x="3191" y="1248"/>
                                    <a:pt x="3180" y="1246"/>
                                  </a:cubicBezTo>
                                  <a:cubicBezTo>
                                    <a:pt x="3170" y="1244"/>
                                    <a:pt x="3161" y="1241"/>
                                    <a:pt x="3149" y="1243"/>
                                  </a:cubicBezTo>
                                  <a:cubicBezTo>
                                    <a:pt x="3137" y="1245"/>
                                    <a:pt x="3134" y="1248"/>
                                    <a:pt x="3128" y="1248"/>
                                  </a:cubicBezTo>
                                  <a:cubicBezTo>
                                    <a:pt x="3122" y="1249"/>
                                    <a:pt x="3113" y="1251"/>
                                    <a:pt x="3101" y="1257"/>
                                  </a:cubicBezTo>
                                  <a:cubicBezTo>
                                    <a:pt x="3090" y="1263"/>
                                    <a:pt x="3091" y="1265"/>
                                    <a:pt x="3091" y="1267"/>
                                  </a:cubicBezTo>
                                  <a:cubicBezTo>
                                    <a:pt x="3090" y="1269"/>
                                    <a:pt x="3093" y="1275"/>
                                    <a:pt x="3106" y="1274"/>
                                  </a:cubicBezTo>
                                  <a:cubicBezTo>
                                    <a:pt x="3118" y="1273"/>
                                    <a:pt x="3121" y="1272"/>
                                    <a:pt x="3127" y="1274"/>
                                  </a:cubicBezTo>
                                  <a:cubicBezTo>
                                    <a:pt x="3133" y="1275"/>
                                    <a:pt x="3133" y="1287"/>
                                    <a:pt x="3132" y="1295"/>
                                  </a:cubicBezTo>
                                  <a:cubicBezTo>
                                    <a:pt x="3130" y="1302"/>
                                    <a:pt x="3126" y="1300"/>
                                    <a:pt x="3116" y="1301"/>
                                  </a:cubicBezTo>
                                  <a:cubicBezTo>
                                    <a:pt x="3105" y="1302"/>
                                    <a:pt x="3099" y="1302"/>
                                    <a:pt x="3090" y="1298"/>
                                  </a:cubicBezTo>
                                  <a:cubicBezTo>
                                    <a:pt x="3081" y="1294"/>
                                    <a:pt x="3080" y="1291"/>
                                    <a:pt x="3073" y="1287"/>
                                  </a:cubicBezTo>
                                  <a:cubicBezTo>
                                    <a:pt x="3065" y="1284"/>
                                    <a:pt x="3062" y="1285"/>
                                    <a:pt x="3053" y="1286"/>
                                  </a:cubicBezTo>
                                  <a:cubicBezTo>
                                    <a:pt x="3044" y="1286"/>
                                    <a:pt x="3041" y="1288"/>
                                    <a:pt x="3033" y="1291"/>
                                  </a:cubicBezTo>
                                  <a:cubicBezTo>
                                    <a:pt x="3025" y="1294"/>
                                    <a:pt x="3018" y="1291"/>
                                    <a:pt x="3011" y="1292"/>
                                  </a:cubicBezTo>
                                  <a:cubicBezTo>
                                    <a:pt x="3004" y="1292"/>
                                    <a:pt x="3002" y="1295"/>
                                    <a:pt x="3002" y="1299"/>
                                  </a:cubicBezTo>
                                  <a:cubicBezTo>
                                    <a:pt x="3002" y="1303"/>
                                    <a:pt x="3008" y="1309"/>
                                    <a:pt x="3011" y="1317"/>
                                  </a:cubicBezTo>
                                  <a:cubicBezTo>
                                    <a:pt x="3014" y="1326"/>
                                    <a:pt x="3019" y="1331"/>
                                    <a:pt x="3023" y="1336"/>
                                  </a:cubicBezTo>
                                  <a:cubicBezTo>
                                    <a:pt x="3028" y="1341"/>
                                    <a:pt x="3036" y="1341"/>
                                    <a:pt x="3047" y="1344"/>
                                  </a:cubicBezTo>
                                  <a:cubicBezTo>
                                    <a:pt x="3059" y="1347"/>
                                    <a:pt x="3059" y="1347"/>
                                    <a:pt x="3064" y="1349"/>
                                  </a:cubicBezTo>
                                  <a:cubicBezTo>
                                    <a:pt x="3069" y="1351"/>
                                    <a:pt x="3077" y="1359"/>
                                    <a:pt x="3084" y="1362"/>
                                  </a:cubicBezTo>
                                  <a:cubicBezTo>
                                    <a:pt x="3090" y="1365"/>
                                    <a:pt x="3100" y="1366"/>
                                    <a:pt x="3109" y="1366"/>
                                  </a:cubicBezTo>
                                  <a:cubicBezTo>
                                    <a:pt x="3119" y="1367"/>
                                    <a:pt x="3118" y="1362"/>
                                    <a:pt x="3121" y="1362"/>
                                  </a:cubicBezTo>
                                  <a:cubicBezTo>
                                    <a:pt x="3124" y="1362"/>
                                    <a:pt x="3125" y="1366"/>
                                    <a:pt x="3126" y="1370"/>
                                  </a:cubicBezTo>
                                  <a:cubicBezTo>
                                    <a:pt x="3127" y="1373"/>
                                    <a:pt x="3129" y="1372"/>
                                    <a:pt x="3135" y="1373"/>
                                  </a:cubicBezTo>
                                  <a:cubicBezTo>
                                    <a:pt x="3141" y="1374"/>
                                    <a:pt x="3142" y="1376"/>
                                    <a:pt x="3144" y="1379"/>
                                  </a:cubicBezTo>
                                  <a:cubicBezTo>
                                    <a:pt x="3145" y="1383"/>
                                    <a:pt x="3144" y="1387"/>
                                    <a:pt x="3144" y="1389"/>
                                  </a:cubicBezTo>
                                  <a:cubicBezTo>
                                    <a:pt x="3144" y="1392"/>
                                    <a:pt x="3149" y="1392"/>
                                    <a:pt x="3155" y="1394"/>
                                  </a:cubicBezTo>
                                  <a:cubicBezTo>
                                    <a:pt x="3160" y="1395"/>
                                    <a:pt x="3156" y="1396"/>
                                    <a:pt x="3156" y="1401"/>
                                  </a:cubicBezTo>
                                  <a:cubicBezTo>
                                    <a:pt x="3156" y="1405"/>
                                    <a:pt x="3167" y="1403"/>
                                    <a:pt x="3170" y="1402"/>
                                  </a:cubicBezTo>
                                  <a:cubicBezTo>
                                    <a:pt x="3173" y="1402"/>
                                    <a:pt x="3180" y="1400"/>
                                    <a:pt x="3182" y="1401"/>
                                  </a:cubicBezTo>
                                  <a:cubicBezTo>
                                    <a:pt x="3183" y="1403"/>
                                    <a:pt x="3181" y="1404"/>
                                    <a:pt x="3176" y="1407"/>
                                  </a:cubicBezTo>
                                  <a:cubicBezTo>
                                    <a:pt x="3172" y="1409"/>
                                    <a:pt x="3168" y="1408"/>
                                    <a:pt x="3162" y="1411"/>
                                  </a:cubicBezTo>
                                  <a:cubicBezTo>
                                    <a:pt x="3155" y="1413"/>
                                    <a:pt x="3152" y="1411"/>
                                    <a:pt x="3147" y="1411"/>
                                  </a:cubicBezTo>
                                  <a:cubicBezTo>
                                    <a:pt x="3143" y="1411"/>
                                    <a:pt x="3137" y="1407"/>
                                    <a:pt x="3132" y="1405"/>
                                  </a:cubicBezTo>
                                  <a:cubicBezTo>
                                    <a:pt x="3127" y="1402"/>
                                    <a:pt x="3124" y="1401"/>
                                    <a:pt x="3121" y="1399"/>
                                  </a:cubicBezTo>
                                  <a:cubicBezTo>
                                    <a:pt x="3118" y="1396"/>
                                    <a:pt x="3117" y="1389"/>
                                    <a:pt x="3115" y="1386"/>
                                  </a:cubicBezTo>
                                  <a:cubicBezTo>
                                    <a:pt x="3113" y="1383"/>
                                    <a:pt x="3108" y="1380"/>
                                    <a:pt x="3102" y="1380"/>
                                  </a:cubicBezTo>
                                  <a:cubicBezTo>
                                    <a:pt x="3095" y="1380"/>
                                    <a:pt x="3093" y="1380"/>
                                    <a:pt x="3089" y="1379"/>
                                  </a:cubicBezTo>
                                  <a:cubicBezTo>
                                    <a:pt x="3084" y="1378"/>
                                    <a:pt x="3074" y="1378"/>
                                    <a:pt x="3069" y="1382"/>
                                  </a:cubicBezTo>
                                  <a:cubicBezTo>
                                    <a:pt x="3063" y="1385"/>
                                    <a:pt x="3063" y="1390"/>
                                    <a:pt x="3058" y="1390"/>
                                  </a:cubicBezTo>
                                  <a:cubicBezTo>
                                    <a:pt x="3052" y="1390"/>
                                    <a:pt x="3057" y="1380"/>
                                    <a:pt x="3052" y="1378"/>
                                  </a:cubicBezTo>
                                  <a:cubicBezTo>
                                    <a:pt x="3048" y="1376"/>
                                    <a:pt x="3040" y="1377"/>
                                    <a:pt x="3032" y="1377"/>
                                  </a:cubicBezTo>
                                  <a:cubicBezTo>
                                    <a:pt x="3023" y="1377"/>
                                    <a:pt x="3012" y="1375"/>
                                    <a:pt x="3004" y="1375"/>
                                  </a:cubicBezTo>
                                  <a:cubicBezTo>
                                    <a:pt x="2996" y="1374"/>
                                    <a:pt x="2992" y="1369"/>
                                    <a:pt x="2985" y="1368"/>
                                  </a:cubicBezTo>
                                  <a:cubicBezTo>
                                    <a:pt x="2979" y="1367"/>
                                    <a:pt x="2962" y="1363"/>
                                    <a:pt x="2960" y="1360"/>
                                  </a:cubicBezTo>
                                  <a:cubicBezTo>
                                    <a:pt x="2958" y="1357"/>
                                    <a:pt x="2961" y="1351"/>
                                    <a:pt x="2964" y="1350"/>
                                  </a:cubicBezTo>
                                  <a:cubicBezTo>
                                    <a:pt x="2966" y="1349"/>
                                    <a:pt x="2970" y="1346"/>
                                    <a:pt x="2970" y="1343"/>
                                  </a:cubicBezTo>
                                  <a:cubicBezTo>
                                    <a:pt x="2971" y="1339"/>
                                    <a:pt x="2968" y="1335"/>
                                    <a:pt x="2967" y="1330"/>
                                  </a:cubicBezTo>
                                  <a:cubicBezTo>
                                    <a:pt x="2966" y="1325"/>
                                    <a:pt x="2968" y="1325"/>
                                    <a:pt x="2967" y="1321"/>
                                  </a:cubicBezTo>
                                  <a:cubicBezTo>
                                    <a:pt x="2965" y="1317"/>
                                    <a:pt x="2958" y="1313"/>
                                    <a:pt x="2956" y="1310"/>
                                  </a:cubicBezTo>
                                  <a:cubicBezTo>
                                    <a:pt x="2954" y="1307"/>
                                    <a:pt x="2955" y="1298"/>
                                    <a:pt x="2959" y="1294"/>
                                  </a:cubicBezTo>
                                  <a:cubicBezTo>
                                    <a:pt x="2962" y="1289"/>
                                    <a:pt x="2970" y="1286"/>
                                    <a:pt x="2970" y="1283"/>
                                  </a:cubicBezTo>
                                  <a:cubicBezTo>
                                    <a:pt x="2970" y="1280"/>
                                    <a:pt x="2970" y="1271"/>
                                    <a:pt x="2974" y="1266"/>
                                  </a:cubicBezTo>
                                  <a:cubicBezTo>
                                    <a:pt x="2978" y="1261"/>
                                    <a:pt x="2985" y="1255"/>
                                    <a:pt x="2986" y="1250"/>
                                  </a:cubicBezTo>
                                  <a:cubicBezTo>
                                    <a:pt x="2986" y="1244"/>
                                    <a:pt x="2979" y="1241"/>
                                    <a:pt x="2978" y="1234"/>
                                  </a:cubicBezTo>
                                  <a:cubicBezTo>
                                    <a:pt x="2977" y="1226"/>
                                    <a:pt x="2973" y="1223"/>
                                    <a:pt x="2969" y="1217"/>
                                  </a:cubicBezTo>
                                  <a:cubicBezTo>
                                    <a:pt x="2965" y="1211"/>
                                    <a:pt x="2961" y="1211"/>
                                    <a:pt x="2955" y="1203"/>
                                  </a:cubicBezTo>
                                  <a:cubicBezTo>
                                    <a:pt x="2949" y="1195"/>
                                    <a:pt x="2946" y="1189"/>
                                    <a:pt x="2941" y="1184"/>
                                  </a:cubicBezTo>
                                  <a:cubicBezTo>
                                    <a:pt x="2936" y="1179"/>
                                    <a:pt x="2928" y="1184"/>
                                    <a:pt x="2925" y="1186"/>
                                  </a:cubicBezTo>
                                  <a:cubicBezTo>
                                    <a:pt x="2921" y="1188"/>
                                    <a:pt x="2926" y="1195"/>
                                    <a:pt x="2930" y="1202"/>
                                  </a:cubicBezTo>
                                  <a:cubicBezTo>
                                    <a:pt x="2933" y="1208"/>
                                    <a:pt x="2939" y="1210"/>
                                    <a:pt x="2941" y="1212"/>
                                  </a:cubicBezTo>
                                  <a:cubicBezTo>
                                    <a:pt x="2943" y="1214"/>
                                    <a:pt x="2945" y="1218"/>
                                    <a:pt x="2944" y="1229"/>
                                  </a:cubicBezTo>
                                  <a:cubicBezTo>
                                    <a:pt x="2943" y="1239"/>
                                    <a:pt x="2946" y="1240"/>
                                    <a:pt x="2946" y="1247"/>
                                  </a:cubicBezTo>
                                  <a:cubicBezTo>
                                    <a:pt x="2946" y="1254"/>
                                    <a:pt x="2944" y="1258"/>
                                    <a:pt x="2940" y="1266"/>
                                  </a:cubicBezTo>
                                  <a:cubicBezTo>
                                    <a:pt x="2935" y="1273"/>
                                    <a:pt x="2926" y="1274"/>
                                    <a:pt x="2915" y="1280"/>
                                  </a:cubicBezTo>
                                  <a:cubicBezTo>
                                    <a:pt x="2904" y="1287"/>
                                    <a:pt x="2887" y="1291"/>
                                    <a:pt x="2880" y="1293"/>
                                  </a:cubicBezTo>
                                  <a:cubicBezTo>
                                    <a:pt x="2872" y="1295"/>
                                    <a:pt x="2858" y="1297"/>
                                    <a:pt x="2853" y="1305"/>
                                  </a:cubicBezTo>
                                  <a:cubicBezTo>
                                    <a:pt x="2848" y="1313"/>
                                    <a:pt x="2853" y="1313"/>
                                    <a:pt x="2847" y="1324"/>
                                  </a:cubicBezTo>
                                  <a:cubicBezTo>
                                    <a:pt x="2842" y="1335"/>
                                    <a:pt x="2839" y="1332"/>
                                    <a:pt x="2831" y="1340"/>
                                  </a:cubicBezTo>
                                  <a:cubicBezTo>
                                    <a:pt x="2823" y="1349"/>
                                    <a:pt x="2821" y="1347"/>
                                    <a:pt x="2821" y="1353"/>
                                  </a:cubicBezTo>
                                  <a:cubicBezTo>
                                    <a:pt x="2821" y="1359"/>
                                    <a:pt x="2827" y="1356"/>
                                    <a:pt x="2837" y="1362"/>
                                  </a:cubicBezTo>
                                  <a:cubicBezTo>
                                    <a:pt x="2848" y="1369"/>
                                    <a:pt x="2853" y="1376"/>
                                    <a:pt x="2859" y="1381"/>
                                  </a:cubicBezTo>
                                  <a:cubicBezTo>
                                    <a:pt x="2864" y="1387"/>
                                    <a:pt x="2868" y="1392"/>
                                    <a:pt x="2871" y="1400"/>
                                  </a:cubicBezTo>
                                  <a:cubicBezTo>
                                    <a:pt x="2874" y="1408"/>
                                    <a:pt x="2872" y="1413"/>
                                    <a:pt x="2876" y="1419"/>
                                  </a:cubicBezTo>
                                  <a:cubicBezTo>
                                    <a:pt x="2880" y="1424"/>
                                    <a:pt x="2893" y="1431"/>
                                    <a:pt x="2895" y="1434"/>
                                  </a:cubicBezTo>
                                  <a:cubicBezTo>
                                    <a:pt x="2897" y="1436"/>
                                    <a:pt x="2899" y="1444"/>
                                    <a:pt x="2896" y="1451"/>
                                  </a:cubicBezTo>
                                  <a:cubicBezTo>
                                    <a:pt x="2894" y="1457"/>
                                    <a:pt x="2882" y="1463"/>
                                    <a:pt x="2878" y="1470"/>
                                  </a:cubicBezTo>
                                  <a:cubicBezTo>
                                    <a:pt x="2873" y="1477"/>
                                    <a:pt x="2868" y="1484"/>
                                    <a:pt x="2867" y="1485"/>
                                  </a:cubicBezTo>
                                  <a:cubicBezTo>
                                    <a:pt x="2866" y="1487"/>
                                    <a:pt x="2861" y="1492"/>
                                    <a:pt x="2860" y="1495"/>
                                  </a:cubicBezTo>
                                  <a:cubicBezTo>
                                    <a:pt x="2860" y="1499"/>
                                    <a:pt x="2861" y="1502"/>
                                    <a:pt x="2861" y="1508"/>
                                  </a:cubicBezTo>
                                  <a:cubicBezTo>
                                    <a:pt x="2861" y="1514"/>
                                    <a:pt x="2855" y="1522"/>
                                    <a:pt x="2853" y="1526"/>
                                  </a:cubicBezTo>
                                  <a:cubicBezTo>
                                    <a:pt x="2850" y="1530"/>
                                    <a:pt x="2848" y="1538"/>
                                    <a:pt x="2849" y="1542"/>
                                  </a:cubicBezTo>
                                  <a:cubicBezTo>
                                    <a:pt x="2850" y="1547"/>
                                    <a:pt x="2855" y="1553"/>
                                    <a:pt x="2863" y="1558"/>
                                  </a:cubicBezTo>
                                  <a:cubicBezTo>
                                    <a:pt x="2872" y="1563"/>
                                    <a:pt x="2870" y="1571"/>
                                    <a:pt x="2870" y="1574"/>
                                  </a:cubicBezTo>
                                  <a:cubicBezTo>
                                    <a:pt x="2870" y="1577"/>
                                    <a:pt x="2867" y="1579"/>
                                    <a:pt x="2865" y="1585"/>
                                  </a:cubicBezTo>
                                  <a:cubicBezTo>
                                    <a:pt x="2864" y="1590"/>
                                    <a:pt x="2862" y="1596"/>
                                    <a:pt x="2862" y="1599"/>
                                  </a:cubicBezTo>
                                  <a:cubicBezTo>
                                    <a:pt x="2863" y="1603"/>
                                    <a:pt x="2866" y="1606"/>
                                    <a:pt x="2870" y="1609"/>
                                  </a:cubicBezTo>
                                  <a:cubicBezTo>
                                    <a:pt x="2874" y="1612"/>
                                    <a:pt x="2876" y="1612"/>
                                    <a:pt x="2886" y="1609"/>
                                  </a:cubicBezTo>
                                  <a:cubicBezTo>
                                    <a:pt x="2897" y="1607"/>
                                    <a:pt x="2899" y="1604"/>
                                    <a:pt x="2906" y="1605"/>
                                  </a:cubicBezTo>
                                  <a:cubicBezTo>
                                    <a:pt x="2913" y="1606"/>
                                    <a:pt x="2916" y="1611"/>
                                    <a:pt x="2923" y="1612"/>
                                  </a:cubicBezTo>
                                  <a:cubicBezTo>
                                    <a:pt x="2930" y="1612"/>
                                    <a:pt x="2930" y="1611"/>
                                    <a:pt x="2941" y="1611"/>
                                  </a:cubicBezTo>
                                  <a:cubicBezTo>
                                    <a:pt x="2952" y="1611"/>
                                    <a:pt x="2957" y="1603"/>
                                    <a:pt x="2958" y="1601"/>
                                  </a:cubicBezTo>
                                  <a:cubicBezTo>
                                    <a:pt x="2959" y="1599"/>
                                    <a:pt x="2964" y="1595"/>
                                    <a:pt x="2972" y="1593"/>
                                  </a:cubicBezTo>
                                  <a:cubicBezTo>
                                    <a:pt x="2980" y="1591"/>
                                    <a:pt x="2988" y="1593"/>
                                    <a:pt x="2998" y="1593"/>
                                  </a:cubicBezTo>
                                  <a:cubicBezTo>
                                    <a:pt x="3007" y="1593"/>
                                    <a:pt x="3006" y="1596"/>
                                    <a:pt x="3017" y="1599"/>
                                  </a:cubicBezTo>
                                  <a:cubicBezTo>
                                    <a:pt x="3028" y="1602"/>
                                    <a:pt x="3028" y="1602"/>
                                    <a:pt x="3033" y="1604"/>
                                  </a:cubicBezTo>
                                  <a:cubicBezTo>
                                    <a:pt x="3038" y="1605"/>
                                    <a:pt x="3043" y="1606"/>
                                    <a:pt x="3047" y="1608"/>
                                  </a:cubicBezTo>
                                  <a:cubicBezTo>
                                    <a:pt x="3051" y="1611"/>
                                    <a:pt x="3059" y="1618"/>
                                    <a:pt x="3062" y="1621"/>
                                  </a:cubicBezTo>
                                  <a:cubicBezTo>
                                    <a:pt x="3066" y="1623"/>
                                    <a:pt x="3073" y="1624"/>
                                    <a:pt x="3083" y="1625"/>
                                  </a:cubicBezTo>
                                  <a:cubicBezTo>
                                    <a:pt x="3093" y="1627"/>
                                    <a:pt x="3091" y="1626"/>
                                    <a:pt x="3096" y="1629"/>
                                  </a:cubicBezTo>
                                  <a:cubicBezTo>
                                    <a:pt x="3101" y="1633"/>
                                    <a:pt x="3101" y="1634"/>
                                    <a:pt x="3101" y="1639"/>
                                  </a:cubicBezTo>
                                  <a:cubicBezTo>
                                    <a:pt x="3101" y="1644"/>
                                    <a:pt x="3105" y="1646"/>
                                    <a:pt x="3106" y="1654"/>
                                  </a:cubicBezTo>
                                  <a:cubicBezTo>
                                    <a:pt x="3107" y="1661"/>
                                    <a:pt x="3107" y="1664"/>
                                    <a:pt x="3110" y="1671"/>
                                  </a:cubicBezTo>
                                  <a:cubicBezTo>
                                    <a:pt x="3114" y="1678"/>
                                    <a:pt x="3115" y="1681"/>
                                    <a:pt x="3119" y="1683"/>
                                  </a:cubicBezTo>
                                  <a:cubicBezTo>
                                    <a:pt x="3122" y="1686"/>
                                    <a:pt x="3128" y="1691"/>
                                    <a:pt x="3131" y="1696"/>
                                  </a:cubicBezTo>
                                  <a:cubicBezTo>
                                    <a:pt x="3133" y="1701"/>
                                    <a:pt x="3130" y="1700"/>
                                    <a:pt x="3127" y="1702"/>
                                  </a:cubicBezTo>
                                  <a:cubicBezTo>
                                    <a:pt x="3124" y="1705"/>
                                    <a:pt x="3117" y="1705"/>
                                    <a:pt x="3112" y="1706"/>
                                  </a:cubicBezTo>
                                  <a:cubicBezTo>
                                    <a:pt x="3107" y="1707"/>
                                    <a:pt x="3104" y="1708"/>
                                    <a:pt x="3100" y="1711"/>
                                  </a:cubicBezTo>
                                  <a:cubicBezTo>
                                    <a:pt x="3096" y="1714"/>
                                    <a:pt x="3098" y="1716"/>
                                    <a:pt x="3097" y="1722"/>
                                  </a:cubicBezTo>
                                  <a:cubicBezTo>
                                    <a:pt x="3096" y="1728"/>
                                    <a:pt x="3093" y="1737"/>
                                    <a:pt x="3095" y="1744"/>
                                  </a:cubicBezTo>
                                  <a:cubicBezTo>
                                    <a:pt x="3097" y="1751"/>
                                    <a:pt x="3096" y="1752"/>
                                    <a:pt x="3103" y="1754"/>
                                  </a:cubicBezTo>
                                  <a:cubicBezTo>
                                    <a:pt x="3109" y="1756"/>
                                    <a:pt x="3109" y="1751"/>
                                    <a:pt x="3113" y="1751"/>
                                  </a:cubicBezTo>
                                  <a:cubicBezTo>
                                    <a:pt x="3117" y="1751"/>
                                    <a:pt x="3116" y="1754"/>
                                    <a:pt x="3119" y="1757"/>
                                  </a:cubicBezTo>
                                  <a:cubicBezTo>
                                    <a:pt x="3122" y="1760"/>
                                    <a:pt x="3127" y="1759"/>
                                    <a:pt x="3130" y="1760"/>
                                  </a:cubicBezTo>
                                  <a:cubicBezTo>
                                    <a:pt x="3133" y="1760"/>
                                    <a:pt x="3140" y="1762"/>
                                    <a:pt x="3144" y="1762"/>
                                  </a:cubicBezTo>
                                  <a:cubicBezTo>
                                    <a:pt x="3148" y="1762"/>
                                    <a:pt x="3150" y="1759"/>
                                    <a:pt x="3154" y="1759"/>
                                  </a:cubicBezTo>
                                  <a:cubicBezTo>
                                    <a:pt x="3157" y="1758"/>
                                    <a:pt x="3158" y="1760"/>
                                    <a:pt x="3161" y="1764"/>
                                  </a:cubicBezTo>
                                  <a:cubicBezTo>
                                    <a:pt x="3164" y="1767"/>
                                    <a:pt x="3165" y="1764"/>
                                    <a:pt x="3171" y="1765"/>
                                  </a:cubicBezTo>
                                  <a:cubicBezTo>
                                    <a:pt x="3178" y="1767"/>
                                    <a:pt x="3185" y="1770"/>
                                    <a:pt x="3185" y="1773"/>
                                  </a:cubicBezTo>
                                  <a:cubicBezTo>
                                    <a:pt x="3185" y="1776"/>
                                    <a:pt x="3179" y="1774"/>
                                    <a:pt x="3171" y="1774"/>
                                  </a:cubicBezTo>
                                  <a:cubicBezTo>
                                    <a:pt x="3163" y="1774"/>
                                    <a:pt x="3158" y="1775"/>
                                    <a:pt x="3142" y="1775"/>
                                  </a:cubicBezTo>
                                  <a:cubicBezTo>
                                    <a:pt x="3126" y="1776"/>
                                    <a:pt x="3120" y="1776"/>
                                    <a:pt x="3113" y="1776"/>
                                  </a:cubicBezTo>
                                  <a:cubicBezTo>
                                    <a:pt x="3106" y="1776"/>
                                    <a:pt x="3103" y="1774"/>
                                    <a:pt x="3097" y="1769"/>
                                  </a:cubicBezTo>
                                  <a:cubicBezTo>
                                    <a:pt x="3091" y="1764"/>
                                    <a:pt x="3089" y="1761"/>
                                    <a:pt x="3084" y="1759"/>
                                  </a:cubicBezTo>
                                  <a:cubicBezTo>
                                    <a:pt x="3080" y="1756"/>
                                    <a:pt x="3072" y="1752"/>
                                    <a:pt x="3072" y="1747"/>
                                  </a:cubicBezTo>
                                  <a:cubicBezTo>
                                    <a:pt x="3073" y="1743"/>
                                    <a:pt x="3078" y="1744"/>
                                    <a:pt x="3080" y="1740"/>
                                  </a:cubicBezTo>
                                  <a:cubicBezTo>
                                    <a:pt x="3081" y="1737"/>
                                    <a:pt x="3081" y="1734"/>
                                    <a:pt x="3080" y="1729"/>
                                  </a:cubicBezTo>
                                  <a:cubicBezTo>
                                    <a:pt x="3079" y="1724"/>
                                    <a:pt x="3078" y="1719"/>
                                    <a:pt x="3078" y="1716"/>
                                  </a:cubicBezTo>
                                  <a:cubicBezTo>
                                    <a:pt x="3078" y="1713"/>
                                    <a:pt x="3083" y="1707"/>
                                    <a:pt x="3083" y="1702"/>
                                  </a:cubicBezTo>
                                  <a:cubicBezTo>
                                    <a:pt x="3082" y="1697"/>
                                    <a:pt x="3077" y="1695"/>
                                    <a:pt x="3076" y="1692"/>
                                  </a:cubicBezTo>
                                  <a:cubicBezTo>
                                    <a:pt x="3074" y="1689"/>
                                    <a:pt x="3077" y="1687"/>
                                    <a:pt x="3080" y="1682"/>
                                  </a:cubicBezTo>
                                  <a:cubicBezTo>
                                    <a:pt x="3083" y="1678"/>
                                    <a:pt x="3084" y="1674"/>
                                    <a:pt x="3080" y="1669"/>
                                  </a:cubicBezTo>
                                  <a:cubicBezTo>
                                    <a:pt x="3076" y="1663"/>
                                    <a:pt x="3072" y="1663"/>
                                    <a:pt x="3063" y="1657"/>
                                  </a:cubicBezTo>
                                  <a:cubicBezTo>
                                    <a:pt x="3055" y="1652"/>
                                    <a:pt x="3051" y="1643"/>
                                    <a:pt x="3048" y="1636"/>
                                  </a:cubicBezTo>
                                  <a:cubicBezTo>
                                    <a:pt x="3045" y="1630"/>
                                    <a:pt x="3038" y="1624"/>
                                    <a:pt x="3033" y="1624"/>
                                  </a:cubicBezTo>
                                  <a:cubicBezTo>
                                    <a:pt x="3027" y="1624"/>
                                    <a:pt x="3020" y="1624"/>
                                    <a:pt x="3011" y="1626"/>
                                  </a:cubicBezTo>
                                  <a:cubicBezTo>
                                    <a:pt x="3002" y="1627"/>
                                    <a:pt x="2992" y="1627"/>
                                    <a:pt x="2976" y="1633"/>
                                  </a:cubicBezTo>
                                  <a:cubicBezTo>
                                    <a:pt x="2960" y="1638"/>
                                    <a:pt x="2933" y="1644"/>
                                    <a:pt x="2926" y="1646"/>
                                  </a:cubicBezTo>
                                  <a:cubicBezTo>
                                    <a:pt x="2918" y="1648"/>
                                    <a:pt x="2911" y="1653"/>
                                    <a:pt x="2909" y="1659"/>
                                  </a:cubicBezTo>
                                  <a:cubicBezTo>
                                    <a:pt x="2907" y="1665"/>
                                    <a:pt x="2907" y="1672"/>
                                    <a:pt x="2903" y="1678"/>
                                  </a:cubicBezTo>
                                  <a:cubicBezTo>
                                    <a:pt x="2899" y="1683"/>
                                    <a:pt x="2901" y="1692"/>
                                    <a:pt x="2902" y="1694"/>
                                  </a:cubicBezTo>
                                  <a:cubicBezTo>
                                    <a:pt x="2903" y="1696"/>
                                    <a:pt x="2917" y="1706"/>
                                    <a:pt x="2923" y="1713"/>
                                  </a:cubicBezTo>
                                  <a:cubicBezTo>
                                    <a:pt x="2928" y="1721"/>
                                    <a:pt x="2927" y="1726"/>
                                    <a:pt x="2927" y="1738"/>
                                  </a:cubicBezTo>
                                  <a:cubicBezTo>
                                    <a:pt x="2926" y="1749"/>
                                    <a:pt x="2919" y="1763"/>
                                    <a:pt x="2913" y="1768"/>
                                  </a:cubicBezTo>
                                  <a:cubicBezTo>
                                    <a:pt x="2907" y="1774"/>
                                    <a:pt x="2899" y="1782"/>
                                    <a:pt x="2892" y="1786"/>
                                  </a:cubicBezTo>
                                  <a:cubicBezTo>
                                    <a:pt x="2885" y="1790"/>
                                    <a:pt x="2876" y="1796"/>
                                    <a:pt x="2874" y="1803"/>
                                  </a:cubicBezTo>
                                  <a:cubicBezTo>
                                    <a:pt x="2871" y="1809"/>
                                    <a:pt x="2870" y="1818"/>
                                    <a:pt x="2868" y="1827"/>
                                  </a:cubicBezTo>
                                  <a:cubicBezTo>
                                    <a:pt x="2866" y="1837"/>
                                    <a:pt x="2861" y="1840"/>
                                    <a:pt x="2859" y="1843"/>
                                  </a:cubicBezTo>
                                  <a:cubicBezTo>
                                    <a:pt x="2856" y="1846"/>
                                    <a:pt x="2837" y="1854"/>
                                    <a:pt x="2831" y="1856"/>
                                  </a:cubicBezTo>
                                  <a:cubicBezTo>
                                    <a:pt x="2825" y="1859"/>
                                    <a:pt x="2814" y="1866"/>
                                    <a:pt x="2805" y="1871"/>
                                  </a:cubicBezTo>
                                  <a:cubicBezTo>
                                    <a:pt x="2797" y="1875"/>
                                    <a:pt x="2789" y="1876"/>
                                    <a:pt x="2783" y="1878"/>
                                  </a:cubicBezTo>
                                  <a:cubicBezTo>
                                    <a:pt x="2777" y="1879"/>
                                    <a:pt x="2775" y="1884"/>
                                    <a:pt x="2775" y="1891"/>
                                  </a:cubicBezTo>
                                  <a:cubicBezTo>
                                    <a:pt x="2774" y="1897"/>
                                    <a:pt x="2770" y="1904"/>
                                    <a:pt x="2763" y="1907"/>
                                  </a:cubicBezTo>
                                  <a:cubicBezTo>
                                    <a:pt x="2757" y="1911"/>
                                    <a:pt x="2754" y="1910"/>
                                    <a:pt x="2743" y="1907"/>
                                  </a:cubicBezTo>
                                  <a:cubicBezTo>
                                    <a:pt x="2732" y="1903"/>
                                    <a:pt x="2727" y="1900"/>
                                    <a:pt x="2723" y="1898"/>
                                  </a:cubicBezTo>
                                  <a:cubicBezTo>
                                    <a:pt x="2718" y="1896"/>
                                    <a:pt x="2696" y="1895"/>
                                    <a:pt x="2682" y="1899"/>
                                  </a:cubicBezTo>
                                  <a:cubicBezTo>
                                    <a:pt x="2669" y="1902"/>
                                    <a:pt x="2661" y="1900"/>
                                    <a:pt x="2653" y="1900"/>
                                  </a:cubicBezTo>
                                  <a:cubicBezTo>
                                    <a:pt x="2645" y="1900"/>
                                    <a:pt x="2642" y="1897"/>
                                    <a:pt x="2635" y="1892"/>
                                  </a:cubicBezTo>
                                  <a:cubicBezTo>
                                    <a:pt x="2628" y="1886"/>
                                    <a:pt x="2615" y="1885"/>
                                    <a:pt x="2604" y="1882"/>
                                  </a:cubicBezTo>
                                  <a:cubicBezTo>
                                    <a:pt x="2593" y="1878"/>
                                    <a:pt x="2580" y="1872"/>
                                    <a:pt x="2576" y="1867"/>
                                  </a:cubicBezTo>
                                  <a:cubicBezTo>
                                    <a:pt x="2572" y="1862"/>
                                    <a:pt x="2568" y="1855"/>
                                    <a:pt x="2574" y="1853"/>
                                  </a:cubicBezTo>
                                  <a:cubicBezTo>
                                    <a:pt x="2581" y="1850"/>
                                    <a:pt x="2587" y="1855"/>
                                    <a:pt x="2603" y="1850"/>
                                  </a:cubicBezTo>
                                  <a:cubicBezTo>
                                    <a:pt x="2619" y="1846"/>
                                    <a:pt x="2622" y="1849"/>
                                    <a:pt x="2628" y="1849"/>
                                  </a:cubicBezTo>
                                  <a:cubicBezTo>
                                    <a:pt x="2633" y="1850"/>
                                    <a:pt x="2639" y="1855"/>
                                    <a:pt x="2642" y="1857"/>
                                  </a:cubicBezTo>
                                  <a:cubicBezTo>
                                    <a:pt x="2646" y="1860"/>
                                    <a:pt x="2653" y="1865"/>
                                    <a:pt x="2660" y="1867"/>
                                  </a:cubicBezTo>
                                  <a:cubicBezTo>
                                    <a:pt x="2668" y="1869"/>
                                    <a:pt x="2674" y="1861"/>
                                    <a:pt x="2685" y="1857"/>
                                  </a:cubicBezTo>
                                  <a:cubicBezTo>
                                    <a:pt x="2696" y="1853"/>
                                    <a:pt x="2712" y="1846"/>
                                    <a:pt x="2725" y="1846"/>
                                  </a:cubicBezTo>
                                  <a:cubicBezTo>
                                    <a:pt x="2739" y="1846"/>
                                    <a:pt x="2743" y="1836"/>
                                    <a:pt x="2752" y="1829"/>
                                  </a:cubicBezTo>
                                  <a:cubicBezTo>
                                    <a:pt x="2761" y="1821"/>
                                    <a:pt x="2769" y="1817"/>
                                    <a:pt x="2773" y="1810"/>
                                  </a:cubicBezTo>
                                  <a:cubicBezTo>
                                    <a:pt x="2778" y="1803"/>
                                    <a:pt x="2775" y="1801"/>
                                    <a:pt x="2782" y="1793"/>
                                  </a:cubicBezTo>
                                  <a:cubicBezTo>
                                    <a:pt x="2788" y="1784"/>
                                    <a:pt x="2804" y="1776"/>
                                    <a:pt x="2814" y="1768"/>
                                  </a:cubicBezTo>
                                  <a:cubicBezTo>
                                    <a:pt x="2824" y="1760"/>
                                    <a:pt x="2824" y="1762"/>
                                    <a:pt x="2824" y="1759"/>
                                  </a:cubicBezTo>
                                  <a:cubicBezTo>
                                    <a:pt x="2824" y="1756"/>
                                    <a:pt x="2823" y="1753"/>
                                    <a:pt x="2823" y="1749"/>
                                  </a:cubicBezTo>
                                  <a:cubicBezTo>
                                    <a:pt x="2822" y="1745"/>
                                    <a:pt x="2827" y="1742"/>
                                    <a:pt x="2829" y="1735"/>
                                  </a:cubicBezTo>
                                  <a:cubicBezTo>
                                    <a:pt x="2831" y="1727"/>
                                    <a:pt x="2823" y="1720"/>
                                    <a:pt x="2822" y="1714"/>
                                  </a:cubicBezTo>
                                  <a:cubicBezTo>
                                    <a:pt x="2822" y="1708"/>
                                    <a:pt x="2836" y="1701"/>
                                    <a:pt x="2842" y="1695"/>
                                  </a:cubicBezTo>
                                  <a:cubicBezTo>
                                    <a:pt x="2849" y="1689"/>
                                    <a:pt x="2855" y="1680"/>
                                    <a:pt x="2855" y="1675"/>
                                  </a:cubicBezTo>
                                  <a:cubicBezTo>
                                    <a:pt x="2854" y="1670"/>
                                    <a:pt x="2854" y="1666"/>
                                    <a:pt x="2837" y="1658"/>
                                  </a:cubicBezTo>
                                  <a:cubicBezTo>
                                    <a:pt x="2820" y="1650"/>
                                    <a:pt x="2824" y="1649"/>
                                    <a:pt x="2809" y="1642"/>
                                  </a:cubicBezTo>
                                  <a:cubicBezTo>
                                    <a:pt x="2794" y="1635"/>
                                    <a:pt x="2796" y="1631"/>
                                    <a:pt x="2792" y="1625"/>
                                  </a:cubicBezTo>
                                  <a:cubicBezTo>
                                    <a:pt x="2788" y="1620"/>
                                    <a:pt x="2789" y="1616"/>
                                    <a:pt x="2791" y="1609"/>
                                  </a:cubicBezTo>
                                  <a:cubicBezTo>
                                    <a:pt x="2793" y="1602"/>
                                    <a:pt x="2795" y="1600"/>
                                    <a:pt x="2795" y="1595"/>
                                  </a:cubicBezTo>
                                  <a:cubicBezTo>
                                    <a:pt x="2795" y="1589"/>
                                    <a:pt x="2795" y="1585"/>
                                    <a:pt x="2794" y="1577"/>
                                  </a:cubicBezTo>
                                  <a:cubicBezTo>
                                    <a:pt x="2792" y="1570"/>
                                    <a:pt x="2792" y="1567"/>
                                    <a:pt x="2791" y="1563"/>
                                  </a:cubicBezTo>
                                  <a:cubicBezTo>
                                    <a:pt x="2790" y="1559"/>
                                    <a:pt x="2791" y="1551"/>
                                    <a:pt x="2792" y="1546"/>
                                  </a:cubicBezTo>
                                  <a:cubicBezTo>
                                    <a:pt x="2794" y="1540"/>
                                    <a:pt x="2797" y="1535"/>
                                    <a:pt x="2797" y="1532"/>
                                  </a:cubicBezTo>
                                  <a:cubicBezTo>
                                    <a:pt x="2798" y="1529"/>
                                    <a:pt x="2797" y="1526"/>
                                    <a:pt x="2794" y="1522"/>
                                  </a:cubicBezTo>
                                  <a:cubicBezTo>
                                    <a:pt x="2792" y="1518"/>
                                    <a:pt x="2789" y="1515"/>
                                    <a:pt x="2789" y="1510"/>
                                  </a:cubicBezTo>
                                  <a:cubicBezTo>
                                    <a:pt x="2789" y="1505"/>
                                    <a:pt x="2792" y="1505"/>
                                    <a:pt x="2792" y="1502"/>
                                  </a:cubicBezTo>
                                  <a:cubicBezTo>
                                    <a:pt x="2792" y="1499"/>
                                    <a:pt x="2792" y="1492"/>
                                    <a:pt x="2791" y="1489"/>
                                  </a:cubicBezTo>
                                  <a:cubicBezTo>
                                    <a:pt x="2790" y="1486"/>
                                    <a:pt x="2788" y="1482"/>
                                    <a:pt x="2788" y="1478"/>
                                  </a:cubicBezTo>
                                  <a:cubicBezTo>
                                    <a:pt x="2788" y="1474"/>
                                    <a:pt x="2791" y="1474"/>
                                    <a:pt x="2794" y="1470"/>
                                  </a:cubicBezTo>
                                  <a:cubicBezTo>
                                    <a:pt x="2797" y="1467"/>
                                    <a:pt x="2801" y="1466"/>
                                    <a:pt x="2802" y="1462"/>
                                  </a:cubicBezTo>
                                  <a:cubicBezTo>
                                    <a:pt x="2802" y="1459"/>
                                    <a:pt x="2800" y="1451"/>
                                    <a:pt x="2801" y="1440"/>
                                  </a:cubicBezTo>
                                  <a:cubicBezTo>
                                    <a:pt x="2802" y="1428"/>
                                    <a:pt x="2804" y="1427"/>
                                    <a:pt x="2805" y="1424"/>
                                  </a:cubicBezTo>
                                  <a:cubicBezTo>
                                    <a:pt x="2807" y="1421"/>
                                    <a:pt x="2807" y="1415"/>
                                    <a:pt x="2806" y="1413"/>
                                  </a:cubicBezTo>
                                  <a:cubicBezTo>
                                    <a:pt x="2804" y="1410"/>
                                    <a:pt x="2803" y="1408"/>
                                    <a:pt x="2800" y="1402"/>
                                  </a:cubicBezTo>
                                  <a:cubicBezTo>
                                    <a:pt x="2796" y="1396"/>
                                    <a:pt x="2798" y="1397"/>
                                    <a:pt x="2797" y="1394"/>
                                  </a:cubicBezTo>
                                  <a:cubicBezTo>
                                    <a:pt x="2796" y="1391"/>
                                    <a:pt x="2795" y="1385"/>
                                    <a:pt x="2791" y="1382"/>
                                  </a:cubicBezTo>
                                  <a:cubicBezTo>
                                    <a:pt x="2788" y="1379"/>
                                    <a:pt x="2782" y="1378"/>
                                    <a:pt x="2775" y="1374"/>
                                  </a:cubicBezTo>
                                  <a:cubicBezTo>
                                    <a:pt x="2768" y="1371"/>
                                    <a:pt x="2766" y="1370"/>
                                    <a:pt x="2760" y="1364"/>
                                  </a:cubicBezTo>
                                  <a:cubicBezTo>
                                    <a:pt x="2755" y="1357"/>
                                    <a:pt x="2752" y="1355"/>
                                    <a:pt x="2748" y="1350"/>
                                  </a:cubicBezTo>
                                  <a:cubicBezTo>
                                    <a:pt x="2745" y="1344"/>
                                    <a:pt x="2745" y="1343"/>
                                    <a:pt x="2749" y="1338"/>
                                  </a:cubicBezTo>
                                  <a:cubicBezTo>
                                    <a:pt x="2753" y="1333"/>
                                    <a:pt x="2762" y="1333"/>
                                    <a:pt x="2764" y="1330"/>
                                  </a:cubicBezTo>
                                  <a:cubicBezTo>
                                    <a:pt x="2767" y="1327"/>
                                    <a:pt x="2770" y="1323"/>
                                    <a:pt x="2771" y="1313"/>
                                  </a:cubicBezTo>
                                  <a:cubicBezTo>
                                    <a:pt x="2772" y="1303"/>
                                    <a:pt x="2776" y="1300"/>
                                    <a:pt x="2784" y="1287"/>
                                  </a:cubicBezTo>
                                  <a:cubicBezTo>
                                    <a:pt x="2792" y="1273"/>
                                    <a:pt x="2797" y="1268"/>
                                    <a:pt x="2799" y="1265"/>
                                  </a:cubicBezTo>
                                  <a:cubicBezTo>
                                    <a:pt x="2802" y="1262"/>
                                    <a:pt x="2809" y="1253"/>
                                    <a:pt x="2809" y="1249"/>
                                  </a:cubicBezTo>
                                  <a:cubicBezTo>
                                    <a:pt x="2810" y="1245"/>
                                    <a:pt x="2810" y="1243"/>
                                    <a:pt x="2807" y="1237"/>
                                  </a:cubicBezTo>
                                  <a:cubicBezTo>
                                    <a:pt x="2805" y="1231"/>
                                    <a:pt x="2807" y="1226"/>
                                    <a:pt x="2807" y="1223"/>
                                  </a:cubicBezTo>
                                  <a:cubicBezTo>
                                    <a:pt x="2807" y="1220"/>
                                    <a:pt x="2807" y="1213"/>
                                    <a:pt x="2804" y="1208"/>
                                  </a:cubicBezTo>
                                  <a:cubicBezTo>
                                    <a:pt x="2802" y="1202"/>
                                    <a:pt x="2799" y="1202"/>
                                    <a:pt x="2792" y="1198"/>
                                  </a:cubicBezTo>
                                  <a:cubicBezTo>
                                    <a:pt x="2785" y="1195"/>
                                    <a:pt x="2785" y="1196"/>
                                    <a:pt x="2777" y="1192"/>
                                  </a:cubicBezTo>
                                  <a:cubicBezTo>
                                    <a:pt x="2769" y="1188"/>
                                    <a:pt x="2769" y="1188"/>
                                    <a:pt x="2762" y="1188"/>
                                  </a:cubicBezTo>
                                  <a:cubicBezTo>
                                    <a:pt x="2755" y="1187"/>
                                    <a:pt x="2750" y="1187"/>
                                    <a:pt x="2743" y="1183"/>
                                  </a:cubicBezTo>
                                  <a:cubicBezTo>
                                    <a:pt x="2736" y="1179"/>
                                    <a:pt x="2736" y="1180"/>
                                    <a:pt x="2732" y="1179"/>
                                  </a:cubicBezTo>
                                  <a:cubicBezTo>
                                    <a:pt x="2727" y="1178"/>
                                    <a:pt x="2716" y="1178"/>
                                    <a:pt x="2709" y="1179"/>
                                  </a:cubicBezTo>
                                  <a:cubicBezTo>
                                    <a:pt x="2702" y="1180"/>
                                    <a:pt x="2699" y="1180"/>
                                    <a:pt x="2694" y="1180"/>
                                  </a:cubicBezTo>
                                  <a:cubicBezTo>
                                    <a:pt x="2688" y="1180"/>
                                    <a:pt x="2669" y="1181"/>
                                    <a:pt x="2660" y="1181"/>
                                  </a:cubicBezTo>
                                  <a:cubicBezTo>
                                    <a:pt x="2652" y="1182"/>
                                    <a:pt x="2639" y="1183"/>
                                    <a:pt x="2630" y="1183"/>
                                  </a:cubicBezTo>
                                  <a:cubicBezTo>
                                    <a:pt x="2622" y="1182"/>
                                    <a:pt x="2617" y="1182"/>
                                    <a:pt x="2613" y="1180"/>
                                  </a:cubicBezTo>
                                  <a:cubicBezTo>
                                    <a:pt x="2608" y="1179"/>
                                    <a:pt x="2609" y="1176"/>
                                    <a:pt x="2608" y="1174"/>
                                  </a:cubicBezTo>
                                  <a:cubicBezTo>
                                    <a:pt x="2606" y="1173"/>
                                    <a:pt x="2600" y="1170"/>
                                    <a:pt x="2594" y="1172"/>
                                  </a:cubicBezTo>
                                  <a:cubicBezTo>
                                    <a:pt x="2589" y="1175"/>
                                    <a:pt x="2588" y="1179"/>
                                    <a:pt x="2584" y="1184"/>
                                  </a:cubicBezTo>
                                  <a:cubicBezTo>
                                    <a:pt x="2579" y="1188"/>
                                    <a:pt x="2572" y="1206"/>
                                    <a:pt x="2566" y="1212"/>
                                  </a:cubicBezTo>
                                  <a:cubicBezTo>
                                    <a:pt x="2561" y="1218"/>
                                    <a:pt x="2559" y="1235"/>
                                    <a:pt x="2556" y="1246"/>
                                  </a:cubicBezTo>
                                  <a:cubicBezTo>
                                    <a:pt x="2552" y="1257"/>
                                    <a:pt x="2546" y="1286"/>
                                    <a:pt x="2544" y="1290"/>
                                  </a:cubicBezTo>
                                  <a:cubicBezTo>
                                    <a:pt x="2542" y="1294"/>
                                    <a:pt x="2534" y="1314"/>
                                    <a:pt x="2529" y="1321"/>
                                  </a:cubicBezTo>
                                  <a:cubicBezTo>
                                    <a:pt x="2524" y="1328"/>
                                    <a:pt x="2493" y="1344"/>
                                    <a:pt x="2485" y="1348"/>
                                  </a:cubicBezTo>
                                  <a:cubicBezTo>
                                    <a:pt x="2477" y="1353"/>
                                    <a:pt x="2457" y="1359"/>
                                    <a:pt x="2451" y="1361"/>
                                  </a:cubicBezTo>
                                  <a:cubicBezTo>
                                    <a:pt x="2446" y="1362"/>
                                    <a:pt x="2441" y="1367"/>
                                    <a:pt x="2435" y="1373"/>
                                  </a:cubicBezTo>
                                  <a:cubicBezTo>
                                    <a:pt x="2429" y="1378"/>
                                    <a:pt x="2425" y="1386"/>
                                    <a:pt x="2425" y="1389"/>
                                  </a:cubicBezTo>
                                  <a:cubicBezTo>
                                    <a:pt x="2424" y="1391"/>
                                    <a:pt x="2426" y="1395"/>
                                    <a:pt x="2429" y="1395"/>
                                  </a:cubicBezTo>
                                  <a:cubicBezTo>
                                    <a:pt x="2433" y="1394"/>
                                    <a:pt x="2433" y="1397"/>
                                    <a:pt x="2431" y="1400"/>
                                  </a:cubicBezTo>
                                  <a:cubicBezTo>
                                    <a:pt x="2429" y="1402"/>
                                    <a:pt x="2426" y="1406"/>
                                    <a:pt x="2424" y="1409"/>
                                  </a:cubicBezTo>
                                  <a:cubicBezTo>
                                    <a:pt x="2422" y="1412"/>
                                    <a:pt x="2423" y="1416"/>
                                    <a:pt x="2425" y="1420"/>
                                  </a:cubicBezTo>
                                  <a:cubicBezTo>
                                    <a:pt x="2427" y="1423"/>
                                    <a:pt x="2430" y="1426"/>
                                    <a:pt x="2435" y="1424"/>
                                  </a:cubicBezTo>
                                  <a:cubicBezTo>
                                    <a:pt x="2441" y="1422"/>
                                    <a:pt x="2446" y="1420"/>
                                    <a:pt x="2448" y="1419"/>
                                  </a:cubicBezTo>
                                  <a:cubicBezTo>
                                    <a:pt x="2450" y="1418"/>
                                    <a:pt x="2455" y="1418"/>
                                    <a:pt x="2458" y="1421"/>
                                  </a:cubicBezTo>
                                  <a:cubicBezTo>
                                    <a:pt x="2461" y="1424"/>
                                    <a:pt x="2464" y="1426"/>
                                    <a:pt x="2465" y="1431"/>
                                  </a:cubicBezTo>
                                  <a:cubicBezTo>
                                    <a:pt x="2465" y="1437"/>
                                    <a:pt x="2463" y="1446"/>
                                    <a:pt x="2462" y="1450"/>
                                  </a:cubicBezTo>
                                  <a:cubicBezTo>
                                    <a:pt x="2462" y="1454"/>
                                    <a:pt x="2462" y="1464"/>
                                    <a:pt x="2460" y="1468"/>
                                  </a:cubicBezTo>
                                  <a:cubicBezTo>
                                    <a:pt x="2458" y="1472"/>
                                    <a:pt x="2455" y="1477"/>
                                    <a:pt x="2454" y="1479"/>
                                  </a:cubicBezTo>
                                  <a:cubicBezTo>
                                    <a:pt x="2453" y="1482"/>
                                    <a:pt x="2451" y="1488"/>
                                    <a:pt x="2456" y="1490"/>
                                  </a:cubicBezTo>
                                  <a:cubicBezTo>
                                    <a:pt x="2460" y="1493"/>
                                    <a:pt x="2464" y="1500"/>
                                    <a:pt x="2463" y="1502"/>
                                  </a:cubicBezTo>
                                  <a:cubicBezTo>
                                    <a:pt x="2463" y="1505"/>
                                    <a:pt x="2458" y="1510"/>
                                    <a:pt x="2455" y="1510"/>
                                  </a:cubicBezTo>
                                  <a:cubicBezTo>
                                    <a:pt x="2452" y="1510"/>
                                    <a:pt x="2448" y="1504"/>
                                    <a:pt x="2445" y="1504"/>
                                  </a:cubicBezTo>
                                  <a:cubicBezTo>
                                    <a:pt x="2442" y="1504"/>
                                    <a:pt x="2438" y="1509"/>
                                    <a:pt x="2438" y="1514"/>
                                  </a:cubicBezTo>
                                  <a:cubicBezTo>
                                    <a:pt x="2438" y="1519"/>
                                    <a:pt x="2437" y="1525"/>
                                    <a:pt x="2436" y="1532"/>
                                  </a:cubicBezTo>
                                  <a:cubicBezTo>
                                    <a:pt x="2435" y="1540"/>
                                    <a:pt x="2434" y="1543"/>
                                    <a:pt x="2434" y="1547"/>
                                  </a:cubicBezTo>
                                  <a:cubicBezTo>
                                    <a:pt x="2434" y="1552"/>
                                    <a:pt x="2437" y="1554"/>
                                    <a:pt x="2441" y="1551"/>
                                  </a:cubicBezTo>
                                  <a:cubicBezTo>
                                    <a:pt x="2445" y="1547"/>
                                    <a:pt x="2447" y="1546"/>
                                    <a:pt x="2453" y="1546"/>
                                  </a:cubicBezTo>
                                  <a:cubicBezTo>
                                    <a:pt x="2459" y="1546"/>
                                    <a:pt x="2473" y="1553"/>
                                    <a:pt x="2481" y="1557"/>
                                  </a:cubicBezTo>
                                  <a:cubicBezTo>
                                    <a:pt x="2489" y="1561"/>
                                    <a:pt x="2498" y="1563"/>
                                    <a:pt x="2503" y="1565"/>
                                  </a:cubicBezTo>
                                  <a:cubicBezTo>
                                    <a:pt x="2509" y="1566"/>
                                    <a:pt x="2510" y="1563"/>
                                    <a:pt x="2512" y="1564"/>
                                  </a:cubicBezTo>
                                  <a:cubicBezTo>
                                    <a:pt x="2513" y="1565"/>
                                    <a:pt x="2513" y="1571"/>
                                    <a:pt x="2512" y="1576"/>
                                  </a:cubicBezTo>
                                  <a:cubicBezTo>
                                    <a:pt x="2512" y="1582"/>
                                    <a:pt x="2513" y="1590"/>
                                    <a:pt x="2515" y="1594"/>
                                  </a:cubicBezTo>
                                  <a:cubicBezTo>
                                    <a:pt x="2517" y="1599"/>
                                    <a:pt x="2520" y="1601"/>
                                    <a:pt x="2530" y="1613"/>
                                  </a:cubicBezTo>
                                  <a:cubicBezTo>
                                    <a:pt x="2540" y="1625"/>
                                    <a:pt x="2542" y="1629"/>
                                    <a:pt x="2551" y="1629"/>
                                  </a:cubicBezTo>
                                  <a:cubicBezTo>
                                    <a:pt x="2561" y="1628"/>
                                    <a:pt x="2573" y="1626"/>
                                    <a:pt x="2575" y="1628"/>
                                  </a:cubicBezTo>
                                  <a:cubicBezTo>
                                    <a:pt x="2578" y="1630"/>
                                    <a:pt x="2575" y="1635"/>
                                    <a:pt x="2572" y="1642"/>
                                  </a:cubicBezTo>
                                  <a:cubicBezTo>
                                    <a:pt x="2570" y="1648"/>
                                    <a:pt x="2567" y="1654"/>
                                    <a:pt x="2562" y="1661"/>
                                  </a:cubicBezTo>
                                  <a:cubicBezTo>
                                    <a:pt x="2558" y="1667"/>
                                    <a:pt x="2553" y="1673"/>
                                    <a:pt x="2548" y="1679"/>
                                  </a:cubicBezTo>
                                  <a:cubicBezTo>
                                    <a:pt x="2544" y="1686"/>
                                    <a:pt x="2547" y="1688"/>
                                    <a:pt x="2544" y="1693"/>
                                  </a:cubicBezTo>
                                  <a:cubicBezTo>
                                    <a:pt x="2540" y="1697"/>
                                    <a:pt x="2532" y="1703"/>
                                    <a:pt x="2526" y="1702"/>
                                  </a:cubicBezTo>
                                  <a:cubicBezTo>
                                    <a:pt x="2521" y="1700"/>
                                    <a:pt x="2518" y="1692"/>
                                    <a:pt x="2510" y="1685"/>
                                  </a:cubicBezTo>
                                  <a:cubicBezTo>
                                    <a:pt x="2502" y="1679"/>
                                    <a:pt x="2481" y="1658"/>
                                    <a:pt x="2469" y="1649"/>
                                  </a:cubicBezTo>
                                  <a:cubicBezTo>
                                    <a:pt x="2457" y="1639"/>
                                    <a:pt x="2456" y="1637"/>
                                    <a:pt x="2443" y="1633"/>
                                  </a:cubicBezTo>
                                  <a:cubicBezTo>
                                    <a:pt x="2431" y="1630"/>
                                    <a:pt x="2415" y="1626"/>
                                    <a:pt x="2405" y="1623"/>
                                  </a:cubicBezTo>
                                  <a:cubicBezTo>
                                    <a:pt x="2394" y="1619"/>
                                    <a:pt x="2383" y="1616"/>
                                    <a:pt x="2373" y="1607"/>
                                  </a:cubicBezTo>
                                  <a:cubicBezTo>
                                    <a:pt x="2362" y="1597"/>
                                    <a:pt x="2364" y="1604"/>
                                    <a:pt x="2353" y="1598"/>
                                  </a:cubicBezTo>
                                  <a:cubicBezTo>
                                    <a:pt x="2341" y="1592"/>
                                    <a:pt x="2327" y="1593"/>
                                    <a:pt x="2315" y="1585"/>
                                  </a:cubicBezTo>
                                  <a:cubicBezTo>
                                    <a:pt x="2303" y="1577"/>
                                    <a:pt x="2300" y="1576"/>
                                    <a:pt x="2292" y="1570"/>
                                  </a:cubicBezTo>
                                  <a:cubicBezTo>
                                    <a:pt x="2283" y="1564"/>
                                    <a:pt x="2256" y="1555"/>
                                    <a:pt x="2241" y="1550"/>
                                  </a:cubicBezTo>
                                  <a:cubicBezTo>
                                    <a:pt x="2226" y="1546"/>
                                    <a:pt x="2217" y="1546"/>
                                    <a:pt x="2202" y="1543"/>
                                  </a:cubicBezTo>
                                  <a:cubicBezTo>
                                    <a:pt x="2188" y="1540"/>
                                    <a:pt x="2170" y="1537"/>
                                    <a:pt x="2158" y="1536"/>
                                  </a:cubicBezTo>
                                  <a:cubicBezTo>
                                    <a:pt x="2146" y="1535"/>
                                    <a:pt x="2126" y="1534"/>
                                    <a:pt x="2106" y="1530"/>
                                  </a:cubicBezTo>
                                  <a:cubicBezTo>
                                    <a:pt x="2085" y="1527"/>
                                    <a:pt x="2089" y="1529"/>
                                    <a:pt x="2080" y="1529"/>
                                  </a:cubicBezTo>
                                  <a:cubicBezTo>
                                    <a:pt x="2071" y="1529"/>
                                    <a:pt x="2068" y="1534"/>
                                    <a:pt x="2061" y="1537"/>
                                  </a:cubicBezTo>
                                  <a:cubicBezTo>
                                    <a:pt x="2054" y="1540"/>
                                    <a:pt x="2048" y="1546"/>
                                    <a:pt x="2042" y="1546"/>
                                  </a:cubicBezTo>
                                  <a:cubicBezTo>
                                    <a:pt x="2036" y="1546"/>
                                    <a:pt x="2028" y="1548"/>
                                    <a:pt x="2026" y="1552"/>
                                  </a:cubicBezTo>
                                  <a:cubicBezTo>
                                    <a:pt x="2024" y="1557"/>
                                    <a:pt x="2027" y="1559"/>
                                    <a:pt x="2033" y="1567"/>
                                  </a:cubicBezTo>
                                  <a:cubicBezTo>
                                    <a:pt x="2038" y="1575"/>
                                    <a:pt x="2044" y="1580"/>
                                    <a:pt x="2048" y="1590"/>
                                  </a:cubicBezTo>
                                  <a:cubicBezTo>
                                    <a:pt x="2051" y="1599"/>
                                    <a:pt x="2048" y="1602"/>
                                    <a:pt x="2048" y="1606"/>
                                  </a:cubicBezTo>
                                  <a:cubicBezTo>
                                    <a:pt x="2048" y="1610"/>
                                    <a:pt x="2054" y="1611"/>
                                    <a:pt x="2059" y="1608"/>
                                  </a:cubicBezTo>
                                  <a:cubicBezTo>
                                    <a:pt x="2064" y="1605"/>
                                    <a:pt x="2063" y="1602"/>
                                    <a:pt x="2066" y="1604"/>
                                  </a:cubicBezTo>
                                  <a:cubicBezTo>
                                    <a:pt x="2069" y="1607"/>
                                    <a:pt x="2072" y="1620"/>
                                    <a:pt x="2068" y="1629"/>
                                  </a:cubicBezTo>
                                  <a:cubicBezTo>
                                    <a:pt x="2063" y="1638"/>
                                    <a:pt x="2058" y="1633"/>
                                    <a:pt x="2046" y="1638"/>
                                  </a:cubicBezTo>
                                  <a:cubicBezTo>
                                    <a:pt x="2035" y="1643"/>
                                    <a:pt x="2035" y="1645"/>
                                    <a:pt x="2026" y="1647"/>
                                  </a:cubicBezTo>
                                  <a:cubicBezTo>
                                    <a:pt x="2016" y="1649"/>
                                    <a:pt x="2012" y="1652"/>
                                    <a:pt x="2007" y="1662"/>
                                  </a:cubicBezTo>
                                  <a:cubicBezTo>
                                    <a:pt x="2002" y="1672"/>
                                    <a:pt x="2008" y="1667"/>
                                    <a:pt x="2010" y="1675"/>
                                  </a:cubicBezTo>
                                  <a:cubicBezTo>
                                    <a:pt x="2012" y="1682"/>
                                    <a:pt x="2009" y="1685"/>
                                    <a:pt x="1998" y="1690"/>
                                  </a:cubicBezTo>
                                  <a:cubicBezTo>
                                    <a:pt x="1987" y="1694"/>
                                    <a:pt x="1987" y="1689"/>
                                    <a:pt x="1974" y="1686"/>
                                  </a:cubicBezTo>
                                  <a:cubicBezTo>
                                    <a:pt x="1961" y="1684"/>
                                    <a:pt x="1957" y="1684"/>
                                    <a:pt x="1954" y="1681"/>
                                  </a:cubicBezTo>
                                  <a:cubicBezTo>
                                    <a:pt x="1951" y="1679"/>
                                    <a:pt x="1954" y="1670"/>
                                    <a:pt x="1954" y="1664"/>
                                  </a:cubicBezTo>
                                  <a:cubicBezTo>
                                    <a:pt x="1955" y="1658"/>
                                    <a:pt x="1963" y="1657"/>
                                    <a:pt x="1968" y="1655"/>
                                  </a:cubicBezTo>
                                  <a:cubicBezTo>
                                    <a:pt x="1974" y="1654"/>
                                    <a:pt x="1975" y="1647"/>
                                    <a:pt x="1973" y="1644"/>
                                  </a:cubicBezTo>
                                  <a:cubicBezTo>
                                    <a:pt x="1971" y="1641"/>
                                    <a:pt x="1967" y="1640"/>
                                    <a:pt x="1961" y="1638"/>
                                  </a:cubicBezTo>
                                  <a:cubicBezTo>
                                    <a:pt x="1955" y="1635"/>
                                    <a:pt x="1953" y="1632"/>
                                    <a:pt x="1953" y="1629"/>
                                  </a:cubicBezTo>
                                  <a:cubicBezTo>
                                    <a:pt x="1953" y="1626"/>
                                    <a:pt x="1958" y="1622"/>
                                    <a:pt x="1954" y="1621"/>
                                  </a:cubicBezTo>
                                  <a:cubicBezTo>
                                    <a:pt x="1951" y="1620"/>
                                    <a:pt x="1945" y="1622"/>
                                    <a:pt x="1939" y="1624"/>
                                  </a:cubicBezTo>
                                  <a:cubicBezTo>
                                    <a:pt x="1932" y="1626"/>
                                    <a:pt x="1927" y="1629"/>
                                    <a:pt x="1923" y="1635"/>
                                  </a:cubicBezTo>
                                  <a:cubicBezTo>
                                    <a:pt x="1919" y="1640"/>
                                    <a:pt x="1920" y="1643"/>
                                    <a:pt x="1916" y="1647"/>
                                  </a:cubicBezTo>
                                  <a:cubicBezTo>
                                    <a:pt x="1912" y="1651"/>
                                    <a:pt x="1907" y="1644"/>
                                    <a:pt x="1904" y="1641"/>
                                  </a:cubicBezTo>
                                  <a:cubicBezTo>
                                    <a:pt x="1901" y="1638"/>
                                    <a:pt x="1902" y="1636"/>
                                    <a:pt x="1897" y="1634"/>
                                  </a:cubicBezTo>
                                  <a:cubicBezTo>
                                    <a:pt x="1891" y="1632"/>
                                    <a:pt x="1893" y="1636"/>
                                    <a:pt x="1886" y="1638"/>
                                  </a:cubicBezTo>
                                  <a:cubicBezTo>
                                    <a:pt x="1879" y="1641"/>
                                    <a:pt x="1873" y="1644"/>
                                    <a:pt x="1865" y="1652"/>
                                  </a:cubicBezTo>
                                  <a:cubicBezTo>
                                    <a:pt x="1857" y="1659"/>
                                    <a:pt x="1856" y="1663"/>
                                    <a:pt x="1845" y="1666"/>
                                  </a:cubicBezTo>
                                  <a:cubicBezTo>
                                    <a:pt x="1833" y="1668"/>
                                    <a:pt x="1825" y="1664"/>
                                    <a:pt x="1812" y="1662"/>
                                  </a:cubicBezTo>
                                  <a:cubicBezTo>
                                    <a:pt x="1800" y="1659"/>
                                    <a:pt x="1784" y="1659"/>
                                    <a:pt x="1773" y="1658"/>
                                  </a:cubicBezTo>
                                  <a:cubicBezTo>
                                    <a:pt x="1762" y="1657"/>
                                    <a:pt x="1756" y="1658"/>
                                    <a:pt x="1748" y="1664"/>
                                  </a:cubicBezTo>
                                  <a:cubicBezTo>
                                    <a:pt x="1741" y="1670"/>
                                    <a:pt x="1733" y="1675"/>
                                    <a:pt x="1723" y="1681"/>
                                  </a:cubicBezTo>
                                  <a:cubicBezTo>
                                    <a:pt x="1714" y="1686"/>
                                    <a:pt x="1710" y="1688"/>
                                    <a:pt x="1703" y="1695"/>
                                  </a:cubicBezTo>
                                  <a:cubicBezTo>
                                    <a:pt x="1697" y="1703"/>
                                    <a:pt x="1700" y="1704"/>
                                    <a:pt x="1693" y="1706"/>
                                  </a:cubicBezTo>
                                  <a:cubicBezTo>
                                    <a:pt x="1685" y="1709"/>
                                    <a:pt x="1685" y="1705"/>
                                    <a:pt x="1682" y="1701"/>
                                  </a:cubicBezTo>
                                  <a:cubicBezTo>
                                    <a:pt x="1678" y="1697"/>
                                    <a:pt x="1676" y="1697"/>
                                    <a:pt x="1670" y="1698"/>
                                  </a:cubicBezTo>
                                  <a:cubicBezTo>
                                    <a:pt x="1664" y="1699"/>
                                    <a:pt x="1659" y="1703"/>
                                    <a:pt x="1654" y="1703"/>
                                  </a:cubicBezTo>
                                  <a:cubicBezTo>
                                    <a:pt x="1650" y="1702"/>
                                    <a:pt x="1649" y="1698"/>
                                    <a:pt x="1645" y="1700"/>
                                  </a:cubicBezTo>
                                  <a:cubicBezTo>
                                    <a:pt x="1641" y="1702"/>
                                    <a:pt x="1636" y="1704"/>
                                    <a:pt x="1628" y="1702"/>
                                  </a:cubicBezTo>
                                  <a:cubicBezTo>
                                    <a:pt x="1620" y="1700"/>
                                    <a:pt x="1613" y="1696"/>
                                    <a:pt x="1613" y="1692"/>
                                  </a:cubicBezTo>
                                  <a:cubicBezTo>
                                    <a:pt x="1613" y="1687"/>
                                    <a:pt x="1622" y="1688"/>
                                    <a:pt x="1626" y="1687"/>
                                  </a:cubicBezTo>
                                  <a:cubicBezTo>
                                    <a:pt x="1631" y="1687"/>
                                    <a:pt x="1635" y="1682"/>
                                    <a:pt x="1635" y="1678"/>
                                  </a:cubicBezTo>
                                  <a:cubicBezTo>
                                    <a:pt x="1635" y="1674"/>
                                    <a:pt x="1629" y="1667"/>
                                    <a:pt x="1628" y="1663"/>
                                  </a:cubicBezTo>
                                  <a:cubicBezTo>
                                    <a:pt x="1626" y="1658"/>
                                    <a:pt x="1628" y="1654"/>
                                    <a:pt x="1631" y="1650"/>
                                  </a:cubicBezTo>
                                  <a:cubicBezTo>
                                    <a:pt x="1634" y="1646"/>
                                    <a:pt x="1639" y="1644"/>
                                    <a:pt x="1640" y="1641"/>
                                  </a:cubicBezTo>
                                  <a:cubicBezTo>
                                    <a:pt x="1640" y="1638"/>
                                    <a:pt x="1639" y="1637"/>
                                    <a:pt x="1639" y="1634"/>
                                  </a:cubicBezTo>
                                  <a:cubicBezTo>
                                    <a:pt x="1639" y="1631"/>
                                    <a:pt x="1647" y="1629"/>
                                    <a:pt x="1652" y="1628"/>
                                  </a:cubicBezTo>
                                  <a:cubicBezTo>
                                    <a:pt x="1656" y="1627"/>
                                    <a:pt x="1656" y="1624"/>
                                    <a:pt x="1655" y="1623"/>
                                  </a:cubicBezTo>
                                  <a:cubicBezTo>
                                    <a:pt x="1653" y="1623"/>
                                    <a:pt x="1638" y="1627"/>
                                    <a:pt x="1624" y="1628"/>
                                  </a:cubicBezTo>
                                  <a:cubicBezTo>
                                    <a:pt x="1610" y="1630"/>
                                    <a:pt x="1606" y="1631"/>
                                    <a:pt x="1596" y="1634"/>
                                  </a:cubicBezTo>
                                  <a:cubicBezTo>
                                    <a:pt x="1587" y="1637"/>
                                    <a:pt x="1584" y="1640"/>
                                    <a:pt x="1575" y="1645"/>
                                  </a:cubicBezTo>
                                  <a:cubicBezTo>
                                    <a:pt x="1565" y="1650"/>
                                    <a:pt x="1560" y="1653"/>
                                    <a:pt x="1552" y="1654"/>
                                  </a:cubicBezTo>
                                  <a:cubicBezTo>
                                    <a:pt x="1544" y="1655"/>
                                    <a:pt x="1541" y="1658"/>
                                    <a:pt x="1541" y="1660"/>
                                  </a:cubicBezTo>
                                  <a:cubicBezTo>
                                    <a:pt x="1540" y="1662"/>
                                    <a:pt x="1541" y="1664"/>
                                    <a:pt x="1549" y="1668"/>
                                  </a:cubicBezTo>
                                  <a:cubicBezTo>
                                    <a:pt x="1557" y="1673"/>
                                    <a:pt x="1557" y="1671"/>
                                    <a:pt x="1559" y="1675"/>
                                  </a:cubicBezTo>
                                  <a:cubicBezTo>
                                    <a:pt x="1561" y="1678"/>
                                    <a:pt x="1560" y="1678"/>
                                    <a:pt x="1556" y="1681"/>
                                  </a:cubicBezTo>
                                  <a:cubicBezTo>
                                    <a:pt x="1552" y="1684"/>
                                    <a:pt x="1541" y="1691"/>
                                    <a:pt x="1539" y="1691"/>
                                  </a:cubicBezTo>
                                  <a:cubicBezTo>
                                    <a:pt x="1537" y="1691"/>
                                    <a:pt x="1538" y="1687"/>
                                    <a:pt x="1538" y="1685"/>
                                  </a:cubicBezTo>
                                  <a:cubicBezTo>
                                    <a:pt x="1538" y="1683"/>
                                    <a:pt x="1538" y="1678"/>
                                    <a:pt x="1537" y="1676"/>
                                  </a:cubicBezTo>
                                  <a:cubicBezTo>
                                    <a:pt x="1536" y="1675"/>
                                    <a:pt x="1530" y="1676"/>
                                    <a:pt x="1526" y="1675"/>
                                  </a:cubicBezTo>
                                  <a:cubicBezTo>
                                    <a:pt x="1523" y="1674"/>
                                    <a:pt x="1522" y="1670"/>
                                    <a:pt x="1519" y="1669"/>
                                  </a:cubicBezTo>
                                  <a:cubicBezTo>
                                    <a:pt x="1516" y="1668"/>
                                    <a:pt x="1509" y="1669"/>
                                    <a:pt x="1499" y="1672"/>
                                  </a:cubicBezTo>
                                  <a:cubicBezTo>
                                    <a:pt x="1489" y="1676"/>
                                    <a:pt x="1491" y="1677"/>
                                    <a:pt x="1487" y="1681"/>
                                  </a:cubicBezTo>
                                  <a:cubicBezTo>
                                    <a:pt x="1482" y="1685"/>
                                    <a:pt x="1478" y="1685"/>
                                    <a:pt x="1473" y="1686"/>
                                  </a:cubicBezTo>
                                  <a:cubicBezTo>
                                    <a:pt x="1467" y="1687"/>
                                    <a:pt x="1458" y="1688"/>
                                    <a:pt x="1447" y="1690"/>
                                  </a:cubicBezTo>
                                  <a:cubicBezTo>
                                    <a:pt x="1435" y="1692"/>
                                    <a:pt x="1435" y="1694"/>
                                    <a:pt x="1426" y="1699"/>
                                  </a:cubicBezTo>
                                  <a:cubicBezTo>
                                    <a:pt x="1418" y="1705"/>
                                    <a:pt x="1401" y="1715"/>
                                    <a:pt x="1390" y="1721"/>
                                  </a:cubicBezTo>
                                  <a:cubicBezTo>
                                    <a:pt x="1379" y="1728"/>
                                    <a:pt x="1365" y="1732"/>
                                    <a:pt x="1353" y="1737"/>
                                  </a:cubicBezTo>
                                  <a:cubicBezTo>
                                    <a:pt x="1340" y="1741"/>
                                    <a:pt x="1334" y="1741"/>
                                    <a:pt x="1327" y="1743"/>
                                  </a:cubicBezTo>
                                  <a:cubicBezTo>
                                    <a:pt x="1320" y="1745"/>
                                    <a:pt x="1319" y="1750"/>
                                    <a:pt x="1320" y="1754"/>
                                  </a:cubicBezTo>
                                  <a:cubicBezTo>
                                    <a:pt x="1320" y="1758"/>
                                    <a:pt x="1330" y="1761"/>
                                    <a:pt x="1332" y="1763"/>
                                  </a:cubicBezTo>
                                  <a:cubicBezTo>
                                    <a:pt x="1334" y="1765"/>
                                    <a:pt x="1334" y="1767"/>
                                    <a:pt x="1325" y="1767"/>
                                  </a:cubicBezTo>
                                  <a:cubicBezTo>
                                    <a:pt x="1317" y="1767"/>
                                    <a:pt x="1308" y="1764"/>
                                    <a:pt x="1299" y="1763"/>
                                  </a:cubicBezTo>
                                  <a:cubicBezTo>
                                    <a:pt x="1289" y="1762"/>
                                    <a:pt x="1273" y="1765"/>
                                    <a:pt x="1271" y="1766"/>
                                  </a:cubicBezTo>
                                  <a:cubicBezTo>
                                    <a:pt x="1268" y="1766"/>
                                    <a:pt x="1261" y="1771"/>
                                    <a:pt x="1264" y="1777"/>
                                  </a:cubicBezTo>
                                  <a:cubicBezTo>
                                    <a:pt x="1266" y="1782"/>
                                    <a:pt x="1267" y="1785"/>
                                    <a:pt x="1264" y="1789"/>
                                  </a:cubicBezTo>
                                  <a:cubicBezTo>
                                    <a:pt x="1261" y="1792"/>
                                    <a:pt x="1259" y="1795"/>
                                    <a:pt x="1254" y="1803"/>
                                  </a:cubicBezTo>
                                  <a:cubicBezTo>
                                    <a:pt x="1249" y="1812"/>
                                    <a:pt x="1251" y="1812"/>
                                    <a:pt x="1253" y="1821"/>
                                  </a:cubicBezTo>
                                  <a:cubicBezTo>
                                    <a:pt x="1254" y="1829"/>
                                    <a:pt x="1254" y="1827"/>
                                    <a:pt x="1253" y="1833"/>
                                  </a:cubicBezTo>
                                  <a:cubicBezTo>
                                    <a:pt x="1252" y="1839"/>
                                    <a:pt x="1250" y="1841"/>
                                    <a:pt x="1243" y="1845"/>
                                  </a:cubicBezTo>
                                  <a:cubicBezTo>
                                    <a:pt x="1236" y="1848"/>
                                    <a:pt x="1230" y="1845"/>
                                    <a:pt x="1224" y="1844"/>
                                  </a:cubicBezTo>
                                  <a:cubicBezTo>
                                    <a:pt x="1217" y="1844"/>
                                    <a:pt x="1207" y="1845"/>
                                    <a:pt x="1202" y="1847"/>
                                  </a:cubicBezTo>
                                  <a:cubicBezTo>
                                    <a:pt x="1197" y="1849"/>
                                    <a:pt x="1190" y="1853"/>
                                    <a:pt x="1186" y="1855"/>
                                  </a:cubicBezTo>
                                  <a:cubicBezTo>
                                    <a:pt x="1183" y="1858"/>
                                    <a:pt x="1177" y="1860"/>
                                    <a:pt x="1176" y="1858"/>
                                  </a:cubicBezTo>
                                  <a:cubicBezTo>
                                    <a:pt x="1174" y="1856"/>
                                    <a:pt x="1178" y="1851"/>
                                    <a:pt x="1173" y="1850"/>
                                  </a:cubicBezTo>
                                  <a:cubicBezTo>
                                    <a:pt x="1169" y="1850"/>
                                    <a:pt x="1162" y="1850"/>
                                    <a:pt x="1152" y="1850"/>
                                  </a:cubicBezTo>
                                  <a:cubicBezTo>
                                    <a:pt x="1143" y="1850"/>
                                    <a:pt x="1145" y="1850"/>
                                    <a:pt x="1140" y="1846"/>
                                  </a:cubicBezTo>
                                  <a:cubicBezTo>
                                    <a:pt x="1135" y="1843"/>
                                    <a:pt x="1133" y="1836"/>
                                    <a:pt x="1128" y="1829"/>
                                  </a:cubicBezTo>
                                  <a:cubicBezTo>
                                    <a:pt x="1124" y="1823"/>
                                    <a:pt x="1115" y="1816"/>
                                    <a:pt x="1108" y="1810"/>
                                  </a:cubicBezTo>
                                  <a:cubicBezTo>
                                    <a:pt x="1100" y="1804"/>
                                    <a:pt x="1093" y="1801"/>
                                    <a:pt x="1089" y="1799"/>
                                  </a:cubicBezTo>
                                  <a:cubicBezTo>
                                    <a:pt x="1085" y="1796"/>
                                    <a:pt x="1083" y="1792"/>
                                    <a:pt x="1083" y="1788"/>
                                  </a:cubicBezTo>
                                  <a:cubicBezTo>
                                    <a:pt x="1084" y="1784"/>
                                    <a:pt x="1084" y="1781"/>
                                    <a:pt x="1088" y="1777"/>
                                  </a:cubicBezTo>
                                  <a:cubicBezTo>
                                    <a:pt x="1092" y="1774"/>
                                    <a:pt x="1095" y="1775"/>
                                    <a:pt x="1099" y="1773"/>
                                  </a:cubicBezTo>
                                  <a:cubicBezTo>
                                    <a:pt x="1104" y="1771"/>
                                    <a:pt x="1105" y="1770"/>
                                    <a:pt x="1107" y="1764"/>
                                  </a:cubicBezTo>
                                  <a:cubicBezTo>
                                    <a:pt x="1109" y="1759"/>
                                    <a:pt x="1110" y="1757"/>
                                    <a:pt x="1117" y="1754"/>
                                  </a:cubicBezTo>
                                  <a:cubicBezTo>
                                    <a:pt x="1123" y="1751"/>
                                    <a:pt x="1133" y="1753"/>
                                    <a:pt x="1138" y="1752"/>
                                  </a:cubicBezTo>
                                  <a:cubicBezTo>
                                    <a:pt x="1142" y="1752"/>
                                    <a:pt x="1148" y="1751"/>
                                    <a:pt x="1155" y="1750"/>
                                  </a:cubicBezTo>
                                  <a:cubicBezTo>
                                    <a:pt x="1162" y="1749"/>
                                    <a:pt x="1170" y="1749"/>
                                    <a:pt x="1176" y="1749"/>
                                  </a:cubicBezTo>
                                  <a:cubicBezTo>
                                    <a:pt x="1183" y="1750"/>
                                    <a:pt x="1187" y="1749"/>
                                    <a:pt x="1189" y="1747"/>
                                  </a:cubicBezTo>
                                  <a:cubicBezTo>
                                    <a:pt x="1190" y="1745"/>
                                    <a:pt x="1189" y="1735"/>
                                    <a:pt x="1186" y="1728"/>
                                  </a:cubicBezTo>
                                  <a:cubicBezTo>
                                    <a:pt x="1183" y="1721"/>
                                    <a:pt x="1182" y="1717"/>
                                    <a:pt x="1177" y="1712"/>
                                  </a:cubicBezTo>
                                  <a:cubicBezTo>
                                    <a:pt x="1172" y="1706"/>
                                    <a:pt x="1169" y="1706"/>
                                    <a:pt x="1159" y="1700"/>
                                  </a:cubicBezTo>
                                  <a:cubicBezTo>
                                    <a:pt x="1149" y="1694"/>
                                    <a:pt x="1148" y="1692"/>
                                    <a:pt x="1147" y="1687"/>
                                  </a:cubicBezTo>
                                  <a:cubicBezTo>
                                    <a:pt x="1145" y="1682"/>
                                    <a:pt x="1148" y="1680"/>
                                    <a:pt x="1146" y="1678"/>
                                  </a:cubicBezTo>
                                  <a:cubicBezTo>
                                    <a:pt x="1145" y="1676"/>
                                    <a:pt x="1136" y="1676"/>
                                    <a:pt x="1125" y="1675"/>
                                  </a:cubicBezTo>
                                  <a:cubicBezTo>
                                    <a:pt x="1115" y="1674"/>
                                    <a:pt x="1109" y="1672"/>
                                    <a:pt x="1102" y="1672"/>
                                  </a:cubicBezTo>
                                  <a:cubicBezTo>
                                    <a:pt x="1096" y="1672"/>
                                    <a:pt x="1074" y="1669"/>
                                    <a:pt x="1063" y="1667"/>
                                  </a:cubicBezTo>
                                  <a:cubicBezTo>
                                    <a:pt x="1053" y="1666"/>
                                    <a:pt x="1042" y="1665"/>
                                    <a:pt x="1034" y="1663"/>
                                  </a:cubicBezTo>
                                  <a:cubicBezTo>
                                    <a:pt x="1026" y="1662"/>
                                    <a:pt x="1007" y="1658"/>
                                    <a:pt x="1003" y="1658"/>
                                  </a:cubicBezTo>
                                  <a:cubicBezTo>
                                    <a:pt x="998" y="1658"/>
                                    <a:pt x="987" y="1657"/>
                                    <a:pt x="986" y="1661"/>
                                  </a:cubicBezTo>
                                  <a:cubicBezTo>
                                    <a:pt x="986" y="1664"/>
                                    <a:pt x="994" y="1669"/>
                                    <a:pt x="998" y="1672"/>
                                  </a:cubicBezTo>
                                  <a:cubicBezTo>
                                    <a:pt x="1002" y="1676"/>
                                    <a:pt x="1020" y="1686"/>
                                    <a:pt x="1028" y="1690"/>
                                  </a:cubicBezTo>
                                  <a:cubicBezTo>
                                    <a:pt x="1036" y="1695"/>
                                    <a:pt x="1038" y="1699"/>
                                    <a:pt x="1040" y="1703"/>
                                  </a:cubicBezTo>
                                  <a:cubicBezTo>
                                    <a:pt x="1042" y="1707"/>
                                    <a:pt x="1044" y="1717"/>
                                    <a:pt x="1043" y="1720"/>
                                  </a:cubicBezTo>
                                  <a:cubicBezTo>
                                    <a:pt x="1042" y="1723"/>
                                    <a:pt x="1039" y="1724"/>
                                    <a:pt x="1036" y="1727"/>
                                  </a:cubicBezTo>
                                  <a:cubicBezTo>
                                    <a:pt x="1032" y="1730"/>
                                    <a:pt x="1032" y="1736"/>
                                    <a:pt x="1030" y="1740"/>
                                  </a:cubicBezTo>
                                  <a:cubicBezTo>
                                    <a:pt x="1029" y="1744"/>
                                    <a:pt x="1028" y="1749"/>
                                    <a:pt x="1026" y="1758"/>
                                  </a:cubicBezTo>
                                  <a:cubicBezTo>
                                    <a:pt x="1024" y="1767"/>
                                    <a:pt x="1018" y="1776"/>
                                    <a:pt x="1015" y="1782"/>
                                  </a:cubicBezTo>
                                  <a:cubicBezTo>
                                    <a:pt x="1012" y="1788"/>
                                    <a:pt x="1009" y="1795"/>
                                    <a:pt x="1010" y="1800"/>
                                  </a:cubicBezTo>
                                  <a:cubicBezTo>
                                    <a:pt x="1011" y="1805"/>
                                    <a:pt x="1018" y="1809"/>
                                    <a:pt x="1023" y="1813"/>
                                  </a:cubicBezTo>
                                  <a:cubicBezTo>
                                    <a:pt x="1029" y="1816"/>
                                    <a:pt x="1037" y="1817"/>
                                    <a:pt x="1044" y="1822"/>
                                  </a:cubicBezTo>
                                  <a:cubicBezTo>
                                    <a:pt x="1050" y="1827"/>
                                    <a:pt x="1054" y="1837"/>
                                    <a:pt x="1055" y="1844"/>
                                  </a:cubicBezTo>
                                  <a:cubicBezTo>
                                    <a:pt x="1056" y="1851"/>
                                    <a:pt x="1057" y="1864"/>
                                    <a:pt x="1053" y="1870"/>
                                  </a:cubicBezTo>
                                  <a:cubicBezTo>
                                    <a:pt x="1050" y="1876"/>
                                    <a:pt x="1044" y="1882"/>
                                    <a:pt x="1040" y="1887"/>
                                  </a:cubicBezTo>
                                  <a:cubicBezTo>
                                    <a:pt x="1036" y="1891"/>
                                    <a:pt x="1031" y="1899"/>
                                    <a:pt x="1029" y="1902"/>
                                  </a:cubicBezTo>
                                  <a:cubicBezTo>
                                    <a:pt x="1028" y="1905"/>
                                    <a:pt x="1027" y="1912"/>
                                    <a:pt x="1028" y="1917"/>
                                  </a:cubicBezTo>
                                  <a:cubicBezTo>
                                    <a:pt x="1028" y="1922"/>
                                    <a:pt x="1030" y="1925"/>
                                    <a:pt x="1031" y="1930"/>
                                  </a:cubicBezTo>
                                  <a:cubicBezTo>
                                    <a:pt x="1033" y="1935"/>
                                    <a:pt x="1034" y="1939"/>
                                    <a:pt x="1034" y="1942"/>
                                  </a:cubicBezTo>
                                  <a:cubicBezTo>
                                    <a:pt x="1035" y="1946"/>
                                    <a:pt x="1033" y="1947"/>
                                    <a:pt x="1029" y="1942"/>
                                  </a:cubicBezTo>
                                  <a:cubicBezTo>
                                    <a:pt x="1026" y="1937"/>
                                    <a:pt x="1026" y="1934"/>
                                    <a:pt x="1024" y="1929"/>
                                  </a:cubicBezTo>
                                  <a:cubicBezTo>
                                    <a:pt x="1021" y="1924"/>
                                    <a:pt x="1017" y="1921"/>
                                    <a:pt x="1015" y="1919"/>
                                  </a:cubicBezTo>
                                  <a:cubicBezTo>
                                    <a:pt x="1013" y="1917"/>
                                    <a:pt x="1009" y="1918"/>
                                    <a:pt x="1005" y="1921"/>
                                  </a:cubicBezTo>
                                  <a:cubicBezTo>
                                    <a:pt x="1000" y="1923"/>
                                    <a:pt x="997" y="1926"/>
                                    <a:pt x="995" y="1929"/>
                                  </a:cubicBezTo>
                                  <a:cubicBezTo>
                                    <a:pt x="993" y="1932"/>
                                    <a:pt x="992" y="1939"/>
                                    <a:pt x="989" y="1938"/>
                                  </a:cubicBezTo>
                                  <a:cubicBezTo>
                                    <a:pt x="986" y="1938"/>
                                    <a:pt x="982" y="1930"/>
                                    <a:pt x="982" y="1927"/>
                                  </a:cubicBezTo>
                                  <a:cubicBezTo>
                                    <a:pt x="983" y="1924"/>
                                    <a:pt x="986" y="1923"/>
                                    <a:pt x="991" y="1920"/>
                                  </a:cubicBezTo>
                                  <a:cubicBezTo>
                                    <a:pt x="995" y="1918"/>
                                    <a:pt x="1000" y="1915"/>
                                    <a:pt x="1001" y="1912"/>
                                  </a:cubicBezTo>
                                  <a:cubicBezTo>
                                    <a:pt x="1001" y="1909"/>
                                    <a:pt x="1000" y="1909"/>
                                    <a:pt x="997" y="1905"/>
                                  </a:cubicBezTo>
                                  <a:cubicBezTo>
                                    <a:pt x="993" y="1902"/>
                                    <a:pt x="989" y="1900"/>
                                    <a:pt x="987" y="1897"/>
                                  </a:cubicBezTo>
                                  <a:cubicBezTo>
                                    <a:pt x="985" y="1894"/>
                                    <a:pt x="977" y="1891"/>
                                    <a:pt x="971" y="1891"/>
                                  </a:cubicBezTo>
                                  <a:cubicBezTo>
                                    <a:pt x="966" y="1890"/>
                                    <a:pt x="961" y="1891"/>
                                    <a:pt x="952" y="1891"/>
                                  </a:cubicBezTo>
                                  <a:cubicBezTo>
                                    <a:pt x="944" y="1891"/>
                                    <a:pt x="934" y="1890"/>
                                    <a:pt x="929" y="1887"/>
                                  </a:cubicBezTo>
                                  <a:cubicBezTo>
                                    <a:pt x="924" y="1884"/>
                                    <a:pt x="915" y="1883"/>
                                    <a:pt x="913" y="1884"/>
                                  </a:cubicBezTo>
                                  <a:cubicBezTo>
                                    <a:pt x="910" y="1886"/>
                                    <a:pt x="896" y="1899"/>
                                    <a:pt x="892" y="1903"/>
                                  </a:cubicBezTo>
                                  <a:cubicBezTo>
                                    <a:pt x="888" y="1906"/>
                                    <a:pt x="880" y="1916"/>
                                    <a:pt x="876" y="1918"/>
                                  </a:cubicBezTo>
                                  <a:cubicBezTo>
                                    <a:pt x="871" y="1920"/>
                                    <a:pt x="863" y="1924"/>
                                    <a:pt x="854" y="1926"/>
                                  </a:cubicBezTo>
                                  <a:cubicBezTo>
                                    <a:pt x="845" y="1929"/>
                                    <a:pt x="836" y="1933"/>
                                    <a:pt x="827" y="1937"/>
                                  </a:cubicBezTo>
                                  <a:cubicBezTo>
                                    <a:pt x="818" y="1942"/>
                                    <a:pt x="800" y="1953"/>
                                    <a:pt x="795" y="1956"/>
                                  </a:cubicBezTo>
                                  <a:cubicBezTo>
                                    <a:pt x="790" y="1958"/>
                                    <a:pt x="779" y="1968"/>
                                    <a:pt x="771" y="1973"/>
                                  </a:cubicBezTo>
                                  <a:cubicBezTo>
                                    <a:pt x="763" y="1977"/>
                                    <a:pt x="760" y="1984"/>
                                    <a:pt x="759" y="1988"/>
                                  </a:cubicBezTo>
                                  <a:cubicBezTo>
                                    <a:pt x="757" y="1992"/>
                                    <a:pt x="760" y="1998"/>
                                    <a:pt x="767" y="2006"/>
                                  </a:cubicBezTo>
                                  <a:cubicBezTo>
                                    <a:pt x="774" y="2013"/>
                                    <a:pt x="788" y="2032"/>
                                    <a:pt x="794" y="2038"/>
                                  </a:cubicBezTo>
                                  <a:cubicBezTo>
                                    <a:pt x="799" y="2045"/>
                                    <a:pt x="803" y="2058"/>
                                    <a:pt x="805" y="2062"/>
                                  </a:cubicBezTo>
                                  <a:cubicBezTo>
                                    <a:pt x="807" y="2067"/>
                                    <a:pt x="809" y="2081"/>
                                    <a:pt x="807" y="2082"/>
                                  </a:cubicBezTo>
                                  <a:cubicBezTo>
                                    <a:pt x="804" y="2083"/>
                                    <a:pt x="786" y="2081"/>
                                    <a:pt x="775" y="2081"/>
                                  </a:cubicBezTo>
                                  <a:cubicBezTo>
                                    <a:pt x="764" y="2080"/>
                                    <a:pt x="758" y="2079"/>
                                    <a:pt x="749" y="2077"/>
                                  </a:cubicBezTo>
                                  <a:cubicBezTo>
                                    <a:pt x="740" y="2075"/>
                                    <a:pt x="725" y="2074"/>
                                    <a:pt x="712" y="2071"/>
                                  </a:cubicBezTo>
                                  <a:cubicBezTo>
                                    <a:pt x="699" y="2068"/>
                                    <a:pt x="686" y="2066"/>
                                    <a:pt x="681" y="2066"/>
                                  </a:cubicBezTo>
                                  <a:cubicBezTo>
                                    <a:pt x="676" y="2065"/>
                                    <a:pt x="671" y="2066"/>
                                    <a:pt x="666" y="2068"/>
                                  </a:cubicBezTo>
                                  <a:cubicBezTo>
                                    <a:pt x="662" y="2070"/>
                                    <a:pt x="661" y="2077"/>
                                    <a:pt x="657" y="2076"/>
                                  </a:cubicBezTo>
                                  <a:cubicBezTo>
                                    <a:pt x="653" y="2076"/>
                                    <a:pt x="655" y="2073"/>
                                    <a:pt x="655" y="2068"/>
                                  </a:cubicBezTo>
                                  <a:cubicBezTo>
                                    <a:pt x="655" y="2064"/>
                                    <a:pt x="656" y="2061"/>
                                    <a:pt x="659" y="2060"/>
                                  </a:cubicBezTo>
                                  <a:cubicBezTo>
                                    <a:pt x="662" y="2058"/>
                                    <a:pt x="667" y="2058"/>
                                    <a:pt x="670" y="2057"/>
                                  </a:cubicBezTo>
                                  <a:cubicBezTo>
                                    <a:pt x="673" y="2055"/>
                                    <a:pt x="675" y="2053"/>
                                    <a:pt x="670" y="2049"/>
                                  </a:cubicBezTo>
                                  <a:cubicBezTo>
                                    <a:pt x="665" y="2046"/>
                                    <a:pt x="657" y="2044"/>
                                    <a:pt x="649" y="2041"/>
                                  </a:cubicBezTo>
                                  <a:cubicBezTo>
                                    <a:pt x="641" y="2037"/>
                                    <a:pt x="637" y="2036"/>
                                    <a:pt x="629" y="2032"/>
                                  </a:cubicBezTo>
                                  <a:cubicBezTo>
                                    <a:pt x="621" y="2028"/>
                                    <a:pt x="614" y="2025"/>
                                    <a:pt x="606" y="2021"/>
                                  </a:cubicBezTo>
                                  <a:cubicBezTo>
                                    <a:pt x="599" y="2017"/>
                                    <a:pt x="593" y="2016"/>
                                    <a:pt x="588" y="2016"/>
                                  </a:cubicBezTo>
                                  <a:cubicBezTo>
                                    <a:pt x="583" y="2017"/>
                                    <a:pt x="582" y="2019"/>
                                    <a:pt x="581" y="2023"/>
                                  </a:cubicBezTo>
                                  <a:cubicBezTo>
                                    <a:pt x="580" y="2028"/>
                                    <a:pt x="579" y="2034"/>
                                    <a:pt x="578" y="2038"/>
                                  </a:cubicBezTo>
                                  <a:cubicBezTo>
                                    <a:pt x="576" y="2041"/>
                                    <a:pt x="573" y="2043"/>
                                    <a:pt x="568" y="2043"/>
                                  </a:cubicBezTo>
                                  <a:cubicBezTo>
                                    <a:pt x="563" y="2043"/>
                                    <a:pt x="560" y="2043"/>
                                    <a:pt x="558" y="2044"/>
                                  </a:cubicBezTo>
                                  <a:cubicBezTo>
                                    <a:pt x="556" y="2046"/>
                                    <a:pt x="559" y="2049"/>
                                    <a:pt x="562" y="2054"/>
                                  </a:cubicBezTo>
                                  <a:cubicBezTo>
                                    <a:pt x="565" y="2060"/>
                                    <a:pt x="568" y="2062"/>
                                    <a:pt x="574" y="2066"/>
                                  </a:cubicBezTo>
                                  <a:cubicBezTo>
                                    <a:pt x="579" y="2071"/>
                                    <a:pt x="585" y="2078"/>
                                    <a:pt x="592" y="2083"/>
                                  </a:cubicBezTo>
                                  <a:cubicBezTo>
                                    <a:pt x="599" y="2088"/>
                                    <a:pt x="605" y="2099"/>
                                    <a:pt x="610" y="2102"/>
                                  </a:cubicBezTo>
                                  <a:cubicBezTo>
                                    <a:pt x="615" y="2105"/>
                                    <a:pt x="627" y="2104"/>
                                    <a:pt x="629" y="2101"/>
                                  </a:cubicBezTo>
                                  <a:cubicBezTo>
                                    <a:pt x="631" y="2098"/>
                                    <a:pt x="634" y="2094"/>
                                    <a:pt x="638" y="2094"/>
                                  </a:cubicBezTo>
                                  <a:cubicBezTo>
                                    <a:pt x="643" y="2094"/>
                                    <a:pt x="644" y="2098"/>
                                    <a:pt x="648" y="2102"/>
                                  </a:cubicBezTo>
                                  <a:cubicBezTo>
                                    <a:pt x="653" y="2107"/>
                                    <a:pt x="654" y="2111"/>
                                    <a:pt x="656" y="2118"/>
                                  </a:cubicBezTo>
                                  <a:cubicBezTo>
                                    <a:pt x="657" y="2124"/>
                                    <a:pt x="656" y="2126"/>
                                    <a:pt x="653" y="2133"/>
                                  </a:cubicBezTo>
                                  <a:cubicBezTo>
                                    <a:pt x="650" y="2139"/>
                                    <a:pt x="642" y="2139"/>
                                    <a:pt x="637" y="2142"/>
                                  </a:cubicBezTo>
                                  <a:cubicBezTo>
                                    <a:pt x="632" y="2145"/>
                                    <a:pt x="629" y="2149"/>
                                    <a:pt x="624" y="2152"/>
                                  </a:cubicBezTo>
                                  <a:cubicBezTo>
                                    <a:pt x="619" y="2155"/>
                                    <a:pt x="616" y="2157"/>
                                    <a:pt x="610" y="2154"/>
                                  </a:cubicBezTo>
                                  <a:cubicBezTo>
                                    <a:pt x="603" y="2151"/>
                                    <a:pt x="599" y="2151"/>
                                    <a:pt x="585" y="2147"/>
                                  </a:cubicBezTo>
                                  <a:cubicBezTo>
                                    <a:pt x="572" y="2144"/>
                                    <a:pt x="572" y="2146"/>
                                    <a:pt x="562" y="2139"/>
                                  </a:cubicBezTo>
                                  <a:cubicBezTo>
                                    <a:pt x="551" y="2133"/>
                                    <a:pt x="547" y="2130"/>
                                    <a:pt x="542" y="2125"/>
                                  </a:cubicBezTo>
                                  <a:cubicBezTo>
                                    <a:pt x="536" y="2119"/>
                                    <a:pt x="525" y="2108"/>
                                    <a:pt x="517" y="2104"/>
                                  </a:cubicBezTo>
                                  <a:cubicBezTo>
                                    <a:pt x="509" y="2100"/>
                                    <a:pt x="510" y="2102"/>
                                    <a:pt x="497" y="2100"/>
                                  </a:cubicBezTo>
                                  <a:cubicBezTo>
                                    <a:pt x="484" y="2099"/>
                                    <a:pt x="481" y="2098"/>
                                    <a:pt x="472" y="2095"/>
                                  </a:cubicBezTo>
                                  <a:cubicBezTo>
                                    <a:pt x="462" y="2091"/>
                                    <a:pt x="457" y="2087"/>
                                    <a:pt x="455" y="2085"/>
                                  </a:cubicBezTo>
                                  <a:cubicBezTo>
                                    <a:pt x="453" y="2082"/>
                                    <a:pt x="453" y="2078"/>
                                    <a:pt x="454" y="2073"/>
                                  </a:cubicBezTo>
                                  <a:cubicBezTo>
                                    <a:pt x="455" y="2068"/>
                                    <a:pt x="454" y="2067"/>
                                    <a:pt x="457" y="2061"/>
                                  </a:cubicBezTo>
                                  <a:cubicBezTo>
                                    <a:pt x="460" y="2055"/>
                                    <a:pt x="464" y="2055"/>
                                    <a:pt x="459" y="2048"/>
                                  </a:cubicBezTo>
                                  <a:cubicBezTo>
                                    <a:pt x="454" y="2042"/>
                                    <a:pt x="454" y="2043"/>
                                    <a:pt x="447" y="2035"/>
                                  </a:cubicBezTo>
                                  <a:cubicBezTo>
                                    <a:pt x="440" y="2026"/>
                                    <a:pt x="445" y="2025"/>
                                    <a:pt x="443" y="2019"/>
                                  </a:cubicBezTo>
                                  <a:cubicBezTo>
                                    <a:pt x="441" y="2013"/>
                                    <a:pt x="439" y="2014"/>
                                    <a:pt x="436" y="2009"/>
                                  </a:cubicBezTo>
                                  <a:cubicBezTo>
                                    <a:pt x="432" y="2004"/>
                                    <a:pt x="429" y="2002"/>
                                    <a:pt x="431" y="1999"/>
                                  </a:cubicBezTo>
                                  <a:cubicBezTo>
                                    <a:pt x="432" y="1995"/>
                                    <a:pt x="436" y="1996"/>
                                    <a:pt x="440" y="1992"/>
                                  </a:cubicBezTo>
                                  <a:cubicBezTo>
                                    <a:pt x="443" y="1988"/>
                                    <a:pt x="444" y="1987"/>
                                    <a:pt x="444" y="1981"/>
                                  </a:cubicBezTo>
                                  <a:cubicBezTo>
                                    <a:pt x="444" y="1975"/>
                                    <a:pt x="444" y="1965"/>
                                    <a:pt x="446" y="1961"/>
                                  </a:cubicBezTo>
                                  <a:cubicBezTo>
                                    <a:pt x="447" y="1958"/>
                                    <a:pt x="452" y="1961"/>
                                    <a:pt x="458" y="1959"/>
                                  </a:cubicBezTo>
                                  <a:cubicBezTo>
                                    <a:pt x="463" y="1957"/>
                                    <a:pt x="461" y="1955"/>
                                    <a:pt x="459" y="1949"/>
                                  </a:cubicBezTo>
                                  <a:cubicBezTo>
                                    <a:pt x="457" y="1943"/>
                                    <a:pt x="441" y="1929"/>
                                    <a:pt x="435" y="1925"/>
                                  </a:cubicBezTo>
                                  <a:cubicBezTo>
                                    <a:pt x="430" y="1920"/>
                                    <a:pt x="416" y="1919"/>
                                    <a:pt x="410" y="1916"/>
                                  </a:cubicBezTo>
                                  <a:cubicBezTo>
                                    <a:pt x="404" y="1914"/>
                                    <a:pt x="393" y="1911"/>
                                    <a:pt x="385" y="1910"/>
                                  </a:cubicBezTo>
                                  <a:cubicBezTo>
                                    <a:pt x="377" y="1909"/>
                                    <a:pt x="370" y="1907"/>
                                    <a:pt x="369" y="1903"/>
                                  </a:cubicBezTo>
                                  <a:cubicBezTo>
                                    <a:pt x="369" y="1899"/>
                                    <a:pt x="376" y="1900"/>
                                    <a:pt x="380" y="1897"/>
                                  </a:cubicBezTo>
                                  <a:cubicBezTo>
                                    <a:pt x="384" y="1893"/>
                                    <a:pt x="385" y="1891"/>
                                    <a:pt x="379" y="1887"/>
                                  </a:cubicBezTo>
                                  <a:cubicBezTo>
                                    <a:pt x="372" y="1883"/>
                                    <a:pt x="355" y="1884"/>
                                    <a:pt x="351" y="1882"/>
                                  </a:cubicBezTo>
                                  <a:cubicBezTo>
                                    <a:pt x="347" y="1881"/>
                                    <a:pt x="346" y="1878"/>
                                    <a:pt x="346" y="1874"/>
                                  </a:cubicBezTo>
                                  <a:cubicBezTo>
                                    <a:pt x="347" y="1870"/>
                                    <a:pt x="356" y="1869"/>
                                    <a:pt x="352" y="1866"/>
                                  </a:cubicBezTo>
                                  <a:cubicBezTo>
                                    <a:pt x="347" y="1862"/>
                                    <a:pt x="341" y="1865"/>
                                    <a:pt x="336" y="1861"/>
                                  </a:cubicBezTo>
                                  <a:cubicBezTo>
                                    <a:pt x="332" y="1857"/>
                                    <a:pt x="335" y="1857"/>
                                    <a:pt x="326" y="1853"/>
                                  </a:cubicBezTo>
                                  <a:cubicBezTo>
                                    <a:pt x="317" y="1849"/>
                                    <a:pt x="311" y="1848"/>
                                    <a:pt x="309" y="1843"/>
                                  </a:cubicBezTo>
                                  <a:cubicBezTo>
                                    <a:pt x="306" y="1839"/>
                                    <a:pt x="310" y="1835"/>
                                    <a:pt x="309" y="1832"/>
                                  </a:cubicBezTo>
                                  <a:cubicBezTo>
                                    <a:pt x="308" y="1828"/>
                                    <a:pt x="305" y="1828"/>
                                    <a:pt x="300" y="1827"/>
                                  </a:cubicBezTo>
                                  <a:cubicBezTo>
                                    <a:pt x="294" y="1825"/>
                                    <a:pt x="289" y="1825"/>
                                    <a:pt x="282" y="1823"/>
                                  </a:cubicBezTo>
                                  <a:cubicBezTo>
                                    <a:pt x="275" y="1822"/>
                                    <a:pt x="276" y="1818"/>
                                    <a:pt x="276" y="1816"/>
                                  </a:cubicBezTo>
                                  <a:cubicBezTo>
                                    <a:pt x="277" y="1814"/>
                                    <a:pt x="282" y="1815"/>
                                    <a:pt x="289" y="1817"/>
                                  </a:cubicBezTo>
                                  <a:cubicBezTo>
                                    <a:pt x="295" y="1819"/>
                                    <a:pt x="302" y="1819"/>
                                    <a:pt x="313" y="1819"/>
                                  </a:cubicBezTo>
                                  <a:cubicBezTo>
                                    <a:pt x="323" y="1820"/>
                                    <a:pt x="331" y="1821"/>
                                    <a:pt x="332" y="1824"/>
                                  </a:cubicBezTo>
                                  <a:cubicBezTo>
                                    <a:pt x="334" y="1826"/>
                                    <a:pt x="331" y="1828"/>
                                    <a:pt x="331" y="1831"/>
                                  </a:cubicBezTo>
                                  <a:cubicBezTo>
                                    <a:pt x="331" y="1834"/>
                                    <a:pt x="335" y="1835"/>
                                    <a:pt x="343" y="1841"/>
                                  </a:cubicBezTo>
                                  <a:cubicBezTo>
                                    <a:pt x="350" y="1848"/>
                                    <a:pt x="356" y="1852"/>
                                    <a:pt x="362" y="1856"/>
                                  </a:cubicBezTo>
                                  <a:cubicBezTo>
                                    <a:pt x="368" y="1860"/>
                                    <a:pt x="372" y="1861"/>
                                    <a:pt x="380" y="1861"/>
                                  </a:cubicBezTo>
                                  <a:cubicBezTo>
                                    <a:pt x="388" y="1862"/>
                                    <a:pt x="388" y="1865"/>
                                    <a:pt x="403" y="1866"/>
                                  </a:cubicBezTo>
                                  <a:cubicBezTo>
                                    <a:pt x="417" y="1866"/>
                                    <a:pt x="412" y="1859"/>
                                    <a:pt x="417" y="1858"/>
                                  </a:cubicBezTo>
                                  <a:cubicBezTo>
                                    <a:pt x="422" y="1857"/>
                                    <a:pt x="428" y="1862"/>
                                    <a:pt x="433" y="1867"/>
                                  </a:cubicBezTo>
                                  <a:cubicBezTo>
                                    <a:pt x="437" y="1872"/>
                                    <a:pt x="431" y="1876"/>
                                    <a:pt x="438" y="1880"/>
                                  </a:cubicBezTo>
                                  <a:cubicBezTo>
                                    <a:pt x="444" y="1883"/>
                                    <a:pt x="445" y="1880"/>
                                    <a:pt x="472" y="1881"/>
                                  </a:cubicBezTo>
                                  <a:cubicBezTo>
                                    <a:pt x="499" y="1881"/>
                                    <a:pt x="519" y="1888"/>
                                    <a:pt x="546" y="1896"/>
                                  </a:cubicBezTo>
                                  <a:cubicBezTo>
                                    <a:pt x="573" y="1905"/>
                                    <a:pt x="581" y="1908"/>
                                    <a:pt x="610" y="1912"/>
                                  </a:cubicBezTo>
                                  <a:cubicBezTo>
                                    <a:pt x="639" y="1916"/>
                                    <a:pt x="654" y="1926"/>
                                    <a:pt x="678" y="1929"/>
                                  </a:cubicBezTo>
                                  <a:cubicBezTo>
                                    <a:pt x="702" y="1931"/>
                                    <a:pt x="714" y="1926"/>
                                    <a:pt x="731" y="1921"/>
                                  </a:cubicBezTo>
                                  <a:cubicBezTo>
                                    <a:pt x="749" y="1917"/>
                                    <a:pt x="749" y="1916"/>
                                    <a:pt x="770" y="1907"/>
                                  </a:cubicBezTo>
                                  <a:cubicBezTo>
                                    <a:pt x="790" y="1897"/>
                                    <a:pt x="790" y="1901"/>
                                    <a:pt x="806" y="1888"/>
                                  </a:cubicBezTo>
                                  <a:cubicBezTo>
                                    <a:pt x="823" y="1875"/>
                                    <a:pt x="830" y="1858"/>
                                    <a:pt x="837" y="1853"/>
                                  </a:cubicBezTo>
                                  <a:cubicBezTo>
                                    <a:pt x="843" y="1848"/>
                                    <a:pt x="860" y="1837"/>
                                    <a:pt x="861" y="1828"/>
                                  </a:cubicBezTo>
                                  <a:cubicBezTo>
                                    <a:pt x="863" y="1819"/>
                                    <a:pt x="858" y="1814"/>
                                    <a:pt x="852" y="1811"/>
                                  </a:cubicBezTo>
                                  <a:cubicBezTo>
                                    <a:pt x="847" y="1808"/>
                                    <a:pt x="848" y="1802"/>
                                    <a:pt x="847" y="1795"/>
                                  </a:cubicBezTo>
                                  <a:cubicBezTo>
                                    <a:pt x="847" y="1789"/>
                                    <a:pt x="839" y="1790"/>
                                    <a:pt x="837" y="1784"/>
                                  </a:cubicBezTo>
                                  <a:cubicBezTo>
                                    <a:pt x="834" y="1778"/>
                                    <a:pt x="839" y="1763"/>
                                    <a:pt x="835" y="1756"/>
                                  </a:cubicBezTo>
                                  <a:cubicBezTo>
                                    <a:pt x="831" y="1750"/>
                                    <a:pt x="821" y="1756"/>
                                    <a:pt x="805" y="1750"/>
                                  </a:cubicBezTo>
                                  <a:cubicBezTo>
                                    <a:pt x="789" y="1745"/>
                                    <a:pt x="787" y="1738"/>
                                    <a:pt x="779" y="1726"/>
                                  </a:cubicBezTo>
                                  <a:cubicBezTo>
                                    <a:pt x="771" y="1715"/>
                                    <a:pt x="764" y="1716"/>
                                    <a:pt x="757" y="1716"/>
                                  </a:cubicBezTo>
                                  <a:cubicBezTo>
                                    <a:pt x="750" y="1715"/>
                                    <a:pt x="745" y="1709"/>
                                    <a:pt x="723" y="1707"/>
                                  </a:cubicBezTo>
                                  <a:cubicBezTo>
                                    <a:pt x="702" y="1704"/>
                                    <a:pt x="685" y="1694"/>
                                    <a:pt x="671" y="1687"/>
                                  </a:cubicBezTo>
                                  <a:cubicBezTo>
                                    <a:pt x="656" y="1680"/>
                                    <a:pt x="654" y="1666"/>
                                    <a:pt x="643" y="1658"/>
                                  </a:cubicBezTo>
                                  <a:cubicBezTo>
                                    <a:pt x="633" y="1650"/>
                                    <a:pt x="619" y="1652"/>
                                    <a:pt x="595" y="1640"/>
                                  </a:cubicBezTo>
                                  <a:cubicBezTo>
                                    <a:pt x="571" y="1627"/>
                                    <a:pt x="541" y="1617"/>
                                    <a:pt x="524" y="1607"/>
                                  </a:cubicBezTo>
                                  <a:cubicBezTo>
                                    <a:pt x="508" y="1596"/>
                                    <a:pt x="490" y="1590"/>
                                    <a:pt x="479" y="1590"/>
                                  </a:cubicBezTo>
                                  <a:cubicBezTo>
                                    <a:pt x="467" y="1589"/>
                                    <a:pt x="451" y="1590"/>
                                    <a:pt x="434" y="1589"/>
                                  </a:cubicBezTo>
                                  <a:cubicBezTo>
                                    <a:pt x="417" y="1588"/>
                                    <a:pt x="405" y="1586"/>
                                    <a:pt x="391" y="1586"/>
                                  </a:cubicBezTo>
                                  <a:cubicBezTo>
                                    <a:pt x="391" y="1587"/>
                                    <a:pt x="391" y="1587"/>
                                    <a:pt x="391" y="1587"/>
                                  </a:cubicBezTo>
                                  <a:cubicBezTo>
                                    <a:pt x="389" y="1586"/>
                                    <a:pt x="388" y="1584"/>
                                    <a:pt x="386" y="1584"/>
                                  </a:cubicBezTo>
                                  <a:cubicBezTo>
                                    <a:pt x="383" y="1584"/>
                                    <a:pt x="382" y="1584"/>
                                    <a:pt x="379" y="1591"/>
                                  </a:cubicBezTo>
                                  <a:cubicBezTo>
                                    <a:pt x="376" y="1598"/>
                                    <a:pt x="375" y="1602"/>
                                    <a:pt x="373" y="1607"/>
                                  </a:cubicBezTo>
                                  <a:cubicBezTo>
                                    <a:pt x="371" y="1611"/>
                                    <a:pt x="368" y="1612"/>
                                    <a:pt x="361" y="1613"/>
                                  </a:cubicBezTo>
                                  <a:cubicBezTo>
                                    <a:pt x="354" y="1615"/>
                                    <a:pt x="352" y="1615"/>
                                    <a:pt x="348" y="1620"/>
                                  </a:cubicBezTo>
                                  <a:cubicBezTo>
                                    <a:pt x="345" y="1625"/>
                                    <a:pt x="339" y="1625"/>
                                    <a:pt x="340" y="1620"/>
                                  </a:cubicBezTo>
                                  <a:cubicBezTo>
                                    <a:pt x="341" y="1615"/>
                                    <a:pt x="340" y="1611"/>
                                    <a:pt x="346" y="1608"/>
                                  </a:cubicBezTo>
                                  <a:cubicBezTo>
                                    <a:pt x="352" y="1606"/>
                                    <a:pt x="357" y="1605"/>
                                    <a:pt x="362" y="1602"/>
                                  </a:cubicBezTo>
                                  <a:cubicBezTo>
                                    <a:pt x="367" y="1598"/>
                                    <a:pt x="367" y="1597"/>
                                    <a:pt x="363" y="1594"/>
                                  </a:cubicBezTo>
                                  <a:cubicBezTo>
                                    <a:pt x="359" y="1592"/>
                                    <a:pt x="358" y="1590"/>
                                    <a:pt x="361" y="1588"/>
                                  </a:cubicBezTo>
                                  <a:cubicBezTo>
                                    <a:pt x="365" y="1586"/>
                                    <a:pt x="367" y="1586"/>
                                    <a:pt x="367" y="1581"/>
                                  </a:cubicBezTo>
                                  <a:cubicBezTo>
                                    <a:pt x="367" y="1577"/>
                                    <a:pt x="370" y="1573"/>
                                    <a:pt x="365" y="1572"/>
                                  </a:cubicBezTo>
                                  <a:cubicBezTo>
                                    <a:pt x="360" y="1572"/>
                                    <a:pt x="360" y="1574"/>
                                    <a:pt x="353" y="1578"/>
                                  </a:cubicBezTo>
                                  <a:cubicBezTo>
                                    <a:pt x="346" y="1582"/>
                                    <a:pt x="344" y="1587"/>
                                    <a:pt x="335" y="1585"/>
                                  </a:cubicBezTo>
                                  <a:cubicBezTo>
                                    <a:pt x="326" y="1583"/>
                                    <a:pt x="330" y="1579"/>
                                    <a:pt x="320" y="1578"/>
                                  </a:cubicBezTo>
                                  <a:cubicBezTo>
                                    <a:pt x="309" y="1578"/>
                                    <a:pt x="308" y="1583"/>
                                    <a:pt x="300" y="1576"/>
                                  </a:cubicBezTo>
                                  <a:cubicBezTo>
                                    <a:pt x="292" y="1569"/>
                                    <a:pt x="286" y="1572"/>
                                    <a:pt x="283" y="1564"/>
                                  </a:cubicBezTo>
                                  <a:cubicBezTo>
                                    <a:pt x="280" y="1557"/>
                                    <a:pt x="278" y="1555"/>
                                    <a:pt x="282" y="1550"/>
                                  </a:cubicBezTo>
                                  <a:cubicBezTo>
                                    <a:pt x="286" y="1546"/>
                                    <a:pt x="289" y="1542"/>
                                    <a:pt x="284" y="1539"/>
                                  </a:cubicBezTo>
                                  <a:cubicBezTo>
                                    <a:pt x="279" y="1535"/>
                                    <a:pt x="274" y="1529"/>
                                    <a:pt x="269" y="1530"/>
                                  </a:cubicBezTo>
                                  <a:cubicBezTo>
                                    <a:pt x="265" y="1532"/>
                                    <a:pt x="268" y="1536"/>
                                    <a:pt x="259" y="1538"/>
                                  </a:cubicBezTo>
                                  <a:cubicBezTo>
                                    <a:pt x="251" y="1540"/>
                                    <a:pt x="250" y="1545"/>
                                    <a:pt x="239" y="1540"/>
                                  </a:cubicBezTo>
                                  <a:cubicBezTo>
                                    <a:pt x="229" y="1534"/>
                                    <a:pt x="231" y="1532"/>
                                    <a:pt x="218" y="1532"/>
                                  </a:cubicBezTo>
                                  <a:cubicBezTo>
                                    <a:pt x="216" y="1532"/>
                                    <a:pt x="216" y="1532"/>
                                    <a:pt x="216" y="1532"/>
                                  </a:cubicBezTo>
                                  <a:cubicBezTo>
                                    <a:pt x="217" y="1538"/>
                                    <a:pt x="217" y="1543"/>
                                    <a:pt x="217" y="1548"/>
                                  </a:cubicBezTo>
                                  <a:cubicBezTo>
                                    <a:pt x="217" y="1551"/>
                                    <a:pt x="217" y="1553"/>
                                    <a:pt x="217" y="1555"/>
                                  </a:cubicBezTo>
                                  <a:cubicBezTo>
                                    <a:pt x="217" y="1556"/>
                                    <a:pt x="217" y="1556"/>
                                    <a:pt x="217" y="1557"/>
                                  </a:cubicBezTo>
                                  <a:cubicBezTo>
                                    <a:pt x="216" y="1561"/>
                                    <a:pt x="213" y="1564"/>
                                    <a:pt x="210" y="1566"/>
                                  </a:cubicBezTo>
                                  <a:cubicBezTo>
                                    <a:pt x="207" y="1567"/>
                                    <a:pt x="204" y="1568"/>
                                    <a:pt x="202" y="1568"/>
                                  </a:cubicBezTo>
                                  <a:cubicBezTo>
                                    <a:pt x="201" y="1568"/>
                                    <a:pt x="200" y="1568"/>
                                    <a:pt x="200" y="1568"/>
                                  </a:cubicBezTo>
                                  <a:cubicBezTo>
                                    <a:pt x="200" y="1568"/>
                                    <a:pt x="200" y="1568"/>
                                    <a:pt x="200" y="1568"/>
                                  </a:cubicBezTo>
                                  <a:cubicBezTo>
                                    <a:pt x="198" y="1568"/>
                                    <a:pt x="195" y="1567"/>
                                    <a:pt x="192" y="1565"/>
                                  </a:cubicBezTo>
                                  <a:cubicBezTo>
                                    <a:pt x="188" y="1563"/>
                                    <a:pt x="183" y="1561"/>
                                    <a:pt x="179" y="1560"/>
                                  </a:cubicBezTo>
                                  <a:cubicBezTo>
                                    <a:pt x="176" y="1559"/>
                                    <a:pt x="174" y="1560"/>
                                    <a:pt x="172" y="1561"/>
                                  </a:cubicBezTo>
                                  <a:cubicBezTo>
                                    <a:pt x="169" y="1563"/>
                                    <a:pt x="168" y="1566"/>
                                    <a:pt x="167" y="1569"/>
                                  </a:cubicBezTo>
                                  <a:cubicBezTo>
                                    <a:pt x="165" y="1574"/>
                                    <a:pt x="163" y="1577"/>
                                    <a:pt x="160" y="1580"/>
                                  </a:cubicBezTo>
                                  <a:cubicBezTo>
                                    <a:pt x="157" y="1583"/>
                                    <a:pt x="152" y="1585"/>
                                    <a:pt x="145" y="1587"/>
                                  </a:cubicBezTo>
                                  <a:cubicBezTo>
                                    <a:pt x="141" y="1588"/>
                                    <a:pt x="137" y="1588"/>
                                    <a:pt x="134" y="1589"/>
                                  </a:cubicBezTo>
                                  <a:cubicBezTo>
                                    <a:pt x="127" y="1590"/>
                                    <a:pt x="122" y="1590"/>
                                    <a:pt x="119" y="1594"/>
                                  </a:cubicBezTo>
                                  <a:cubicBezTo>
                                    <a:pt x="116" y="1598"/>
                                    <a:pt x="113" y="1603"/>
                                    <a:pt x="110" y="1607"/>
                                  </a:cubicBezTo>
                                  <a:cubicBezTo>
                                    <a:pt x="107" y="1612"/>
                                    <a:pt x="104" y="1617"/>
                                    <a:pt x="102" y="1619"/>
                                  </a:cubicBezTo>
                                  <a:cubicBezTo>
                                    <a:pt x="99" y="1622"/>
                                    <a:pt x="94" y="1624"/>
                                    <a:pt x="88" y="1625"/>
                                  </a:cubicBezTo>
                                  <a:cubicBezTo>
                                    <a:pt x="85" y="1626"/>
                                    <a:pt x="82" y="1627"/>
                                    <a:pt x="79" y="1628"/>
                                  </a:cubicBezTo>
                                  <a:cubicBezTo>
                                    <a:pt x="74" y="1630"/>
                                    <a:pt x="70" y="1631"/>
                                    <a:pt x="68" y="1633"/>
                                  </a:cubicBezTo>
                                  <a:cubicBezTo>
                                    <a:pt x="68" y="1633"/>
                                    <a:pt x="68" y="1633"/>
                                    <a:pt x="68" y="1633"/>
                                  </a:cubicBezTo>
                                  <a:cubicBezTo>
                                    <a:pt x="67" y="1633"/>
                                    <a:pt x="67" y="1634"/>
                                    <a:pt x="67" y="1635"/>
                                  </a:cubicBezTo>
                                  <a:cubicBezTo>
                                    <a:pt x="68" y="1636"/>
                                    <a:pt x="68" y="1636"/>
                                    <a:pt x="68" y="1636"/>
                                  </a:cubicBezTo>
                                  <a:cubicBezTo>
                                    <a:pt x="68" y="1636"/>
                                    <a:pt x="68" y="1636"/>
                                    <a:pt x="68" y="1636"/>
                                  </a:cubicBezTo>
                                  <a:cubicBezTo>
                                    <a:pt x="71" y="1642"/>
                                    <a:pt x="73" y="1646"/>
                                    <a:pt x="73" y="1651"/>
                                  </a:cubicBezTo>
                                  <a:cubicBezTo>
                                    <a:pt x="73" y="1653"/>
                                    <a:pt x="72" y="1658"/>
                                    <a:pt x="70" y="1663"/>
                                  </a:cubicBezTo>
                                  <a:cubicBezTo>
                                    <a:pt x="68" y="1670"/>
                                    <a:pt x="66" y="1678"/>
                                    <a:pt x="67" y="1680"/>
                                  </a:cubicBezTo>
                                  <a:cubicBezTo>
                                    <a:pt x="67" y="1681"/>
                                    <a:pt x="67" y="1683"/>
                                    <a:pt x="68" y="1685"/>
                                  </a:cubicBezTo>
                                  <a:cubicBezTo>
                                    <a:pt x="69" y="1691"/>
                                    <a:pt x="70" y="1698"/>
                                    <a:pt x="77" y="1702"/>
                                  </a:cubicBezTo>
                                  <a:cubicBezTo>
                                    <a:pt x="84" y="1706"/>
                                    <a:pt x="88" y="1706"/>
                                    <a:pt x="93" y="1707"/>
                                  </a:cubicBezTo>
                                  <a:cubicBezTo>
                                    <a:pt x="97" y="1708"/>
                                    <a:pt x="102" y="1709"/>
                                    <a:pt x="109" y="1711"/>
                                  </a:cubicBezTo>
                                  <a:cubicBezTo>
                                    <a:pt x="119" y="1715"/>
                                    <a:pt x="123" y="1720"/>
                                    <a:pt x="127" y="1726"/>
                                  </a:cubicBezTo>
                                  <a:cubicBezTo>
                                    <a:pt x="129" y="1729"/>
                                    <a:pt x="131" y="1733"/>
                                    <a:pt x="134" y="1736"/>
                                  </a:cubicBezTo>
                                  <a:cubicBezTo>
                                    <a:pt x="137" y="1739"/>
                                    <a:pt x="140" y="1742"/>
                                    <a:pt x="142" y="1744"/>
                                  </a:cubicBezTo>
                                  <a:cubicBezTo>
                                    <a:pt x="148" y="1750"/>
                                    <a:pt x="152" y="1754"/>
                                    <a:pt x="153" y="1761"/>
                                  </a:cubicBezTo>
                                  <a:cubicBezTo>
                                    <a:pt x="155" y="1768"/>
                                    <a:pt x="144" y="1782"/>
                                    <a:pt x="133" y="1794"/>
                                  </a:cubicBezTo>
                                  <a:cubicBezTo>
                                    <a:pt x="127" y="1801"/>
                                    <a:pt x="121" y="1808"/>
                                    <a:pt x="118" y="1813"/>
                                  </a:cubicBezTo>
                                  <a:cubicBezTo>
                                    <a:pt x="116" y="1817"/>
                                    <a:pt x="113" y="1820"/>
                                    <a:pt x="111" y="1823"/>
                                  </a:cubicBezTo>
                                  <a:cubicBezTo>
                                    <a:pt x="107" y="1829"/>
                                    <a:pt x="104" y="1833"/>
                                    <a:pt x="105" y="1840"/>
                                  </a:cubicBezTo>
                                  <a:cubicBezTo>
                                    <a:pt x="106" y="1845"/>
                                    <a:pt x="107" y="1849"/>
                                    <a:pt x="110" y="1854"/>
                                  </a:cubicBezTo>
                                  <a:cubicBezTo>
                                    <a:pt x="113" y="1859"/>
                                    <a:pt x="117" y="1865"/>
                                    <a:pt x="123" y="1873"/>
                                  </a:cubicBezTo>
                                  <a:cubicBezTo>
                                    <a:pt x="132" y="1886"/>
                                    <a:pt x="141" y="1906"/>
                                    <a:pt x="149" y="1922"/>
                                  </a:cubicBezTo>
                                  <a:cubicBezTo>
                                    <a:pt x="152" y="1930"/>
                                    <a:pt x="155" y="1937"/>
                                    <a:pt x="157" y="1941"/>
                                  </a:cubicBezTo>
                                  <a:cubicBezTo>
                                    <a:pt x="161" y="1948"/>
                                    <a:pt x="164" y="1954"/>
                                    <a:pt x="166" y="1959"/>
                                  </a:cubicBezTo>
                                  <a:cubicBezTo>
                                    <a:pt x="167" y="1964"/>
                                    <a:pt x="167" y="1969"/>
                                    <a:pt x="165" y="1972"/>
                                  </a:cubicBezTo>
                                  <a:cubicBezTo>
                                    <a:pt x="165" y="1972"/>
                                    <a:pt x="165" y="1972"/>
                                    <a:pt x="165" y="1972"/>
                                  </a:cubicBezTo>
                                  <a:cubicBezTo>
                                    <a:pt x="163" y="1975"/>
                                    <a:pt x="159" y="1975"/>
                                    <a:pt x="154" y="1976"/>
                                  </a:cubicBezTo>
                                  <a:cubicBezTo>
                                    <a:pt x="151" y="1976"/>
                                    <a:pt x="148" y="1976"/>
                                    <a:pt x="147" y="1977"/>
                                  </a:cubicBezTo>
                                  <a:cubicBezTo>
                                    <a:pt x="145" y="1978"/>
                                    <a:pt x="144" y="1982"/>
                                    <a:pt x="143" y="1985"/>
                                  </a:cubicBezTo>
                                  <a:cubicBezTo>
                                    <a:pt x="143" y="1989"/>
                                    <a:pt x="142" y="1994"/>
                                    <a:pt x="142" y="1997"/>
                                  </a:cubicBezTo>
                                  <a:cubicBezTo>
                                    <a:pt x="142" y="2001"/>
                                    <a:pt x="139" y="2003"/>
                                    <a:pt x="137" y="2005"/>
                                  </a:cubicBezTo>
                                  <a:cubicBezTo>
                                    <a:pt x="136" y="2006"/>
                                    <a:pt x="135" y="2008"/>
                                    <a:pt x="135" y="2010"/>
                                  </a:cubicBezTo>
                                  <a:cubicBezTo>
                                    <a:pt x="136" y="2013"/>
                                    <a:pt x="139" y="2016"/>
                                    <a:pt x="141" y="2018"/>
                                  </a:cubicBezTo>
                                  <a:cubicBezTo>
                                    <a:pt x="144" y="2020"/>
                                    <a:pt x="147" y="2022"/>
                                    <a:pt x="148" y="2025"/>
                                  </a:cubicBezTo>
                                  <a:cubicBezTo>
                                    <a:pt x="149" y="2030"/>
                                    <a:pt x="146" y="2033"/>
                                    <a:pt x="143" y="2037"/>
                                  </a:cubicBezTo>
                                  <a:cubicBezTo>
                                    <a:pt x="140" y="2039"/>
                                    <a:pt x="138" y="2041"/>
                                    <a:pt x="138" y="2043"/>
                                  </a:cubicBezTo>
                                  <a:cubicBezTo>
                                    <a:pt x="138" y="2046"/>
                                    <a:pt x="139" y="2048"/>
                                    <a:pt x="141" y="2049"/>
                                  </a:cubicBezTo>
                                  <a:cubicBezTo>
                                    <a:pt x="142" y="2051"/>
                                    <a:pt x="145" y="2052"/>
                                    <a:pt x="147" y="2053"/>
                                  </a:cubicBezTo>
                                  <a:cubicBezTo>
                                    <a:pt x="149" y="2055"/>
                                    <a:pt x="152" y="2055"/>
                                    <a:pt x="155" y="2056"/>
                                  </a:cubicBezTo>
                                  <a:cubicBezTo>
                                    <a:pt x="158" y="2057"/>
                                    <a:pt x="161" y="2057"/>
                                    <a:pt x="163" y="2059"/>
                                  </a:cubicBezTo>
                                  <a:cubicBezTo>
                                    <a:pt x="167" y="2061"/>
                                    <a:pt x="168" y="2064"/>
                                    <a:pt x="169" y="2067"/>
                                  </a:cubicBezTo>
                                  <a:cubicBezTo>
                                    <a:pt x="169" y="2071"/>
                                    <a:pt x="169" y="2075"/>
                                    <a:pt x="167" y="2079"/>
                                  </a:cubicBezTo>
                                  <a:cubicBezTo>
                                    <a:pt x="166" y="2081"/>
                                    <a:pt x="166" y="2085"/>
                                    <a:pt x="167" y="2089"/>
                                  </a:cubicBezTo>
                                  <a:cubicBezTo>
                                    <a:pt x="168" y="2093"/>
                                    <a:pt x="169" y="2096"/>
                                    <a:pt x="171" y="2099"/>
                                  </a:cubicBezTo>
                                  <a:cubicBezTo>
                                    <a:pt x="173" y="2101"/>
                                    <a:pt x="177" y="2104"/>
                                    <a:pt x="180" y="2106"/>
                                  </a:cubicBezTo>
                                  <a:cubicBezTo>
                                    <a:pt x="187" y="2111"/>
                                    <a:pt x="194" y="2117"/>
                                    <a:pt x="196" y="2123"/>
                                  </a:cubicBezTo>
                                  <a:cubicBezTo>
                                    <a:pt x="197" y="2130"/>
                                    <a:pt x="187" y="2141"/>
                                    <a:pt x="179" y="2149"/>
                                  </a:cubicBezTo>
                                  <a:cubicBezTo>
                                    <a:pt x="175" y="2153"/>
                                    <a:pt x="172" y="2156"/>
                                    <a:pt x="172" y="2157"/>
                                  </a:cubicBezTo>
                                  <a:cubicBezTo>
                                    <a:pt x="171" y="2158"/>
                                    <a:pt x="170" y="2159"/>
                                    <a:pt x="169" y="2161"/>
                                  </a:cubicBezTo>
                                  <a:cubicBezTo>
                                    <a:pt x="167" y="2163"/>
                                    <a:pt x="165" y="2166"/>
                                    <a:pt x="171" y="2170"/>
                                  </a:cubicBezTo>
                                  <a:cubicBezTo>
                                    <a:pt x="181" y="2178"/>
                                    <a:pt x="201" y="2191"/>
                                    <a:pt x="217" y="2201"/>
                                  </a:cubicBezTo>
                                  <a:cubicBezTo>
                                    <a:pt x="222" y="2204"/>
                                    <a:pt x="222" y="2204"/>
                                    <a:pt x="222" y="2204"/>
                                  </a:cubicBezTo>
                                  <a:cubicBezTo>
                                    <a:pt x="229" y="2208"/>
                                    <a:pt x="235" y="2214"/>
                                    <a:pt x="240" y="2219"/>
                                  </a:cubicBezTo>
                                  <a:cubicBezTo>
                                    <a:pt x="246" y="2225"/>
                                    <a:pt x="250" y="2231"/>
                                    <a:pt x="252" y="2236"/>
                                  </a:cubicBezTo>
                                  <a:cubicBezTo>
                                    <a:pt x="255" y="2242"/>
                                    <a:pt x="253" y="2251"/>
                                    <a:pt x="249" y="2259"/>
                                  </a:cubicBezTo>
                                  <a:cubicBezTo>
                                    <a:pt x="246" y="2266"/>
                                    <a:pt x="241" y="2273"/>
                                    <a:pt x="239" y="2277"/>
                                  </a:cubicBezTo>
                                  <a:cubicBezTo>
                                    <a:pt x="235" y="2283"/>
                                    <a:pt x="201" y="2317"/>
                                    <a:pt x="176" y="2342"/>
                                  </a:cubicBezTo>
                                  <a:cubicBezTo>
                                    <a:pt x="172" y="2345"/>
                                    <a:pt x="169" y="2348"/>
                                    <a:pt x="162" y="2356"/>
                                  </a:cubicBezTo>
                                  <a:cubicBezTo>
                                    <a:pt x="154" y="2364"/>
                                    <a:pt x="145" y="2372"/>
                                    <a:pt x="138" y="2379"/>
                                  </a:cubicBezTo>
                                  <a:cubicBezTo>
                                    <a:pt x="128" y="2390"/>
                                    <a:pt x="120" y="2397"/>
                                    <a:pt x="115" y="2403"/>
                                  </a:cubicBezTo>
                                  <a:cubicBezTo>
                                    <a:pt x="110" y="2408"/>
                                    <a:pt x="93" y="2418"/>
                                    <a:pt x="77" y="2428"/>
                                  </a:cubicBezTo>
                                  <a:cubicBezTo>
                                    <a:pt x="62" y="2438"/>
                                    <a:pt x="46" y="2447"/>
                                    <a:pt x="41" y="2453"/>
                                  </a:cubicBezTo>
                                  <a:cubicBezTo>
                                    <a:pt x="41" y="2453"/>
                                    <a:pt x="41" y="2453"/>
                                    <a:pt x="41" y="2453"/>
                                  </a:cubicBezTo>
                                  <a:cubicBezTo>
                                    <a:pt x="38" y="2455"/>
                                    <a:pt x="37" y="2456"/>
                                    <a:pt x="36" y="2457"/>
                                  </a:cubicBezTo>
                                  <a:cubicBezTo>
                                    <a:pt x="31" y="2461"/>
                                    <a:pt x="27" y="2465"/>
                                    <a:pt x="23" y="2470"/>
                                  </a:cubicBezTo>
                                  <a:cubicBezTo>
                                    <a:pt x="24" y="2469"/>
                                    <a:pt x="25" y="2469"/>
                                    <a:pt x="26" y="2469"/>
                                  </a:cubicBezTo>
                                  <a:cubicBezTo>
                                    <a:pt x="38" y="2466"/>
                                    <a:pt x="52" y="2463"/>
                                    <a:pt x="56" y="2459"/>
                                  </a:cubicBezTo>
                                  <a:cubicBezTo>
                                    <a:pt x="61" y="2455"/>
                                    <a:pt x="66" y="2450"/>
                                    <a:pt x="72" y="2450"/>
                                  </a:cubicBezTo>
                                  <a:cubicBezTo>
                                    <a:pt x="77" y="2449"/>
                                    <a:pt x="78" y="2455"/>
                                    <a:pt x="75" y="2460"/>
                                  </a:cubicBezTo>
                                  <a:cubicBezTo>
                                    <a:pt x="73" y="2465"/>
                                    <a:pt x="74" y="2467"/>
                                    <a:pt x="75" y="2471"/>
                                  </a:cubicBezTo>
                                  <a:cubicBezTo>
                                    <a:pt x="76" y="2476"/>
                                    <a:pt x="70" y="2479"/>
                                    <a:pt x="76" y="2482"/>
                                  </a:cubicBezTo>
                                  <a:cubicBezTo>
                                    <a:pt x="82" y="2485"/>
                                    <a:pt x="81" y="2488"/>
                                    <a:pt x="92" y="2490"/>
                                  </a:cubicBezTo>
                                  <a:cubicBezTo>
                                    <a:pt x="104" y="2492"/>
                                    <a:pt x="108" y="2494"/>
                                    <a:pt x="116" y="2499"/>
                                  </a:cubicBezTo>
                                  <a:cubicBezTo>
                                    <a:pt x="124" y="2504"/>
                                    <a:pt x="127" y="2502"/>
                                    <a:pt x="136" y="2506"/>
                                  </a:cubicBezTo>
                                  <a:cubicBezTo>
                                    <a:pt x="144" y="2509"/>
                                    <a:pt x="151" y="2509"/>
                                    <a:pt x="156" y="2513"/>
                                  </a:cubicBezTo>
                                  <a:cubicBezTo>
                                    <a:pt x="161" y="2517"/>
                                    <a:pt x="165" y="2520"/>
                                    <a:pt x="163" y="2523"/>
                                  </a:cubicBezTo>
                                  <a:cubicBezTo>
                                    <a:pt x="161" y="2526"/>
                                    <a:pt x="156" y="2530"/>
                                    <a:pt x="151" y="2529"/>
                                  </a:cubicBezTo>
                                  <a:cubicBezTo>
                                    <a:pt x="146" y="2527"/>
                                    <a:pt x="142" y="2520"/>
                                    <a:pt x="135" y="2519"/>
                                  </a:cubicBezTo>
                                  <a:cubicBezTo>
                                    <a:pt x="129" y="2518"/>
                                    <a:pt x="117" y="2516"/>
                                    <a:pt x="111" y="2520"/>
                                  </a:cubicBezTo>
                                  <a:cubicBezTo>
                                    <a:pt x="106" y="2524"/>
                                    <a:pt x="99" y="2525"/>
                                    <a:pt x="97" y="2528"/>
                                  </a:cubicBezTo>
                                  <a:cubicBezTo>
                                    <a:pt x="95" y="2531"/>
                                    <a:pt x="93" y="2534"/>
                                    <a:pt x="90" y="2536"/>
                                  </a:cubicBezTo>
                                  <a:cubicBezTo>
                                    <a:pt x="86" y="2538"/>
                                    <a:pt x="76" y="2536"/>
                                    <a:pt x="74" y="2535"/>
                                  </a:cubicBezTo>
                                  <a:cubicBezTo>
                                    <a:pt x="71" y="2534"/>
                                    <a:pt x="69" y="2529"/>
                                    <a:pt x="63" y="2534"/>
                                  </a:cubicBezTo>
                                  <a:cubicBezTo>
                                    <a:pt x="57" y="2539"/>
                                    <a:pt x="51" y="2541"/>
                                    <a:pt x="49" y="2542"/>
                                  </a:cubicBezTo>
                                  <a:cubicBezTo>
                                    <a:pt x="46" y="2542"/>
                                    <a:pt x="41" y="2539"/>
                                    <a:pt x="38" y="2544"/>
                                  </a:cubicBezTo>
                                  <a:cubicBezTo>
                                    <a:pt x="36" y="2549"/>
                                    <a:pt x="34" y="2550"/>
                                    <a:pt x="34" y="2556"/>
                                  </a:cubicBezTo>
                                  <a:cubicBezTo>
                                    <a:pt x="34" y="2557"/>
                                    <a:pt x="34" y="2558"/>
                                    <a:pt x="34" y="2558"/>
                                  </a:cubicBezTo>
                                  <a:cubicBezTo>
                                    <a:pt x="36" y="2561"/>
                                    <a:pt x="37" y="2563"/>
                                    <a:pt x="38" y="2565"/>
                                  </a:cubicBezTo>
                                  <a:cubicBezTo>
                                    <a:pt x="39" y="2569"/>
                                    <a:pt x="40" y="2574"/>
                                    <a:pt x="39" y="2581"/>
                                  </a:cubicBezTo>
                                  <a:cubicBezTo>
                                    <a:pt x="39" y="2589"/>
                                    <a:pt x="30" y="2599"/>
                                    <a:pt x="21" y="2608"/>
                                  </a:cubicBezTo>
                                  <a:cubicBezTo>
                                    <a:pt x="13" y="2616"/>
                                    <a:pt x="5" y="2623"/>
                                    <a:pt x="4" y="2629"/>
                                  </a:cubicBezTo>
                                  <a:cubicBezTo>
                                    <a:pt x="4" y="2630"/>
                                    <a:pt x="4" y="2630"/>
                                    <a:pt x="4" y="2630"/>
                                  </a:cubicBezTo>
                                  <a:cubicBezTo>
                                    <a:pt x="2" y="2644"/>
                                    <a:pt x="0" y="2655"/>
                                    <a:pt x="3" y="2670"/>
                                  </a:cubicBezTo>
                                  <a:cubicBezTo>
                                    <a:pt x="5" y="2678"/>
                                    <a:pt x="11" y="2687"/>
                                    <a:pt x="17" y="2695"/>
                                  </a:cubicBezTo>
                                  <a:cubicBezTo>
                                    <a:pt x="21" y="2700"/>
                                    <a:pt x="24" y="2705"/>
                                    <a:pt x="24" y="2709"/>
                                  </a:cubicBezTo>
                                  <a:cubicBezTo>
                                    <a:pt x="25" y="2715"/>
                                    <a:pt x="19" y="2718"/>
                                    <a:pt x="12" y="2721"/>
                                  </a:cubicBezTo>
                                  <a:cubicBezTo>
                                    <a:pt x="12" y="2721"/>
                                    <a:pt x="12" y="2721"/>
                                    <a:pt x="12" y="2721"/>
                                  </a:cubicBezTo>
                                  <a:cubicBezTo>
                                    <a:pt x="9" y="2722"/>
                                    <a:pt x="6" y="2723"/>
                                    <a:pt x="5" y="2725"/>
                                  </a:cubicBezTo>
                                  <a:cubicBezTo>
                                    <a:pt x="3" y="2727"/>
                                    <a:pt x="2" y="2730"/>
                                    <a:pt x="1" y="2734"/>
                                  </a:cubicBezTo>
                                  <a:cubicBezTo>
                                    <a:pt x="1" y="2736"/>
                                    <a:pt x="1" y="2739"/>
                                    <a:pt x="3" y="2741"/>
                                  </a:cubicBezTo>
                                  <a:cubicBezTo>
                                    <a:pt x="6" y="2746"/>
                                    <a:pt x="11" y="2749"/>
                                    <a:pt x="16" y="2752"/>
                                  </a:cubicBezTo>
                                  <a:cubicBezTo>
                                    <a:pt x="16" y="2752"/>
                                    <a:pt x="16" y="2752"/>
                                    <a:pt x="16" y="2752"/>
                                  </a:cubicBezTo>
                                  <a:cubicBezTo>
                                    <a:pt x="17" y="2753"/>
                                    <a:pt x="18" y="2753"/>
                                    <a:pt x="19" y="2754"/>
                                  </a:cubicBezTo>
                                  <a:cubicBezTo>
                                    <a:pt x="22" y="2756"/>
                                    <a:pt x="24" y="2758"/>
                                    <a:pt x="25" y="2761"/>
                                  </a:cubicBezTo>
                                  <a:cubicBezTo>
                                    <a:pt x="26" y="2765"/>
                                    <a:pt x="26" y="2769"/>
                                    <a:pt x="25" y="2771"/>
                                  </a:cubicBezTo>
                                  <a:cubicBezTo>
                                    <a:pt x="24" y="2772"/>
                                    <a:pt x="24" y="2772"/>
                                    <a:pt x="24" y="2773"/>
                                  </a:cubicBezTo>
                                  <a:cubicBezTo>
                                    <a:pt x="22" y="2775"/>
                                    <a:pt x="20" y="2778"/>
                                    <a:pt x="20" y="2784"/>
                                  </a:cubicBezTo>
                                  <a:cubicBezTo>
                                    <a:pt x="20" y="2787"/>
                                    <a:pt x="19" y="2789"/>
                                    <a:pt x="19" y="2792"/>
                                  </a:cubicBezTo>
                                  <a:cubicBezTo>
                                    <a:pt x="18" y="2794"/>
                                    <a:pt x="18" y="2796"/>
                                    <a:pt x="19" y="2797"/>
                                  </a:cubicBezTo>
                                  <a:cubicBezTo>
                                    <a:pt x="21" y="2798"/>
                                    <a:pt x="22" y="2799"/>
                                    <a:pt x="24" y="2800"/>
                                  </a:cubicBezTo>
                                  <a:cubicBezTo>
                                    <a:pt x="27" y="2802"/>
                                    <a:pt x="31" y="2805"/>
                                    <a:pt x="35" y="2810"/>
                                  </a:cubicBezTo>
                                  <a:cubicBezTo>
                                    <a:pt x="39" y="2816"/>
                                    <a:pt x="39" y="2819"/>
                                    <a:pt x="40" y="2823"/>
                                  </a:cubicBezTo>
                                  <a:cubicBezTo>
                                    <a:pt x="40" y="2823"/>
                                    <a:pt x="40" y="2823"/>
                                    <a:pt x="40" y="2823"/>
                                  </a:cubicBezTo>
                                  <a:cubicBezTo>
                                    <a:pt x="41" y="2825"/>
                                    <a:pt x="41" y="2827"/>
                                    <a:pt x="42" y="2829"/>
                                  </a:cubicBezTo>
                                  <a:cubicBezTo>
                                    <a:pt x="43" y="2834"/>
                                    <a:pt x="44" y="2838"/>
                                    <a:pt x="45" y="2842"/>
                                  </a:cubicBezTo>
                                  <a:cubicBezTo>
                                    <a:pt x="46" y="2847"/>
                                    <a:pt x="46" y="2852"/>
                                    <a:pt x="48" y="2856"/>
                                  </a:cubicBezTo>
                                  <a:cubicBezTo>
                                    <a:pt x="48" y="2857"/>
                                    <a:pt x="49" y="2857"/>
                                    <a:pt x="49" y="2858"/>
                                  </a:cubicBezTo>
                                  <a:cubicBezTo>
                                    <a:pt x="51" y="2864"/>
                                    <a:pt x="54" y="2870"/>
                                    <a:pt x="67" y="2874"/>
                                  </a:cubicBezTo>
                                  <a:cubicBezTo>
                                    <a:pt x="80" y="2878"/>
                                    <a:pt x="86" y="2877"/>
                                    <a:pt x="93" y="2877"/>
                                  </a:cubicBezTo>
                                  <a:cubicBezTo>
                                    <a:pt x="94" y="2876"/>
                                    <a:pt x="95" y="2876"/>
                                    <a:pt x="96" y="2876"/>
                                  </a:cubicBezTo>
                                  <a:cubicBezTo>
                                    <a:pt x="96" y="2876"/>
                                    <a:pt x="96" y="2876"/>
                                    <a:pt x="96" y="2876"/>
                                  </a:cubicBezTo>
                                  <a:cubicBezTo>
                                    <a:pt x="101" y="2876"/>
                                    <a:pt x="105" y="2877"/>
                                    <a:pt x="109" y="2879"/>
                                  </a:cubicBezTo>
                                  <a:cubicBezTo>
                                    <a:pt x="113" y="2881"/>
                                    <a:pt x="117" y="2884"/>
                                    <a:pt x="122" y="2889"/>
                                  </a:cubicBezTo>
                                  <a:cubicBezTo>
                                    <a:pt x="126" y="2892"/>
                                    <a:pt x="130" y="2894"/>
                                    <a:pt x="135" y="2894"/>
                                  </a:cubicBezTo>
                                  <a:cubicBezTo>
                                    <a:pt x="142" y="2895"/>
                                    <a:pt x="149" y="2893"/>
                                    <a:pt x="154" y="2891"/>
                                  </a:cubicBezTo>
                                  <a:cubicBezTo>
                                    <a:pt x="160" y="2889"/>
                                    <a:pt x="166" y="2888"/>
                                    <a:pt x="173" y="2888"/>
                                  </a:cubicBezTo>
                                  <a:cubicBezTo>
                                    <a:pt x="179" y="2889"/>
                                    <a:pt x="185" y="2891"/>
                                    <a:pt x="191" y="2895"/>
                                  </a:cubicBezTo>
                                  <a:cubicBezTo>
                                    <a:pt x="191" y="2895"/>
                                    <a:pt x="193" y="2897"/>
                                    <a:pt x="195" y="2898"/>
                                  </a:cubicBezTo>
                                  <a:cubicBezTo>
                                    <a:pt x="206" y="2905"/>
                                    <a:pt x="218" y="2913"/>
                                    <a:pt x="218" y="2921"/>
                                  </a:cubicBezTo>
                                  <a:cubicBezTo>
                                    <a:pt x="218" y="2925"/>
                                    <a:pt x="216" y="2928"/>
                                    <a:pt x="214" y="2931"/>
                                  </a:cubicBezTo>
                                  <a:cubicBezTo>
                                    <a:pt x="211" y="2934"/>
                                    <a:pt x="209" y="2938"/>
                                    <a:pt x="211" y="2941"/>
                                  </a:cubicBezTo>
                                  <a:cubicBezTo>
                                    <a:pt x="212" y="2944"/>
                                    <a:pt x="214" y="2946"/>
                                    <a:pt x="215" y="2948"/>
                                  </a:cubicBezTo>
                                  <a:cubicBezTo>
                                    <a:pt x="218" y="2954"/>
                                    <a:pt x="221" y="2959"/>
                                    <a:pt x="221" y="2963"/>
                                  </a:cubicBezTo>
                                  <a:cubicBezTo>
                                    <a:pt x="220" y="2967"/>
                                    <a:pt x="218" y="2968"/>
                                    <a:pt x="215" y="2970"/>
                                  </a:cubicBezTo>
                                  <a:cubicBezTo>
                                    <a:pt x="214" y="2971"/>
                                    <a:pt x="213" y="2972"/>
                                    <a:pt x="212" y="2973"/>
                                  </a:cubicBezTo>
                                  <a:cubicBezTo>
                                    <a:pt x="211" y="2974"/>
                                    <a:pt x="210" y="2975"/>
                                    <a:pt x="213" y="2978"/>
                                  </a:cubicBezTo>
                                  <a:cubicBezTo>
                                    <a:pt x="217" y="2983"/>
                                    <a:pt x="221" y="2984"/>
                                    <a:pt x="224" y="2985"/>
                                  </a:cubicBezTo>
                                  <a:cubicBezTo>
                                    <a:pt x="228" y="2987"/>
                                    <a:pt x="232" y="2988"/>
                                    <a:pt x="234" y="2994"/>
                                  </a:cubicBezTo>
                                  <a:cubicBezTo>
                                    <a:pt x="236" y="2999"/>
                                    <a:pt x="235" y="3004"/>
                                    <a:pt x="234" y="3007"/>
                                  </a:cubicBezTo>
                                  <a:cubicBezTo>
                                    <a:pt x="233" y="3010"/>
                                    <a:pt x="233" y="3012"/>
                                    <a:pt x="235" y="3014"/>
                                  </a:cubicBezTo>
                                  <a:cubicBezTo>
                                    <a:pt x="241" y="3019"/>
                                    <a:pt x="246" y="3023"/>
                                    <a:pt x="251" y="3026"/>
                                  </a:cubicBezTo>
                                  <a:cubicBezTo>
                                    <a:pt x="251" y="3026"/>
                                    <a:pt x="251" y="3026"/>
                                    <a:pt x="251" y="3026"/>
                                  </a:cubicBezTo>
                                  <a:cubicBezTo>
                                    <a:pt x="251" y="3026"/>
                                    <a:pt x="251" y="3026"/>
                                    <a:pt x="251" y="3026"/>
                                  </a:cubicBezTo>
                                  <a:cubicBezTo>
                                    <a:pt x="251" y="3026"/>
                                    <a:pt x="251" y="3026"/>
                                    <a:pt x="251" y="3026"/>
                                  </a:cubicBezTo>
                                  <a:cubicBezTo>
                                    <a:pt x="251" y="3026"/>
                                    <a:pt x="251" y="3026"/>
                                    <a:pt x="251" y="3026"/>
                                  </a:cubicBezTo>
                                  <a:cubicBezTo>
                                    <a:pt x="251" y="3026"/>
                                    <a:pt x="251" y="3026"/>
                                    <a:pt x="251" y="3026"/>
                                  </a:cubicBezTo>
                                  <a:cubicBezTo>
                                    <a:pt x="252" y="3027"/>
                                    <a:pt x="253" y="3027"/>
                                    <a:pt x="254" y="3028"/>
                                  </a:cubicBezTo>
                                  <a:cubicBezTo>
                                    <a:pt x="261" y="3032"/>
                                    <a:pt x="273" y="3039"/>
                                    <a:pt x="274" y="3050"/>
                                  </a:cubicBezTo>
                                  <a:cubicBezTo>
                                    <a:pt x="275" y="3056"/>
                                    <a:pt x="273" y="3060"/>
                                    <a:pt x="272" y="3062"/>
                                  </a:cubicBezTo>
                                  <a:cubicBezTo>
                                    <a:pt x="271" y="3062"/>
                                    <a:pt x="272" y="3061"/>
                                    <a:pt x="274" y="3063"/>
                                  </a:cubicBezTo>
                                  <a:cubicBezTo>
                                    <a:pt x="279" y="3065"/>
                                    <a:pt x="285" y="3066"/>
                                    <a:pt x="291" y="3067"/>
                                  </a:cubicBezTo>
                                  <a:cubicBezTo>
                                    <a:pt x="295" y="3067"/>
                                    <a:pt x="299" y="3068"/>
                                    <a:pt x="303" y="3069"/>
                                  </a:cubicBezTo>
                                  <a:cubicBezTo>
                                    <a:pt x="309" y="3072"/>
                                    <a:pt x="309" y="3075"/>
                                    <a:pt x="309" y="3079"/>
                                  </a:cubicBezTo>
                                  <a:cubicBezTo>
                                    <a:pt x="309" y="3080"/>
                                    <a:pt x="309" y="3082"/>
                                    <a:pt x="311" y="3085"/>
                                  </a:cubicBezTo>
                                  <a:cubicBezTo>
                                    <a:pt x="314" y="3087"/>
                                    <a:pt x="316" y="3088"/>
                                    <a:pt x="318" y="3089"/>
                                  </a:cubicBezTo>
                                  <a:cubicBezTo>
                                    <a:pt x="323" y="3091"/>
                                    <a:pt x="326" y="3092"/>
                                    <a:pt x="326" y="3100"/>
                                  </a:cubicBezTo>
                                  <a:cubicBezTo>
                                    <a:pt x="326" y="3105"/>
                                    <a:pt x="323" y="3110"/>
                                    <a:pt x="318" y="3115"/>
                                  </a:cubicBezTo>
                                  <a:cubicBezTo>
                                    <a:pt x="312" y="3119"/>
                                    <a:pt x="305" y="3123"/>
                                    <a:pt x="298" y="3126"/>
                                  </a:cubicBezTo>
                                  <a:cubicBezTo>
                                    <a:pt x="288" y="3129"/>
                                    <a:pt x="279" y="3127"/>
                                    <a:pt x="270" y="3126"/>
                                  </a:cubicBezTo>
                                  <a:cubicBezTo>
                                    <a:pt x="267" y="3126"/>
                                    <a:pt x="264" y="3126"/>
                                    <a:pt x="261" y="3125"/>
                                  </a:cubicBezTo>
                                  <a:cubicBezTo>
                                    <a:pt x="256" y="3125"/>
                                    <a:pt x="251" y="3126"/>
                                    <a:pt x="248" y="3127"/>
                                  </a:cubicBezTo>
                                  <a:cubicBezTo>
                                    <a:pt x="244" y="3127"/>
                                    <a:pt x="242" y="3128"/>
                                    <a:pt x="241" y="3129"/>
                                  </a:cubicBezTo>
                                  <a:cubicBezTo>
                                    <a:pt x="241" y="3129"/>
                                    <a:pt x="242" y="3130"/>
                                    <a:pt x="243" y="3133"/>
                                  </a:cubicBezTo>
                                  <a:cubicBezTo>
                                    <a:pt x="245" y="3135"/>
                                    <a:pt x="246" y="3137"/>
                                    <a:pt x="248" y="3140"/>
                                  </a:cubicBezTo>
                                  <a:cubicBezTo>
                                    <a:pt x="249" y="3142"/>
                                    <a:pt x="249" y="3142"/>
                                    <a:pt x="249" y="3142"/>
                                  </a:cubicBezTo>
                                  <a:cubicBezTo>
                                    <a:pt x="255" y="3151"/>
                                    <a:pt x="258" y="3156"/>
                                    <a:pt x="258" y="3169"/>
                                  </a:cubicBezTo>
                                  <a:cubicBezTo>
                                    <a:pt x="258" y="3173"/>
                                    <a:pt x="257" y="3177"/>
                                    <a:pt x="257" y="3180"/>
                                  </a:cubicBezTo>
                                  <a:cubicBezTo>
                                    <a:pt x="256" y="3185"/>
                                    <a:pt x="255" y="3189"/>
                                    <a:pt x="260" y="3194"/>
                                  </a:cubicBezTo>
                                  <a:cubicBezTo>
                                    <a:pt x="265" y="3199"/>
                                    <a:pt x="269" y="3203"/>
                                    <a:pt x="272" y="3205"/>
                                  </a:cubicBezTo>
                                  <a:cubicBezTo>
                                    <a:pt x="276" y="3207"/>
                                    <a:pt x="279" y="3209"/>
                                    <a:pt x="283" y="3208"/>
                                  </a:cubicBezTo>
                                  <a:cubicBezTo>
                                    <a:pt x="287" y="3208"/>
                                    <a:pt x="291" y="3204"/>
                                    <a:pt x="295" y="3200"/>
                                  </a:cubicBezTo>
                                  <a:cubicBezTo>
                                    <a:pt x="299" y="3196"/>
                                    <a:pt x="303" y="3192"/>
                                    <a:pt x="307" y="3191"/>
                                  </a:cubicBezTo>
                                  <a:cubicBezTo>
                                    <a:pt x="315" y="3187"/>
                                    <a:pt x="321" y="3187"/>
                                    <a:pt x="331" y="3188"/>
                                  </a:cubicBezTo>
                                  <a:cubicBezTo>
                                    <a:pt x="334" y="3188"/>
                                    <a:pt x="336" y="3188"/>
                                    <a:pt x="339" y="3188"/>
                                  </a:cubicBezTo>
                                  <a:cubicBezTo>
                                    <a:pt x="349" y="3188"/>
                                    <a:pt x="359" y="3185"/>
                                    <a:pt x="365" y="3183"/>
                                  </a:cubicBezTo>
                                  <a:cubicBezTo>
                                    <a:pt x="365" y="3183"/>
                                    <a:pt x="365" y="3183"/>
                                    <a:pt x="365" y="3183"/>
                                  </a:cubicBezTo>
                                  <a:cubicBezTo>
                                    <a:pt x="367" y="3182"/>
                                    <a:pt x="369" y="3182"/>
                                    <a:pt x="370" y="3182"/>
                                  </a:cubicBezTo>
                                  <a:cubicBezTo>
                                    <a:pt x="374" y="3181"/>
                                    <a:pt x="376" y="3180"/>
                                    <a:pt x="380" y="3181"/>
                                  </a:cubicBezTo>
                                  <a:cubicBezTo>
                                    <a:pt x="384" y="3182"/>
                                    <a:pt x="388" y="3184"/>
                                    <a:pt x="394" y="3188"/>
                                  </a:cubicBezTo>
                                  <a:cubicBezTo>
                                    <a:pt x="397" y="3189"/>
                                    <a:pt x="397" y="3189"/>
                                    <a:pt x="397" y="3189"/>
                                  </a:cubicBezTo>
                                  <a:cubicBezTo>
                                    <a:pt x="402" y="3193"/>
                                    <a:pt x="405" y="3194"/>
                                    <a:pt x="407" y="3196"/>
                                  </a:cubicBezTo>
                                  <a:cubicBezTo>
                                    <a:pt x="409" y="3199"/>
                                    <a:pt x="410" y="3202"/>
                                    <a:pt x="412" y="3208"/>
                                  </a:cubicBezTo>
                                  <a:cubicBezTo>
                                    <a:pt x="412" y="3208"/>
                                    <a:pt x="412" y="3208"/>
                                    <a:pt x="412" y="3208"/>
                                  </a:cubicBezTo>
                                  <a:cubicBezTo>
                                    <a:pt x="412" y="3208"/>
                                    <a:pt x="412" y="3208"/>
                                    <a:pt x="412" y="3208"/>
                                  </a:cubicBezTo>
                                  <a:cubicBezTo>
                                    <a:pt x="412" y="3208"/>
                                    <a:pt x="412" y="3208"/>
                                    <a:pt x="412" y="3208"/>
                                  </a:cubicBezTo>
                                  <a:cubicBezTo>
                                    <a:pt x="414" y="3216"/>
                                    <a:pt x="417" y="3218"/>
                                    <a:pt x="422" y="3222"/>
                                  </a:cubicBezTo>
                                  <a:cubicBezTo>
                                    <a:pt x="423" y="3223"/>
                                    <a:pt x="425" y="3224"/>
                                    <a:pt x="426" y="3225"/>
                                  </a:cubicBezTo>
                                  <a:cubicBezTo>
                                    <a:pt x="433" y="3231"/>
                                    <a:pt x="432" y="3235"/>
                                    <a:pt x="428" y="3240"/>
                                  </a:cubicBezTo>
                                  <a:cubicBezTo>
                                    <a:pt x="427" y="3241"/>
                                    <a:pt x="426" y="3243"/>
                                    <a:pt x="424" y="3244"/>
                                  </a:cubicBezTo>
                                  <a:cubicBezTo>
                                    <a:pt x="423" y="3245"/>
                                    <a:pt x="422" y="3246"/>
                                    <a:pt x="421" y="3248"/>
                                  </a:cubicBezTo>
                                  <a:cubicBezTo>
                                    <a:pt x="419" y="3249"/>
                                    <a:pt x="421" y="3253"/>
                                    <a:pt x="423" y="3257"/>
                                  </a:cubicBezTo>
                                  <a:cubicBezTo>
                                    <a:pt x="424" y="3261"/>
                                    <a:pt x="425" y="3264"/>
                                    <a:pt x="426" y="3268"/>
                                  </a:cubicBezTo>
                                  <a:cubicBezTo>
                                    <a:pt x="426" y="3268"/>
                                    <a:pt x="426" y="3268"/>
                                    <a:pt x="426" y="3268"/>
                                  </a:cubicBezTo>
                                  <a:cubicBezTo>
                                    <a:pt x="426" y="3274"/>
                                    <a:pt x="426" y="3277"/>
                                    <a:pt x="436" y="3278"/>
                                  </a:cubicBezTo>
                                  <a:cubicBezTo>
                                    <a:pt x="439" y="3279"/>
                                    <a:pt x="439" y="3279"/>
                                    <a:pt x="439" y="3279"/>
                                  </a:cubicBezTo>
                                  <a:cubicBezTo>
                                    <a:pt x="449" y="3280"/>
                                    <a:pt x="450" y="3280"/>
                                    <a:pt x="461" y="3280"/>
                                  </a:cubicBezTo>
                                  <a:cubicBezTo>
                                    <a:pt x="468" y="3280"/>
                                    <a:pt x="474" y="3280"/>
                                    <a:pt x="479" y="3283"/>
                                  </a:cubicBezTo>
                                  <a:cubicBezTo>
                                    <a:pt x="485" y="3285"/>
                                    <a:pt x="489" y="3290"/>
                                    <a:pt x="491" y="3296"/>
                                  </a:cubicBezTo>
                                  <a:cubicBezTo>
                                    <a:pt x="493" y="3302"/>
                                    <a:pt x="493" y="3307"/>
                                    <a:pt x="493" y="3310"/>
                                  </a:cubicBezTo>
                                  <a:cubicBezTo>
                                    <a:pt x="493" y="3314"/>
                                    <a:pt x="493" y="3318"/>
                                    <a:pt x="496" y="3322"/>
                                  </a:cubicBezTo>
                                  <a:cubicBezTo>
                                    <a:pt x="497" y="3326"/>
                                    <a:pt x="498" y="3330"/>
                                    <a:pt x="499" y="3334"/>
                                  </a:cubicBezTo>
                                  <a:cubicBezTo>
                                    <a:pt x="499" y="3339"/>
                                    <a:pt x="500" y="3344"/>
                                    <a:pt x="505" y="3346"/>
                                  </a:cubicBezTo>
                                  <a:cubicBezTo>
                                    <a:pt x="511" y="3347"/>
                                    <a:pt x="516" y="3346"/>
                                    <a:pt x="520" y="3345"/>
                                  </a:cubicBezTo>
                                  <a:cubicBezTo>
                                    <a:pt x="524" y="3344"/>
                                    <a:pt x="528" y="3343"/>
                                    <a:pt x="533" y="3344"/>
                                  </a:cubicBezTo>
                                  <a:cubicBezTo>
                                    <a:pt x="538" y="3344"/>
                                    <a:pt x="541" y="3346"/>
                                    <a:pt x="545" y="3348"/>
                                  </a:cubicBezTo>
                                  <a:cubicBezTo>
                                    <a:pt x="549" y="3350"/>
                                    <a:pt x="553" y="3352"/>
                                    <a:pt x="560" y="3352"/>
                                  </a:cubicBezTo>
                                  <a:cubicBezTo>
                                    <a:pt x="566" y="3352"/>
                                    <a:pt x="575" y="3349"/>
                                    <a:pt x="584" y="3346"/>
                                  </a:cubicBezTo>
                                  <a:cubicBezTo>
                                    <a:pt x="593" y="3344"/>
                                    <a:pt x="602" y="3341"/>
                                    <a:pt x="609" y="3341"/>
                                  </a:cubicBezTo>
                                  <a:cubicBezTo>
                                    <a:pt x="620" y="3341"/>
                                    <a:pt x="624" y="3347"/>
                                    <a:pt x="630" y="3353"/>
                                  </a:cubicBezTo>
                                  <a:cubicBezTo>
                                    <a:pt x="631" y="3355"/>
                                    <a:pt x="633" y="3358"/>
                                    <a:pt x="635" y="3360"/>
                                  </a:cubicBezTo>
                                  <a:cubicBezTo>
                                    <a:pt x="639" y="3363"/>
                                    <a:pt x="641" y="3366"/>
                                    <a:pt x="642" y="3369"/>
                                  </a:cubicBezTo>
                                  <a:cubicBezTo>
                                    <a:pt x="645" y="3373"/>
                                    <a:pt x="647" y="3376"/>
                                    <a:pt x="653" y="3378"/>
                                  </a:cubicBezTo>
                                  <a:cubicBezTo>
                                    <a:pt x="659" y="3379"/>
                                    <a:pt x="664" y="3378"/>
                                    <a:pt x="668" y="3377"/>
                                  </a:cubicBezTo>
                                  <a:cubicBezTo>
                                    <a:pt x="672" y="3376"/>
                                    <a:pt x="677" y="3375"/>
                                    <a:pt x="682" y="3376"/>
                                  </a:cubicBezTo>
                                  <a:cubicBezTo>
                                    <a:pt x="690" y="3376"/>
                                    <a:pt x="694" y="3378"/>
                                    <a:pt x="699" y="3381"/>
                                  </a:cubicBezTo>
                                  <a:cubicBezTo>
                                    <a:pt x="702" y="3383"/>
                                    <a:pt x="705" y="3385"/>
                                    <a:pt x="710" y="3386"/>
                                  </a:cubicBezTo>
                                  <a:cubicBezTo>
                                    <a:pt x="716" y="3388"/>
                                    <a:pt x="719" y="3388"/>
                                    <a:pt x="722" y="3388"/>
                                  </a:cubicBezTo>
                                  <a:cubicBezTo>
                                    <a:pt x="725" y="3388"/>
                                    <a:pt x="728" y="3388"/>
                                    <a:pt x="733" y="3389"/>
                                  </a:cubicBezTo>
                                  <a:cubicBezTo>
                                    <a:pt x="739" y="3391"/>
                                    <a:pt x="743" y="3396"/>
                                    <a:pt x="747" y="3401"/>
                                  </a:cubicBezTo>
                                  <a:cubicBezTo>
                                    <a:pt x="751" y="3405"/>
                                    <a:pt x="755" y="3410"/>
                                    <a:pt x="759" y="3411"/>
                                  </a:cubicBezTo>
                                  <a:cubicBezTo>
                                    <a:pt x="763" y="3411"/>
                                    <a:pt x="766" y="3410"/>
                                    <a:pt x="769" y="3409"/>
                                  </a:cubicBezTo>
                                  <a:cubicBezTo>
                                    <a:pt x="775" y="3407"/>
                                    <a:pt x="780" y="3406"/>
                                    <a:pt x="785" y="3413"/>
                                  </a:cubicBezTo>
                                  <a:cubicBezTo>
                                    <a:pt x="788" y="3418"/>
                                    <a:pt x="789" y="3423"/>
                                    <a:pt x="789" y="3428"/>
                                  </a:cubicBezTo>
                                  <a:cubicBezTo>
                                    <a:pt x="790" y="3433"/>
                                    <a:pt x="789" y="3437"/>
                                    <a:pt x="788" y="3441"/>
                                  </a:cubicBezTo>
                                  <a:cubicBezTo>
                                    <a:pt x="786" y="3446"/>
                                    <a:pt x="781" y="3449"/>
                                    <a:pt x="776" y="3453"/>
                                  </a:cubicBezTo>
                                  <a:cubicBezTo>
                                    <a:pt x="772" y="3455"/>
                                    <a:pt x="769" y="3457"/>
                                    <a:pt x="768" y="3458"/>
                                  </a:cubicBezTo>
                                  <a:cubicBezTo>
                                    <a:pt x="768" y="3460"/>
                                    <a:pt x="769" y="3461"/>
                                    <a:pt x="771" y="3463"/>
                                  </a:cubicBezTo>
                                  <a:cubicBezTo>
                                    <a:pt x="772" y="3465"/>
                                    <a:pt x="774" y="3467"/>
                                    <a:pt x="776" y="3470"/>
                                  </a:cubicBezTo>
                                  <a:cubicBezTo>
                                    <a:pt x="779" y="3477"/>
                                    <a:pt x="775" y="3480"/>
                                    <a:pt x="769" y="3483"/>
                                  </a:cubicBezTo>
                                  <a:cubicBezTo>
                                    <a:pt x="769" y="3483"/>
                                    <a:pt x="769" y="3483"/>
                                    <a:pt x="769" y="3483"/>
                                  </a:cubicBezTo>
                                  <a:cubicBezTo>
                                    <a:pt x="768" y="3484"/>
                                    <a:pt x="767" y="3484"/>
                                    <a:pt x="766" y="3485"/>
                                  </a:cubicBezTo>
                                  <a:cubicBezTo>
                                    <a:pt x="763" y="3486"/>
                                    <a:pt x="760" y="3488"/>
                                    <a:pt x="759" y="3488"/>
                                  </a:cubicBezTo>
                                  <a:cubicBezTo>
                                    <a:pt x="759" y="3491"/>
                                    <a:pt x="759" y="3492"/>
                                    <a:pt x="763" y="3495"/>
                                  </a:cubicBezTo>
                                  <a:cubicBezTo>
                                    <a:pt x="764" y="3496"/>
                                    <a:pt x="765" y="3498"/>
                                    <a:pt x="766" y="3498"/>
                                  </a:cubicBezTo>
                                  <a:cubicBezTo>
                                    <a:pt x="770" y="3502"/>
                                    <a:pt x="772" y="3505"/>
                                    <a:pt x="773" y="3508"/>
                                  </a:cubicBezTo>
                                  <a:cubicBezTo>
                                    <a:pt x="774" y="3511"/>
                                    <a:pt x="774" y="3514"/>
                                    <a:pt x="774" y="3519"/>
                                  </a:cubicBezTo>
                                  <a:cubicBezTo>
                                    <a:pt x="774" y="3519"/>
                                    <a:pt x="774" y="3519"/>
                                    <a:pt x="774" y="3519"/>
                                  </a:cubicBezTo>
                                  <a:cubicBezTo>
                                    <a:pt x="774" y="3520"/>
                                    <a:pt x="774" y="3520"/>
                                    <a:pt x="774" y="3520"/>
                                  </a:cubicBezTo>
                                  <a:cubicBezTo>
                                    <a:pt x="774" y="3520"/>
                                    <a:pt x="774" y="3520"/>
                                    <a:pt x="774" y="3520"/>
                                  </a:cubicBezTo>
                                  <a:cubicBezTo>
                                    <a:pt x="773" y="3529"/>
                                    <a:pt x="772" y="3535"/>
                                    <a:pt x="766" y="3544"/>
                                  </a:cubicBezTo>
                                  <a:cubicBezTo>
                                    <a:pt x="765" y="3545"/>
                                    <a:pt x="765" y="3545"/>
                                    <a:pt x="765" y="3545"/>
                                  </a:cubicBezTo>
                                  <a:cubicBezTo>
                                    <a:pt x="760" y="3553"/>
                                    <a:pt x="757" y="3557"/>
                                    <a:pt x="748" y="3557"/>
                                  </a:cubicBezTo>
                                  <a:cubicBezTo>
                                    <a:pt x="745" y="3557"/>
                                    <a:pt x="739" y="3556"/>
                                    <a:pt x="732" y="3556"/>
                                  </a:cubicBezTo>
                                  <a:cubicBezTo>
                                    <a:pt x="724" y="3555"/>
                                    <a:pt x="716" y="3555"/>
                                    <a:pt x="714" y="3555"/>
                                  </a:cubicBezTo>
                                  <a:cubicBezTo>
                                    <a:pt x="711" y="3555"/>
                                    <a:pt x="700" y="3558"/>
                                    <a:pt x="690" y="3563"/>
                                  </a:cubicBezTo>
                                  <a:cubicBezTo>
                                    <a:pt x="685" y="3566"/>
                                    <a:pt x="681" y="3569"/>
                                    <a:pt x="679" y="3572"/>
                                  </a:cubicBezTo>
                                  <a:cubicBezTo>
                                    <a:pt x="675" y="3580"/>
                                    <a:pt x="669" y="3596"/>
                                    <a:pt x="666" y="3606"/>
                                  </a:cubicBezTo>
                                  <a:cubicBezTo>
                                    <a:pt x="669" y="3606"/>
                                    <a:pt x="673" y="3605"/>
                                    <a:pt x="678" y="3603"/>
                                  </a:cubicBezTo>
                                  <a:cubicBezTo>
                                    <a:pt x="687" y="3600"/>
                                    <a:pt x="690" y="3602"/>
                                    <a:pt x="695" y="3603"/>
                                  </a:cubicBezTo>
                                  <a:cubicBezTo>
                                    <a:pt x="700" y="3604"/>
                                    <a:pt x="703" y="3606"/>
                                    <a:pt x="705" y="3603"/>
                                  </a:cubicBezTo>
                                  <a:cubicBezTo>
                                    <a:pt x="707" y="3600"/>
                                    <a:pt x="715" y="3601"/>
                                    <a:pt x="722" y="3601"/>
                                  </a:cubicBezTo>
                                  <a:cubicBezTo>
                                    <a:pt x="730" y="3601"/>
                                    <a:pt x="731" y="3602"/>
                                    <a:pt x="733" y="3608"/>
                                  </a:cubicBezTo>
                                  <a:cubicBezTo>
                                    <a:pt x="734" y="3614"/>
                                    <a:pt x="729" y="3616"/>
                                    <a:pt x="716" y="3621"/>
                                  </a:cubicBezTo>
                                  <a:cubicBezTo>
                                    <a:pt x="703" y="3627"/>
                                    <a:pt x="699" y="3628"/>
                                    <a:pt x="692" y="3631"/>
                                  </a:cubicBezTo>
                                  <a:cubicBezTo>
                                    <a:pt x="685" y="3633"/>
                                    <a:pt x="685" y="3632"/>
                                    <a:pt x="682" y="3634"/>
                                  </a:cubicBezTo>
                                  <a:cubicBezTo>
                                    <a:pt x="678" y="3636"/>
                                    <a:pt x="685" y="3642"/>
                                    <a:pt x="682" y="3645"/>
                                  </a:cubicBezTo>
                                  <a:cubicBezTo>
                                    <a:pt x="679" y="3647"/>
                                    <a:pt x="672" y="3644"/>
                                    <a:pt x="663" y="3645"/>
                                  </a:cubicBezTo>
                                  <a:cubicBezTo>
                                    <a:pt x="655" y="3646"/>
                                    <a:pt x="655" y="3647"/>
                                    <a:pt x="651" y="3646"/>
                                  </a:cubicBezTo>
                                  <a:cubicBezTo>
                                    <a:pt x="646" y="3646"/>
                                    <a:pt x="642" y="3645"/>
                                    <a:pt x="638" y="3645"/>
                                  </a:cubicBezTo>
                                  <a:cubicBezTo>
                                    <a:pt x="633" y="3646"/>
                                    <a:pt x="638" y="3650"/>
                                    <a:pt x="639" y="3654"/>
                                  </a:cubicBezTo>
                                  <a:cubicBezTo>
                                    <a:pt x="641" y="3659"/>
                                    <a:pt x="647" y="3662"/>
                                    <a:pt x="656" y="3668"/>
                                  </a:cubicBezTo>
                                  <a:cubicBezTo>
                                    <a:pt x="666" y="3674"/>
                                    <a:pt x="668" y="3676"/>
                                    <a:pt x="676" y="3680"/>
                                  </a:cubicBezTo>
                                  <a:cubicBezTo>
                                    <a:pt x="684" y="3683"/>
                                    <a:pt x="688" y="3686"/>
                                    <a:pt x="688" y="3691"/>
                                  </a:cubicBezTo>
                                  <a:cubicBezTo>
                                    <a:pt x="688" y="3695"/>
                                    <a:pt x="686" y="3693"/>
                                    <a:pt x="680" y="3692"/>
                                  </a:cubicBezTo>
                                  <a:cubicBezTo>
                                    <a:pt x="674" y="3690"/>
                                    <a:pt x="671" y="3689"/>
                                    <a:pt x="668" y="3689"/>
                                  </a:cubicBezTo>
                                  <a:cubicBezTo>
                                    <a:pt x="665" y="3689"/>
                                    <a:pt x="665" y="3692"/>
                                    <a:pt x="663" y="3699"/>
                                  </a:cubicBezTo>
                                  <a:cubicBezTo>
                                    <a:pt x="662" y="3706"/>
                                    <a:pt x="659" y="3707"/>
                                    <a:pt x="656" y="3707"/>
                                  </a:cubicBezTo>
                                  <a:cubicBezTo>
                                    <a:pt x="653" y="3706"/>
                                    <a:pt x="651" y="3699"/>
                                    <a:pt x="647" y="3704"/>
                                  </a:cubicBezTo>
                                  <a:cubicBezTo>
                                    <a:pt x="643" y="3709"/>
                                    <a:pt x="643" y="3713"/>
                                    <a:pt x="638" y="3716"/>
                                  </a:cubicBezTo>
                                  <a:cubicBezTo>
                                    <a:pt x="633" y="3718"/>
                                    <a:pt x="630" y="3722"/>
                                    <a:pt x="629" y="3727"/>
                                  </a:cubicBezTo>
                                  <a:cubicBezTo>
                                    <a:pt x="629" y="3731"/>
                                    <a:pt x="636" y="3736"/>
                                    <a:pt x="638" y="3740"/>
                                  </a:cubicBezTo>
                                  <a:cubicBezTo>
                                    <a:pt x="639" y="3744"/>
                                    <a:pt x="638" y="3744"/>
                                    <a:pt x="635" y="3750"/>
                                  </a:cubicBezTo>
                                  <a:cubicBezTo>
                                    <a:pt x="632" y="3756"/>
                                    <a:pt x="628" y="3750"/>
                                    <a:pt x="619" y="3750"/>
                                  </a:cubicBezTo>
                                  <a:cubicBezTo>
                                    <a:pt x="609" y="3750"/>
                                    <a:pt x="609" y="3749"/>
                                    <a:pt x="605" y="3747"/>
                                  </a:cubicBezTo>
                                  <a:cubicBezTo>
                                    <a:pt x="602" y="3745"/>
                                    <a:pt x="596" y="3745"/>
                                    <a:pt x="589" y="3746"/>
                                  </a:cubicBezTo>
                                  <a:cubicBezTo>
                                    <a:pt x="583" y="3748"/>
                                    <a:pt x="584" y="3750"/>
                                    <a:pt x="577" y="3752"/>
                                  </a:cubicBezTo>
                                  <a:cubicBezTo>
                                    <a:pt x="569" y="3755"/>
                                    <a:pt x="568" y="3756"/>
                                    <a:pt x="569" y="3760"/>
                                  </a:cubicBezTo>
                                  <a:cubicBezTo>
                                    <a:pt x="570" y="3763"/>
                                    <a:pt x="578" y="3763"/>
                                    <a:pt x="584" y="3769"/>
                                  </a:cubicBezTo>
                                  <a:cubicBezTo>
                                    <a:pt x="591" y="3775"/>
                                    <a:pt x="594" y="3772"/>
                                    <a:pt x="597" y="3775"/>
                                  </a:cubicBezTo>
                                  <a:cubicBezTo>
                                    <a:pt x="600" y="3777"/>
                                    <a:pt x="608" y="3785"/>
                                    <a:pt x="611" y="3792"/>
                                  </a:cubicBezTo>
                                  <a:cubicBezTo>
                                    <a:pt x="614" y="3800"/>
                                    <a:pt x="626" y="3796"/>
                                    <a:pt x="634" y="3796"/>
                                  </a:cubicBezTo>
                                  <a:cubicBezTo>
                                    <a:pt x="643" y="3796"/>
                                    <a:pt x="645" y="3799"/>
                                    <a:pt x="648" y="3803"/>
                                  </a:cubicBezTo>
                                  <a:cubicBezTo>
                                    <a:pt x="650" y="3807"/>
                                    <a:pt x="653" y="3812"/>
                                    <a:pt x="657" y="3817"/>
                                  </a:cubicBezTo>
                                  <a:cubicBezTo>
                                    <a:pt x="661" y="3821"/>
                                    <a:pt x="671" y="3822"/>
                                    <a:pt x="681" y="3822"/>
                                  </a:cubicBezTo>
                                  <a:cubicBezTo>
                                    <a:pt x="691" y="3823"/>
                                    <a:pt x="693" y="3826"/>
                                    <a:pt x="701" y="3833"/>
                                  </a:cubicBezTo>
                                  <a:cubicBezTo>
                                    <a:pt x="709" y="3840"/>
                                    <a:pt x="714" y="3842"/>
                                    <a:pt x="721" y="3849"/>
                                  </a:cubicBezTo>
                                  <a:cubicBezTo>
                                    <a:pt x="729" y="3855"/>
                                    <a:pt x="750" y="3874"/>
                                    <a:pt x="762" y="3884"/>
                                  </a:cubicBezTo>
                                  <a:cubicBezTo>
                                    <a:pt x="765" y="3887"/>
                                    <a:pt x="768" y="3889"/>
                                    <a:pt x="771" y="3891"/>
                                  </a:cubicBezTo>
                                  <a:cubicBezTo>
                                    <a:pt x="773" y="3886"/>
                                    <a:pt x="776" y="3882"/>
                                    <a:pt x="782" y="3880"/>
                                  </a:cubicBezTo>
                                  <a:cubicBezTo>
                                    <a:pt x="782" y="3880"/>
                                    <a:pt x="782" y="3880"/>
                                    <a:pt x="782" y="3880"/>
                                  </a:cubicBezTo>
                                  <a:cubicBezTo>
                                    <a:pt x="789" y="3876"/>
                                    <a:pt x="794" y="3877"/>
                                    <a:pt x="804" y="3879"/>
                                  </a:cubicBezTo>
                                  <a:cubicBezTo>
                                    <a:pt x="806" y="3879"/>
                                    <a:pt x="807" y="3880"/>
                                    <a:pt x="810" y="3880"/>
                                  </a:cubicBezTo>
                                  <a:cubicBezTo>
                                    <a:pt x="814" y="3881"/>
                                    <a:pt x="816" y="3880"/>
                                    <a:pt x="818" y="3880"/>
                                  </a:cubicBezTo>
                                  <a:cubicBezTo>
                                    <a:pt x="822" y="3879"/>
                                    <a:pt x="825" y="3878"/>
                                    <a:pt x="836" y="3884"/>
                                  </a:cubicBezTo>
                                  <a:cubicBezTo>
                                    <a:pt x="839" y="3886"/>
                                    <a:pt x="841" y="3887"/>
                                    <a:pt x="844" y="3889"/>
                                  </a:cubicBezTo>
                                  <a:cubicBezTo>
                                    <a:pt x="844" y="3889"/>
                                    <a:pt x="844" y="3889"/>
                                    <a:pt x="844" y="3889"/>
                                  </a:cubicBezTo>
                                  <a:cubicBezTo>
                                    <a:pt x="856" y="3896"/>
                                    <a:pt x="867" y="3903"/>
                                    <a:pt x="882" y="3904"/>
                                  </a:cubicBezTo>
                                  <a:cubicBezTo>
                                    <a:pt x="895" y="3905"/>
                                    <a:pt x="912" y="3904"/>
                                    <a:pt x="924" y="3904"/>
                                  </a:cubicBezTo>
                                  <a:cubicBezTo>
                                    <a:pt x="931" y="3903"/>
                                    <a:pt x="936" y="3903"/>
                                    <a:pt x="939" y="3903"/>
                                  </a:cubicBezTo>
                                  <a:cubicBezTo>
                                    <a:pt x="945" y="3903"/>
                                    <a:pt x="949" y="3906"/>
                                    <a:pt x="955" y="3911"/>
                                  </a:cubicBezTo>
                                  <a:cubicBezTo>
                                    <a:pt x="959" y="3913"/>
                                    <a:pt x="962" y="3916"/>
                                    <a:pt x="967" y="3919"/>
                                  </a:cubicBezTo>
                                  <a:cubicBezTo>
                                    <a:pt x="974" y="3923"/>
                                    <a:pt x="978" y="3924"/>
                                    <a:pt x="982" y="3925"/>
                                  </a:cubicBezTo>
                                  <a:cubicBezTo>
                                    <a:pt x="986" y="3926"/>
                                    <a:pt x="990" y="3927"/>
                                    <a:pt x="997" y="3930"/>
                                  </a:cubicBezTo>
                                  <a:cubicBezTo>
                                    <a:pt x="1006" y="3934"/>
                                    <a:pt x="1008" y="3938"/>
                                    <a:pt x="1010" y="3943"/>
                                  </a:cubicBezTo>
                                  <a:cubicBezTo>
                                    <a:pt x="1011" y="3945"/>
                                    <a:pt x="1012" y="3946"/>
                                    <a:pt x="1013" y="3947"/>
                                  </a:cubicBezTo>
                                  <a:cubicBezTo>
                                    <a:pt x="1013" y="3947"/>
                                    <a:pt x="1013" y="3947"/>
                                    <a:pt x="1013" y="3947"/>
                                  </a:cubicBezTo>
                                  <a:cubicBezTo>
                                    <a:pt x="1017" y="3949"/>
                                    <a:pt x="1021" y="3951"/>
                                    <a:pt x="1025" y="3951"/>
                                  </a:cubicBezTo>
                                  <a:cubicBezTo>
                                    <a:pt x="1029" y="3951"/>
                                    <a:pt x="1033" y="3951"/>
                                    <a:pt x="1036" y="3948"/>
                                  </a:cubicBezTo>
                                  <a:cubicBezTo>
                                    <a:pt x="1039" y="3947"/>
                                    <a:pt x="1041" y="3946"/>
                                    <a:pt x="1042" y="3944"/>
                                  </a:cubicBezTo>
                                  <a:cubicBezTo>
                                    <a:pt x="1048" y="3940"/>
                                    <a:pt x="1052" y="3938"/>
                                    <a:pt x="1061" y="3941"/>
                                  </a:cubicBezTo>
                                  <a:cubicBezTo>
                                    <a:pt x="1070" y="3945"/>
                                    <a:pt x="1073" y="3945"/>
                                    <a:pt x="1081" y="3944"/>
                                  </a:cubicBezTo>
                                  <a:cubicBezTo>
                                    <a:pt x="1083" y="3944"/>
                                    <a:pt x="1083" y="3944"/>
                                    <a:pt x="1083" y="3944"/>
                                  </a:cubicBezTo>
                                  <a:cubicBezTo>
                                    <a:pt x="1089" y="3944"/>
                                    <a:pt x="1098" y="3945"/>
                                    <a:pt x="1106" y="3948"/>
                                  </a:cubicBezTo>
                                  <a:cubicBezTo>
                                    <a:pt x="1113" y="3951"/>
                                    <a:pt x="1120" y="3954"/>
                                    <a:pt x="1124" y="3958"/>
                                  </a:cubicBezTo>
                                  <a:cubicBezTo>
                                    <a:pt x="1131" y="3965"/>
                                    <a:pt x="1129" y="3970"/>
                                    <a:pt x="1128" y="3975"/>
                                  </a:cubicBezTo>
                                  <a:cubicBezTo>
                                    <a:pt x="1127" y="3977"/>
                                    <a:pt x="1126" y="3980"/>
                                    <a:pt x="1128" y="3982"/>
                                  </a:cubicBezTo>
                                  <a:cubicBezTo>
                                    <a:pt x="1129" y="3984"/>
                                    <a:pt x="1135" y="3987"/>
                                    <a:pt x="1143" y="3991"/>
                                  </a:cubicBezTo>
                                  <a:cubicBezTo>
                                    <a:pt x="1153" y="3995"/>
                                    <a:pt x="1166" y="3999"/>
                                    <a:pt x="1173" y="4000"/>
                                  </a:cubicBezTo>
                                  <a:cubicBezTo>
                                    <a:pt x="1178" y="4001"/>
                                    <a:pt x="1184" y="4002"/>
                                    <a:pt x="1189" y="4003"/>
                                  </a:cubicBezTo>
                                  <a:cubicBezTo>
                                    <a:pt x="1194" y="4005"/>
                                    <a:pt x="1199" y="4008"/>
                                    <a:pt x="1202" y="4012"/>
                                  </a:cubicBezTo>
                                  <a:cubicBezTo>
                                    <a:pt x="1206" y="4016"/>
                                    <a:pt x="1216" y="4027"/>
                                    <a:pt x="1226" y="4037"/>
                                  </a:cubicBezTo>
                                  <a:cubicBezTo>
                                    <a:pt x="1233" y="4042"/>
                                    <a:pt x="1239" y="4047"/>
                                    <a:pt x="1242" y="4048"/>
                                  </a:cubicBezTo>
                                  <a:cubicBezTo>
                                    <a:pt x="1244" y="4049"/>
                                    <a:pt x="1244" y="4050"/>
                                    <a:pt x="1245" y="4050"/>
                                  </a:cubicBezTo>
                                  <a:cubicBezTo>
                                    <a:pt x="1251" y="4052"/>
                                    <a:pt x="1255" y="4054"/>
                                    <a:pt x="1259" y="4052"/>
                                  </a:cubicBezTo>
                                  <a:cubicBezTo>
                                    <a:pt x="1261" y="4051"/>
                                    <a:pt x="1269" y="4042"/>
                                    <a:pt x="1278" y="4033"/>
                                  </a:cubicBezTo>
                                  <a:cubicBezTo>
                                    <a:pt x="1286" y="4025"/>
                                    <a:pt x="1294" y="4017"/>
                                    <a:pt x="1300" y="4012"/>
                                  </a:cubicBezTo>
                                  <a:cubicBezTo>
                                    <a:pt x="1299" y="4011"/>
                                    <a:pt x="1298" y="4009"/>
                                    <a:pt x="1297" y="4008"/>
                                  </a:cubicBezTo>
                                  <a:cubicBezTo>
                                    <a:pt x="1284" y="3993"/>
                                    <a:pt x="1286" y="3999"/>
                                    <a:pt x="1280" y="3982"/>
                                  </a:cubicBezTo>
                                  <a:cubicBezTo>
                                    <a:pt x="1274" y="3965"/>
                                    <a:pt x="1274" y="3969"/>
                                    <a:pt x="1266" y="3959"/>
                                  </a:cubicBezTo>
                                  <a:cubicBezTo>
                                    <a:pt x="1260" y="3954"/>
                                    <a:pt x="1258" y="3950"/>
                                    <a:pt x="1255" y="3945"/>
                                  </a:cubicBezTo>
                                  <a:cubicBezTo>
                                    <a:pt x="1253" y="3941"/>
                                    <a:pt x="1246" y="3936"/>
                                    <a:pt x="1243" y="3931"/>
                                  </a:cubicBezTo>
                                  <a:cubicBezTo>
                                    <a:pt x="1240" y="3927"/>
                                    <a:pt x="1243" y="3925"/>
                                    <a:pt x="1245" y="3915"/>
                                  </a:cubicBezTo>
                                  <a:cubicBezTo>
                                    <a:pt x="1247" y="3906"/>
                                    <a:pt x="1250" y="3888"/>
                                    <a:pt x="1252" y="3881"/>
                                  </a:cubicBezTo>
                                  <a:cubicBezTo>
                                    <a:pt x="1253" y="3874"/>
                                    <a:pt x="1255" y="3871"/>
                                    <a:pt x="1253" y="3864"/>
                                  </a:cubicBezTo>
                                  <a:cubicBezTo>
                                    <a:pt x="1250" y="3857"/>
                                    <a:pt x="1244" y="3865"/>
                                    <a:pt x="1242" y="3871"/>
                                  </a:cubicBezTo>
                                  <a:cubicBezTo>
                                    <a:pt x="1240" y="3877"/>
                                    <a:pt x="1238" y="3884"/>
                                    <a:pt x="1235" y="3886"/>
                                  </a:cubicBezTo>
                                  <a:cubicBezTo>
                                    <a:pt x="1231" y="3887"/>
                                    <a:pt x="1230" y="3884"/>
                                    <a:pt x="1230" y="3878"/>
                                  </a:cubicBezTo>
                                  <a:cubicBezTo>
                                    <a:pt x="1229" y="3873"/>
                                    <a:pt x="1236" y="3866"/>
                                    <a:pt x="1235" y="3859"/>
                                  </a:cubicBezTo>
                                  <a:cubicBezTo>
                                    <a:pt x="1235" y="3851"/>
                                    <a:pt x="1232" y="3850"/>
                                    <a:pt x="1227" y="3841"/>
                                  </a:cubicBezTo>
                                  <a:cubicBezTo>
                                    <a:pt x="1222" y="3832"/>
                                    <a:pt x="1221" y="3831"/>
                                    <a:pt x="1215" y="3826"/>
                                  </a:cubicBezTo>
                                  <a:cubicBezTo>
                                    <a:pt x="1210" y="3822"/>
                                    <a:pt x="1204" y="3821"/>
                                    <a:pt x="1196" y="3820"/>
                                  </a:cubicBezTo>
                                  <a:cubicBezTo>
                                    <a:pt x="1187" y="3819"/>
                                    <a:pt x="1187" y="3815"/>
                                    <a:pt x="1187" y="3810"/>
                                  </a:cubicBezTo>
                                  <a:cubicBezTo>
                                    <a:pt x="1187" y="3805"/>
                                    <a:pt x="1196" y="3798"/>
                                    <a:pt x="1208" y="3788"/>
                                  </a:cubicBezTo>
                                  <a:cubicBezTo>
                                    <a:pt x="1220" y="3778"/>
                                    <a:pt x="1217" y="3776"/>
                                    <a:pt x="1223" y="3769"/>
                                  </a:cubicBezTo>
                                  <a:cubicBezTo>
                                    <a:pt x="1229" y="3762"/>
                                    <a:pt x="1229" y="3761"/>
                                    <a:pt x="1231" y="3751"/>
                                  </a:cubicBezTo>
                                  <a:cubicBezTo>
                                    <a:pt x="1233" y="3741"/>
                                    <a:pt x="1230" y="3733"/>
                                    <a:pt x="1233" y="3728"/>
                                  </a:cubicBezTo>
                                  <a:cubicBezTo>
                                    <a:pt x="1236" y="3722"/>
                                    <a:pt x="1240" y="3730"/>
                                    <a:pt x="1242" y="3727"/>
                                  </a:cubicBezTo>
                                  <a:cubicBezTo>
                                    <a:pt x="1244" y="3724"/>
                                    <a:pt x="1240" y="3718"/>
                                    <a:pt x="1245" y="3713"/>
                                  </a:cubicBezTo>
                                  <a:cubicBezTo>
                                    <a:pt x="1250" y="3709"/>
                                    <a:pt x="1259" y="3718"/>
                                    <a:pt x="1265" y="3719"/>
                                  </a:cubicBezTo>
                                  <a:cubicBezTo>
                                    <a:pt x="1271" y="3719"/>
                                    <a:pt x="1280" y="3719"/>
                                    <a:pt x="1288" y="3716"/>
                                  </a:cubicBezTo>
                                  <a:cubicBezTo>
                                    <a:pt x="1297" y="3714"/>
                                    <a:pt x="1298" y="3699"/>
                                    <a:pt x="1304" y="3702"/>
                                  </a:cubicBezTo>
                                  <a:cubicBezTo>
                                    <a:pt x="1310" y="3705"/>
                                    <a:pt x="1314" y="3707"/>
                                    <a:pt x="1316" y="3705"/>
                                  </a:cubicBezTo>
                                  <a:cubicBezTo>
                                    <a:pt x="1317" y="3703"/>
                                    <a:pt x="1314" y="3696"/>
                                    <a:pt x="1316" y="3690"/>
                                  </a:cubicBezTo>
                                  <a:cubicBezTo>
                                    <a:pt x="1318" y="3684"/>
                                    <a:pt x="1326" y="3689"/>
                                    <a:pt x="1334" y="3689"/>
                                  </a:cubicBezTo>
                                  <a:cubicBezTo>
                                    <a:pt x="1341" y="3689"/>
                                    <a:pt x="1344" y="3685"/>
                                    <a:pt x="1345" y="3678"/>
                                  </a:cubicBezTo>
                                  <a:cubicBezTo>
                                    <a:pt x="1338" y="3675"/>
                                    <a:pt x="1329" y="3670"/>
                                    <a:pt x="1324" y="3667"/>
                                  </a:cubicBezTo>
                                  <a:cubicBezTo>
                                    <a:pt x="1319" y="3664"/>
                                    <a:pt x="1316" y="3661"/>
                                    <a:pt x="1313" y="3658"/>
                                  </a:cubicBezTo>
                                  <a:cubicBezTo>
                                    <a:pt x="1310" y="3655"/>
                                    <a:pt x="1308" y="3651"/>
                                    <a:pt x="1308" y="3646"/>
                                  </a:cubicBezTo>
                                  <a:cubicBezTo>
                                    <a:pt x="1308" y="3639"/>
                                    <a:pt x="1313" y="3637"/>
                                    <a:pt x="1318" y="3635"/>
                                  </a:cubicBezTo>
                                  <a:cubicBezTo>
                                    <a:pt x="1318" y="3635"/>
                                    <a:pt x="1318" y="3635"/>
                                    <a:pt x="1318" y="3635"/>
                                  </a:cubicBezTo>
                                  <a:cubicBezTo>
                                    <a:pt x="1321" y="3634"/>
                                    <a:pt x="1324" y="3634"/>
                                    <a:pt x="1324" y="3632"/>
                                  </a:cubicBezTo>
                                  <a:cubicBezTo>
                                    <a:pt x="1324" y="3629"/>
                                    <a:pt x="1321" y="3626"/>
                                    <a:pt x="1316" y="3620"/>
                                  </a:cubicBezTo>
                                  <a:cubicBezTo>
                                    <a:pt x="1314" y="3617"/>
                                    <a:pt x="1311" y="3614"/>
                                    <a:pt x="1307" y="3609"/>
                                  </a:cubicBezTo>
                                  <a:cubicBezTo>
                                    <a:pt x="1302" y="3603"/>
                                    <a:pt x="1298" y="3597"/>
                                    <a:pt x="1294" y="3590"/>
                                  </a:cubicBezTo>
                                  <a:cubicBezTo>
                                    <a:pt x="1288" y="3579"/>
                                    <a:pt x="1281" y="3569"/>
                                    <a:pt x="1275" y="3567"/>
                                  </a:cubicBezTo>
                                  <a:cubicBezTo>
                                    <a:pt x="1270" y="3565"/>
                                    <a:pt x="1262" y="3566"/>
                                    <a:pt x="1254" y="3567"/>
                                  </a:cubicBezTo>
                                  <a:cubicBezTo>
                                    <a:pt x="1246" y="3568"/>
                                    <a:pt x="1237" y="3569"/>
                                    <a:pt x="1230" y="3567"/>
                                  </a:cubicBezTo>
                                  <a:cubicBezTo>
                                    <a:pt x="1218" y="3564"/>
                                    <a:pt x="1215" y="3551"/>
                                    <a:pt x="1214" y="3542"/>
                                  </a:cubicBezTo>
                                  <a:cubicBezTo>
                                    <a:pt x="1213" y="3540"/>
                                    <a:pt x="1213" y="3538"/>
                                    <a:pt x="1213" y="3536"/>
                                  </a:cubicBezTo>
                                  <a:cubicBezTo>
                                    <a:pt x="1212" y="3533"/>
                                    <a:pt x="1211" y="3530"/>
                                    <a:pt x="1209" y="3528"/>
                                  </a:cubicBezTo>
                                  <a:cubicBezTo>
                                    <a:pt x="1207" y="3526"/>
                                    <a:pt x="1204" y="3524"/>
                                    <a:pt x="1200" y="3522"/>
                                  </a:cubicBezTo>
                                  <a:cubicBezTo>
                                    <a:pt x="1194" y="3520"/>
                                    <a:pt x="1189" y="3517"/>
                                    <a:pt x="1186" y="3514"/>
                                  </a:cubicBezTo>
                                  <a:cubicBezTo>
                                    <a:pt x="1181" y="3510"/>
                                    <a:pt x="1179" y="3505"/>
                                    <a:pt x="1178" y="3499"/>
                                  </a:cubicBezTo>
                                  <a:cubicBezTo>
                                    <a:pt x="1176" y="3489"/>
                                    <a:pt x="1184" y="3479"/>
                                    <a:pt x="1190" y="3472"/>
                                  </a:cubicBezTo>
                                  <a:cubicBezTo>
                                    <a:pt x="1192" y="3470"/>
                                    <a:pt x="1193" y="3468"/>
                                    <a:pt x="1194" y="3467"/>
                                  </a:cubicBezTo>
                                  <a:cubicBezTo>
                                    <a:pt x="1194" y="3467"/>
                                    <a:pt x="1194" y="3467"/>
                                    <a:pt x="1194" y="3467"/>
                                  </a:cubicBezTo>
                                  <a:cubicBezTo>
                                    <a:pt x="1195" y="3465"/>
                                    <a:pt x="1195" y="3465"/>
                                    <a:pt x="1195" y="3465"/>
                                  </a:cubicBezTo>
                                  <a:cubicBezTo>
                                    <a:pt x="1199" y="3460"/>
                                    <a:pt x="1205" y="3451"/>
                                    <a:pt x="1202" y="3448"/>
                                  </a:cubicBezTo>
                                  <a:cubicBezTo>
                                    <a:pt x="1200" y="3444"/>
                                    <a:pt x="1198" y="3439"/>
                                    <a:pt x="1198" y="3432"/>
                                  </a:cubicBezTo>
                                  <a:cubicBezTo>
                                    <a:pt x="1198" y="3432"/>
                                    <a:pt x="1198" y="3432"/>
                                    <a:pt x="1198" y="3432"/>
                                  </a:cubicBezTo>
                                  <a:cubicBezTo>
                                    <a:pt x="1198" y="3425"/>
                                    <a:pt x="1198" y="3417"/>
                                    <a:pt x="1200" y="3406"/>
                                  </a:cubicBezTo>
                                  <a:cubicBezTo>
                                    <a:pt x="1201" y="3403"/>
                                    <a:pt x="1201" y="3403"/>
                                    <a:pt x="1201" y="3403"/>
                                  </a:cubicBezTo>
                                  <a:cubicBezTo>
                                    <a:pt x="1202" y="3395"/>
                                    <a:pt x="1203" y="3392"/>
                                    <a:pt x="1205" y="3389"/>
                                  </a:cubicBezTo>
                                  <a:cubicBezTo>
                                    <a:pt x="1206" y="3387"/>
                                    <a:pt x="1208" y="3386"/>
                                    <a:pt x="1211" y="3385"/>
                                  </a:cubicBezTo>
                                  <a:cubicBezTo>
                                    <a:pt x="1212" y="3384"/>
                                    <a:pt x="1214" y="3384"/>
                                    <a:pt x="1217" y="3382"/>
                                  </a:cubicBezTo>
                                  <a:cubicBezTo>
                                    <a:pt x="1224" y="3378"/>
                                    <a:pt x="1224" y="3374"/>
                                    <a:pt x="1224" y="3368"/>
                                  </a:cubicBezTo>
                                  <a:cubicBezTo>
                                    <a:pt x="1224" y="3366"/>
                                    <a:pt x="1224" y="3364"/>
                                    <a:pt x="1225" y="3362"/>
                                  </a:cubicBezTo>
                                  <a:cubicBezTo>
                                    <a:pt x="1225" y="3356"/>
                                    <a:pt x="1228" y="3352"/>
                                    <a:pt x="1233" y="3349"/>
                                  </a:cubicBezTo>
                                  <a:cubicBezTo>
                                    <a:pt x="1239" y="3346"/>
                                    <a:pt x="1246" y="3345"/>
                                    <a:pt x="1251" y="3345"/>
                                  </a:cubicBezTo>
                                  <a:cubicBezTo>
                                    <a:pt x="1258" y="3346"/>
                                    <a:pt x="1275" y="3363"/>
                                    <a:pt x="1287" y="3376"/>
                                  </a:cubicBezTo>
                                  <a:cubicBezTo>
                                    <a:pt x="1294" y="3384"/>
                                    <a:pt x="1300" y="3390"/>
                                    <a:pt x="1301" y="3390"/>
                                  </a:cubicBezTo>
                                  <a:cubicBezTo>
                                    <a:pt x="1302" y="3391"/>
                                    <a:pt x="1305" y="3389"/>
                                    <a:pt x="1308" y="3386"/>
                                  </a:cubicBezTo>
                                  <a:cubicBezTo>
                                    <a:pt x="1313" y="3383"/>
                                    <a:pt x="1317" y="3379"/>
                                    <a:pt x="1319" y="3376"/>
                                  </a:cubicBezTo>
                                  <a:cubicBezTo>
                                    <a:pt x="1322" y="3372"/>
                                    <a:pt x="1319" y="3366"/>
                                    <a:pt x="1315" y="3358"/>
                                  </a:cubicBezTo>
                                  <a:cubicBezTo>
                                    <a:pt x="1314" y="3356"/>
                                    <a:pt x="1313" y="3354"/>
                                    <a:pt x="1312" y="3351"/>
                                  </a:cubicBezTo>
                                  <a:cubicBezTo>
                                    <a:pt x="1309" y="3345"/>
                                    <a:pt x="1308" y="3340"/>
                                    <a:pt x="1307" y="3337"/>
                                  </a:cubicBezTo>
                                  <a:cubicBezTo>
                                    <a:pt x="1307" y="3333"/>
                                    <a:pt x="1308" y="3330"/>
                                    <a:pt x="1310" y="3326"/>
                                  </a:cubicBezTo>
                                  <a:cubicBezTo>
                                    <a:pt x="1313" y="3320"/>
                                    <a:pt x="1323" y="3318"/>
                                    <a:pt x="1333" y="3316"/>
                                  </a:cubicBezTo>
                                  <a:cubicBezTo>
                                    <a:pt x="1338" y="3315"/>
                                    <a:pt x="1343" y="3314"/>
                                    <a:pt x="1346" y="3312"/>
                                  </a:cubicBezTo>
                                  <a:cubicBezTo>
                                    <a:pt x="1351" y="3310"/>
                                    <a:pt x="1351" y="3308"/>
                                    <a:pt x="1352" y="3305"/>
                                  </a:cubicBezTo>
                                  <a:cubicBezTo>
                                    <a:pt x="1352" y="3303"/>
                                    <a:pt x="1353" y="3302"/>
                                    <a:pt x="1354" y="3300"/>
                                  </a:cubicBezTo>
                                  <a:cubicBezTo>
                                    <a:pt x="1356" y="3293"/>
                                    <a:pt x="1362" y="3291"/>
                                    <a:pt x="1371" y="3289"/>
                                  </a:cubicBezTo>
                                  <a:cubicBezTo>
                                    <a:pt x="1376" y="3288"/>
                                    <a:pt x="1382" y="3286"/>
                                    <a:pt x="1388" y="3283"/>
                                  </a:cubicBezTo>
                                  <a:cubicBezTo>
                                    <a:pt x="1397" y="3280"/>
                                    <a:pt x="1404" y="3273"/>
                                    <a:pt x="1410" y="3267"/>
                                  </a:cubicBezTo>
                                  <a:cubicBezTo>
                                    <a:pt x="1416" y="3260"/>
                                    <a:pt x="1422" y="3255"/>
                                    <a:pt x="1428" y="3253"/>
                                  </a:cubicBezTo>
                                  <a:cubicBezTo>
                                    <a:pt x="1433" y="3251"/>
                                    <a:pt x="1434" y="3248"/>
                                    <a:pt x="1435" y="3245"/>
                                  </a:cubicBezTo>
                                  <a:cubicBezTo>
                                    <a:pt x="1436" y="3242"/>
                                    <a:pt x="1436" y="3239"/>
                                    <a:pt x="1439" y="3236"/>
                                  </a:cubicBezTo>
                                  <a:cubicBezTo>
                                    <a:pt x="1446" y="3230"/>
                                    <a:pt x="1457" y="3235"/>
                                    <a:pt x="1467" y="3239"/>
                                  </a:cubicBezTo>
                                  <a:cubicBezTo>
                                    <a:pt x="1468" y="3240"/>
                                    <a:pt x="1468" y="3240"/>
                                    <a:pt x="1468" y="3240"/>
                                  </a:cubicBezTo>
                                  <a:cubicBezTo>
                                    <a:pt x="1468" y="3240"/>
                                    <a:pt x="1468" y="3240"/>
                                    <a:pt x="1468" y="3240"/>
                                  </a:cubicBezTo>
                                  <a:cubicBezTo>
                                    <a:pt x="1472" y="3242"/>
                                    <a:pt x="1474" y="3243"/>
                                    <a:pt x="1476" y="3243"/>
                                  </a:cubicBezTo>
                                  <a:cubicBezTo>
                                    <a:pt x="1479" y="3245"/>
                                    <a:pt x="1481" y="3245"/>
                                    <a:pt x="1482" y="3247"/>
                                  </a:cubicBezTo>
                                  <a:cubicBezTo>
                                    <a:pt x="1483" y="3247"/>
                                    <a:pt x="1484" y="3248"/>
                                    <a:pt x="1486" y="3249"/>
                                  </a:cubicBezTo>
                                  <a:cubicBezTo>
                                    <a:pt x="1488" y="3252"/>
                                    <a:pt x="1491" y="3255"/>
                                    <a:pt x="1496" y="3256"/>
                                  </a:cubicBezTo>
                                  <a:cubicBezTo>
                                    <a:pt x="1500" y="3256"/>
                                    <a:pt x="1503" y="3252"/>
                                    <a:pt x="1506" y="3248"/>
                                  </a:cubicBezTo>
                                  <a:cubicBezTo>
                                    <a:pt x="1507" y="3246"/>
                                    <a:pt x="1509" y="3244"/>
                                    <a:pt x="1510" y="3243"/>
                                  </a:cubicBezTo>
                                  <a:cubicBezTo>
                                    <a:pt x="1514" y="3239"/>
                                    <a:pt x="1518" y="3236"/>
                                    <a:pt x="1523" y="3235"/>
                                  </a:cubicBezTo>
                                  <a:cubicBezTo>
                                    <a:pt x="1528" y="3233"/>
                                    <a:pt x="1534" y="3233"/>
                                    <a:pt x="1540" y="3234"/>
                                  </a:cubicBezTo>
                                  <a:cubicBezTo>
                                    <a:pt x="1549" y="3236"/>
                                    <a:pt x="1552" y="3242"/>
                                    <a:pt x="1555" y="3247"/>
                                  </a:cubicBezTo>
                                  <a:cubicBezTo>
                                    <a:pt x="1556" y="3251"/>
                                    <a:pt x="1558" y="3254"/>
                                    <a:pt x="1561" y="3255"/>
                                  </a:cubicBezTo>
                                  <a:cubicBezTo>
                                    <a:pt x="1565" y="3257"/>
                                    <a:pt x="1574" y="3256"/>
                                    <a:pt x="1583" y="3255"/>
                                  </a:cubicBezTo>
                                  <a:cubicBezTo>
                                    <a:pt x="1593" y="3254"/>
                                    <a:pt x="1604" y="3253"/>
                                    <a:pt x="1610" y="3255"/>
                                  </a:cubicBezTo>
                                  <a:cubicBezTo>
                                    <a:pt x="1615" y="3256"/>
                                    <a:pt x="1625" y="3265"/>
                                    <a:pt x="1636" y="3275"/>
                                  </a:cubicBezTo>
                                  <a:cubicBezTo>
                                    <a:pt x="1650" y="3289"/>
                                    <a:pt x="1665" y="3306"/>
                                    <a:pt x="1669" y="3311"/>
                                  </a:cubicBezTo>
                                  <a:cubicBezTo>
                                    <a:pt x="1671" y="3316"/>
                                    <a:pt x="1674" y="3319"/>
                                    <a:pt x="1676" y="3320"/>
                                  </a:cubicBezTo>
                                  <a:cubicBezTo>
                                    <a:pt x="1677" y="3320"/>
                                    <a:pt x="1677" y="3320"/>
                                    <a:pt x="1678" y="3320"/>
                                  </a:cubicBezTo>
                                  <a:cubicBezTo>
                                    <a:pt x="1679" y="3320"/>
                                    <a:pt x="1679" y="3314"/>
                                    <a:pt x="1679" y="3309"/>
                                  </a:cubicBezTo>
                                  <a:cubicBezTo>
                                    <a:pt x="1679" y="3305"/>
                                    <a:pt x="1679" y="3301"/>
                                    <a:pt x="1681" y="3299"/>
                                  </a:cubicBezTo>
                                  <a:cubicBezTo>
                                    <a:pt x="1682" y="3296"/>
                                    <a:pt x="1687" y="3295"/>
                                    <a:pt x="1692" y="3296"/>
                                  </a:cubicBezTo>
                                  <a:cubicBezTo>
                                    <a:pt x="1697" y="3297"/>
                                    <a:pt x="1703" y="3299"/>
                                    <a:pt x="1708" y="3302"/>
                                  </a:cubicBezTo>
                                  <a:cubicBezTo>
                                    <a:pt x="1712" y="3304"/>
                                    <a:pt x="1718" y="3309"/>
                                    <a:pt x="1724" y="3314"/>
                                  </a:cubicBezTo>
                                  <a:cubicBezTo>
                                    <a:pt x="1734" y="3322"/>
                                    <a:pt x="1745" y="3331"/>
                                    <a:pt x="1748" y="3330"/>
                                  </a:cubicBezTo>
                                  <a:cubicBezTo>
                                    <a:pt x="1752" y="3329"/>
                                    <a:pt x="1758" y="3324"/>
                                    <a:pt x="1765" y="3319"/>
                                  </a:cubicBezTo>
                                  <a:cubicBezTo>
                                    <a:pt x="1770" y="3315"/>
                                    <a:pt x="1774" y="3312"/>
                                    <a:pt x="1778" y="3309"/>
                                  </a:cubicBezTo>
                                  <a:cubicBezTo>
                                    <a:pt x="1781" y="3307"/>
                                    <a:pt x="1783" y="3305"/>
                                    <a:pt x="1784" y="3303"/>
                                  </a:cubicBezTo>
                                  <a:cubicBezTo>
                                    <a:pt x="1788" y="3298"/>
                                    <a:pt x="1791" y="3294"/>
                                    <a:pt x="1801" y="3293"/>
                                  </a:cubicBezTo>
                                  <a:cubicBezTo>
                                    <a:pt x="1806" y="3293"/>
                                    <a:pt x="1811" y="3292"/>
                                    <a:pt x="1815" y="3291"/>
                                  </a:cubicBezTo>
                                  <a:cubicBezTo>
                                    <a:pt x="1824" y="3289"/>
                                    <a:pt x="1833" y="3288"/>
                                    <a:pt x="1841" y="3290"/>
                                  </a:cubicBezTo>
                                  <a:cubicBezTo>
                                    <a:pt x="1848" y="3292"/>
                                    <a:pt x="1851" y="3296"/>
                                    <a:pt x="1855" y="3300"/>
                                  </a:cubicBezTo>
                                  <a:cubicBezTo>
                                    <a:pt x="1858" y="3303"/>
                                    <a:pt x="1860" y="3306"/>
                                    <a:pt x="1862" y="3306"/>
                                  </a:cubicBezTo>
                                  <a:cubicBezTo>
                                    <a:pt x="1866" y="3305"/>
                                    <a:pt x="1866" y="3305"/>
                                    <a:pt x="1867" y="3304"/>
                                  </a:cubicBezTo>
                                  <a:cubicBezTo>
                                    <a:pt x="1867" y="3303"/>
                                    <a:pt x="1867" y="3303"/>
                                    <a:pt x="1867" y="3303"/>
                                  </a:cubicBezTo>
                                  <a:cubicBezTo>
                                    <a:pt x="1867" y="3303"/>
                                    <a:pt x="1867" y="3303"/>
                                    <a:pt x="1867" y="3303"/>
                                  </a:cubicBezTo>
                                  <a:cubicBezTo>
                                    <a:pt x="1867" y="3301"/>
                                    <a:pt x="1869" y="3298"/>
                                    <a:pt x="1870" y="3296"/>
                                  </a:cubicBezTo>
                                  <a:cubicBezTo>
                                    <a:pt x="1873" y="3293"/>
                                    <a:pt x="1876" y="3291"/>
                                    <a:pt x="1877" y="3290"/>
                                  </a:cubicBezTo>
                                  <a:cubicBezTo>
                                    <a:pt x="1878" y="3289"/>
                                    <a:pt x="1884" y="3288"/>
                                    <a:pt x="1891" y="3288"/>
                                  </a:cubicBezTo>
                                  <a:cubicBezTo>
                                    <a:pt x="1895" y="3287"/>
                                    <a:pt x="1900" y="3288"/>
                                    <a:pt x="1905" y="3289"/>
                                  </a:cubicBezTo>
                                  <a:cubicBezTo>
                                    <a:pt x="1911" y="3290"/>
                                    <a:pt x="1917" y="3292"/>
                                    <a:pt x="1922" y="3295"/>
                                  </a:cubicBezTo>
                                  <a:cubicBezTo>
                                    <a:pt x="1927" y="3299"/>
                                    <a:pt x="1930" y="3303"/>
                                    <a:pt x="1931" y="3308"/>
                                  </a:cubicBezTo>
                                  <a:cubicBezTo>
                                    <a:pt x="1932" y="3310"/>
                                    <a:pt x="1934" y="3313"/>
                                    <a:pt x="1936" y="3315"/>
                                  </a:cubicBezTo>
                                  <a:cubicBezTo>
                                    <a:pt x="1939" y="3318"/>
                                    <a:pt x="1943" y="3320"/>
                                    <a:pt x="1947" y="3321"/>
                                  </a:cubicBezTo>
                                  <a:cubicBezTo>
                                    <a:pt x="1950" y="3322"/>
                                    <a:pt x="1955" y="3323"/>
                                    <a:pt x="1959" y="3325"/>
                                  </a:cubicBezTo>
                                  <a:cubicBezTo>
                                    <a:pt x="1966" y="3326"/>
                                    <a:pt x="1974" y="3328"/>
                                    <a:pt x="1979" y="3331"/>
                                  </a:cubicBezTo>
                                  <a:cubicBezTo>
                                    <a:pt x="1982" y="3332"/>
                                    <a:pt x="1986" y="3333"/>
                                    <a:pt x="1990" y="3333"/>
                                  </a:cubicBezTo>
                                  <a:cubicBezTo>
                                    <a:pt x="1993" y="3332"/>
                                    <a:pt x="1996" y="3331"/>
                                    <a:pt x="1997" y="3329"/>
                                  </a:cubicBezTo>
                                  <a:cubicBezTo>
                                    <a:pt x="1998" y="3328"/>
                                    <a:pt x="2000" y="3326"/>
                                    <a:pt x="2001" y="3324"/>
                                  </a:cubicBezTo>
                                  <a:cubicBezTo>
                                    <a:pt x="2005" y="3319"/>
                                    <a:pt x="2009" y="3312"/>
                                    <a:pt x="2016" y="3312"/>
                                  </a:cubicBezTo>
                                  <a:cubicBezTo>
                                    <a:pt x="2020" y="3312"/>
                                    <a:pt x="2030" y="3315"/>
                                    <a:pt x="2039" y="3318"/>
                                  </a:cubicBezTo>
                                  <a:cubicBezTo>
                                    <a:pt x="2047" y="3320"/>
                                    <a:pt x="2054" y="3322"/>
                                    <a:pt x="2057" y="3322"/>
                                  </a:cubicBezTo>
                                  <a:cubicBezTo>
                                    <a:pt x="2060" y="3322"/>
                                    <a:pt x="2065" y="3321"/>
                                    <a:pt x="2071" y="3320"/>
                                  </a:cubicBezTo>
                                  <a:cubicBezTo>
                                    <a:pt x="2077" y="3318"/>
                                    <a:pt x="2084" y="3316"/>
                                    <a:pt x="2090" y="3313"/>
                                  </a:cubicBezTo>
                                  <a:cubicBezTo>
                                    <a:pt x="2098" y="3310"/>
                                    <a:pt x="2099" y="3308"/>
                                    <a:pt x="2100" y="3305"/>
                                  </a:cubicBezTo>
                                  <a:cubicBezTo>
                                    <a:pt x="2100" y="3304"/>
                                    <a:pt x="2101" y="3302"/>
                                    <a:pt x="2102" y="3299"/>
                                  </a:cubicBezTo>
                                  <a:cubicBezTo>
                                    <a:pt x="2105" y="3294"/>
                                    <a:pt x="2108" y="3288"/>
                                    <a:pt x="2109" y="3283"/>
                                  </a:cubicBezTo>
                                  <a:cubicBezTo>
                                    <a:pt x="2110" y="3281"/>
                                    <a:pt x="2110" y="3279"/>
                                    <a:pt x="2110" y="3278"/>
                                  </a:cubicBezTo>
                                  <a:cubicBezTo>
                                    <a:pt x="2108" y="3277"/>
                                    <a:pt x="2101" y="3274"/>
                                    <a:pt x="2095" y="3271"/>
                                  </a:cubicBezTo>
                                  <a:cubicBezTo>
                                    <a:pt x="2091" y="3269"/>
                                    <a:pt x="2086" y="3267"/>
                                    <a:pt x="2083" y="3266"/>
                                  </a:cubicBezTo>
                                  <a:cubicBezTo>
                                    <a:pt x="2081" y="3264"/>
                                    <a:pt x="2076" y="3262"/>
                                    <a:pt x="2070" y="3259"/>
                                  </a:cubicBezTo>
                                  <a:cubicBezTo>
                                    <a:pt x="2058" y="3254"/>
                                    <a:pt x="2043" y="3247"/>
                                    <a:pt x="2038" y="3242"/>
                                  </a:cubicBezTo>
                                  <a:cubicBezTo>
                                    <a:pt x="2035" y="3240"/>
                                    <a:pt x="2032" y="3238"/>
                                    <a:pt x="2029" y="3237"/>
                                  </a:cubicBezTo>
                                  <a:cubicBezTo>
                                    <a:pt x="2021" y="3233"/>
                                    <a:pt x="2014" y="3229"/>
                                    <a:pt x="2013" y="3222"/>
                                  </a:cubicBezTo>
                                  <a:cubicBezTo>
                                    <a:pt x="2013" y="3212"/>
                                    <a:pt x="2016" y="3211"/>
                                    <a:pt x="2033" y="3207"/>
                                  </a:cubicBezTo>
                                  <a:cubicBezTo>
                                    <a:pt x="2033" y="3207"/>
                                    <a:pt x="2033" y="3207"/>
                                    <a:pt x="2033" y="3207"/>
                                  </a:cubicBezTo>
                                  <a:cubicBezTo>
                                    <a:pt x="2036" y="3206"/>
                                    <a:pt x="2036" y="3206"/>
                                    <a:pt x="2036" y="3206"/>
                                  </a:cubicBezTo>
                                  <a:cubicBezTo>
                                    <a:pt x="2036" y="3206"/>
                                    <a:pt x="2036" y="3206"/>
                                    <a:pt x="2036" y="3206"/>
                                  </a:cubicBezTo>
                                  <a:cubicBezTo>
                                    <a:pt x="2050" y="3202"/>
                                    <a:pt x="2051" y="3201"/>
                                    <a:pt x="2056" y="3198"/>
                                  </a:cubicBezTo>
                                  <a:cubicBezTo>
                                    <a:pt x="2057" y="3197"/>
                                    <a:pt x="2059" y="3197"/>
                                    <a:pt x="2060" y="3196"/>
                                  </a:cubicBezTo>
                                  <a:cubicBezTo>
                                    <a:pt x="2061" y="3196"/>
                                    <a:pt x="2061" y="3195"/>
                                    <a:pt x="2061" y="3195"/>
                                  </a:cubicBezTo>
                                  <a:cubicBezTo>
                                    <a:pt x="2064" y="3194"/>
                                    <a:pt x="2066" y="3191"/>
                                    <a:pt x="2066" y="3189"/>
                                  </a:cubicBezTo>
                                  <a:cubicBezTo>
                                    <a:pt x="2067" y="3187"/>
                                    <a:pt x="2066" y="3184"/>
                                    <a:pt x="2065" y="3180"/>
                                  </a:cubicBezTo>
                                  <a:cubicBezTo>
                                    <a:pt x="2064" y="3180"/>
                                    <a:pt x="2064" y="3180"/>
                                    <a:pt x="2064" y="3179"/>
                                  </a:cubicBezTo>
                                  <a:cubicBezTo>
                                    <a:pt x="2061" y="3174"/>
                                    <a:pt x="2059" y="3170"/>
                                    <a:pt x="2058" y="3167"/>
                                  </a:cubicBezTo>
                                  <a:cubicBezTo>
                                    <a:pt x="2057" y="3163"/>
                                    <a:pt x="2057" y="3160"/>
                                    <a:pt x="2059" y="3155"/>
                                  </a:cubicBezTo>
                                  <a:cubicBezTo>
                                    <a:pt x="2061" y="3151"/>
                                    <a:pt x="2065" y="3146"/>
                                    <a:pt x="2070" y="3142"/>
                                  </a:cubicBezTo>
                                  <a:cubicBezTo>
                                    <a:pt x="2074" y="3138"/>
                                    <a:pt x="2080" y="3134"/>
                                    <a:pt x="2083" y="3133"/>
                                  </a:cubicBezTo>
                                  <a:cubicBezTo>
                                    <a:pt x="2088" y="3132"/>
                                    <a:pt x="2095" y="3133"/>
                                    <a:pt x="2103" y="3133"/>
                                  </a:cubicBezTo>
                                  <a:cubicBezTo>
                                    <a:pt x="2107" y="3134"/>
                                    <a:pt x="2112" y="3134"/>
                                    <a:pt x="2116" y="3134"/>
                                  </a:cubicBezTo>
                                  <a:cubicBezTo>
                                    <a:pt x="2116" y="3134"/>
                                    <a:pt x="2116" y="3134"/>
                                    <a:pt x="2116" y="3134"/>
                                  </a:cubicBezTo>
                                  <a:cubicBezTo>
                                    <a:pt x="2117" y="3134"/>
                                    <a:pt x="2117" y="3134"/>
                                    <a:pt x="2117" y="3134"/>
                                  </a:cubicBezTo>
                                  <a:cubicBezTo>
                                    <a:pt x="2128" y="3135"/>
                                    <a:pt x="2136" y="3135"/>
                                    <a:pt x="2136" y="3134"/>
                                  </a:cubicBezTo>
                                  <a:cubicBezTo>
                                    <a:pt x="2136" y="3133"/>
                                    <a:pt x="2135" y="3132"/>
                                    <a:pt x="2128" y="3128"/>
                                  </a:cubicBezTo>
                                  <a:cubicBezTo>
                                    <a:pt x="2125" y="3127"/>
                                    <a:pt x="2125" y="3127"/>
                                    <a:pt x="2125" y="3127"/>
                                  </a:cubicBezTo>
                                  <a:cubicBezTo>
                                    <a:pt x="2125" y="3127"/>
                                    <a:pt x="2125" y="3127"/>
                                    <a:pt x="2125" y="3127"/>
                                  </a:cubicBezTo>
                                  <a:cubicBezTo>
                                    <a:pt x="2120" y="3124"/>
                                    <a:pt x="2112" y="3122"/>
                                    <a:pt x="2105" y="3119"/>
                                  </a:cubicBezTo>
                                  <a:cubicBezTo>
                                    <a:pt x="2098" y="3117"/>
                                    <a:pt x="2091" y="3115"/>
                                    <a:pt x="2088" y="3113"/>
                                  </a:cubicBezTo>
                                  <a:cubicBezTo>
                                    <a:pt x="2087" y="3112"/>
                                    <a:pt x="2087" y="3112"/>
                                    <a:pt x="2086" y="3111"/>
                                  </a:cubicBezTo>
                                  <a:cubicBezTo>
                                    <a:pt x="2086" y="3111"/>
                                    <a:pt x="2086" y="3111"/>
                                    <a:pt x="2086" y="3111"/>
                                  </a:cubicBezTo>
                                  <a:cubicBezTo>
                                    <a:pt x="2085" y="3109"/>
                                    <a:pt x="2085" y="3107"/>
                                    <a:pt x="2085" y="3105"/>
                                  </a:cubicBezTo>
                                  <a:cubicBezTo>
                                    <a:pt x="2085" y="3104"/>
                                    <a:pt x="2086" y="3102"/>
                                    <a:pt x="2087" y="3101"/>
                                  </a:cubicBezTo>
                                  <a:cubicBezTo>
                                    <a:pt x="2089" y="3097"/>
                                    <a:pt x="2094" y="3094"/>
                                    <a:pt x="2096" y="3092"/>
                                  </a:cubicBezTo>
                                  <a:cubicBezTo>
                                    <a:pt x="2097" y="3092"/>
                                    <a:pt x="2097" y="3091"/>
                                    <a:pt x="2097" y="3091"/>
                                  </a:cubicBezTo>
                                  <a:cubicBezTo>
                                    <a:pt x="2097" y="3091"/>
                                    <a:pt x="2097" y="3091"/>
                                    <a:pt x="2097" y="3091"/>
                                  </a:cubicBezTo>
                                  <a:cubicBezTo>
                                    <a:pt x="2097" y="3090"/>
                                    <a:pt x="2096" y="3090"/>
                                    <a:pt x="2095" y="3090"/>
                                  </a:cubicBezTo>
                                  <a:cubicBezTo>
                                    <a:pt x="2094" y="3090"/>
                                    <a:pt x="2092" y="3090"/>
                                    <a:pt x="2091" y="3090"/>
                                  </a:cubicBezTo>
                                  <a:cubicBezTo>
                                    <a:pt x="2087" y="3090"/>
                                    <a:pt x="2083" y="3088"/>
                                    <a:pt x="2079" y="3087"/>
                                  </a:cubicBezTo>
                                  <a:cubicBezTo>
                                    <a:pt x="2075" y="3085"/>
                                    <a:pt x="2073" y="3082"/>
                                    <a:pt x="2073" y="3078"/>
                                  </a:cubicBezTo>
                                  <a:cubicBezTo>
                                    <a:pt x="2073" y="3078"/>
                                    <a:pt x="2073" y="3078"/>
                                    <a:pt x="2073" y="3078"/>
                                  </a:cubicBezTo>
                                  <a:cubicBezTo>
                                    <a:pt x="2073" y="3078"/>
                                    <a:pt x="2073" y="3078"/>
                                    <a:pt x="2073" y="3077"/>
                                  </a:cubicBezTo>
                                  <a:cubicBezTo>
                                    <a:pt x="2073" y="3074"/>
                                    <a:pt x="2075" y="3071"/>
                                    <a:pt x="2078" y="3069"/>
                                  </a:cubicBezTo>
                                  <a:cubicBezTo>
                                    <a:pt x="2078" y="3068"/>
                                    <a:pt x="2080" y="3069"/>
                                    <a:pt x="2080" y="3068"/>
                                  </a:cubicBezTo>
                                  <a:cubicBezTo>
                                    <a:pt x="2079" y="3067"/>
                                    <a:pt x="2079" y="3067"/>
                                    <a:pt x="2079" y="3067"/>
                                  </a:cubicBezTo>
                                  <a:cubicBezTo>
                                    <a:pt x="2075" y="3062"/>
                                    <a:pt x="2071" y="3057"/>
                                    <a:pt x="2077" y="3051"/>
                                  </a:cubicBezTo>
                                  <a:cubicBezTo>
                                    <a:pt x="2079" y="3049"/>
                                    <a:pt x="2086" y="3045"/>
                                    <a:pt x="2093" y="3042"/>
                                  </a:cubicBezTo>
                                  <a:cubicBezTo>
                                    <a:pt x="2098" y="3041"/>
                                    <a:pt x="2103" y="3039"/>
                                    <a:pt x="2107" y="3040"/>
                                  </a:cubicBezTo>
                                  <a:cubicBezTo>
                                    <a:pt x="2111" y="3041"/>
                                    <a:pt x="2113" y="3042"/>
                                    <a:pt x="2115" y="3044"/>
                                  </a:cubicBezTo>
                                  <a:cubicBezTo>
                                    <a:pt x="2116" y="3044"/>
                                    <a:pt x="2117" y="3045"/>
                                    <a:pt x="2120" y="3045"/>
                                  </a:cubicBezTo>
                                  <a:cubicBezTo>
                                    <a:pt x="2123" y="3045"/>
                                    <a:pt x="2128" y="3045"/>
                                    <a:pt x="2132" y="3045"/>
                                  </a:cubicBezTo>
                                  <a:cubicBezTo>
                                    <a:pt x="2136" y="3045"/>
                                    <a:pt x="2141" y="3045"/>
                                    <a:pt x="2144" y="3045"/>
                                  </a:cubicBezTo>
                                  <a:cubicBezTo>
                                    <a:pt x="2145" y="3045"/>
                                    <a:pt x="2146" y="3045"/>
                                    <a:pt x="2148" y="3045"/>
                                  </a:cubicBezTo>
                                  <a:cubicBezTo>
                                    <a:pt x="2154" y="3044"/>
                                    <a:pt x="2162" y="3044"/>
                                    <a:pt x="2167" y="3049"/>
                                  </a:cubicBezTo>
                                  <a:cubicBezTo>
                                    <a:pt x="2167" y="3049"/>
                                    <a:pt x="2167" y="3049"/>
                                    <a:pt x="2167" y="3049"/>
                                  </a:cubicBezTo>
                                  <a:cubicBezTo>
                                    <a:pt x="2168" y="3051"/>
                                    <a:pt x="2169" y="3052"/>
                                    <a:pt x="2170" y="3054"/>
                                  </a:cubicBezTo>
                                  <a:cubicBezTo>
                                    <a:pt x="2171" y="3053"/>
                                    <a:pt x="2173" y="3050"/>
                                    <a:pt x="2174" y="3048"/>
                                  </a:cubicBezTo>
                                  <a:cubicBezTo>
                                    <a:pt x="2174" y="3048"/>
                                    <a:pt x="2174" y="3048"/>
                                    <a:pt x="2174" y="3048"/>
                                  </a:cubicBezTo>
                                  <a:cubicBezTo>
                                    <a:pt x="2175" y="3044"/>
                                    <a:pt x="2177" y="3041"/>
                                    <a:pt x="2180" y="3039"/>
                                  </a:cubicBezTo>
                                  <a:cubicBezTo>
                                    <a:pt x="2183" y="3038"/>
                                    <a:pt x="2198" y="3035"/>
                                    <a:pt x="2212" y="3032"/>
                                  </a:cubicBezTo>
                                  <a:cubicBezTo>
                                    <a:pt x="2223" y="3030"/>
                                    <a:pt x="2234" y="3028"/>
                                    <a:pt x="2237" y="3027"/>
                                  </a:cubicBezTo>
                                  <a:cubicBezTo>
                                    <a:pt x="2241" y="3026"/>
                                    <a:pt x="2241" y="3026"/>
                                    <a:pt x="2241" y="3026"/>
                                  </a:cubicBezTo>
                                  <a:cubicBezTo>
                                    <a:pt x="2251" y="3023"/>
                                    <a:pt x="2267" y="3018"/>
                                    <a:pt x="2277" y="3017"/>
                                  </a:cubicBezTo>
                                  <a:cubicBezTo>
                                    <a:pt x="2284" y="3016"/>
                                    <a:pt x="2291" y="3017"/>
                                    <a:pt x="2299" y="3017"/>
                                  </a:cubicBezTo>
                                  <a:cubicBezTo>
                                    <a:pt x="2307" y="3018"/>
                                    <a:pt x="2316" y="3019"/>
                                    <a:pt x="2324" y="3018"/>
                                  </a:cubicBezTo>
                                  <a:cubicBezTo>
                                    <a:pt x="2333" y="3018"/>
                                    <a:pt x="2333" y="3013"/>
                                    <a:pt x="2333" y="3010"/>
                                  </a:cubicBezTo>
                                  <a:cubicBezTo>
                                    <a:pt x="2332" y="3008"/>
                                    <a:pt x="2332" y="3005"/>
                                    <a:pt x="2333" y="3003"/>
                                  </a:cubicBezTo>
                                  <a:cubicBezTo>
                                    <a:pt x="2335" y="3000"/>
                                    <a:pt x="2338" y="2998"/>
                                    <a:pt x="2342" y="2996"/>
                                  </a:cubicBezTo>
                                  <a:cubicBezTo>
                                    <a:pt x="2345" y="2995"/>
                                    <a:pt x="2349" y="2993"/>
                                    <a:pt x="2354" y="2992"/>
                                  </a:cubicBezTo>
                                  <a:cubicBezTo>
                                    <a:pt x="2361" y="2991"/>
                                    <a:pt x="2375" y="2991"/>
                                    <a:pt x="2386" y="2991"/>
                                  </a:cubicBezTo>
                                  <a:cubicBezTo>
                                    <a:pt x="2391" y="2991"/>
                                    <a:pt x="2395" y="2991"/>
                                    <a:pt x="2398" y="2990"/>
                                  </a:cubicBezTo>
                                  <a:cubicBezTo>
                                    <a:pt x="2400" y="2990"/>
                                    <a:pt x="2407" y="2989"/>
                                    <a:pt x="2414" y="2987"/>
                                  </a:cubicBezTo>
                                  <a:cubicBezTo>
                                    <a:pt x="2423" y="2984"/>
                                    <a:pt x="2432" y="2981"/>
                                    <a:pt x="2438" y="2979"/>
                                  </a:cubicBezTo>
                                  <a:cubicBezTo>
                                    <a:pt x="2444" y="2977"/>
                                    <a:pt x="2454" y="2974"/>
                                    <a:pt x="2464" y="2971"/>
                                  </a:cubicBezTo>
                                  <a:cubicBezTo>
                                    <a:pt x="2475" y="2969"/>
                                    <a:pt x="2485" y="2967"/>
                                    <a:pt x="2489" y="2967"/>
                                  </a:cubicBezTo>
                                  <a:cubicBezTo>
                                    <a:pt x="2493" y="2966"/>
                                    <a:pt x="2502" y="2965"/>
                                    <a:pt x="2510" y="2963"/>
                                  </a:cubicBezTo>
                                  <a:cubicBezTo>
                                    <a:pt x="2516" y="2961"/>
                                    <a:pt x="2521" y="2960"/>
                                    <a:pt x="2523" y="2958"/>
                                  </a:cubicBezTo>
                                  <a:cubicBezTo>
                                    <a:pt x="2526" y="2956"/>
                                    <a:pt x="2526" y="2956"/>
                                    <a:pt x="2526" y="2956"/>
                                  </a:cubicBezTo>
                                  <a:cubicBezTo>
                                    <a:pt x="2532" y="2951"/>
                                    <a:pt x="2542" y="2944"/>
                                    <a:pt x="2545" y="2940"/>
                                  </a:cubicBezTo>
                                  <a:cubicBezTo>
                                    <a:pt x="2547" y="2938"/>
                                    <a:pt x="2549" y="2935"/>
                                    <a:pt x="2552" y="2933"/>
                                  </a:cubicBezTo>
                                  <a:cubicBezTo>
                                    <a:pt x="2552" y="2933"/>
                                    <a:pt x="2552" y="2933"/>
                                    <a:pt x="2552" y="2933"/>
                                  </a:cubicBezTo>
                                  <a:cubicBezTo>
                                    <a:pt x="2556" y="2931"/>
                                    <a:pt x="2560" y="2930"/>
                                    <a:pt x="2566" y="2930"/>
                                  </a:cubicBezTo>
                                  <a:cubicBezTo>
                                    <a:pt x="2569" y="2930"/>
                                    <a:pt x="2573" y="2930"/>
                                    <a:pt x="2578" y="2930"/>
                                  </a:cubicBezTo>
                                  <a:cubicBezTo>
                                    <a:pt x="2592" y="2930"/>
                                    <a:pt x="2613" y="2929"/>
                                    <a:pt x="2622" y="2935"/>
                                  </a:cubicBezTo>
                                  <a:cubicBezTo>
                                    <a:pt x="2626" y="2937"/>
                                    <a:pt x="2630" y="2940"/>
                                    <a:pt x="2633" y="2942"/>
                                  </a:cubicBezTo>
                                  <a:cubicBezTo>
                                    <a:pt x="2638" y="2946"/>
                                    <a:pt x="2642" y="2949"/>
                                    <a:pt x="2643" y="2948"/>
                                  </a:cubicBezTo>
                                  <a:cubicBezTo>
                                    <a:pt x="2645" y="2947"/>
                                    <a:pt x="2647" y="2945"/>
                                    <a:pt x="2649" y="2943"/>
                                  </a:cubicBezTo>
                                  <a:cubicBezTo>
                                    <a:pt x="2649" y="2943"/>
                                    <a:pt x="2649" y="2943"/>
                                    <a:pt x="2649" y="2943"/>
                                  </a:cubicBezTo>
                                  <a:cubicBezTo>
                                    <a:pt x="2652" y="2939"/>
                                    <a:pt x="2654" y="2935"/>
                                    <a:pt x="2659" y="2935"/>
                                  </a:cubicBezTo>
                                  <a:cubicBezTo>
                                    <a:pt x="2660" y="2935"/>
                                    <a:pt x="2661" y="2935"/>
                                    <a:pt x="2662" y="2934"/>
                                  </a:cubicBezTo>
                                  <a:cubicBezTo>
                                    <a:pt x="2669" y="2934"/>
                                    <a:pt x="2679" y="2932"/>
                                    <a:pt x="2686" y="2938"/>
                                  </a:cubicBezTo>
                                  <a:cubicBezTo>
                                    <a:pt x="2692" y="2942"/>
                                    <a:pt x="2694" y="2947"/>
                                    <a:pt x="2696" y="2953"/>
                                  </a:cubicBezTo>
                                  <a:cubicBezTo>
                                    <a:pt x="2697" y="2956"/>
                                    <a:pt x="2698" y="2958"/>
                                    <a:pt x="2699" y="2960"/>
                                  </a:cubicBezTo>
                                  <a:cubicBezTo>
                                    <a:pt x="2700" y="2963"/>
                                    <a:pt x="2702" y="2966"/>
                                    <a:pt x="2703" y="2969"/>
                                  </a:cubicBezTo>
                                  <a:cubicBezTo>
                                    <a:pt x="2706" y="2974"/>
                                    <a:pt x="2709" y="2979"/>
                                    <a:pt x="2710" y="2983"/>
                                  </a:cubicBezTo>
                                  <a:cubicBezTo>
                                    <a:pt x="2712" y="2989"/>
                                    <a:pt x="2710" y="2992"/>
                                    <a:pt x="2709" y="2994"/>
                                  </a:cubicBezTo>
                                  <a:cubicBezTo>
                                    <a:pt x="2709" y="2995"/>
                                    <a:pt x="2709" y="2996"/>
                                    <a:pt x="2708" y="2996"/>
                                  </a:cubicBezTo>
                                  <a:cubicBezTo>
                                    <a:pt x="2708" y="2998"/>
                                    <a:pt x="2708" y="3002"/>
                                    <a:pt x="2708" y="3005"/>
                                  </a:cubicBezTo>
                                  <a:cubicBezTo>
                                    <a:pt x="2708" y="3008"/>
                                    <a:pt x="2708" y="3011"/>
                                    <a:pt x="2708" y="3013"/>
                                  </a:cubicBezTo>
                                  <a:cubicBezTo>
                                    <a:pt x="2708" y="3018"/>
                                    <a:pt x="2706" y="3020"/>
                                    <a:pt x="2704" y="3023"/>
                                  </a:cubicBezTo>
                                  <a:cubicBezTo>
                                    <a:pt x="2704" y="3023"/>
                                    <a:pt x="2704" y="3023"/>
                                    <a:pt x="2704" y="3023"/>
                                  </a:cubicBezTo>
                                  <a:cubicBezTo>
                                    <a:pt x="2703" y="3024"/>
                                    <a:pt x="2703" y="3024"/>
                                    <a:pt x="2703" y="3024"/>
                                  </a:cubicBezTo>
                                  <a:cubicBezTo>
                                    <a:pt x="2703" y="3025"/>
                                    <a:pt x="2703" y="3026"/>
                                    <a:pt x="2704" y="3027"/>
                                  </a:cubicBezTo>
                                  <a:cubicBezTo>
                                    <a:pt x="2706" y="3029"/>
                                    <a:pt x="2708" y="3032"/>
                                    <a:pt x="2711" y="3034"/>
                                  </a:cubicBezTo>
                                  <a:cubicBezTo>
                                    <a:pt x="2712" y="3035"/>
                                    <a:pt x="2715" y="3034"/>
                                    <a:pt x="2719" y="3034"/>
                                  </a:cubicBezTo>
                                  <a:cubicBezTo>
                                    <a:pt x="2722" y="3033"/>
                                    <a:pt x="2726" y="3032"/>
                                    <a:pt x="2731" y="3032"/>
                                  </a:cubicBezTo>
                                  <a:cubicBezTo>
                                    <a:pt x="2737" y="3032"/>
                                    <a:pt x="2744" y="3031"/>
                                    <a:pt x="2750" y="3030"/>
                                  </a:cubicBezTo>
                                  <a:cubicBezTo>
                                    <a:pt x="2758" y="3029"/>
                                    <a:pt x="2765" y="3028"/>
                                    <a:pt x="2769" y="3028"/>
                                  </a:cubicBezTo>
                                  <a:cubicBezTo>
                                    <a:pt x="2774" y="3029"/>
                                    <a:pt x="2778" y="3035"/>
                                    <a:pt x="2781" y="3039"/>
                                  </a:cubicBezTo>
                                  <a:cubicBezTo>
                                    <a:pt x="2783" y="3042"/>
                                    <a:pt x="2784" y="3045"/>
                                    <a:pt x="2784" y="3045"/>
                                  </a:cubicBezTo>
                                  <a:cubicBezTo>
                                    <a:pt x="2785" y="3045"/>
                                    <a:pt x="2786" y="3044"/>
                                    <a:pt x="2787" y="3043"/>
                                  </a:cubicBezTo>
                                  <a:cubicBezTo>
                                    <a:pt x="2792" y="3040"/>
                                    <a:pt x="2798" y="3037"/>
                                    <a:pt x="2806" y="3038"/>
                                  </a:cubicBezTo>
                                  <a:cubicBezTo>
                                    <a:pt x="2811" y="3039"/>
                                    <a:pt x="2814" y="3041"/>
                                    <a:pt x="2817" y="3042"/>
                                  </a:cubicBezTo>
                                  <a:cubicBezTo>
                                    <a:pt x="2821" y="3043"/>
                                    <a:pt x="2824" y="3044"/>
                                    <a:pt x="2829" y="3044"/>
                                  </a:cubicBezTo>
                                  <a:cubicBezTo>
                                    <a:pt x="2834" y="3044"/>
                                    <a:pt x="2840" y="3043"/>
                                    <a:pt x="2846" y="3042"/>
                                  </a:cubicBezTo>
                                  <a:cubicBezTo>
                                    <a:pt x="2853" y="3041"/>
                                    <a:pt x="2859" y="3040"/>
                                    <a:pt x="2861" y="3041"/>
                                  </a:cubicBezTo>
                                  <a:cubicBezTo>
                                    <a:pt x="2861" y="3041"/>
                                    <a:pt x="2861" y="3041"/>
                                    <a:pt x="2861" y="3041"/>
                                  </a:cubicBezTo>
                                  <a:cubicBezTo>
                                    <a:pt x="2863" y="3041"/>
                                    <a:pt x="2864" y="3042"/>
                                    <a:pt x="2865" y="3045"/>
                                  </a:cubicBezTo>
                                  <a:cubicBezTo>
                                    <a:pt x="2866" y="3046"/>
                                    <a:pt x="2866" y="3049"/>
                                    <a:pt x="2865" y="3052"/>
                                  </a:cubicBezTo>
                                  <a:cubicBezTo>
                                    <a:pt x="2865" y="3052"/>
                                    <a:pt x="2865" y="3052"/>
                                    <a:pt x="2865" y="3052"/>
                                  </a:cubicBezTo>
                                  <a:cubicBezTo>
                                    <a:pt x="2864" y="3055"/>
                                    <a:pt x="2860" y="3059"/>
                                    <a:pt x="2854" y="3064"/>
                                  </a:cubicBezTo>
                                  <a:cubicBezTo>
                                    <a:pt x="2848" y="3070"/>
                                    <a:pt x="2840" y="3078"/>
                                    <a:pt x="2840" y="3080"/>
                                  </a:cubicBezTo>
                                  <a:cubicBezTo>
                                    <a:pt x="2840" y="3083"/>
                                    <a:pt x="2841" y="3087"/>
                                    <a:pt x="2843" y="3090"/>
                                  </a:cubicBezTo>
                                  <a:cubicBezTo>
                                    <a:pt x="2844" y="3092"/>
                                    <a:pt x="2847" y="3094"/>
                                    <a:pt x="2849" y="3094"/>
                                  </a:cubicBezTo>
                                  <a:cubicBezTo>
                                    <a:pt x="2853" y="3095"/>
                                    <a:pt x="2855" y="3093"/>
                                    <a:pt x="2857" y="3091"/>
                                  </a:cubicBezTo>
                                  <a:cubicBezTo>
                                    <a:pt x="2860" y="3088"/>
                                    <a:pt x="2862" y="3086"/>
                                    <a:pt x="2866" y="3085"/>
                                  </a:cubicBezTo>
                                  <a:cubicBezTo>
                                    <a:pt x="2871" y="3083"/>
                                    <a:pt x="2874" y="3083"/>
                                    <a:pt x="2877" y="3084"/>
                                  </a:cubicBezTo>
                                  <a:cubicBezTo>
                                    <a:pt x="2880" y="3085"/>
                                    <a:pt x="2883" y="3087"/>
                                    <a:pt x="2887" y="3089"/>
                                  </a:cubicBezTo>
                                  <a:cubicBezTo>
                                    <a:pt x="2889" y="3090"/>
                                    <a:pt x="2890" y="3091"/>
                                    <a:pt x="2891" y="3091"/>
                                  </a:cubicBezTo>
                                  <a:cubicBezTo>
                                    <a:pt x="2893" y="3092"/>
                                    <a:pt x="2894" y="3092"/>
                                    <a:pt x="2895" y="3092"/>
                                  </a:cubicBezTo>
                                  <a:cubicBezTo>
                                    <a:pt x="2896" y="3091"/>
                                    <a:pt x="2897" y="3091"/>
                                    <a:pt x="2897" y="3090"/>
                                  </a:cubicBezTo>
                                  <a:cubicBezTo>
                                    <a:pt x="2897" y="3090"/>
                                    <a:pt x="2898" y="3089"/>
                                    <a:pt x="2898" y="3089"/>
                                  </a:cubicBezTo>
                                  <a:cubicBezTo>
                                    <a:pt x="2898" y="3087"/>
                                    <a:pt x="2898" y="3086"/>
                                    <a:pt x="2899" y="3084"/>
                                  </a:cubicBezTo>
                                  <a:cubicBezTo>
                                    <a:pt x="2900" y="3078"/>
                                    <a:pt x="2901" y="3073"/>
                                    <a:pt x="2910" y="3069"/>
                                  </a:cubicBezTo>
                                  <a:cubicBezTo>
                                    <a:pt x="2919" y="3064"/>
                                    <a:pt x="2946" y="3053"/>
                                    <a:pt x="2962" y="3046"/>
                                  </a:cubicBezTo>
                                  <a:cubicBezTo>
                                    <a:pt x="2968" y="3043"/>
                                    <a:pt x="2972" y="3041"/>
                                    <a:pt x="2974" y="3041"/>
                                  </a:cubicBezTo>
                                  <a:cubicBezTo>
                                    <a:pt x="2975" y="3040"/>
                                    <a:pt x="2983" y="3036"/>
                                    <a:pt x="2992" y="3031"/>
                                  </a:cubicBezTo>
                                  <a:cubicBezTo>
                                    <a:pt x="3011" y="3022"/>
                                    <a:pt x="3038" y="3008"/>
                                    <a:pt x="3045" y="3005"/>
                                  </a:cubicBezTo>
                                  <a:cubicBezTo>
                                    <a:pt x="3045" y="3005"/>
                                    <a:pt x="3045" y="3005"/>
                                    <a:pt x="3045" y="3005"/>
                                  </a:cubicBezTo>
                                  <a:cubicBezTo>
                                    <a:pt x="3046" y="3005"/>
                                    <a:pt x="3047" y="3004"/>
                                    <a:pt x="3049" y="3004"/>
                                  </a:cubicBezTo>
                                  <a:cubicBezTo>
                                    <a:pt x="3049" y="3004"/>
                                    <a:pt x="3049" y="3004"/>
                                    <a:pt x="3049" y="3004"/>
                                  </a:cubicBezTo>
                                  <a:cubicBezTo>
                                    <a:pt x="3057" y="3000"/>
                                    <a:pt x="3059" y="3000"/>
                                    <a:pt x="3063" y="3005"/>
                                  </a:cubicBezTo>
                                  <a:cubicBezTo>
                                    <a:pt x="3068" y="3011"/>
                                    <a:pt x="3063" y="3016"/>
                                    <a:pt x="3056" y="3024"/>
                                  </a:cubicBezTo>
                                  <a:cubicBezTo>
                                    <a:pt x="3055" y="3025"/>
                                    <a:pt x="3055" y="3025"/>
                                    <a:pt x="3055" y="3025"/>
                                  </a:cubicBezTo>
                                  <a:cubicBezTo>
                                    <a:pt x="3052" y="3028"/>
                                    <a:pt x="3051" y="3030"/>
                                    <a:pt x="3050" y="3032"/>
                                  </a:cubicBezTo>
                                  <a:cubicBezTo>
                                    <a:pt x="3049" y="3034"/>
                                    <a:pt x="3048" y="3035"/>
                                    <a:pt x="3046" y="3037"/>
                                  </a:cubicBezTo>
                                  <a:cubicBezTo>
                                    <a:pt x="3045" y="3037"/>
                                    <a:pt x="3045" y="3039"/>
                                    <a:pt x="3045" y="3041"/>
                                  </a:cubicBezTo>
                                  <a:cubicBezTo>
                                    <a:pt x="3045" y="3043"/>
                                    <a:pt x="3045" y="3045"/>
                                    <a:pt x="3046" y="3047"/>
                                  </a:cubicBezTo>
                                  <a:cubicBezTo>
                                    <a:pt x="3046" y="3047"/>
                                    <a:pt x="3046" y="3047"/>
                                    <a:pt x="3046" y="3047"/>
                                  </a:cubicBezTo>
                                  <a:cubicBezTo>
                                    <a:pt x="3047" y="3047"/>
                                    <a:pt x="3050" y="3050"/>
                                    <a:pt x="3055" y="3054"/>
                                  </a:cubicBezTo>
                                  <a:cubicBezTo>
                                    <a:pt x="3074" y="3069"/>
                                    <a:pt x="3118" y="3104"/>
                                    <a:pt x="3126" y="3114"/>
                                  </a:cubicBezTo>
                                  <a:cubicBezTo>
                                    <a:pt x="3132" y="3121"/>
                                    <a:pt x="3146" y="3141"/>
                                    <a:pt x="3160" y="3160"/>
                                  </a:cubicBezTo>
                                  <a:cubicBezTo>
                                    <a:pt x="3169" y="3172"/>
                                    <a:pt x="3178" y="3185"/>
                                    <a:pt x="3184" y="3194"/>
                                  </a:cubicBezTo>
                                  <a:cubicBezTo>
                                    <a:pt x="3185" y="3196"/>
                                    <a:pt x="3185" y="3196"/>
                                    <a:pt x="3185" y="3196"/>
                                  </a:cubicBezTo>
                                  <a:cubicBezTo>
                                    <a:pt x="3200" y="3220"/>
                                    <a:pt x="3238" y="3282"/>
                                    <a:pt x="3244" y="3293"/>
                                  </a:cubicBezTo>
                                  <a:cubicBezTo>
                                    <a:pt x="3245" y="3295"/>
                                    <a:pt x="3247" y="3297"/>
                                    <a:pt x="3248" y="3300"/>
                                  </a:cubicBezTo>
                                  <a:cubicBezTo>
                                    <a:pt x="3251" y="3307"/>
                                    <a:pt x="3254" y="3312"/>
                                    <a:pt x="3258" y="3312"/>
                                  </a:cubicBezTo>
                                  <a:cubicBezTo>
                                    <a:pt x="3260" y="3312"/>
                                    <a:pt x="3263" y="3310"/>
                                    <a:pt x="3265" y="3308"/>
                                  </a:cubicBezTo>
                                  <a:cubicBezTo>
                                    <a:pt x="3265" y="3308"/>
                                    <a:pt x="3265" y="3308"/>
                                    <a:pt x="3265" y="3308"/>
                                  </a:cubicBezTo>
                                  <a:cubicBezTo>
                                    <a:pt x="3270" y="3305"/>
                                    <a:pt x="3273" y="3300"/>
                                    <a:pt x="3274" y="3299"/>
                                  </a:cubicBezTo>
                                  <a:cubicBezTo>
                                    <a:pt x="3274" y="3298"/>
                                    <a:pt x="3274" y="3297"/>
                                    <a:pt x="3274" y="3296"/>
                                  </a:cubicBezTo>
                                  <a:cubicBezTo>
                                    <a:pt x="3274" y="3292"/>
                                    <a:pt x="3275" y="3287"/>
                                    <a:pt x="3278" y="3283"/>
                                  </a:cubicBezTo>
                                  <a:cubicBezTo>
                                    <a:pt x="3280" y="3280"/>
                                    <a:pt x="3283" y="3277"/>
                                    <a:pt x="3287" y="3275"/>
                                  </a:cubicBezTo>
                                  <a:cubicBezTo>
                                    <a:pt x="3291" y="3274"/>
                                    <a:pt x="3295" y="3273"/>
                                    <a:pt x="3300" y="3273"/>
                                  </a:cubicBezTo>
                                  <a:cubicBezTo>
                                    <a:pt x="3305" y="3273"/>
                                    <a:pt x="3308" y="3274"/>
                                    <a:pt x="3312" y="3275"/>
                                  </a:cubicBezTo>
                                  <a:cubicBezTo>
                                    <a:pt x="3315" y="3277"/>
                                    <a:pt x="3317" y="3280"/>
                                    <a:pt x="3319" y="3283"/>
                                  </a:cubicBezTo>
                                  <a:cubicBezTo>
                                    <a:pt x="3321" y="3287"/>
                                    <a:pt x="3322" y="3292"/>
                                    <a:pt x="3322" y="3297"/>
                                  </a:cubicBezTo>
                                  <a:cubicBezTo>
                                    <a:pt x="3323" y="3301"/>
                                    <a:pt x="3323" y="3304"/>
                                    <a:pt x="3324" y="3306"/>
                                  </a:cubicBezTo>
                                  <a:cubicBezTo>
                                    <a:pt x="3324" y="3307"/>
                                    <a:pt x="3327" y="3310"/>
                                    <a:pt x="3330" y="3312"/>
                                  </a:cubicBezTo>
                                  <a:cubicBezTo>
                                    <a:pt x="3334" y="3315"/>
                                    <a:pt x="3339" y="3317"/>
                                    <a:pt x="3342" y="3318"/>
                                  </a:cubicBezTo>
                                  <a:cubicBezTo>
                                    <a:pt x="3344" y="3319"/>
                                    <a:pt x="3347" y="3317"/>
                                    <a:pt x="3351" y="3316"/>
                                  </a:cubicBezTo>
                                  <a:cubicBezTo>
                                    <a:pt x="3355" y="3315"/>
                                    <a:pt x="3360" y="3313"/>
                                    <a:pt x="3364" y="3313"/>
                                  </a:cubicBezTo>
                                  <a:cubicBezTo>
                                    <a:pt x="3368" y="3313"/>
                                    <a:pt x="3375" y="3313"/>
                                    <a:pt x="3383" y="3314"/>
                                  </a:cubicBezTo>
                                  <a:cubicBezTo>
                                    <a:pt x="3391" y="3315"/>
                                    <a:pt x="3399" y="3315"/>
                                    <a:pt x="3404" y="3315"/>
                                  </a:cubicBezTo>
                                  <a:cubicBezTo>
                                    <a:pt x="3409" y="3315"/>
                                    <a:pt x="3412" y="3311"/>
                                    <a:pt x="3416" y="3308"/>
                                  </a:cubicBezTo>
                                  <a:cubicBezTo>
                                    <a:pt x="3418" y="3305"/>
                                    <a:pt x="3421" y="3303"/>
                                    <a:pt x="3425" y="3302"/>
                                  </a:cubicBezTo>
                                  <a:cubicBezTo>
                                    <a:pt x="3426" y="3301"/>
                                    <a:pt x="3427" y="3301"/>
                                    <a:pt x="3428" y="3300"/>
                                  </a:cubicBezTo>
                                  <a:cubicBezTo>
                                    <a:pt x="3434" y="3298"/>
                                    <a:pt x="3438" y="3296"/>
                                    <a:pt x="3453" y="3298"/>
                                  </a:cubicBezTo>
                                  <a:cubicBezTo>
                                    <a:pt x="3462" y="3299"/>
                                    <a:pt x="3469" y="3300"/>
                                    <a:pt x="3475" y="3302"/>
                                  </a:cubicBezTo>
                                  <a:cubicBezTo>
                                    <a:pt x="3481" y="3304"/>
                                    <a:pt x="3485" y="3306"/>
                                    <a:pt x="3490" y="3308"/>
                                  </a:cubicBezTo>
                                  <a:cubicBezTo>
                                    <a:pt x="3490" y="3308"/>
                                    <a:pt x="3490" y="3308"/>
                                    <a:pt x="3490" y="3308"/>
                                  </a:cubicBezTo>
                                  <a:cubicBezTo>
                                    <a:pt x="3495" y="3311"/>
                                    <a:pt x="3500" y="3317"/>
                                    <a:pt x="3504" y="3324"/>
                                  </a:cubicBezTo>
                                  <a:cubicBezTo>
                                    <a:pt x="3508" y="3330"/>
                                    <a:pt x="3511" y="3337"/>
                                    <a:pt x="3512" y="3341"/>
                                  </a:cubicBezTo>
                                  <a:cubicBezTo>
                                    <a:pt x="3512" y="3341"/>
                                    <a:pt x="3512" y="3341"/>
                                    <a:pt x="3512" y="3341"/>
                                  </a:cubicBezTo>
                                  <a:cubicBezTo>
                                    <a:pt x="3513" y="3343"/>
                                    <a:pt x="3514" y="3344"/>
                                    <a:pt x="3514" y="3346"/>
                                  </a:cubicBezTo>
                                  <a:cubicBezTo>
                                    <a:pt x="3516" y="3351"/>
                                    <a:pt x="3518" y="3355"/>
                                    <a:pt x="3524" y="3357"/>
                                  </a:cubicBezTo>
                                  <a:cubicBezTo>
                                    <a:pt x="3531" y="3359"/>
                                    <a:pt x="3534" y="3361"/>
                                    <a:pt x="3539" y="3363"/>
                                  </a:cubicBezTo>
                                  <a:cubicBezTo>
                                    <a:pt x="3541" y="3364"/>
                                    <a:pt x="3544" y="3366"/>
                                    <a:pt x="3547" y="3367"/>
                                  </a:cubicBezTo>
                                  <a:cubicBezTo>
                                    <a:pt x="3553" y="3369"/>
                                    <a:pt x="3557" y="3373"/>
                                    <a:pt x="3560" y="3377"/>
                                  </a:cubicBezTo>
                                  <a:cubicBezTo>
                                    <a:pt x="3563" y="3381"/>
                                    <a:pt x="3565" y="3387"/>
                                    <a:pt x="3565" y="3391"/>
                                  </a:cubicBezTo>
                                  <a:cubicBezTo>
                                    <a:pt x="3565" y="3395"/>
                                    <a:pt x="3567" y="3397"/>
                                    <a:pt x="3571" y="3401"/>
                                  </a:cubicBezTo>
                                  <a:cubicBezTo>
                                    <a:pt x="3572" y="3402"/>
                                    <a:pt x="3572" y="3403"/>
                                    <a:pt x="3574" y="3405"/>
                                  </a:cubicBezTo>
                                  <a:cubicBezTo>
                                    <a:pt x="3578" y="3410"/>
                                    <a:pt x="3580" y="3410"/>
                                    <a:pt x="3588" y="3411"/>
                                  </a:cubicBezTo>
                                  <a:cubicBezTo>
                                    <a:pt x="3590" y="3411"/>
                                    <a:pt x="3593" y="3412"/>
                                    <a:pt x="3595" y="3412"/>
                                  </a:cubicBezTo>
                                  <a:cubicBezTo>
                                    <a:pt x="3601" y="3413"/>
                                    <a:pt x="3605" y="3414"/>
                                    <a:pt x="3609" y="3415"/>
                                  </a:cubicBezTo>
                                  <a:cubicBezTo>
                                    <a:pt x="3615" y="3416"/>
                                    <a:pt x="3620" y="3417"/>
                                    <a:pt x="3626" y="3417"/>
                                  </a:cubicBezTo>
                                  <a:cubicBezTo>
                                    <a:pt x="3631" y="3416"/>
                                    <a:pt x="3633" y="3415"/>
                                    <a:pt x="3636" y="3412"/>
                                  </a:cubicBezTo>
                                  <a:cubicBezTo>
                                    <a:pt x="3637" y="3410"/>
                                    <a:pt x="3639" y="3409"/>
                                    <a:pt x="3642" y="3407"/>
                                  </a:cubicBezTo>
                                  <a:cubicBezTo>
                                    <a:pt x="3644" y="3404"/>
                                    <a:pt x="3647" y="3401"/>
                                    <a:pt x="3649" y="3399"/>
                                  </a:cubicBezTo>
                                  <a:cubicBezTo>
                                    <a:pt x="3650" y="3397"/>
                                    <a:pt x="3651" y="3396"/>
                                    <a:pt x="3653" y="3395"/>
                                  </a:cubicBezTo>
                                  <a:cubicBezTo>
                                    <a:pt x="3657" y="3391"/>
                                    <a:pt x="3660" y="3390"/>
                                    <a:pt x="3664" y="3395"/>
                                  </a:cubicBezTo>
                                  <a:cubicBezTo>
                                    <a:pt x="3667" y="3399"/>
                                    <a:pt x="3667" y="3404"/>
                                    <a:pt x="3668" y="3409"/>
                                  </a:cubicBezTo>
                                  <a:cubicBezTo>
                                    <a:pt x="3668" y="3413"/>
                                    <a:pt x="3668" y="3416"/>
                                    <a:pt x="3669" y="3419"/>
                                  </a:cubicBezTo>
                                  <a:cubicBezTo>
                                    <a:pt x="3670" y="3422"/>
                                    <a:pt x="3672" y="3424"/>
                                    <a:pt x="3677" y="3426"/>
                                  </a:cubicBezTo>
                                  <a:cubicBezTo>
                                    <a:pt x="3680" y="3428"/>
                                    <a:pt x="3684" y="3431"/>
                                    <a:pt x="3688" y="3435"/>
                                  </a:cubicBezTo>
                                  <a:cubicBezTo>
                                    <a:pt x="3697" y="3442"/>
                                    <a:pt x="3699" y="3445"/>
                                    <a:pt x="3702" y="3449"/>
                                  </a:cubicBezTo>
                                  <a:cubicBezTo>
                                    <a:pt x="3702" y="3449"/>
                                    <a:pt x="3702" y="3449"/>
                                    <a:pt x="3702" y="3449"/>
                                  </a:cubicBezTo>
                                  <a:cubicBezTo>
                                    <a:pt x="3706" y="3449"/>
                                    <a:pt x="3706" y="3449"/>
                                    <a:pt x="3706" y="3449"/>
                                  </a:cubicBezTo>
                                  <a:cubicBezTo>
                                    <a:pt x="3717" y="3449"/>
                                    <a:pt x="3725" y="3449"/>
                                    <a:pt x="3731" y="3447"/>
                                  </a:cubicBezTo>
                                  <a:cubicBezTo>
                                    <a:pt x="3733" y="3447"/>
                                    <a:pt x="3734" y="3446"/>
                                    <a:pt x="3736" y="3446"/>
                                  </a:cubicBezTo>
                                  <a:cubicBezTo>
                                    <a:pt x="3740" y="3446"/>
                                    <a:pt x="3741" y="3445"/>
                                    <a:pt x="3745" y="3439"/>
                                  </a:cubicBezTo>
                                  <a:cubicBezTo>
                                    <a:pt x="3749" y="3434"/>
                                    <a:pt x="3750" y="3431"/>
                                    <a:pt x="3751" y="3429"/>
                                  </a:cubicBezTo>
                                  <a:cubicBezTo>
                                    <a:pt x="3751" y="3427"/>
                                    <a:pt x="3752" y="3425"/>
                                    <a:pt x="3753" y="3424"/>
                                  </a:cubicBezTo>
                                  <a:cubicBezTo>
                                    <a:pt x="3756" y="3420"/>
                                    <a:pt x="3771" y="3419"/>
                                    <a:pt x="3784" y="3418"/>
                                  </a:cubicBezTo>
                                  <a:cubicBezTo>
                                    <a:pt x="3792" y="3418"/>
                                    <a:pt x="3799" y="3418"/>
                                    <a:pt x="3803" y="3417"/>
                                  </a:cubicBezTo>
                                  <a:cubicBezTo>
                                    <a:pt x="3812" y="3415"/>
                                    <a:pt x="3819" y="3412"/>
                                    <a:pt x="3830" y="3406"/>
                                  </a:cubicBezTo>
                                  <a:cubicBezTo>
                                    <a:pt x="3831" y="3406"/>
                                    <a:pt x="3831" y="3406"/>
                                    <a:pt x="3831" y="3406"/>
                                  </a:cubicBezTo>
                                  <a:cubicBezTo>
                                    <a:pt x="3834" y="3404"/>
                                    <a:pt x="3836" y="3403"/>
                                    <a:pt x="3837" y="3403"/>
                                  </a:cubicBezTo>
                                  <a:cubicBezTo>
                                    <a:pt x="3842" y="3400"/>
                                    <a:pt x="3843" y="3400"/>
                                    <a:pt x="3843" y="3396"/>
                                  </a:cubicBezTo>
                                  <a:cubicBezTo>
                                    <a:pt x="3844" y="3387"/>
                                    <a:pt x="3849" y="3384"/>
                                    <a:pt x="3859" y="3379"/>
                                  </a:cubicBezTo>
                                  <a:cubicBezTo>
                                    <a:pt x="3860" y="3379"/>
                                    <a:pt x="3862" y="3378"/>
                                    <a:pt x="3863" y="3377"/>
                                  </a:cubicBezTo>
                                  <a:cubicBezTo>
                                    <a:pt x="3869" y="3374"/>
                                    <a:pt x="3880" y="3369"/>
                                    <a:pt x="3893" y="3363"/>
                                  </a:cubicBezTo>
                                  <a:cubicBezTo>
                                    <a:pt x="3906" y="3357"/>
                                    <a:pt x="3921" y="3350"/>
                                    <a:pt x="3930" y="3345"/>
                                  </a:cubicBezTo>
                                  <a:cubicBezTo>
                                    <a:pt x="3931" y="3344"/>
                                    <a:pt x="3935" y="3342"/>
                                    <a:pt x="3939" y="3340"/>
                                  </a:cubicBezTo>
                                  <a:cubicBezTo>
                                    <a:pt x="3951" y="3334"/>
                                    <a:pt x="3959" y="3329"/>
                                    <a:pt x="3967" y="3327"/>
                                  </a:cubicBezTo>
                                  <a:cubicBezTo>
                                    <a:pt x="3971" y="3325"/>
                                    <a:pt x="3975" y="3325"/>
                                    <a:pt x="3979" y="3326"/>
                                  </a:cubicBezTo>
                                  <a:cubicBezTo>
                                    <a:pt x="3984" y="3326"/>
                                    <a:pt x="3989" y="3327"/>
                                    <a:pt x="3997" y="3324"/>
                                  </a:cubicBezTo>
                                  <a:cubicBezTo>
                                    <a:pt x="4004" y="3321"/>
                                    <a:pt x="4007" y="3317"/>
                                    <a:pt x="4011" y="3314"/>
                                  </a:cubicBezTo>
                                  <a:cubicBezTo>
                                    <a:pt x="4015" y="3310"/>
                                    <a:pt x="4018" y="3307"/>
                                    <a:pt x="4025" y="3306"/>
                                  </a:cubicBezTo>
                                  <a:cubicBezTo>
                                    <a:pt x="4030" y="3305"/>
                                    <a:pt x="4036" y="3306"/>
                                    <a:pt x="4041" y="3308"/>
                                  </a:cubicBezTo>
                                  <a:cubicBezTo>
                                    <a:pt x="4048" y="3309"/>
                                    <a:pt x="4055" y="3313"/>
                                    <a:pt x="4058" y="3315"/>
                                  </a:cubicBezTo>
                                  <a:cubicBezTo>
                                    <a:pt x="4058" y="3315"/>
                                    <a:pt x="4058" y="3315"/>
                                    <a:pt x="4058" y="3315"/>
                                  </a:cubicBezTo>
                                  <a:cubicBezTo>
                                    <a:pt x="4058" y="3315"/>
                                    <a:pt x="4059" y="3315"/>
                                    <a:pt x="4060" y="3316"/>
                                  </a:cubicBezTo>
                                  <a:cubicBezTo>
                                    <a:pt x="4065" y="3320"/>
                                    <a:pt x="4076" y="3329"/>
                                    <a:pt x="4093" y="3329"/>
                                  </a:cubicBezTo>
                                  <a:cubicBezTo>
                                    <a:pt x="4100" y="3329"/>
                                    <a:pt x="4105" y="3329"/>
                                    <a:pt x="4109" y="3329"/>
                                  </a:cubicBezTo>
                                  <a:cubicBezTo>
                                    <a:pt x="4118" y="3328"/>
                                    <a:pt x="4122" y="3328"/>
                                    <a:pt x="4127" y="3329"/>
                                  </a:cubicBezTo>
                                  <a:cubicBezTo>
                                    <a:pt x="4134" y="3331"/>
                                    <a:pt x="4135" y="3334"/>
                                    <a:pt x="4139" y="3343"/>
                                  </a:cubicBezTo>
                                  <a:cubicBezTo>
                                    <a:pt x="4140" y="3345"/>
                                    <a:pt x="4142" y="3348"/>
                                    <a:pt x="4143" y="3351"/>
                                  </a:cubicBezTo>
                                  <a:cubicBezTo>
                                    <a:pt x="4145" y="3356"/>
                                    <a:pt x="4146" y="3360"/>
                                    <a:pt x="4147" y="3363"/>
                                  </a:cubicBezTo>
                                  <a:cubicBezTo>
                                    <a:pt x="4148" y="3370"/>
                                    <a:pt x="4148" y="3374"/>
                                    <a:pt x="4168" y="3377"/>
                                  </a:cubicBezTo>
                                  <a:cubicBezTo>
                                    <a:pt x="4183" y="3379"/>
                                    <a:pt x="4191" y="3381"/>
                                    <a:pt x="4196" y="3383"/>
                                  </a:cubicBezTo>
                                  <a:cubicBezTo>
                                    <a:pt x="4203" y="3384"/>
                                    <a:pt x="4205" y="3385"/>
                                    <a:pt x="4210" y="3383"/>
                                  </a:cubicBezTo>
                                  <a:cubicBezTo>
                                    <a:pt x="4214" y="3382"/>
                                    <a:pt x="4215" y="3381"/>
                                    <a:pt x="4216" y="3380"/>
                                  </a:cubicBezTo>
                                  <a:cubicBezTo>
                                    <a:pt x="4219" y="3376"/>
                                    <a:pt x="4222" y="3373"/>
                                    <a:pt x="4237" y="3374"/>
                                  </a:cubicBezTo>
                                  <a:cubicBezTo>
                                    <a:pt x="4253" y="3376"/>
                                    <a:pt x="4266" y="3380"/>
                                    <a:pt x="4279" y="3384"/>
                                  </a:cubicBezTo>
                                  <a:cubicBezTo>
                                    <a:pt x="4283" y="3386"/>
                                    <a:pt x="4287" y="3387"/>
                                    <a:pt x="4291" y="3388"/>
                                  </a:cubicBezTo>
                                  <a:cubicBezTo>
                                    <a:pt x="4298" y="3390"/>
                                    <a:pt x="4305" y="3392"/>
                                    <a:pt x="4310" y="3393"/>
                                  </a:cubicBezTo>
                                  <a:cubicBezTo>
                                    <a:pt x="4315" y="3394"/>
                                    <a:pt x="4320" y="3394"/>
                                    <a:pt x="4323" y="3393"/>
                                  </a:cubicBezTo>
                                  <a:cubicBezTo>
                                    <a:pt x="4327" y="3392"/>
                                    <a:pt x="4330" y="3390"/>
                                    <a:pt x="4333" y="3387"/>
                                  </a:cubicBezTo>
                                  <a:cubicBezTo>
                                    <a:pt x="4335" y="3385"/>
                                    <a:pt x="4338" y="3383"/>
                                    <a:pt x="4342" y="3381"/>
                                  </a:cubicBezTo>
                                  <a:cubicBezTo>
                                    <a:pt x="4346" y="3380"/>
                                    <a:pt x="4350" y="3379"/>
                                    <a:pt x="4354" y="3379"/>
                                  </a:cubicBezTo>
                                  <a:cubicBezTo>
                                    <a:pt x="4357" y="3379"/>
                                    <a:pt x="4361" y="3378"/>
                                    <a:pt x="4363" y="3376"/>
                                  </a:cubicBezTo>
                                  <a:cubicBezTo>
                                    <a:pt x="4366" y="3374"/>
                                    <a:pt x="4369" y="3369"/>
                                    <a:pt x="4372" y="3362"/>
                                  </a:cubicBezTo>
                                  <a:cubicBezTo>
                                    <a:pt x="4374" y="3355"/>
                                    <a:pt x="4376" y="3347"/>
                                    <a:pt x="4376" y="3343"/>
                                  </a:cubicBezTo>
                                  <a:cubicBezTo>
                                    <a:pt x="4376" y="3341"/>
                                    <a:pt x="4374" y="3339"/>
                                    <a:pt x="4372" y="3337"/>
                                  </a:cubicBezTo>
                                  <a:cubicBezTo>
                                    <a:pt x="4368" y="3334"/>
                                    <a:pt x="4364" y="3330"/>
                                    <a:pt x="4362" y="3324"/>
                                  </a:cubicBezTo>
                                  <a:cubicBezTo>
                                    <a:pt x="4361" y="3321"/>
                                    <a:pt x="4360" y="3317"/>
                                    <a:pt x="4358" y="3314"/>
                                  </a:cubicBezTo>
                                  <a:cubicBezTo>
                                    <a:pt x="4355" y="3307"/>
                                    <a:pt x="4352" y="3300"/>
                                    <a:pt x="4353" y="3290"/>
                                  </a:cubicBezTo>
                                  <a:cubicBezTo>
                                    <a:pt x="4354" y="3284"/>
                                    <a:pt x="4355" y="3278"/>
                                    <a:pt x="4356" y="3274"/>
                                  </a:cubicBezTo>
                                  <a:cubicBezTo>
                                    <a:pt x="4358" y="3269"/>
                                    <a:pt x="4360" y="3266"/>
                                    <a:pt x="4362" y="3263"/>
                                  </a:cubicBezTo>
                                  <a:cubicBezTo>
                                    <a:pt x="4364" y="3261"/>
                                    <a:pt x="4366" y="3260"/>
                                    <a:pt x="4368" y="3258"/>
                                  </a:cubicBezTo>
                                  <a:cubicBezTo>
                                    <a:pt x="4370" y="3257"/>
                                    <a:pt x="4373" y="3255"/>
                                    <a:pt x="4374" y="3253"/>
                                  </a:cubicBezTo>
                                  <a:cubicBezTo>
                                    <a:pt x="4375" y="3251"/>
                                    <a:pt x="4375" y="3249"/>
                                    <a:pt x="4376" y="3248"/>
                                  </a:cubicBezTo>
                                  <a:cubicBezTo>
                                    <a:pt x="4377" y="3244"/>
                                    <a:pt x="4378" y="3240"/>
                                    <a:pt x="4383" y="3235"/>
                                  </a:cubicBezTo>
                                  <a:cubicBezTo>
                                    <a:pt x="4387" y="3230"/>
                                    <a:pt x="4396" y="3222"/>
                                    <a:pt x="4404" y="3215"/>
                                  </a:cubicBezTo>
                                  <a:cubicBezTo>
                                    <a:pt x="4411" y="3210"/>
                                    <a:pt x="4418" y="3206"/>
                                    <a:pt x="4422" y="3205"/>
                                  </a:cubicBezTo>
                                  <a:cubicBezTo>
                                    <a:pt x="4428" y="3204"/>
                                    <a:pt x="4438" y="3210"/>
                                    <a:pt x="4450" y="3217"/>
                                  </a:cubicBezTo>
                                  <a:cubicBezTo>
                                    <a:pt x="4462" y="3224"/>
                                    <a:pt x="4475" y="3231"/>
                                    <a:pt x="4484" y="3233"/>
                                  </a:cubicBezTo>
                                  <a:cubicBezTo>
                                    <a:pt x="4494" y="3236"/>
                                    <a:pt x="4498" y="3236"/>
                                    <a:pt x="4502" y="3236"/>
                                  </a:cubicBezTo>
                                  <a:cubicBezTo>
                                    <a:pt x="4507" y="3236"/>
                                    <a:pt x="4512" y="3236"/>
                                    <a:pt x="4524" y="3239"/>
                                  </a:cubicBezTo>
                                  <a:cubicBezTo>
                                    <a:pt x="4535" y="3242"/>
                                    <a:pt x="4558" y="3248"/>
                                    <a:pt x="4579" y="3255"/>
                                  </a:cubicBezTo>
                                  <a:cubicBezTo>
                                    <a:pt x="4597" y="3260"/>
                                    <a:pt x="4614" y="3266"/>
                                    <a:pt x="4617" y="3267"/>
                                  </a:cubicBezTo>
                                  <a:cubicBezTo>
                                    <a:pt x="4617" y="3267"/>
                                    <a:pt x="4617" y="3267"/>
                                    <a:pt x="4617" y="3267"/>
                                  </a:cubicBezTo>
                                  <a:cubicBezTo>
                                    <a:pt x="4618" y="3268"/>
                                    <a:pt x="4618" y="3268"/>
                                    <a:pt x="4618" y="3268"/>
                                  </a:cubicBezTo>
                                  <a:cubicBezTo>
                                    <a:pt x="4625" y="3272"/>
                                    <a:pt x="4629" y="3274"/>
                                    <a:pt x="4629" y="3294"/>
                                  </a:cubicBezTo>
                                  <a:cubicBezTo>
                                    <a:pt x="4629" y="3297"/>
                                    <a:pt x="4629" y="3297"/>
                                    <a:pt x="4629" y="3297"/>
                                  </a:cubicBezTo>
                                  <a:cubicBezTo>
                                    <a:pt x="4630" y="3313"/>
                                    <a:pt x="4630" y="3320"/>
                                    <a:pt x="4639" y="3331"/>
                                  </a:cubicBezTo>
                                  <a:cubicBezTo>
                                    <a:pt x="4643" y="3336"/>
                                    <a:pt x="4650" y="3341"/>
                                    <a:pt x="4658" y="3344"/>
                                  </a:cubicBezTo>
                                  <a:cubicBezTo>
                                    <a:pt x="4667" y="3349"/>
                                    <a:pt x="4678" y="3352"/>
                                    <a:pt x="4688" y="3354"/>
                                  </a:cubicBezTo>
                                  <a:cubicBezTo>
                                    <a:pt x="4696" y="3355"/>
                                    <a:pt x="4703" y="3357"/>
                                    <a:pt x="4710" y="3359"/>
                                  </a:cubicBezTo>
                                  <a:cubicBezTo>
                                    <a:pt x="4721" y="3361"/>
                                    <a:pt x="4730" y="3363"/>
                                    <a:pt x="4736" y="3363"/>
                                  </a:cubicBezTo>
                                  <a:cubicBezTo>
                                    <a:pt x="4741" y="3362"/>
                                    <a:pt x="4746" y="3362"/>
                                    <a:pt x="4753" y="3360"/>
                                  </a:cubicBezTo>
                                  <a:cubicBezTo>
                                    <a:pt x="4759" y="3358"/>
                                    <a:pt x="4767" y="3355"/>
                                    <a:pt x="4776" y="3350"/>
                                  </a:cubicBezTo>
                                  <a:cubicBezTo>
                                    <a:pt x="4786" y="3346"/>
                                    <a:pt x="4794" y="3343"/>
                                    <a:pt x="4803" y="3341"/>
                                  </a:cubicBezTo>
                                  <a:cubicBezTo>
                                    <a:pt x="4811" y="3340"/>
                                    <a:pt x="4820" y="3340"/>
                                    <a:pt x="4831" y="3340"/>
                                  </a:cubicBezTo>
                                  <a:cubicBezTo>
                                    <a:pt x="4841" y="3341"/>
                                    <a:pt x="4850" y="3343"/>
                                    <a:pt x="4858" y="3344"/>
                                  </a:cubicBezTo>
                                  <a:cubicBezTo>
                                    <a:pt x="4865" y="3346"/>
                                    <a:pt x="4871" y="3348"/>
                                    <a:pt x="4876" y="3350"/>
                                  </a:cubicBezTo>
                                  <a:cubicBezTo>
                                    <a:pt x="4880" y="3351"/>
                                    <a:pt x="4885" y="3352"/>
                                    <a:pt x="4891" y="3352"/>
                                  </a:cubicBezTo>
                                  <a:cubicBezTo>
                                    <a:pt x="4895" y="3352"/>
                                    <a:pt x="4899" y="3353"/>
                                    <a:pt x="4904" y="3353"/>
                                  </a:cubicBezTo>
                                  <a:cubicBezTo>
                                    <a:pt x="4910" y="3354"/>
                                    <a:pt x="4917" y="3356"/>
                                    <a:pt x="4923" y="3360"/>
                                  </a:cubicBezTo>
                                  <a:cubicBezTo>
                                    <a:pt x="4930" y="3363"/>
                                    <a:pt x="4936" y="3367"/>
                                    <a:pt x="4941" y="3372"/>
                                  </a:cubicBezTo>
                                  <a:cubicBezTo>
                                    <a:pt x="4945" y="3376"/>
                                    <a:pt x="4953" y="3376"/>
                                    <a:pt x="4960" y="3377"/>
                                  </a:cubicBezTo>
                                  <a:cubicBezTo>
                                    <a:pt x="4965" y="3377"/>
                                    <a:pt x="4969" y="3377"/>
                                    <a:pt x="4974" y="3379"/>
                                  </a:cubicBezTo>
                                  <a:cubicBezTo>
                                    <a:pt x="4983" y="3381"/>
                                    <a:pt x="4984" y="3387"/>
                                    <a:pt x="4985" y="3395"/>
                                  </a:cubicBezTo>
                                  <a:cubicBezTo>
                                    <a:pt x="4985" y="3399"/>
                                    <a:pt x="4986" y="3404"/>
                                    <a:pt x="4989" y="3408"/>
                                  </a:cubicBezTo>
                                  <a:cubicBezTo>
                                    <a:pt x="4991" y="3411"/>
                                    <a:pt x="4992" y="3413"/>
                                    <a:pt x="4993" y="3415"/>
                                  </a:cubicBezTo>
                                  <a:cubicBezTo>
                                    <a:pt x="4996" y="3421"/>
                                    <a:pt x="4998" y="3425"/>
                                    <a:pt x="5015" y="3428"/>
                                  </a:cubicBezTo>
                                  <a:cubicBezTo>
                                    <a:pt x="5028" y="3431"/>
                                    <a:pt x="5033" y="3430"/>
                                    <a:pt x="5039" y="3430"/>
                                  </a:cubicBezTo>
                                  <a:cubicBezTo>
                                    <a:pt x="5043" y="3430"/>
                                    <a:pt x="5048" y="3429"/>
                                    <a:pt x="5056" y="3430"/>
                                  </a:cubicBezTo>
                                  <a:cubicBezTo>
                                    <a:pt x="5065" y="3432"/>
                                    <a:pt x="5073" y="3433"/>
                                    <a:pt x="5081" y="3435"/>
                                  </a:cubicBezTo>
                                  <a:cubicBezTo>
                                    <a:pt x="5090" y="3437"/>
                                    <a:pt x="5100" y="3439"/>
                                    <a:pt x="5113" y="3441"/>
                                  </a:cubicBezTo>
                                  <a:cubicBezTo>
                                    <a:pt x="5122" y="3442"/>
                                    <a:pt x="5129" y="3443"/>
                                    <a:pt x="5135" y="3444"/>
                                  </a:cubicBezTo>
                                  <a:cubicBezTo>
                                    <a:pt x="5146" y="3446"/>
                                    <a:pt x="5153" y="3447"/>
                                    <a:pt x="5156" y="3446"/>
                                  </a:cubicBezTo>
                                  <a:cubicBezTo>
                                    <a:pt x="5160" y="3445"/>
                                    <a:pt x="5179" y="3438"/>
                                    <a:pt x="5196" y="3433"/>
                                  </a:cubicBezTo>
                                  <a:cubicBezTo>
                                    <a:pt x="5205" y="3430"/>
                                    <a:pt x="5215" y="3427"/>
                                    <a:pt x="5221" y="3426"/>
                                  </a:cubicBezTo>
                                  <a:cubicBezTo>
                                    <a:pt x="5229" y="3424"/>
                                    <a:pt x="5240" y="3423"/>
                                    <a:pt x="5250" y="3422"/>
                                  </a:cubicBezTo>
                                  <a:cubicBezTo>
                                    <a:pt x="5265" y="3420"/>
                                    <a:pt x="5279" y="3418"/>
                                    <a:pt x="5283" y="3416"/>
                                  </a:cubicBezTo>
                                  <a:cubicBezTo>
                                    <a:pt x="5283" y="3416"/>
                                    <a:pt x="5283" y="3416"/>
                                    <a:pt x="5283" y="3416"/>
                                  </a:cubicBezTo>
                                  <a:cubicBezTo>
                                    <a:pt x="5286" y="3415"/>
                                    <a:pt x="5291" y="3410"/>
                                    <a:pt x="5296" y="3404"/>
                                  </a:cubicBezTo>
                                  <a:cubicBezTo>
                                    <a:pt x="5302" y="3397"/>
                                    <a:pt x="5308" y="3390"/>
                                    <a:pt x="5316" y="3384"/>
                                  </a:cubicBezTo>
                                  <a:cubicBezTo>
                                    <a:pt x="5323" y="3379"/>
                                    <a:pt x="5332" y="3374"/>
                                    <a:pt x="5339" y="3369"/>
                                  </a:cubicBezTo>
                                  <a:cubicBezTo>
                                    <a:pt x="5348" y="3364"/>
                                    <a:pt x="5356" y="3361"/>
                                    <a:pt x="5359" y="3360"/>
                                  </a:cubicBezTo>
                                  <a:cubicBezTo>
                                    <a:pt x="5359" y="3360"/>
                                    <a:pt x="5359" y="3360"/>
                                    <a:pt x="5359" y="3360"/>
                                  </a:cubicBezTo>
                                  <a:cubicBezTo>
                                    <a:pt x="5362" y="3360"/>
                                    <a:pt x="5369" y="3360"/>
                                    <a:pt x="5377" y="3360"/>
                                  </a:cubicBezTo>
                                  <a:cubicBezTo>
                                    <a:pt x="5386" y="3360"/>
                                    <a:pt x="5397" y="3360"/>
                                    <a:pt x="5404" y="3361"/>
                                  </a:cubicBezTo>
                                  <a:cubicBezTo>
                                    <a:pt x="5414" y="3361"/>
                                    <a:pt x="5423" y="3369"/>
                                    <a:pt x="5432" y="3376"/>
                                  </a:cubicBezTo>
                                  <a:cubicBezTo>
                                    <a:pt x="5439" y="3382"/>
                                    <a:pt x="5445" y="3387"/>
                                    <a:pt x="5448" y="3387"/>
                                  </a:cubicBezTo>
                                  <a:cubicBezTo>
                                    <a:pt x="5452" y="3386"/>
                                    <a:pt x="5457" y="3385"/>
                                    <a:pt x="5463" y="3383"/>
                                  </a:cubicBezTo>
                                  <a:cubicBezTo>
                                    <a:pt x="5470" y="3381"/>
                                    <a:pt x="5478" y="3379"/>
                                    <a:pt x="5486" y="3378"/>
                                  </a:cubicBezTo>
                                  <a:cubicBezTo>
                                    <a:pt x="5497" y="3377"/>
                                    <a:pt x="5507" y="3381"/>
                                    <a:pt x="5518" y="3386"/>
                                  </a:cubicBezTo>
                                  <a:cubicBezTo>
                                    <a:pt x="5524" y="3389"/>
                                    <a:pt x="5529" y="3391"/>
                                    <a:pt x="5535" y="3393"/>
                                  </a:cubicBezTo>
                                  <a:cubicBezTo>
                                    <a:pt x="5541" y="3395"/>
                                    <a:pt x="5549" y="3398"/>
                                    <a:pt x="5557" y="3401"/>
                                  </a:cubicBezTo>
                                  <a:cubicBezTo>
                                    <a:pt x="5572" y="3406"/>
                                    <a:pt x="5587" y="3412"/>
                                    <a:pt x="5592" y="3411"/>
                                  </a:cubicBezTo>
                                  <a:cubicBezTo>
                                    <a:pt x="5595" y="3410"/>
                                    <a:pt x="5602" y="3404"/>
                                    <a:pt x="5609" y="3398"/>
                                  </a:cubicBezTo>
                                  <a:cubicBezTo>
                                    <a:pt x="5617" y="3391"/>
                                    <a:pt x="5624" y="3385"/>
                                    <a:pt x="5630" y="3383"/>
                                  </a:cubicBezTo>
                                  <a:cubicBezTo>
                                    <a:pt x="5635" y="3381"/>
                                    <a:pt x="5638" y="3381"/>
                                    <a:pt x="5642" y="3381"/>
                                  </a:cubicBezTo>
                                  <a:cubicBezTo>
                                    <a:pt x="5647" y="3381"/>
                                    <a:pt x="5651" y="3381"/>
                                    <a:pt x="5659" y="3379"/>
                                  </a:cubicBezTo>
                                  <a:cubicBezTo>
                                    <a:pt x="5667" y="3377"/>
                                    <a:pt x="5671" y="3374"/>
                                    <a:pt x="5674" y="3370"/>
                                  </a:cubicBezTo>
                                  <a:cubicBezTo>
                                    <a:pt x="5678" y="3366"/>
                                    <a:pt x="5679" y="3362"/>
                                    <a:pt x="5680" y="3359"/>
                                  </a:cubicBezTo>
                                  <a:cubicBezTo>
                                    <a:pt x="5681" y="3357"/>
                                    <a:pt x="5681" y="3353"/>
                                    <a:pt x="5680" y="3348"/>
                                  </a:cubicBezTo>
                                  <a:cubicBezTo>
                                    <a:pt x="5679" y="3342"/>
                                    <a:pt x="5679" y="3336"/>
                                    <a:pt x="5680" y="3329"/>
                                  </a:cubicBezTo>
                                  <a:cubicBezTo>
                                    <a:pt x="5682" y="3320"/>
                                    <a:pt x="5687" y="3311"/>
                                    <a:pt x="5694" y="3301"/>
                                  </a:cubicBezTo>
                                  <a:cubicBezTo>
                                    <a:pt x="5696" y="3298"/>
                                    <a:pt x="5698" y="3294"/>
                                    <a:pt x="5700" y="3290"/>
                                  </a:cubicBezTo>
                                  <a:cubicBezTo>
                                    <a:pt x="5705" y="3282"/>
                                    <a:pt x="5709" y="3274"/>
                                    <a:pt x="5714" y="3266"/>
                                  </a:cubicBezTo>
                                  <a:cubicBezTo>
                                    <a:pt x="5719" y="3259"/>
                                    <a:pt x="5724" y="3252"/>
                                    <a:pt x="5728" y="3247"/>
                                  </a:cubicBezTo>
                                  <a:cubicBezTo>
                                    <a:pt x="5731" y="3243"/>
                                    <a:pt x="5737" y="3238"/>
                                    <a:pt x="5742" y="3232"/>
                                  </a:cubicBezTo>
                                  <a:cubicBezTo>
                                    <a:pt x="5752" y="3222"/>
                                    <a:pt x="5762" y="3211"/>
                                    <a:pt x="5764" y="3207"/>
                                  </a:cubicBezTo>
                                  <a:cubicBezTo>
                                    <a:pt x="5765" y="3205"/>
                                    <a:pt x="5765" y="3205"/>
                                    <a:pt x="5764" y="3203"/>
                                  </a:cubicBezTo>
                                  <a:cubicBezTo>
                                    <a:pt x="5763" y="3202"/>
                                    <a:pt x="5762" y="3200"/>
                                    <a:pt x="5762" y="3196"/>
                                  </a:cubicBezTo>
                                  <a:cubicBezTo>
                                    <a:pt x="5761" y="3190"/>
                                    <a:pt x="5761" y="3186"/>
                                    <a:pt x="5762" y="3183"/>
                                  </a:cubicBezTo>
                                  <a:cubicBezTo>
                                    <a:pt x="5762" y="3180"/>
                                    <a:pt x="5762" y="3178"/>
                                    <a:pt x="5762" y="3176"/>
                                  </a:cubicBezTo>
                                  <a:cubicBezTo>
                                    <a:pt x="5762" y="3176"/>
                                    <a:pt x="5762" y="3176"/>
                                    <a:pt x="5762" y="3176"/>
                                  </a:cubicBezTo>
                                  <a:cubicBezTo>
                                    <a:pt x="5762" y="3176"/>
                                    <a:pt x="5762" y="3176"/>
                                    <a:pt x="5762" y="3176"/>
                                  </a:cubicBezTo>
                                  <a:cubicBezTo>
                                    <a:pt x="5762" y="3176"/>
                                    <a:pt x="5762" y="3176"/>
                                    <a:pt x="5762" y="3176"/>
                                  </a:cubicBezTo>
                                  <a:cubicBezTo>
                                    <a:pt x="5762" y="3175"/>
                                    <a:pt x="5761" y="3174"/>
                                    <a:pt x="5760" y="3173"/>
                                  </a:cubicBezTo>
                                  <a:cubicBezTo>
                                    <a:pt x="5758" y="3172"/>
                                    <a:pt x="5757" y="3172"/>
                                    <a:pt x="5754" y="3173"/>
                                  </a:cubicBezTo>
                                  <a:cubicBezTo>
                                    <a:pt x="5754" y="3173"/>
                                    <a:pt x="5754" y="3173"/>
                                    <a:pt x="5753" y="3173"/>
                                  </a:cubicBezTo>
                                  <a:cubicBezTo>
                                    <a:pt x="5749" y="3173"/>
                                    <a:pt x="5745" y="3174"/>
                                    <a:pt x="5741" y="3174"/>
                                  </a:cubicBezTo>
                                  <a:cubicBezTo>
                                    <a:pt x="5738" y="3174"/>
                                    <a:pt x="5735" y="3173"/>
                                    <a:pt x="5733" y="3172"/>
                                  </a:cubicBezTo>
                                  <a:cubicBezTo>
                                    <a:pt x="5731" y="3171"/>
                                    <a:pt x="5728" y="3170"/>
                                    <a:pt x="5726" y="3167"/>
                                  </a:cubicBezTo>
                                  <a:cubicBezTo>
                                    <a:pt x="5724" y="3164"/>
                                    <a:pt x="5723" y="3160"/>
                                    <a:pt x="5724" y="3155"/>
                                  </a:cubicBezTo>
                                  <a:cubicBezTo>
                                    <a:pt x="5725" y="3152"/>
                                    <a:pt x="5732" y="3145"/>
                                    <a:pt x="5739" y="3138"/>
                                  </a:cubicBezTo>
                                  <a:cubicBezTo>
                                    <a:pt x="5751" y="3128"/>
                                    <a:pt x="5765" y="3116"/>
                                    <a:pt x="5769" y="3114"/>
                                  </a:cubicBezTo>
                                  <a:cubicBezTo>
                                    <a:pt x="5772" y="3112"/>
                                    <a:pt x="5776" y="3110"/>
                                    <a:pt x="5781" y="3108"/>
                                  </a:cubicBezTo>
                                  <a:cubicBezTo>
                                    <a:pt x="5786" y="3106"/>
                                    <a:pt x="5792" y="3105"/>
                                    <a:pt x="5799" y="3106"/>
                                  </a:cubicBezTo>
                                  <a:cubicBezTo>
                                    <a:pt x="5810" y="3108"/>
                                    <a:pt x="5842" y="3099"/>
                                    <a:pt x="5855" y="3096"/>
                                  </a:cubicBezTo>
                                  <a:cubicBezTo>
                                    <a:pt x="5856" y="3095"/>
                                    <a:pt x="5856" y="3095"/>
                                    <a:pt x="5856" y="3095"/>
                                  </a:cubicBezTo>
                                  <a:cubicBezTo>
                                    <a:pt x="5861" y="3094"/>
                                    <a:pt x="5872" y="3092"/>
                                    <a:pt x="5884" y="3091"/>
                                  </a:cubicBezTo>
                                  <a:cubicBezTo>
                                    <a:pt x="5904" y="3088"/>
                                    <a:pt x="5927" y="3086"/>
                                    <a:pt x="5933" y="3086"/>
                                  </a:cubicBezTo>
                                  <a:cubicBezTo>
                                    <a:pt x="5939" y="3085"/>
                                    <a:pt x="5944" y="3086"/>
                                    <a:pt x="5949" y="3087"/>
                                  </a:cubicBezTo>
                                  <a:cubicBezTo>
                                    <a:pt x="5954" y="3088"/>
                                    <a:pt x="5959" y="3089"/>
                                    <a:pt x="5965" y="3092"/>
                                  </a:cubicBezTo>
                                  <a:cubicBezTo>
                                    <a:pt x="5972" y="3095"/>
                                    <a:pt x="5978" y="3098"/>
                                    <a:pt x="5983" y="3101"/>
                                  </a:cubicBezTo>
                                  <a:cubicBezTo>
                                    <a:pt x="5988" y="3104"/>
                                    <a:pt x="5993" y="3106"/>
                                    <a:pt x="5997" y="3108"/>
                                  </a:cubicBezTo>
                                  <a:cubicBezTo>
                                    <a:pt x="6000" y="3109"/>
                                    <a:pt x="6001" y="3110"/>
                                    <a:pt x="6002" y="3111"/>
                                  </a:cubicBezTo>
                                  <a:cubicBezTo>
                                    <a:pt x="6005" y="3113"/>
                                    <a:pt x="6007" y="3115"/>
                                    <a:pt x="6020" y="3114"/>
                                  </a:cubicBezTo>
                                  <a:cubicBezTo>
                                    <a:pt x="6024" y="3113"/>
                                    <a:pt x="6028" y="3113"/>
                                    <a:pt x="6031" y="3113"/>
                                  </a:cubicBezTo>
                                  <a:cubicBezTo>
                                    <a:pt x="6042" y="3112"/>
                                    <a:pt x="6046" y="3112"/>
                                    <a:pt x="6054" y="3115"/>
                                  </a:cubicBezTo>
                                  <a:cubicBezTo>
                                    <a:pt x="6058" y="3116"/>
                                    <a:pt x="6065" y="3120"/>
                                    <a:pt x="6072" y="3125"/>
                                  </a:cubicBezTo>
                                  <a:cubicBezTo>
                                    <a:pt x="6072" y="3125"/>
                                    <a:pt x="6072" y="3125"/>
                                    <a:pt x="6072" y="3125"/>
                                  </a:cubicBezTo>
                                  <a:cubicBezTo>
                                    <a:pt x="6082" y="3133"/>
                                    <a:pt x="6093" y="3143"/>
                                    <a:pt x="6097" y="3146"/>
                                  </a:cubicBezTo>
                                  <a:cubicBezTo>
                                    <a:pt x="6102" y="3151"/>
                                    <a:pt x="6100" y="3154"/>
                                    <a:pt x="6099" y="3158"/>
                                  </a:cubicBezTo>
                                  <a:cubicBezTo>
                                    <a:pt x="6098" y="3159"/>
                                    <a:pt x="6097" y="3161"/>
                                    <a:pt x="6097" y="3164"/>
                                  </a:cubicBezTo>
                                  <a:cubicBezTo>
                                    <a:pt x="6098" y="3167"/>
                                    <a:pt x="6102" y="3170"/>
                                    <a:pt x="6106" y="3173"/>
                                  </a:cubicBezTo>
                                  <a:cubicBezTo>
                                    <a:pt x="6110" y="3176"/>
                                    <a:pt x="6114" y="3179"/>
                                    <a:pt x="6116" y="3183"/>
                                  </a:cubicBezTo>
                                  <a:cubicBezTo>
                                    <a:pt x="6117" y="3184"/>
                                    <a:pt x="6117" y="3184"/>
                                    <a:pt x="6117" y="3184"/>
                                  </a:cubicBezTo>
                                  <a:cubicBezTo>
                                    <a:pt x="6122" y="3191"/>
                                    <a:pt x="6125" y="3197"/>
                                    <a:pt x="6127" y="3201"/>
                                  </a:cubicBezTo>
                                  <a:cubicBezTo>
                                    <a:pt x="6128" y="3204"/>
                                    <a:pt x="6127" y="3207"/>
                                    <a:pt x="6127" y="3210"/>
                                  </a:cubicBezTo>
                                  <a:cubicBezTo>
                                    <a:pt x="6126" y="3212"/>
                                    <a:pt x="6126" y="3215"/>
                                    <a:pt x="6126" y="3218"/>
                                  </a:cubicBezTo>
                                  <a:cubicBezTo>
                                    <a:pt x="6126" y="3222"/>
                                    <a:pt x="6129" y="3227"/>
                                    <a:pt x="6132" y="3232"/>
                                  </a:cubicBezTo>
                                  <a:cubicBezTo>
                                    <a:pt x="6134" y="3236"/>
                                    <a:pt x="6137" y="3240"/>
                                    <a:pt x="6138" y="3245"/>
                                  </a:cubicBezTo>
                                  <a:cubicBezTo>
                                    <a:pt x="6140" y="3248"/>
                                    <a:pt x="6141" y="3253"/>
                                    <a:pt x="6142" y="3257"/>
                                  </a:cubicBezTo>
                                  <a:cubicBezTo>
                                    <a:pt x="6143" y="3262"/>
                                    <a:pt x="6145" y="3267"/>
                                    <a:pt x="6146" y="3269"/>
                                  </a:cubicBezTo>
                                  <a:cubicBezTo>
                                    <a:pt x="6146" y="3269"/>
                                    <a:pt x="6147" y="3269"/>
                                    <a:pt x="6148" y="3269"/>
                                  </a:cubicBezTo>
                                  <a:cubicBezTo>
                                    <a:pt x="6150" y="3270"/>
                                    <a:pt x="6153" y="3271"/>
                                    <a:pt x="6157" y="3273"/>
                                  </a:cubicBezTo>
                                  <a:cubicBezTo>
                                    <a:pt x="6163" y="3279"/>
                                    <a:pt x="6163" y="3289"/>
                                    <a:pt x="6163" y="3295"/>
                                  </a:cubicBezTo>
                                  <a:cubicBezTo>
                                    <a:pt x="6163" y="3295"/>
                                    <a:pt x="6163" y="3295"/>
                                    <a:pt x="6163" y="3295"/>
                                  </a:cubicBezTo>
                                  <a:cubicBezTo>
                                    <a:pt x="6163" y="3296"/>
                                    <a:pt x="6163" y="3296"/>
                                    <a:pt x="6163" y="3296"/>
                                  </a:cubicBezTo>
                                  <a:cubicBezTo>
                                    <a:pt x="6163" y="3298"/>
                                    <a:pt x="6166" y="3303"/>
                                    <a:pt x="6169" y="3308"/>
                                  </a:cubicBezTo>
                                  <a:cubicBezTo>
                                    <a:pt x="6172" y="3312"/>
                                    <a:pt x="6174" y="3316"/>
                                    <a:pt x="6176" y="3319"/>
                                  </a:cubicBezTo>
                                  <a:cubicBezTo>
                                    <a:pt x="6177" y="3321"/>
                                    <a:pt x="6179" y="3325"/>
                                    <a:pt x="6182" y="3330"/>
                                  </a:cubicBezTo>
                                  <a:cubicBezTo>
                                    <a:pt x="6188" y="3339"/>
                                    <a:pt x="6195" y="3352"/>
                                    <a:pt x="6196" y="3359"/>
                                  </a:cubicBezTo>
                                  <a:cubicBezTo>
                                    <a:pt x="6197" y="3365"/>
                                    <a:pt x="6196" y="3368"/>
                                    <a:pt x="6195" y="3371"/>
                                  </a:cubicBezTo>
                                  <a:cubicBezTo>
                                    <a:pt x="6194" y="3373"/>
                                    <a:pt x="6194" y="3374"/>
                                    <a:pt x="6194" y="3377"/>
                                  </a:cubicBezTo>
                                  <a:cubicBezTo>
                                    <a:pt x="6194" y="3380"/>
                                    <a:pt x="6194" y="3383"/>
                                    <a:pt x="6195" y="3386"/>
                                  </a:cubicBezTo>
                                  <a:cubicBezTo>
                                    <a:pt x="6196" y="3388"/>
                                    <a:pt x="6197" y="3391"/>
                                    <a:pt x="6199" y="3394"/>
                                  </a:cubicBezTo>
                                  <a:cubicBezTo>
                                    <a:pt x="6200" y="3397"/>
                                    <a:pt x="6203" y="3401"/>
                                    <a:pt x="6205" y="3403"/>
                                  </a:cubicBezTo>
                                  <a:cubicBezTo>
                                    <a:pt x="6207" y="3406"/>
                                    <a:pt x="6209" y="3408"/>
                                    <a:pt x="6211" y="3409"/>
                                  </a:cubicBezTo>
                                  <a:cubicBezTo>
                                    <a:pt x="6213" y="3411"/>
                                    <a:pt x="6233" y="3411"/>
                                    <a:pt x="6244" y="3411"/>
                                  </a:cubicBezTo>
                                  <a:cubicBezTo>
                                    <a:pt x="6248" y="3412"/>
                                    <a:pt x="6248" y="3412"/>
                                    <a:pt x="6248" y="3412"/>
                                  </a:cubicBezTo>
                                  <a:cubicBezTo>
                                    <a:pt x="6248" y="3412"/>
                                    <a:pt x="6248" y="3412"/>
                                    <a:pt x="6248" y="3412"/>
                                  </a:cubicBezTo>
                                  <a:cubicBezTo>
                                    <a:pt x="6253" y="3412"/>
                                    <a:pt x="6257" y="3412"/>
                                    <a:pt x="6261" y="3413"/>
                                  </a:cubicBezTo>
                                  <a:cubicBezTo>
                                    <a:pt x="6264" y="3414"/>
                                    <a:pt x="6268" y="3416"/>
                                    <a:pt x="6275" y="3420"/>
                                  </a:cubicBezTo>
                                  <a:cubicBezTo>
                                    <a:pt x="6275" y="3420"/>
                                    <a:pt x="6275" y="3420"/>
                                    <a:pt x="6275" y="3420"/>
                                  </a:cubicBezTo>
                                  <a:cubicBezTo>
                                    <a:pt x="6275" y="3420"/>
                                    <a:pt x="6275" y="3420"/>
                                    <a:pt x="6275" y="3420"/>
                                  </a:cubicBezTo>
                                  <a:cubicBezTo>
                                    <a:pt x="6275" y="3420"/>
                                    <a:pt x="6275" y="3420"/>
                                    <a:pt x="6275" y="3420"/>
                                  </a:cubicBezTo>
                                  <a:cubicBezTo>
                                    <a:pt x="6286" y="3426"/>
                                    <a:pt x="6288" y="3427"/>
                                    <a:pt x="6294" y="3426"/>
                                  </a:cubicBezTo>
                                  <a:cubicBezTo>
                                    <a:pt x="6296" y="3426"/>
                                    <a:pt x="6297" y="3425"/>
                                    <a:pt x="6298" y="3425"/>
                                  </a:cubicBezTo>
                                  <a:cubicBezTo>
                                    <a:pt x="6301" y="3423"/>
                                    <a:pt x="6303" y="3422"/>
                                    <a:pt x="6312" y="3424"/>
                                  </a:cubicBezTo>
                                  <a:cubicBezTo>
                                    <a:pt x="6318" y="3426"/>
                                    <a:pt x="6327" y="3436"/>
                                    <a:pt x="6335" y="3446"/>
                                  </a:cubicBezTo>
                                  <a:cubicBezTo>
                                    <a:pt x="6342" y="3453"/>
                                    <a:pt x="6348" y="3461"/>
                                    <a:pt x="6353" y="3463"/>
                                  </a:cubicBezTo>
                                  <a:cubicBezTo>
                                    <a:pt x="6358" y="3466"/>
                                    <a:pt x="6364" y="3466"/>
                                    <a:pt x="6369" y="3466"/>
                                  </a:cubicBezTo>
                                  <a:cubicBezTo>
                                    <a:pt x="6374" y="3466"/>
                                    <a:pt x="6378" y="3466"/>
                                    <a:pt x="6381" y="3470"/>
                                  </a:cubicBezTo>
                                  <a:cubicBezTo>
                                    <a:pt x="6384" y="3473"/>
                                    <a:pt x="6382" y="3476"/>
                                    <a:pt x="6381" y="3480"/>
                                  </a:cubicBezTo>
                                  <a:cubicBezTo>
                                    <a:pt x="6380" y="3482"/>
                                    <a:pt x="6379" y="3485"/>
                                    <a:pt x="6380" y="3488"/>
                                  </a:cubicBezTo>
                                  <a:cubicBezTo>
                                    <a:pt x="6382" y="3490"/>
                                    <a:pt x="6384" y="3492"/>
                                    <a:pt x="6386" y="3493"/>
                                  </a:cubicBezTo>
                                  <a:cubicBezTo>
                                    <a:pt x="6386" y="3493"/>
                                    <a:pt x="6386" y="3493"/>
                                    <a:pt x="6386" y="3493"/>
                                  </a:cubicBezTo>
                                  <a:cubicBezTo>
                                    <a:pt x="6390" y="3496"/>
                                    <a:pt x="6394" y="3498"/>
                                    <a:pt x="6394" y="3506"/>
                                  </a:cubicBezTo>
                                  <a:cubicBezTo>
                                    <a:pt x="6394" y="3512"/>
                                    <a:pt x="6392" y="3517"/>
                                    <a:pt x="6390" y="3522"/>
                                  </a:cubicBezTo>
                                  <a:cubicBezTo>
                                    <a:pt x="6389" y="3526"/>
                                    <a:pt x="6387" y="3529"/>
                                    <a:pt x="6388" y="3532"/>
                                  </a:cubicBezTo>
                                  <a:cubicBezTo>
                                    <a:pt x="6388" y="3535"/>
                                    <a:pt x="6391" y="3536"/>
                                    <a:pt x="6393" y="3537"/>
                                  </a:cubicBezTo>
                                  <a:cubicBezTo>
                                    <a:pt x="6395" y="3539"/>
                                    <a:pt x="6398" y="3540"/>
                                    <a:pt x="6400" y="3543"/>
                                  </a:cubicBezTo>
                                  <a:cubicBezTo>
                                    <a:pt x="6402" y="3546"/>
                                    <a:pt x="6403" y="3549"/>
                                    <a:pt x="6404" y="3552"/>
                                  </a:cubicBezTo>
                                  <a:cubicBezTo>
                                    <a:pt x="6405" y="3554"/>
                                    <a:pt x="6405" y="3557"/>
                                    <a:pt x="6405" y="3560"/>
                                  </a:cubicBezTo>
                                  <a:cubicBezTo>
                                    <a:pt x="6405" y="3561"/>
                                    <a:pt x="6408" y="3561"/>
                                    <a:pt x="6410" y="3561"/>
                                  </a:cubicBezTo>
                                  <a:cubicBezTo>
                                    <a:pt x="6410" y="3561"/>
                                    <a:pt x="6410" y="3561"/>
                                    <a:pt x="6410" y="3561"/>
                                  </a:cubicBezTo>
                                  <a:cubicBezTo>
                                    <a:pt x="6411" y="3561"/>
                                    <a:pt x="6411" y="3561"/>
                                    <a:pt x="6411" y="3561"/>
                                  </a:cubicBezTo>
                                  <a:cubicBezTo>
                                    <a:pt x="6411" y="3561"/>
                                    <a:pt x="6411" y="3561"/>
                                    <a:pt x="6411" y="3561"/>
                                  </a:cubicBezTo>
                                  <a:cubicBezTo>
                                    <a:pt x="6415" y="3561"/>
                                    <a:pt x="6417" y="3561"/>
                                    <a:pt x="6419" y="3561"/>
                                  </a:cubicBezTo>
                                  <a:cubicBezTo>
                                    <a:pt x="6429" y="3561"/>
                                    <a:pt x="6447" y="3561"/>
                                    <a:pt x="6459" y="3561"/>
                                  </a:cubicBezTo>
                                  <a:cubicBezTo>
                                    <a:pt x="6473" y="3561"/>
                                    <a:pt x="6484" y="3560"/>
                                    <a:pt x="6491" y="3560"/>
                                  </a:cubicBezTo>
                                  <a:cubicBezTo>
                                    <a:pt x="6492" y="3560"/>
                                    <a:pt x="6492" y="3560"/>
                                    <a:pt x="6492" y="3560"/>
                                  </a:cubicBezTo>
                                  <a:cubicBezTo>
                                    <a:pt x="6494" y="3560"/>
                                    <a:pt x="6495" y="3559"/>
                                    <a:pt x="6497" y="3557"/>
                                  </a:cubicBezTo>
                                  <a:cubicBezTo>
                                    <a:pt x="6498" y="3555"/>
                                    <a:pt x="6499" y="3552"/>
                                    <a:pt x="6500" y="3550"/>
                                  </a:cubicBezTo>
                                  <a:cubicBezTo>
                                    <a:pt x="6501" y="3547"/>
                                    <a:pt x="6503" y="3544"/>
                                    <a:pt x="6506" y="3541"/>
                                  </a:cubicBezTo>
                                  <a:cubicBezTo>
                                    <a:pt x="6509" y="3539"/>
                                    <a:pt x="6513" y="3537"/>
                                    <a:pt x="6518" y="3535"/>
                                  </a:cubicBezTo>
                                  <a:cubicBezTo>
                                    <a:pt x="6521" y="3534"/>
                                    <a:pt x="6521" y="3534"/>
                                    <a:pt x="6521" y="3534"/>
                                  </a:cubicBezTo>
                                  <a:cubicBezTo>
                                    <a:pt x="6521" y="3534"/>
                                    <a:pt x="6521" y="3534"/>
                                    <a:pt x="6521" y="3534"/>
                                  </a:cubicBezTo>
                                  <a:cubicBezTo>
                                    <a:pt x="6529" y="3531"/>
                                    <a:pt x="6531" y="3530"/>
                                    <a:pt x="6544" y="3528"/>
                                  </a:cubicBezTo>
                                  <a:cubicBezTo>
                                    <a:pt x="6554" y="3527"/>
                                    <a:pt x="6565" y="3521"/>
                                    <a:pt x="6575" y="3517"/>
                                  </a:cubicBezTo>
                                  <a:cubicBezTo>
                                    <a:pt x="6579" y="3515"/>
                                    <a:pt x="6583" y="3513"/>
                                    <a:pt x="6586" y="3512"/>
                                  </a:cubicBezTo>
                                  <a:cubicBezTo>
                                    <a:pt x="6592" y="3510"/>
                                    <a:pt x="6596" y="3508"/>
                                    <a:pt x="6600" y="3507"/>
                                  </a:cubicBezTo>
                                  <a:cubicBezTo>
                                    <a:pt x="6604" y="3506"/>
                                    <a:pt x="6607" y="3506"/>
                                    <a:pt x="6611" y="3506"/>
                                  </a:cubicBezTo>
                                  <a:cubicBezTo>
                                    <a:pt x="6614" y="3506"/>
                                    <a:pt x="6618" y="3506"/>
                                    <a:pt x="6621" y="3508"/>
                                  </a:cubicBezTo>
                                  <a:cubicBezTo>
                                    <a:pt x="6621" y="3508"/>
                                    <a:pt x="6621" y="3508"/>
                                    <a:pt x="6621" y="3508"/>
                                  </a:cubicBezTo>
                                  <a:cubicBezTo>
                                    <a:pt x="6624" y="3509"/>
                                    <a:pt x="6627" y="3511"/>
                                    <a:pt x="6630" y="3514"/>
                                  </a:cubicBezTo>
                                  <a:cubicBezTo>
                                    <a:pt x="6636" y="3520"/>
                                    <a:pt x="6635" y="3525"/>
                                    <a:pt x="6632" y="3531"/>
                                  </a:cubicBezTo>
                                  <a:cubicBezTo>
                                    <a:pt x="6632" y="3532"/>
                                    <a:pt x="6632" y="3533"/>
                                    <a:pt x="6631" y="3533"/>
                                  </a:cubicBezTo>
                                  <a:cubicBezTo>
                                    <a:pt x="6631" y="3534"/>
                                    <a:pt x="6631" y="3535"/>
                                    <a:pt x="6630" y="3536"/>
                                  </a:cubicBezTo>
                                  <a:cubicBezTo>
                                    <a:pt x="6629" y="3539"/>
                                    <a:pt x="6629" y="3540"/>
                                    <a:pt x="6632" y="3544"/>
                                  </a:cubicBezTo>
                                  <a:cubicBezTo>
                                    <a:pt x="6635" y="3549"/>
                                    <a:pt x="6638" y="3552"/>
                                    <a:pt x="6640" y="3556"/>
                                  </a:cubicBezTo>
                                  <a:cubicBezTo>
                                    <a:pt x="6642" y="3560"/>
                                    <a:pt x="6642" y="3563"/>
                                    <a:pt x="6641" y="3566"/>
                                  </a:cubicBezTo>
                                  <a:cubicBezTo>
                                    <a:pt x="6639" y="3569"/>
                                    <a:pt x="6632" y="3575"/>
                                    <a:pt x="6626" y="3580"/>
                                  </a:cubicBezTo>
                                  <a:cubicBezTo>
                                    <a:pt x="6623" y="3582"/>
                                    <a:pt x="6620" y="3584"/>
                                    <a:pt x="6619" y="3586"/>
                                  </a:cubicBezTo>
                                  <a:cubicBezTo>
                                    <a:pt x="6618" y="3586"/>
                                    <a:pt x="6618" y="3586"/>
                                    <a:pt x="6618" y="3586"/>
                                  </a:cubicBezTo>
                                  <a:cubicBezTo>
                                    <a:pt x="6614" y="3590"/>
                                    <a:pt x="6608" y="3596"/>
                                    <a:pt x="6606" y="3604"/>
                                  </a:cubicBezTo>
                                  <a:cubicBezTo>
                                    <a:pt x="6606" y="3608"/>
                                    <a:pt x="6605" y="3612"/>
                                    <a:pt x="6604" y="3615"/>
                                  </a:cubicBezTo>
                                  <a:cubicBezTo>
                                    <a:pt x="6603" y="3620"/>
                                    <a:pt x="6602" y="3624"/>
                                    <a:pt x="6602" y="3630"/>
                                  </a:cubicBezTo>
                                  <a:cubicBezTo>
                                    <a:pt x="6601" y="3641"/>
                                    <a:pt x="6594" y="3650"/>
                                    <a:pt x="6590" y="3654"/>
                                  </a:cubicBezTo>
                                  <a:cubicBezTo>
                                    <a:pt x="6590" y="3655"/>
                                    <a:pt x="6590" y="3655"/>
                                    <a:pt x="6590" y="3655"/>
                                  </a:cubicBezTo>
                                  <a:cubicBezTo>
                                    <a:pt x="6589" y="3656"/>
                                    <a:pt x="6588" y="3658"/>
                                    <a:pt x="6587" y="3661"/>
                                  </a:cubicBezTo>
                                  <a:cubicBezTo>
                                    <a:pt x="6586" y="3664"/>
                                    <a:pt x="6586" y="3668"/>
                                    <a:pt x="6586" y="3671"/>
                                  </a:cubicBezTo>
                                  <a:cubicBezTo>
                                    <a:pt x="6586" y="3673"/>
                                    <a:pt x="6586" y="3680"/>
                                    <a:pt x="6583" y="3686"/>
                                  </a:cubicBezTo>
                                  <a:cubicBezTo>
                                    <a:pt x="6582" y="3690"/>
                                    <a:pt x="6580" y="3694"/>
                                    <a:pt x="6576" y="3696"/>
                                  </a:cubicBezTo>
                                  <a:cubicBezTo>
                                    <a:pt x="6572" y="3699"/>
                                    <a:pt x="6570" y="3701"/>
                                    <a:pt x="6568" y="3703"/>
                                  </a:cubicBezTo>
                                  <a:cubicBezTo>
                                    <a:pt x="6566" y="3705"/>
                                    <a:pt x="6565" y="3707"/>
                                    <a:pt x="6565" y="3709"/>
                                  </a:cubicBezTo>
                                  <a:cubicBezTo>
                                    <a:pt x="6564" y="3710"/>
                                    <a:pt x="6564" y="3713"/>
                                    <a:pt x="6564" y="3716"/>
                                  </a:cubicBezTo>
                                  <a:cubicBezTo>
                                    <a:pt x="6565" y="3721"/>
                                    <a:pt x="6565" y="3725"/>
                                    <a:pt x="6562" y="3728"/>
                                  </a:cubicBezTo>
                                  <a:cubicBezTo>
                                    <a:pt x="6562" y="3728"/>
                                    <a:pt x="6562" y="3728"/>
                                    <a:pt x="6562" y="3728"/>
                                  </a:cubicBezTo>
                                  <a:cubicBezTo>
                                    <a:pt x="6561" y="3730"/>
                                    <a:pt x="6558" y="3732"/>
                                    <a:pt x="6554" y="3734"/>
                                  </a:cubicBezTo>
                                  <a:cubicBezTo>
                                    <a:pt x="6550" y="3737"/>
                                    <a:pt x="6544" y="3740"/>
                                    <a:pt x="6541" y="3743"/>
                                  </a:cubicBezTo>
                                  <a:cubicBezTo>
                                    <a:pt x="6538" y="3747"/>
                                    <a:pt x="6538" y="3750"/>
                                    <a:pt x="6538" y="3751"/>
                                  </a:cubicBezTo>
                                  <a:cubicBezTo>
                                    <a:pt x="6538" y="3752"/>
                                    <a:pt x="6538" y="3752"/>
                                    <a:pt x="6538" y="3752"/>
                                  </a:cubicBezTo>
                                  <a:cubicBezTo>
                                    <a:pt x="6538" y="3752"/>
                                    <a:pt x="6538" y="3753"/>
                                    <a:pt x="6538" y="3754"/>
                                  </a:cubicBezTo>
                                  <a:cubicBezTo>
                                    <a:pt x="6538" y="3754"/>
                                    <a:pt x="6538" y="3754"/>
                                    <a:pt x="6539" y="3755"/>
                                  </a:cubicBezTo>
                                  <a:cubicBezTo>
                                    <a:pt x="6539" y="3760"/>
                                    <a:pt x="6540" y="3769"/>
                                    <a:pt x="6527" y="3771"/>
                                  </a:cubicBezTo>
                                  <a:cubicBezTo>
                                    <a:pt x="6522" y="3771"/>
                                    <a:pt x="6516" y="3771"/>
                                    <a:pt x="6510" y="3770"/>
                                  </a:cubicBezTo>
                                  <a:cubicBezTo>
                                    <a:pt x="6503" y="3769"/>
                                    <a:pt x="6495" y="3767"/>
                                    <a:pt x="6489" y="3765"/>
                                  </a:cubicBezTo>
                                  <a:cubicBezTo>
                                    <a:pt x="6483" y="3764"/>
                                    <a:pt x="6478" y="3761"/>
                                    <a:pt x="6474" y="3759"/>
                                  </a:cubicBezTo>
                                  <a:cubicBezTo>
                                    <a:pt x="6469" y="3757"/>
                                    <a:pt x="6464" y="3755"/>
                                    <a:pt x="6461" y="3755"/>
                                  </a:cubicBezTo>
                                  <a:cubicBezTo>
                                    <a:pt x="6458" y="3755"/>
                                    <a:pt x="6458" y="3756"/>
                                    <a:pt x="6456" y="3757"/>
                                  </a:cubicBezTo>
                                  <a:cubicBezTo>
                                    <a:pt x="6455" y="3759"/>
                                    <a:pt x="6453" y="3761"/>
                                    <a:pt x="6449" y="3764"/>
                                  </a:cubicBezTo>
                                  <a:cubicBezTo>
                                    <a:pt x="6446" y="3766"/>
                                    <a:pt x="6445" y="3768"/>
                                    <a:pt x="6444" y="3769"/>
                                  </a:cubicBezTo>
                                  <a:cubicBezTo>
                                    <a:pt x="6442" y="3772"/>
                                    <a:pt x="6441" y="3774"/>
                                    <a:pt x="6434" y="3777"/>
                                  </a:cubicBezTo>
                                  <a:cubicBezTo>
                                    <a:pt x="6428" y="3780"/>
                                    <a:pt x="6422" y="3781"/>
                                    <a:pt x="6417" y="3782"/>
                                  </a:cubicBezTo>
                                  <a:cubicBezTo>
                                    <a:pt x="6413" y="3783"/>
                                    <a:pt x="6410" y="3784"/>
                                    <a:pt x="6409" y="3785"/>
                                  </a:cubicBezTo>
                                  <a:cubicBezTo>
                                    <a:pt x="6408" y="3786"/>
                                    <a:pt x="6409" y="3789"/>
                                    <a:pt x="6411" y="3795"/>
                                  </a:cubicBezTo>
                                  <a:cubicBezTo>
                                    <a:pt x="6411" y="3796"/>
                                    <a:pt x="6412" y="3798"/>
                                    <a:pt x="6413" y="3800"/>
                                  </a:cubicBezTo>
                                  <a:cubicBezTo>
                                    <a:pt x="6414" y="3803"/>
                                    <a:pt x="6415" y="3805"/>
                                    <a:pt x="6416" y="3808"/>
                                  </a:cubicBezTo>
                                  <a:cubicBezTo>
                                    <a:pt x="6419" y="3816"/>
                                    <a:pt x="6421" y="3823"/>
                                    <a:pt x="6422" y="3833"/>
                                  </a:cubicBezTo>
                                  <a:cubicBezTo>
                                    <a:pt x="6422" y="3837"/>
                                    <a:pt x="6422" y="3839"/>
                                    <a:pt x="6422" y="3841"/>
                                  </a:cubicBezTo>
                                  <a:cubicBezTo>
                                    <a:pt x="6423" y="3846"/>
                                    <a:pt x="6423" y="3849"/>
                                    <a:pt x="6423" y="3864"/>
                                  </a:cubicBezTo>
                                  <a:cubicBezTo>
                                    <a:pt x="6422" y="3873"/>
                                    <a:pt x="6423" y="3878"/>
                                    <a:pt x="6423" y="3883"/>
                                  </a:cubicBezTo>
                                  <a:cubicBezTo>
                                    <a:pt x="6423" y="3891"/>
                                    <a:pt x="6423" y="3896"/>
                                    <a:pt x="6420" y="3906"/>
                                  </a:cubicBezTo>
                                  <a:cubicBezTo>
                                    <a:pt x="6419" y="3911"/>
                                    <a:pt x="6419" y="3914"/>
                                    <a:pt x="6418" y="3917"/>
                                  </a:cubicBezTo>
                                  <a:cubicBezTo>
                                    <a:pt x="6417" y="3925"/>
                                    <a:pt x="6417" y="3928"/>
                                    <a:pt x="6409" y="3934"/>
                                  </a:cubicBezTo>
                                  <a:cubicBezTo>
                                    <a:pt x="6403" y="3938"/>
                                    <a:pt x="6395" y="3940"/>
                                    <a:pt x="6389" y="3941"/>
                                  </a:cubicBezTo>
                                  <a:cubicBezTo>
                                    <a:pt x="6385" y="3942"/>
                                    <a:pt x="6382" y="3943"/>
                                    <a:pt x="6380" y="3943"/>
                                  </a:cubicBezTo>
                                  <a:cubicBezTo>
                                    <a:pt x="6376" y="3945"/>
                                    <a:pt x="6372" y="3948"/>
                                    <a:pt x="6370" y="3950"/>
                                  </a:cubicBezTo>
                                  <a:cubicBezTo>
                                    <a:pt x="6372" y="3952"/>
                                    <a:pt x="6373" y="3955"/>
                                    <a:pt x="6375" y="3958"/>
                                  </a:cubicBezTo>
                                  <a:cubicBezTo>
                                    <a:pt x="6376" y="3960"/>
                                    <a:pt x="6377" y="3963"/>
                                    <a:pt x="6378" y="3965"/>
                                  </a:cubicBezTo>
                                  <a:cubicBezTo>
                                    <a:pt x="6379" y="3967"/>
                                    <a:pt x="6384" y="3971"/>
                                    <a:pt x="6389" y="3974"/>
                                  </a:cubicBezTo>
                                  <a:cubicBezTo>
                                    <a:pt x="6390" y="3972"/>
                                    <a:pt x="6392" y="3970"/>
                                    <a:pt x="6392" y="3968"/>
                                  </a:cubicBezTo>
                                  <a:cubicBezTo>
                                    <a:pt x="6394" y="3960"/>
                                    <a:pt x="6395" y="3954"/>
                                    <a:pt x="6406" y="3952"/>
                                  </a:cubicBezTo>
                                  <a:cubicBezTo>
                                    <a:pt x="6417" y="3949"/>
                                    <a:pt x="6414" y="3955"/>
                                    <a:pt x="6421" y="3957"/>
                                  </a:cubicBezTo>
                                  <a:cubicBezTo>
                                    <a:pt x="6428" y="3959"/>
                                    <a:pt x="6428" y="3948"/>
                                    <a:pt x="6431" y="3940"/>
                                  </a:cubicBezTo>
                                  <a:cubicBezTo>
                                    <a:pt x="6434" y="3931"/>
                                    <a:pt x="6440" y="3921"/>
                                    <a:pt x="6449" y="3912"/>
                                  </a:cubicBezTo>
                                  <a:cubicBezTo>
                                    <a:pt x="6459" y="3904"/>
                                    <a:pt x="6464" y="3905"/>
                                    <a:pt x="6475" y="3905"/>
                                  </a:cubicBezTo>
                                  <a:cubicBezTo>
                                    <a:pt x="6486" y="3904"/>
                                    <a:pt x="6480" y="3904"/>
                                    <a:pt x="6483" y="3908"/>
                                  </a:cubicBezTo>
                                  <a:cubicBezTo>
                                    <a:pt x="6486" y="3912"/>
                                    <a:pt x="6481" y="3926"/>
                                    <a:pt x="6489" y="3933"/>
                                  </a:cubicBezTo>
                                  <a:cubicBezTo>
                                    <a:pt x="6497" y="3940"/>
                                    <a:pt x="6501" y="3932"/>
                                    <a:pt x="6514" y="3932"/>
                                  </a:cubicBezTo>
                                  <a:cubicBezTo>
                                    <a:pt x="6527" y="3932"/>
                                    <a:pt x="6522" y="3944"/>
                                    <a:pt x="6532" y="3950"/>
                                  </a:cubicBezTo>
                                  <a:cubicBezTo>
                                    <a:pt x="6542" y="3956"/>
                                    <a:pt x="6547" y="3942"/>
                                    <a:pt x="6560" y="3939"/>
                                  </a:cubicBezTo>
                                  <a:cubicBezTo>
                                    <a:pt x="6574" y="3935"/>
                                    <a:pt x="6596" y="3926"/>
                                    <a:pt x="6603" y="3919"/>
                                  </a:cubicBezTo>
                                  <a:cubicBezTo>
                                    <a:pt x="6611" y="3912"/>
                                    <a:pt x="6639" y="3901"/>
                                    <a:pt x="6657" y="3891"/>
                                  </a:cubicBezTo>
                                  <a:cubicBezTo>
                                    <a:pt x="6674" y="3882"/>
                                    <a:pt x="6671" y="3871"/>
                                    <a:pt x="6681" y="3859"/>
                                  </a:cubicBezTo>
                                  <a:cubicBezTo>
                                    <a:pt x="6690" y="3847"/>
                                    <a:pt x="6693" y="3839"/>
                                    <a:pt x="6702" y="3827"/>
                                  </a:cubicBezTo>
                                  <a:cubicBezTo>
                                    <a:pt x="6712" y="3816"/>
                                    <a:pt x="6739" y="3802"/>
                                    <a:pt x="6750" y="3779"/>
                                  </a:cubicBezTo>
                                  <a:cubicBezTo>
                                    <a:pt x="6762" y="3756"/>
                                    <a:pt x="6770" y="3762"/>
                                    <a:pt x="6788" y="3744"/>
                                  </a:cubicBezTo>
                                  <a:cubicBezTo>
                                    <a:pt x="6806" y="3726"/>
                                    <a:pt x="6815" y="3722"/>
                                    <a:pt x="6821" y="3709"/>
                                  </a:cubicBezTo>
                                  <a:cubicBezTo>
                                    <a:pt x="6828" y="3696"/>
                                    <a:pt x="6836" y="3684"/>
                                    <a:pt x="6849" y="3671"/>
                                  </a:cubicBezTo>
                                  <a:cubicBezTo>
                                    <a:pt x="6862" y="3658"/>
                                    <a:pt x="6866" y="3650"/>
                                    <a:pt x="6868" y="3640"/>
                                  </a:cubicBezTo>
                                  <a:cubicBezTo>
                                    <a:pt x="6870" y="3630"/>
                                    <a:pt x="6872" y="3624"/>
                                    <a:pt x="6876" y="3615"/>
                                  </a:cubicBezTo>
                                  <a:cubicBezTo>
                                    <a:pt x="6880" y="3605"/>
                                    <a:pt x="6897" y="3595"/>
                                    <a:pt x="6902" y="3589"/>
                                  </a:cubicBezTo>
                                  <a:cubicBezTo>
                                    <a:pt x="6907" y="3583"/>
                                    <a:pt x="6909" y="3578"/>
                                    <a:pt x="6917" y="3560"/>
                                  </a:cubicBezTo>
                                  <a:cubicBezTo>
                                    <a:pt x="6926" y="3542"/>
                                    <a:pt x="6933" y="3543"/>
                                    <a:pt x="6938" y="3536"/>
                                  </a:cubicBezTo>
                                  <a:cubicBezTo>
                                    <a:pt x="6944" y="3529"/>
                                    <a:pt x="6959" y="3522"/>
                                    <a:pt x="6965" y="3516"/>
                                  </a:cubicBezTo>
                                  <a:cubicBezTo>
                                    <a:pt x="6971" y="3509"/>
                                    <a:pt x="6968" y="3501"/>
                                    <a:pt x="6973" y="3491"/>
                                  </a:cubicBezTo>
                                  <a:cubicBezTo>
                                    <a:pt x="6977" y="3482"/>
                                    <a:pt x="6983" y="3478"/>
                                    <a:pt x="6983" y="3467"/>
                                  </a:cubicBezTo>
                                  <a:cubicBezTo>
                                    <a:pt x="6983" y="3456"/>
                                    <a:pt x="6979" y="3456"/>
                                    <a:pt x="6981" y="3449"/>
                                  </a:cubicBezTo>
                                  <a:cubicBezTo>
                                    <a:pt x="6983" y="3443"/>
                                    <a:pt x="6993" y="3420"/>
                                    <a:pt x="6994" y="3415"/>
                                  </a:cubicBezTo>
                                  <a:cubicBezTo>
                                    <a:pt x="6995" y="3410"/>
                                    <a:pt x="6992" y="3401"/>
                                    <a:pt x="6991" y="3394"/>
                                  </a:cubicBezTo>
                                  <a:cubicBezTo>
                                    <a:pt x="6990" y="3387"/>
                                    <a:pt x="7000" y="3382"/>
                                    <a:pt x="7001" y="3374"/>
                                  </a:cubicBezTo>
                                  <a:cubicBezTo>
                                    <a:pt x="7002" y="3366"/>
                                    <a:pt x="6999" y="3371"/>
                                    <a:pt x="6994" y="3366"/>
                                  </a:cubicBezTo>
                                  <a:cubicBezTo>
                                    <a:pt x="6990" y="3362"/>
                                    <a:pt x="6995" y="3355"/>
                                    <a:pt x="6992" y="3342"/>
                                  </a:cubicBezTo>
                                  <a:cubicBezTo>
                                    <a:pt x="6990" y="3329"/>
                                    <a:pt x="6989" y="3321"/>
                                    <a:pt x="6995" y="3309"/>
                                  </a:cubicBezTo>
                                  <a:cubicBezTo>
                                    <a:pt x="7000" y="3296"/>
                                    <a:pt x="7002" y="3290"/>
                                    <a:pt x="7002" y="3284"/>
                                  </a:cubicBezTo>
                                  <a:cubicBezTo>
                                    <a:pt x="7002" y="3278"/>
                                    <a:pt x="7006" y="3275"/>
                                    <a:pt x="7011" y="3271"/>
                                  </a:cubicBezTo>
                                  <a:cubicBezTo>
                                    <a:pt x="7016" y="3266"/>
                                    <a:pt x="7012" y="3258"/>
                                    <a:pt x="7013" y="3251"/>
                                  </a:cubicBezTo>
                                  <a:cubicBezTo>
                                    <a:pt x="7014" y="3245"/>
                                    <a:pt x="7026" y="3242"/>
                                    <a:pt x="7033" y="3236"/>
                                  </a:cubicBezTo>
                                  <a:cubicBezTo>
                                    <a:pt x="7041" y="3231"/>
                                    <a:pt x="7043" y="3229"/>
                                    <a:pt x="7044" y="3224"/>
                                  </a:cubicBezTo>
                                  <a:cubicBezTo>
                                    <a:pt x="7045" y="3219"/>
                                    <a:pt x="7042" y="3216"/>
                                    <a:pt x="7045" y="3209"/>
                                  </a:cubicBezTo>
                                  <a:cubicBezTo>
                                    <a:pt x="7047" y="3203"/>
                                    <a:pt x="7048" y="3205"/>
                                    <a:pt x="7047" y="3198"/>
                                  </a:cubicBezTo>
                                  <a:cubicBezTo>
                                    <a:pt x="7045" y="3191"/>
                                    <a:pt x="7041" y="3193"/>
                                    <a:pt x="7035" y="3187"/>
                                  </a:cubicBezTo>
                                  <a:cubicBezTo>
                                    <a:pt x="7028" y="3181"/>
                                    <a:pt x="7031" y="3180"/>
                                    <a:pt x="7034" y="3173"/>
                                  </a:cubicBezTo>
                                  <a:cubicBezTo>
                                    <a:pt x="7038" y="3166"/>
                                    <a:pt x="7036" y="3165"/>
                                    <a:pt x="7037" y="3158"/>
                                  </a:cubicBezTo>
                                  <a:cubicBezTo>
                                    <a:pt x="7037" y="3150"/>
                                    <a:pt x="7035" y="3150"/>
                                    <a:pt x="7030" y="3143"/>
                                  </a:cubicBezTo>
                                  <a:cubicBezTo>
                                    <a:pt x="7024" y="3136"/>
                                    <a:pt x="7020" y="3137"/>
                                    <a:pt x="7012" y="3135"/>
                                  </a:cubicBezTo>
                                  <a:cubicBezTo>
                                    <a:pt x="7004" y="3132"/>
                                    <a:pt x="7005" y="3127"/>
                                    <a:pt x="7006" y="3121"/>
                                  </a:cubicBezTo>
                                  <a:cubicBezTo>
                                    <a:pt x="7008" y="3115"/>
                                    <a:pt x="7013" y="3121"/>
                                    <a:pt x="7017" y="3125"/>
                                  </a:cubicBezTo>
                                  <a:cubicBezTo>
                                    <a:pt x="7022" y="3129"/>
                                    <a:pt x="7031" y="3130"/>
                                    <a:pt x="7039" y="3126"/>
                                  </a:cubicBezTo>
                                  <a:cubicBezTo>
                                    <a:pt x="7048" y="3121"/>
                                    <a:pt x="7050" y="3118"/>
                                    <a:pt x="7045" y="3109"/>
                                  </a:cubicBezTo>
                                  <a:cubicBezTo>
                                    <a:pt x="7041" y="3100"/>
                                    <a:pt x="7030" y="3101"/>
                                    <a:pt x="7023" y="3096"/>
                                  </a:cubicBezTo>
                                  <a:cubicBezTo>
                                    <a:pt x="7016" y="3091"/>
                                    <a:pt x="7007" y="3088"/>
                                    <a:pt x="6998" y="3082"/>
                                  </a:cubicBezTo>
                                  <a:cubicBezTo>
                                    <a:pt x="6989" y="3075"/>
                                    <a:pt x="6988" y="3073"/>
                                    <a:pt x="6981" y="3065"/>
                                  </a:cubicBezTo>
                                  <a:cubicBezTo>
                                    <a:pt x="6973" y="3057"/>
                                    <a:pt x="6970" y="3053"/>
                                    <a:pt x="6966" y="3043"/>
                                  </a:cubicBezTo>
                                  <a:cubicBezTo>
                                    <a:pt x="6961" y="3033"/>
                                    <a:pt x="6957" y="3032"/>
                                    <a:pt x="6951" y="3029"/>
                                  </a:cubicBezTo>
                                  <a:cubicBezTo>
                                    <a:pt x="6945" y="3025"/>
                                    <a:pt x="6945" y="3031"/>
                                    <a:pt x="6932" y="3030"/>
                                  </a:cubicBezTo>
                                  <a:cubicBezTo>
                                    <a:pt x="6919" y="3030"/>
                                    <a:pt x="6911" y="3028"/>
                                    <a:pt x="6911" y="3028"/>
                                  </a:cubicBezTo>
                                  <a:cubicBezTo>
                                    <a:pt x="6911" y="3028"/>
                                    <a:pt x="6897" y="3030"/>
                                    <a:pt x="6889" y="3032"/>
                                  </a:cubicBezTo>
                                  <a:cubicBezTo>
                                    <a:pt x="6881" y="3035"/>
                                    <a:pt x="6885" y="3037"/>
                                    <a:pt x="6887" y="3043"/>
                                  </a:cubicBezTo>
                                  <a:cubicBezTo>
                                    <a:pt x="6888" y="3050"/>
                                    <a:pt x="6888" y="3051"/>
                                    <a:pt x="6886" y="3059"/>
                                  </a:cubicBezTo>
                                  <a:cubicBezTo>
                                    <a:pt x="6884" y="3066"/>
                                    <a:pt x="6882" y="3064"/>
                                    <a:pt x="6875" y="3071"/>
                                  </a:cubicBezTo>
                                  <a:cubicBezTo>
                                    <a:pt x="6867" y="3078"/>
                                    <a:pt x="6871" y="3077"/>
                                    <a:pt x="6868" y="3087"/>
                                  </a:cubicBezTo>
                                  <a:cubicBezTo>
                                    <a:pt x="6864" y="3098"/>
                                    <a:pt x="6864" y="3091"/>
                                    <a:pt x="6858" y="3092"/>
                                  </a:cubicBezTo>
                                  <a:cubicBezTo>
                                    <a:pt x="6853" y="3093"/>
                                    <a:pt x="6852" y="3092"/>
                                    <a:pt x="6851" y="3089"/>
                                  </a:cubicBezTo>
                                  <a:cubicBezTo>
                                    <a:pt x="6849" y="3085"/>
                                    <a:pt x="6853" y="3083"/>
                                    <a:pt x="6858" y="3079"/>
                                  </a:cubicBezTo>
                                  <a:cubicBezTo>
                                    <a:pt x="6863" y="3075"/>
                                    <a:pt x="6864" y="3073"/>
                                    <a:pt x="6867" y="3068"/>
                                  </a:cubicBezTo>
                                  <a:cubicBezTo>
                                    <a:pt x="6871" y="3064"/>
                                    <a:pt x="6869" y="3062"/>
                                    <a:pt x="6867" y="3059"/>
                                  </a:cubicBezTo>
                                  <a:cubicBezTo>
                                    <a:pt x="6865" y="3055"/>
                                    <a:pt x="6863" y="3059"/>
                                    <a:pt x="6857" y="3064"/>
                                  </a:cubicBezTo>
                                  <a:cubicBezTo>
                                    <a:pt x="6851" y="3069"/>
                                    <a:pt x="6847" y="3070"/>
                                    <a:pt x="6843" y="3076"/>
                                  </a:cubicBezTo>
                                  <a:cubicBezTo>
                                    <a:pt x="6838" y="3081"/>
                                    <a:pt x="6834" y="3083"/>
                                    <a:pt x="6829" y="3087"/>
                                  </a:cubicBezTo>
                                  <a:cubicBezTo>
                                    <a:pt x="6824" y="3092"/>
                                    <a:pt x="6822" y="3089"/>
                                    <a:pt x="6816" y="3088"/>
                                  </a:cubicBezTo>
                                  <a:cubicBezTo>
                                    <a:pt x="6809" y="3087"/>
                                    <a:pt x="6804" y="3089"/>
                                    <a:pt x="6796" y="3088"/>
                                  </a:cubicBezTo>
                                  <a:cubicBezTo>
                                    <a:pt x="6788" y="3087"/>
                                    <a:pt x="6793" y="3083"/>
                                    <a:pt x="6796" y="3077"/>
                                  </a:cubicBezTo>
                                  <a:cubicBezTo>
                                    <a:pt x="6800" y="3072"/>
                                    <a:pt x="6807" y="3072"/>
                                    <a:pt x="6813" y="3068"/>
                                  </a:cubicBezTo>
                                  <a:cubicBezTo>
                                    <a:pt x="6819" y="3063"/>
                                    <a:pt x="6821" y="3057"/>
                                    <a:pt x="6817" y="3054"/>
                                  </a:cubicBezTo>
                                  <a:cubicBezTo>
                                    <a:pt x="6814" y="3051"/>
                                    <a:pt x="6812" y="3053"/>
                                    <a:pt x="6807" y="3050"/>
                                  </a:cubicBezTo>
                                  <a:cubicBezTo>
                                    <a:pt x="6802" y="3048"/>
                                    <a:pt x="6800" y="3048"/>
                                    <a:pt x="6794" y="3050"/>
                                  </a:cubicBezTo>
                                  <a:cubicBezTo>
                                    <a:pt x="6789" y="3051"/>
                                    <a:pt x="6785" y="3055"/>
                                    <a:pt x="6779" y="3060"/>
                                  </a:cubicBezTo>
                                  <a:cubicBezTo>
                                    <a:pt x="6772" y="3064"/>
                                    <a:pt x="6770" y="3064"/>
                                    <a:pt x="6761" y="3066"/>
                                  </a:cubicBezTo>
                                  <a:cubicBezTo>
                                    <a:pt x="6753" y="3067"/>
                                    <a:pt x="6758" y="3064"/>
                                    <a:pt x="6757" y="3060"/>
                                  </a:cubicBezTo>
                                  <a:cubicBezTo>
                                    <a:pt x="6755" y="3055"/>
                                    <a:pt x="6757" y="3051"/>
                                    <a:pt x="6759" y="3046"/>
                                  </a:cubicBezTo>
                                  <a:cubicBezTo>
                                    <a:pt x="6761" y="3041"/>
                                    <a:pt x="6763" y="3037"/>
                                    <a:pt x="6762" y="3031"/>
                                  </a:cubicBezTo>
                                  <a:cubicBezTo>
                                    <a:pt x="6761" y="3025"/>
                                    <a:pt x="6760" y="3023"/>
                                    <a:pt x="6760" y="3017"/>
                                  </a:cubicBezTo>
                                  <a:cubicBezTo>
                                    <a:pt x="6760" y="3012"/>
                                    <a:pt x="6762" y="3012"/>
                                    <a:pt x="6761" y="3003"/>
                                  </a:cubicBezTo>
                                  <a:cubicBezTo>
                                    <a:pt x="6761" y="2994"/>
                                    <a:pt x="6759" y="2997"/>
                                    <a:pt x="6751" y="2991"/>
                                  </a:cubicBezTo>
                                  <a:cubicBezTo>
                                    <a:pt x="6742" y="2985"/>
                                    <a:pt x="6731" y="2990"/>
                                    <a:pt x="6715" y="2990"/>
                                  </a:cubicBezTo>
                                  <a:cubicBezTo>
                                    <a:pt x="6699" y="2990"/>
                                    <a:pt x="6698" y="2990"/>
                                    <a:pt x="6688" y="2989"/>
                                  </a:cubicBezTo>
                                  <a:cubicBezTo>
                                    <a:pt x="6679" y="2989"/>
                                    <a:pt x="6675" y="2986"/>
                                    <a:pt x="6668" y="2980"/>
                                  </a:cubicBezTo>
                                  <a:cubicBezTo>
                                    <a:pt x="6662" y="2975"/>
                                    <a:pt x="6670" y="2974"/>
                                    <a:pt x="6679" y="2962"/>
                                  </a:cubicBezTo>
                                  <a:cubicBezTo>
                                    <a:pt x="6687" y="2950"/>
                                    <a:pt x="6695" y="2948"/>
                                    <a:pt x="6705" y="2942"/>
                                  </a:cubicBezTo>
                                  <a:cubicBezTo>
                                    <a:pt x="6715" y="2935"/>
                                    <a:pt x="6723" y="2934"/>
                                    <a:pt x="6738" y="2927"/>
                                  </a:cubicBezTo>
                                  <a:cubicBezTo>
                                    <a:pt x="6754" y="2919"/>
                                    <a:pt x="6770" y="2901"/>
                                    <a:pt x="6792" y="2890"/>
                                  </a:cubicBezTo>
                                  <a:cubicBezTo>
                                    <a:pt x="6813" y="2879"/>
                                    <a:pt x="6816" y="2867"/>
                                    <a:pt x="6828" y="2860"/>
                                  </a:cubicBezTo>
                                  <a:cubicBezTo>
                                    <a:pt x="6840" y="2852"/>
                                    <a:pt x="6845" y="2849"/>
                                    <a:pt x="6852" y="2842"/>
                                  </a:cubicBezTo>
                                  <a:cubicBezTo>
                                    <a:pt x="6859" y="2835"/>
                                    <a:pt x="6858" y="2822"/>
                                    <a:pt x="6859" y="2810"/>
                                  </a:cubicBezTo>
                                  <a:cubicBezTo>
                                    <a:pt x="6861" y="2798"/>
                                    <a:pt x="6883" y="2789"/>
                                    <a:pt x="6896" y="2774"/>
                                  </a:cubicBezTo>
                                  <a:cubicBezTo>
                                    <a:pt x="6908" y="2758"/>
                                    <a:pt x="6927" y="2754"/>
                                    <a:pt x="6940" y="2742"/>
                                  </a:cubicBezTo>
                                  <a:cubicBezTo>
                                    <a:pt x="6953" y="2731"/>
                                    <a:pt x="6966" y="2729"/>
                                    <a:pt x="6980" y="2724"/>
                                  </a:cubicBezTo>
                                  <a:cubicBezTo>
                                    <a:pt x="6994" y="2719"/>
                                    <a:pt x="6995" y="2713"/>
                                    <a:pt x="6999" y="2701"/>
                                  </a:cubicBezTo>
                                  <a:cubicBezTo>
                                    <a:pt x="7004" y="2689"/>
                                    <a:pt x="7009" y="2674"/>
                                    <a:pt x="7031" y="2657"/>
                                  </a:cubicBezTo>
                                  <a:cubicBezTo>
                                    <a:pt x="7054" y="2639"/>
                                    <a:pt x="7076" y="2622"/>
                                    <a:pt x="7086" y="2613"/>
                                  </a:cubicBezTo>
                                  <a:cubicBezTo>
                                    <a:pt x="7095" y="2604"/>
                                    <a:pt x="7118" y="2597"/>
                                    <a:pt x="7132" y="2590"/>
                                  </a:cubicBezTo>
                                  <a:cubicBezTo>
                                    <a:pt x="7146" y="2583"/>
                                    <a:pt x="7157" y="2581"/>
                                    <a:pt x="7183" y="2575"/>
                                  </a:cubicBezTo>
                                  <a:cubicBezTo>
                                    <a:pt x="7209" y="2570"/>
                                    <a:pt x="7202" y="2575"/>
                                    <a:pt x="7232" y="2575"/>
                                  </a:cubicBezTo>
                                  <a:cubicBezTo>
                                    <a:pt x="7263" y="2575"/>
                                    <a:pt x="7257" y="2575"/>
                                    <a:pt x="7276" y="2575"/>
                                  </a:cubicBezTo>
                                  <a:cubicBezTo>
                                    <a:pt x="7295" y="2575"/>
                                    <a:pt x="7314" y="2571"/>
                                    <a:pt x="7323" y="2575"/>
                                  </a:cubicBezTo>
                                  <a:cubicBezTo>
                                    <a:pt x="7333" y="2579"/>
                                    <a:pt x="7322" y="2582"/>
                                    <a:pt x="7324" y="2589"/>
                                  </a:cubicBezTo>
                                  <a:cubicBezTo>
                                    <a:pt x="7326" y="2596"/>
                                    <a:pt x="7330" y="2592"/>
                                    <a:pt x="7338" y="2593"/>
                                  </a:cubicBezTo>
                                  <a:cubicBezTo>
                                    <a:pt x="7346" y="2594"/>
                                    <a:pt x="7350" y="2590"/>
                                    <a:pt x="7353" y="2581"/>
                                  </a:cubicBezTo>
                                  <a:cubicBezTo>
                                    <a:pt x="7355" y="2573"/>
                                    <a:pt x="7361" y="2571"/>
                                    <a:pt x="7372" y="2570"/>
                                  </a:cubicBezTo>
                                  <a:cubicBezTo>
                                    <a:pt x="7383" y="2568"/>
                                    <a:pt x="7379" y="2573"/>
                                    <a:pt x="7395" y="2579"/>
                                  </a:cubicBezTo>
                                  <a:cubicBezTo>
                                    <a:pt x="7411" y="2585"/>
                                    <a:pt x="7409" y="2583"/>
                                    <a:pt x="7420" y="2587"/>
                                  </a:cubicBezTo>
                                  <a:cubicBezTo>
                                    <a:pt x="7431" y="2591"/>
                                    <a:pt x="7433" y="2587"/>
                                    <a:pt x="7444" y="2584"/>
                                  </a:cubicBezTo>
                                  <a:cubicBezTo>
                                    <a:pt x="7455" y="2581"/>
                                    <a:pt x="7463" y="2577"/>
                                    <a:pt x="7477" y="2577"/>
                                  </a:cubicBezTo>
                                  <a:cubicBezTo>
                                    <a:pt x="7492" y="2578"/>
                                    <a:pt x="7492" y="2583"/>
                                    <a:pt x="7500" y="2589"/>
                                  </a:cubicBezTo>
                                  <a:cubicBezTo>
                                    <a:pt x="7508" y="2594"/>
                                    <a:pt x="7511" y="2591"/>
                                    <a:pt x="7512" y="2586"/>
                                  </a:cubicBezTo>
                                  <a:cubicBezTo>
                                    <a:pt x="7514" y="2582"/>
                                    <a:pt x="7508" y="2579"/>
                                    <a:pt x="7505" y="2574"/>
                                  </a:cubicBezTo>
                                  <a:cubicBezTo>
                                    <a:pt x="7503" y="2570"/>
                                    <a:pt x="7506" y="2570"/>
                                    <a:pt x="7512" y="2568"/>
                                  </a:cubicBezTo>
                                  <a:cubicBezTo>
                                    <a:pt x="7518" y="2567"/>
                                    <a:pt x="7526" y="2573"/>
                                    <a:pt x="7528" y="2566"/>
                                  </a:cubicBezTo>
                                  <a:cubicBezTo>
                                    <a:pt x="7530" y="2559"/>
                                    <a:pt x="7522" y="2552"/>
                                    <a:pt x="7527" y="2543"/>
                                  </a:cubicBezTo>
                                  <a:cubicBezTo>
                                    <a:pt x="7533" y="2534"/>
                                    <a:pt x="7550" y="2540"/>
                                    <a:pt x="7569" y="2540"/>
                                  </a:cubicBezTo>
                                  <a:cubicBezTo>
                                    <a:pt x="7588" y="2541"/>
                                    <a:pt x="7594" y="2549"/>
                                    <a:pt x="7605" y="2555"/>
                                  </a:cubicBezTo>
                                  <a:cubicBezTo>
                                    <a:pt x="7617" y="2560"/>
                                    <a:pt x="7618" y="2559"/>
                                    <a:pt x="7632" y="2559"/>
                                  </a:cubicBezTo>
                                  <a:cubicBezTo>
                                    <a:pt x="7645" y="2558"/>
                                    <a:pt x="7650" y="2556"/>
                                    <a:pt x="7657" y="2562"/>
                                  </a:cubicBezTo>
                                  <a:cubicBezTo>
                                    <a:pt x="7664" y="2568"/>
                                    <a:pt x="7676" y="2567"/>
                                    <a:pt x="7683" y="2574"/>
                                  </a:cubicBezTo>
                                  <a:cubicBezTo>
                                    <a:pt x="7690" y="2581"/>
                                    <a:pt x="7689" y="2582"/>
                                    <a:pt x="7702" y="2584"/>
                                  </a:cubicBezTo>
                                  <a:cubicBezTo>
                                    <a:pt x="7715" y="2585"/>
                                    <a:pt x="7716" y="2585"/>
                                    <a:pt x="7715" y="2591"/>
                                  </a:cubicBezTo>
                                  <a:cubicBezTo>
                                    <a:pt x="7714" y="2596"/>
                                    <a:pt x="7703" y="2594"/>
                                    <a:pt x="7694" y="2595"/>
                                  </a:cubicBezTo>
                                  <a:cubicBezTo>
                                    <a:pt x="7684" y="2595"/>
                                    <a:pt x="7677" y="2596"/>
                                    <a:pt x="7668" y="2596"/>
                                  </a:cubicBezTo>
                                  <a:cubicBezTo>
                                    <a:pt x="7659" y="2596"/>
                                    <a:pt x="7651" y="2597"/>
                                    <a:pt x="7648" y="2603"/>
                                  </a:cubicBezTo>
                                  <a:cubicBezTo>
                                    <a:pt x="7645" y="2608"/>
                                    <a:pt x="7651" y="2614"/>
                                    <a:pt x="7656" y="2621"/>
                                  </a:cubicBezTo>
                                  <a:cubicBezTo>
                                    <a:pt x="7661" y="2627"/>
                                    <a:pt x="7668" y="2621"/>
                                    <a:pt x="7682" y="2619"/>
                                  </a:cubicBezTo>
                                  <a:cubicBezTo>
                                    <a:pt x="7695" y="2618"/>
                                    <a:pt x="7701" y="2615"/>
                                    <a:pt x="7706" y="2613"/>
                                  </a:cubicBezTo>
                                  <a:cubicBezTo>
                                    <a:pt x="7712" y="2610"/>
                                    <a:pt x="7725" y="2607"/>
                                    <a:pt x="7734" y="2608"/>
                                  </a:cubicBezTo>
                                  <a:cubicBezTo>
                                    <a:pt x="7743" y="2608"/>
                                    <a:pt x="7744" y="2614"/>
                                    <a:pt x="7754" y="2619"/>
                                  </a:cubicBezTo>
                                  <a:cubicBezTo>
                                    <a:pt x="7763" y="2625"/>
                                    <a:pt x="7757" y="2612"/>
                                    <a:pt x="7760" y="2605"/>
                                  </a:cubicBezTo>
                                  <a:cubicBezTo>
                                    <a:pt x="7763" y="2598"/>
                                    <a:pt x="7771" y="2603"/>
                                    <a:pt x="7783" y="2602"/>
                                  </a:cubicBezTo>
                                  <a:cubicBezTo>
                                    <a:pt x="7795" y="2601"/>
                                    <a:pt x="7784" y="2595"/>
                                    <a:pt x="7788" y="2589"/>
                                  </a:cubicBezTo>
                                  <a:cubicBezTo>
                                    <a:pt x="7793" y="2584"/>
                                    <a:pt x="7800" y="2591"/>
                                    <a:pt x="7807" y="2597"/>
                                  </a:cubicBezTo>
                                  <a:cubicBezTo>
                                    <a:pt x="7813" y="2604"/>
                                    <a:pt x="7819" y="2604"/>
                                    <a:pt x="7827" y="2608"/>
                                  </a:cubicBezTo>
                                  <a:cubicBezTo>
                                    <a:pt x="7835" y="2612"/>
                                    <a:pt x="7838" y="2600"/>
                                    <a:pt x="7845" y="2594"/>
                                  </a:cubicBezTo>
                                  <a:cubicBezTo>
                                    <a:pt x="7852" y="2587"/>
                                    <a:pt x="7857" y="2592"/>
                                    <a:pt x="7869" y="2593"/>
                                  </a:cubicBezTo>
                                  <a:cubicBezTo>
                                    <a:pt x="7882" y="2595"/>
                                    <a:pt x="7893" y="2596"/>
                                    <a:pt x="7898" y="2592"/>
                                  </a:cubicBezTo>
                                  <a:cubicBezTo>
                                    <a:pt x="7902" y="2588"/>
                                    <a:pt x="7898" y="2578"/>
                                    <a:pt x="7893" y="2575"/>
                                  </a:cubicBezTo>
                                  <a:cubicBezTo>
                                    <a:pt x="7888" y="2572"/>
                                    <a:pt x="7886" y="2570"/>
                                    <a:pt x="7875" y="2566"/>
                                  </a:cubicBezTo>
                                  <a:cubicBezTo>
                                    <a:pt x="7864" y="2561"/>
                                    <a:pt x="7859" y="2566"/>
                                    <a:pt x="7853" y="2570"/>
                                  </a:cubicBezTo>
                                  <a:cubicBezTo>
                                    <a:pt x="7848" y="2573"/>
                                    <a:pt x="7844" y="2570"/>
                                    <a:pt x="7842" y="2565"/>
                                  </a:cubicBezTo>
                                  <a:cubicBezTo>
                                    <a:pt x="7839" y="2561"/>
                                    <a:pt x="7845" y="2559"/>
                                    <a:pt x="7844" y="2549"/>
                                  </a:cubicBezTo>
                                  <a:cubicBezTo>
                                    <a:pt x="7843" y="2539"/>
                                    <a:pt x="7842" y="2533"/>
                                    <a:pt x="7848" y="2527"/>
                                  </a:cubicBezTo>
                                  <a:cubicBezTo>
                                    <a:pt x="7854" y="2520"/>
                                    <a:pt x="7862" y="2520"/>
                                    <a:pt x="7866" y="2508"/>
                                  </a:cubicBezTo>
                                  <a:cubicBezTo>
                                    <a:pt x="7870" y="2496"/>
                                    <a:pt x="7876" y="2498"/>
                                    <a:pt x="7898" y="2485"/>
                                  </a:cubicBezTo>
                                  <a:cubicBezTo>
                                    <a:pt x="7920" y="2471"/>
                                    <a:pt x="7922" y="2471"/>
                                    <a:pt x="7936" y="2458"/>
                                  </a:cubicBezTo>
                                  <a:cubicBezTo>
                                    <a:pt x="7949" y="2445"/>
                                    <a:pt x="7950" y="2436"/>
                                    <a:pt x="7952" y="2431"/>
                                  </a:cubicBezTo>
                                  <a:cubicBezTo>
                                    <a:pt x="7954" y="2426"/>
                                    <a:pt x="7961" y="2423"/>
                                    <a:pt x="7972" y="2416"/>
                                  </a:cubicBezTo>
                                  <a:cubicBezTo>
                                    <a:pt x="7983" y="2408"/>
                                    <a:pt x="7989" y="2408"/>
                                    <a:pt x="7993" y="2403"/>
                                  </a:cubicBezTo>
                                  <a:cubicBezTo>
                                    <a:pt x="7996" y="2397"/>
                                    <a:pt x="7996" y="2393"/>
                                    <a:pt x="7999" y="2384"/>
                                  </a:cubicBezTo>
                                  <a:cubicBezTo>
                                    <a:pt x="8001" y="2375"/>
                                    <a:pt x="8004" y="2376"/>
                                    <a:pt x="8013" y="2365"/>
                                  </a:cubicBezTo>
                                  <a:cubicBezTo>
                                    <a:pt x="8022" y="2355"/>
                                    <a:pt x="8035" y="2353"/>
                                    <a:pt x="8062" y="2350"/>
                                  </a:cubicBezTo>
                                  <a:cubicBezTo>
                                    <a:pt x="8090" y="2347"/>
                                    <a:pt x="8076" y="2350"/>
                                    <a:pt x="8102" y="2348"/>
                                  </a:cubicBezTo>
                                  <a:cubicBezTo>
                                    <a:pt x="8127" y="2346"/>
                                    <a:pt x="8121" y="2343"/>
                                    <a:pt x="8143" y="2341"/>
                                  </a:cubicBezTo>
                                  <a:cubicBezTo>
                                    <a:pt x="8165" y="2338"/>
                                    <a:pt x="8152" y="2345"/>
                                    <a:pt x="8157" y="2352"/>
                                  </a:cubicBezTo>
                                  <a:cubicBezTo>
                                    <a:pt x="8161" y="2359"/>
                                    <a:pt x="8168" y="2362"/>
                                    <a:pt x="8184" y="2358"/>
                                  </a:cubicBezTo>
                                  <a:cubicBezTo>
                                    <a:pt x="8200" y="2355"/>
                                    <a:pt x="8201" y="2343"/>
                                    <a:pt x="8216" y="2340"/>
                                  </a:cubicBezTo>
                                  <a:cubicBezTo>
                                    <a:pt x="8230" y="2337"/>
                                    <a:pt x="8220" y="2347"/>
                                    <a:pt x="8219" y="2354"/>
                                  </a:cubicBezTo>
                                  <a:cubicBezTo>
                                    <a:pt x="8218" y="2362"/>
                                    <a:pt x="8217" y="2363"/>
                                    <a:pt x="8206" y="2371"/>
                                  </a:cubicBezTo>
                                  <a:cubicBezTo>
                                    <a:pt x="8196" y="2379"/>
                                    <a:pt x="8203" y="2377"/>
                                    <a:pt x="8199" y="2390"/>
                                  </a:cubicBezTo>
                                  <a:cubicBezTo>
                                    <a:pt x="8194" y="2404"/>
                                    <a:pt x="8189" y="2393"/>
                                    <a:pt x="8183" y="2400"/>
                                  </a:cubicBezTo>
                                  <a:cubicBezTo>
                                    <a:pt x="8176" y="2407"/>
                                    <a:pt x="8184" y="2407"/>
                                    <a:pt x="8191" y="2415"/>
                                  </a:cubicBezTo>
                                  <a:cubicBezTo>
                                    <a:pt x="8198" y="2423"/>
                                    <a:pt x="8188" y="2421"/>
                                    <a:pt x="8190" y="2431"/>
                                  </a:cubicBezTo>
                                  <a:cubicBezTo>
                                    <a:pt x="8191" y="2442"/>
                                    <a:pt x="8201" y="2433"/>
                                    <a:pt x="8211" y="2437"/>
                                  </a:cubicBezTo>
                                  <a:cubicBezTo>
                                    <a:pt x="8221" y="2440"/>
                                    <a:pt x="8207" y="2448"/>
                                    <a:pt x="8207" y="2459"/>
                                  </a:cubicBezTo>
                                  <a:cubicBezTo>
                                    <a:pt x="8207" y="2471"/>
                                    <a:pt x="8220" y="2460"/>
                                    <a:pt x="8231" y="2457"/>
                                  </a:cubicBezTo>
                                  <a:cubicBezTo>
                                    <a:pt x="8241" y="2454"/>
                                    <a:pt x="8247" y="2445"/>
                                    <a:pt x="8255" y="2430"/>
                                  </a:cubicBezTo>
                                  <a:cubicBezTo>
                                    <a:pt x="8264" y="2414"/>
                                    <a:pt x="8273" y="2419"/>
                                    <a:pt x="8290" y="2402"/>
                                  </a:cubicBezTo>
                                  <a:cubicBezTo>
                                    <a:pt x="8307" y="2386"/>
                                    <a:pt x="8324" y="2383"/>
                                    <a:pt x="8339" y="2369"/>
                                  </a:cubicBezTo>
                                  <a:cubicBezTo>
                                    <a:pt x="8354" y="2356"/>
                                    <a:pt x="8352" y="2367"/>
                                    <a:pt x="8367" y="2363"/>
                                  </a:cubicBezTo>
                                  <a:cubicBezTo>
                                    <a:pt x="8381" y="2358"/>
                                    <a:pt x="8376" y="2374"/>
                                    <a:pt x="8386" y="2370"/>
                                  </a:cubicBezTo>
                                  <a:cubicBezTo>
                                    <a:pt x="8395" y="2366"/>
                                    <a:pt x="8399" y="2366"/>
                                    <a:pt x="8397" y="2356"/>
                                  </a:cubicBezTo>
                                  <a:cubicBezTo>
                                    <a:pt x="8395" y="2345"/>
                                    <a:pt x="8384" y="2350"/>
                                    <a:pt x="8382" y="2343"/>
                                  </a:cubicBezTo>
                                  <a:cubicBezTo>
                                    <a:pt x="8379" y="2336"/>
                                    <a:pt x="8386" y="2334"/>
                                    <a:pt x="8392" y="2313"/>
                                  </a:cubicBezTo>
                                  <a:cubicBezTo>
                                    <a:pt x="8398" y="2291"/>
                                    <a:pt x="8396" y="2290"/>
                                    <a:pt x="8399" y="2276"/>
                                  </a:cubicBezTo>
                                  <a:cubicBezTo>
                                    <a:pt x="8403" y="2262"/>
                                    <a:pt x="8411" y="2274"/>
                                    <a:pt x="8422" y="2271"/>
                                  </a:cubicBezTo>
                                  <a:cubicBezTo>
                                    <a:pt x="8432" y="2267"/>
                                    <a:pt x="8445" y="2269"/>
                                    <a:pt x="8463" y="2262"/>
                                  </a:cubicBezTo>
                                  <a:cubicBezTo>
                                    <a:pt x="8481" y="2255"/>
                                    <a:pt x="8477" y="2262"/>
                                    <a:pt x="8489" y="2272"/>
                                  </a:cubicBezTo>
                                  <a:cubicBezTo>
                                    <a:pt x="8501" y="2283"/>
                                    <a:pt x="8502" y="2278"/>
                                    <a:pt x="8520" y="2281"/>
                                  </a:cubicBezTo>
                                  <a:cubicBezTo>
                                    <a:pt x="8538" y="2283"/>
                                    <a:pt x="8550" y="2277"/>
                                    <a:pt x="8550" y="2285"/>
                                  </a:cubicBezTo>
                                  <a:cubicBezTo>
                                    <a:pt x="8551" y="2294"/>
                                    <a:pt x="8539" y="2287"/>
                                    <a:pt x="8527" y="2289"/>
                                  </a:cubicBezTo>
                                  <a:cubicBezTo>
                                    <a:pt x="8515" y="2291"/>
                                    <a:pt x="8527" y="2294"/>
                                    <a:pt x="8519" y="2298"/>
                                  </a:cubicBezTo>
                                  <a:cubicBezTo>
                                    <a:pt x="8510" y="2302"/>
                                    <a:pt x="8501" y="2289"/>
                                    <a:pt x="8486" y="2289"/>
                                  </a:cubicBezTo>
                                  <a:cubicBezTo>
                                    <a:pt x="8470" y="2289"/>
                                    <a:pt x="8476" y="2292"/>
                                    <a:pt x="8465" y="2297"/>
                                  </a:cubicBezTo>
                                  <a:cubicBezTo>
                                    <a:pt x="8455" y="2302"/>
                                    <a:pt x="8453" y="2306"/>
                                    <a:pt x="8449" y="2320"/>
                                  </a:cubicBezTo>
                                  <a:cubicBezTo>
                                    <a:pt x="8445" y="2334"/>
                                    <a:pt x="8452" y="2349"/>
                                    <a:pt x="8441" y="2361"/>
                                  </a:cubicBezTo>
                                  <a:cubicBezTo>
                                    <a:pt x="8430" y="2374"/>
                                    <a:pt x="8440" y="2372"/>
                                    <a:pt x="8444" y="2381"/>
                                  </a:cubicBezTo>
                                  <a:cubicBezTo>
                                    <a:pt x="8448" y="2390"/>
                                    <a:pt x="8449" y="2395"/>
                                    <a:pt x="8444" y="2404"/>
                                  </a:cubicBezTo>
                                  <a:cubicBezTo>
                                    <a:pt x="8439" y="2412"/>
                                    <a:pt x="8431" y="2411"/>
                                    <a:pt x="8426" y="2421"/>
                                  </a:cubicBezTo>
                                  <a:cubicBezTo>
                                    <a:pt x="8421" y="2432"/>
                                    <a:pt x="8428" y="2433"/>
                                    <a:pt x="8421" y="2441"/>
                                  </a:cubicBezTo>
                                  <a:cubicBezTo>
                                    <a:pt x="8413" y="2448"/>
                                    <a:pt x="8397" y="2451"/>
                                    <a:pt x="8379" y="2456"/>
                                  </a:cubicBezTo>
                                  <a:cubicBezTo>
                                    <a:pt x="8361" y="2460"/>
                                    <a:pt x="8358" y="2466"/>
                                    <a:pt x="8340" y="2470"/>
                                  </a:cubicBezTo>
                                  <a:cubicBezTo>
                                    <a:pt x="8323" y="2474"/>
                                    <a:pt x="8326" y="2475"/>
                                    <a:pt x="8319" y="2480"/>
                                  </a:cubicBezTo>
                                  <a:cubicBezTo>
                                    <a:pt x="8311" y="2486"/>
                                    <a:pt x="8317" y="2488"/>
                                    <a:pt x="8311" y="2497"/>
                                  </a:cubicBezTo>
                                  <a:cubicBezTo>
                                    <a:pt x="8306" y="2506"/>
                                    <a:pt x="8296" y="2513"/>
                                    <a:pt x="8283" y="2524"/>
                                  </a:cubicBezTo>
                                  <a:cubicBezTo>
                                    <a:pt x="8270" y="2534"/>
                                    <a:pt x="8259" y="2541"/>
                                    <a:pt x="8242" y="2553"/>
                                  </a:cubicBezTo>
                                  <a:cubicBezTo>
                                    <a:pt x="8225" y="2565"/>
                                    <a:pt x="8210" y="2584"/>
                                    <a:pt x="8196" y="2594"/>
                                  </a:cubicBezTo>
                                  <a:cubicBezTo>
                                    <a:pt x="8183" y="2603"/>
                                    <a:pt x="8183" y="2614"/>
                                    <a:pt x="8173" y="2630"/>
                                  </a:cubicBezTo>
                                  <a:cubicBezTo>
                                    <a:pt x="8162" y="2645"/>
                                    <a:pt x="8157" y="2649"/>
                                    <a:pt x="8150" y="2659"/>
                                  </a:cubicBezTo>
                                  <a:cubicBezTo>
                                    <a:pt x="8142" y="2669"/>
                                    <a:pt x="8133" y="2676"/>
                                    <a:pt x="8124" y="2678"/>
                                  </a:cubicBezTo>
                                  <a:cubicBezTo>
                                    <a:pt x="8116" y="2681"/>
                                    <a:pt x="8106" y="2687"/>
                                    <a:pt x="8102" y="2693"/>
                                  </a:cubicBezTo>
                                  <a:cubicBezTo>
                                    <a:pt x="8098" y="2699"/>
                                    <a:pt x="8098" y="2704"/>
                                    <a:pt x="8092" y="2707"/>
                                  </a:cubicBezTo>
                                  <a:cubicBezTo>
                                    <a:pt x="8086" y="2710"/>
                                    <a:pt x="8086" y="2703"/>
                                    <a:pt x="8079" y="2700"/>
                                  </a:cubicBezTo>
                                  <a:cubicBezTo>
                                    <a:pt x="8072" y="2697"/>
                                    <a:pt x="8067" y="2700"/>
                                    <a:pt x="8057" y="2702"/>
                                  </a:cubicBezTo>
                                  <a:cubicBezTo>
                                    <a:pt x="8046" y="2704"/>
                                    <a:pt x="8050" y="2707"/>
                                    <a:pt x="8045" y="2713"/>
                                  </a:cubicBezTo>
                                  <a:cubicBezTo>
                                    <a:pt x="8040" y="2719"/>
                                    <a:pt x="8033" y="2721"/>
                                    <a:pt x="8025" y="2721"/>
                                  </a:cubicBezTo>
                                  <a:cubicBezTo>
                                    <a:pt x="8017" y="2721"/>
                                    <a:pt x="8005" y="2720"/>
                                    <a:pt x="8000" y="2728"/>
                                  </a:cubicBezTo>
                                  <a:cubicBezTo>
                                    <a:pt x="7996" y="2736"/>
                                    <a:pt x="8008" y="2742"/>
                                    <a:pt x="8010" y="2750"/>
                                  </a:cubicBezTo>
                                  <a:cubicBezTo>
                                    <a:pt x="8012" y="2758"/>
                                    <a:pt x="8010" y="2759"/>
                                    <a:pt x="8004" y="2769"/>
                                  </a:cubicBezTo>
                                  <a:cubicBezTo>
                                    <a:pt x="7998" y="2780"/>
                                    <a:pt x="7997" y="2781"/>
                                    <a:pt x="7990" y="2784"/>
                                  </a:cubicBezTo>
                                  <a:cubicBezTo>
                                    <a:pt x="7983" y="2788"/>
                                    <a:pt x="7982" y="2788"/>
                                    <a:pt x="7972" y="2796"/>
                                  </a:cubicBezTo>
                                  <a:cubicBezTo>
                                    <a:pt x="7962" y="2805"/>
                                    <a:pt x="7948" y="2813"/>
                                    <a:pt x="7946" y="2824"/>
                                  </a:cubicBezTo>
                                  <a:cubicBezTo>
                                    <a:pt x="7943" y="2835"/>
                                    <a:pt x="7942" y="2841"/>
                                    <a:pt x="7936" y="2860"/>
                                  </a:cubicBezTo>
                                  <a:cubicBezTo>
                                    <a:pt x="7930" y="2879"/>
                                    <a:pt x="7928" y="2921"/>
                                    <a:pt x="7926" y="2943"/>
                                  </a:cubicBezTo>
                                  <a:cubicBezTo>
                                    <a:pt x="7924" y="2965"/>
                                    <a:pt x="7927" y="2989"/>
                                    <a:pt x="7936" y="3016"/>
                                  </a:cubicBezTo>
                                  <a:cubicBezTo>
                                    <a:pt x="7945" y="3043"/>
                                    <a:pt x="7946" y="3064"/>
                                    <a:pt x="7950" y="3092"/>
                                  </a:cubicBezTo>
                                  <a:cubicBezTo>
                                    <a:pt x="7954" y="3120"/>
                                    <a:pt x="7958" y="3142"/>
                                    <a:pt x="7959" y="3154"/>
                                  </a:cubicBezTo>
                                  <a:cubicBezTo>
                                    <a:pt x="7959" y="3166"/>
                                    <a:pt x="7968" y="3169"/>
                                    <a:pt x="7975" y="3177"/>
                                  </a:cubicBezTo>
                                  <a:cubicBezTo>
                                    <a:pt x="7981" y="3186"/>
                                    <a:pt x="7977" y="3187"/>
                                    <a:pt x="7977" y="3200"/>
                                  </a:cubicBezTo>
                                  <a:cubicBezTo>
                                    <a:pt x="7977" y="3212"/>
                                    <a:pt x="7978" y="3219"/>
                                    <a:pt x="7981" y="3230"/>
                                  </a:cubicBezTo>
                                  <a:cubicBezTo>
                                    <a:pt x="7985" y="3242"/>
                                    <a:pt x="7981" y="3253"/>
                                    <a:pt x="7980" y="3264"/>
                                  </a:cubicBezTo>
                                  <a:cubicBezTo>
                                    <a:pt x="7980" y="3275"/>
                                    <a:pt x="7985" y="3278"/>
                                    <a:pt x="7988" y="3286"/>
                                  </a:cubicBezTo>
                                  <a:cubicBezTo>
                                    <a:pt x="7992" y="3294"/>
                                    <a:pt x="7989" y="3294"/>
                                    <a:pt x="7988" y="3301"/>
                                  </a:cubicBezTo>
                                  <a:cubicBezTo>
                                    <a:pt x="7988" y="3307"/>
                                    <a:pt x="7986" y="3313"/>
                                    <a:pt x="7988" y="3312"/>
                                  </a:cubicBezTo>
                                  <a:cubicBezTo>
                                    <a:pt x="7990" y="3311"/>
                                    <a:pt x="8005" y="3301"/>
                                    <a:pt x="8007" y="3294"/>
                                  </a:cubicBezTo>
                                  <a:cubicBezTo>
                                    <a:pt x="8010" y="3287"/>
                                    <a:pt x="8021" y="3283"/>
                                    <a:pt x="8034" y="3275"/>
                                  </a:cubicBezTo>
                                  <a:cubicBezTo>
                                    <a:pt x="8046" y="3266"/>
                                    <a:pt x="8049" y="3258"/>
                                    <a:pt x="8062" y="3242"/>
                                  </a:cubicBezTo>
                                  <a:cubicBezTo>
                                    <a:pt x="8074" y="3227"/>
                                    <a:pt x="8076" y="3230"/>
                                    <a:pt x="8085" y="3221"/>
                                  </a:cubicBezTo>
                                  <a:cubicBezTo>
                                    <a:pt x="8093" y="3212"/>
                                    <a:pt x="8102" y="3201"/>
                                    <a:pt x="8105" y="3195"/>
                                  </a:cubicBezTo>
                                  <a:cubicBezTo>
                                    <a:pt x="8107" y="3188"/>
                                    <a:pt x="8104" y="3180"/>
                                    <a:pt x="8101" y="3173"/>
                                  </a:cubicBezTo>
                                  <a:cubicBezTo>
                                    <a:pt x="8099" y="3167"/>
                                    <a:pt x="8104" y="3163"/>
                                    <a:pt x="8112" y="3154"/>
                                  </a:cubicBezTo>
                                  <a:cubicBezTo>
                                    <a:pt x="8120" y="3145"/>
                                    <a:pt x="8126" y="3136"/>
                                    <a:pt x="8138" y="3128"/>
                                  </a:cubicBezTo>
                                  <a:cubicBezTo>
                                    <a:pt x="8150" y="3121"/>
                                    <a:pt x="8157" y="3121"/>
                                    <a:pt x="8165" y="3118"/>
                                  </a:cubicBezTo>
                                  <a:cubicBezTo>
                                    <a:pt x="8173" y="3116"/>
                                    <a:pt x="8184" y="3119"/>
                                    <a:pt x="8190" y="3122"/>
                                  </a:cubicBezTo>
                                  <a:cubicBezTo>
                                    <a:pt x="8195" y="3124"/>
                                    <a:pt x="8200" y="3124"/>
                                    <a:pt x="8200" y="3118"/>
                                  </a:cubicBezTo>
                                  <a:cubicBezTo>
                                    <a:pt x="8199" y="3112"/>
                                    <a:pt x="8194" y="3106"/>
                                    <a:pt x="8191" y="3100"/>
                                  </a:cubicBezTo>
                                  <a:cubicBezTo>
                                    <a:pt x="8188" y="3095"/>
                                    <a:pt x="8191" y="3092"/>
                                    <a:pt x="8193" y="3086"/>
                                  </a:cubicBezTo>
                                  <a:cubicBezTo>
                                    <a:pt x="8194" y="3081"/>
                                    <a:pt x="8190" y="3078"/>
                                    <a:pt x="8188" y="3070"/>
                                  </a:cubicBezTo>
                                  <a:cubicBezTo>
                                    <a:pt x="8186" y="3063"/>
                                    <a:pt x="8191" y="3058"/>
                                    <a:pt x="8193" y="3047"/>
                                  </a:cubicBezTo>
                                  <a:cubicBezTo>
                                    <a:pt x="8194" y="3037"/>
                                    <a:pt x="8204" y="3032"/>
                                    <a:pt x="8213" y="3023"/>
                                  </a:cubicBezTo>
                                  <a:cubicBezTo>
                                    <a:pt x="8223" y="3015"/>
                                    <a:pt x="8229" y="3018"/>
                                    <a:pt x="8235" y="3010"/>
                                  </a:cubicBezTo>
                                  <a:cubicBezTo>
                                    <a:pt x="8240" y="3002"/>
                                    <a:pt x="8253" y="3000"/>
                                    <a:pt x="8262" y="2999"/>
                                  </a:cubicBezTo>
                                  <a:cubicBezTo>
                                    <a:pt x="8272" y="2998"/>
                                    <a:pt x="8283" y="3007"/>
                                    <a:pt x="8291" y="3005"/>
                                  </a:cubicBezTo>
                                  <a:cubicBezTo>
                                    <a:pt x="8298" y="3003"/>
                                    <a:pt x="8310" y="3000"/>
                                    <a:pt x="8319" y="2993"/>
                                  </a:cubicBezTo>
                                  <a:cubicBezTo>
                                    <a:pt x="8327" y="2985"/>
                                    <a:pt x="8332" y="2983"/>
                                    <a:pt x="8329" y="2972"/>
                                  </a:cubicBezTo>
                                  <a:cubicBezTo>
                                    <a:pt x="8326" y="2961"/>
                                    <a:pt x="8323" y="2963"/>
                                    <a:pt x="8317" y="2957"/>
                                  </a:cubicBezTo>
                                  <a:cubicBezTo>
                                    <a:pt x="8311" y="2951"/>
                                    <a:pt x="8313" y="2951"/>
                                    <a:pt x="8309" y="2941"/>
                                  </a:cubicBezTo>
                                  <a:cubicBezTo>
                                    <a:pt x="8306" y="2931"/>
                                    <a:pt x="8309" y="2929"/>
                                    <a:pt x="8308" y="2915"/>
                                  </a:cubicBezTo>
                                  <a:cubicBezTo>
                                    <a:pt x="8308" y="2901"/>
                                    <a:pt x="8312" y="2903"/>
                                    <a:pt x="8316" y="2889"/>
                                  </a:cubicBezTo>
                                  <a:cubicBezTo>
                                    <a:pt x="8320" y="2876"/>
                                    <a:pt x="8324" y="2876"/>
                                    <a:pt x="8332" y="2867"/>
                                  </a:cubicBezTo>
                                  <a:cubicBezTo>
                                    <a:pt x="8339" y="2858"/>
                                    <a:pt x="8343" y="2861"/>
                                    <a:pt x="8346" y="2855"/>
                                  </a:cubicBezTo>
                                  <a:cubicBezTo>
                                    <a:pt x="8350" y="2850"/>
                                    <a:pt x="8347" y="2849"/>
                                    <a:pt x="8345" y="2843"/>
                                  </a:cubicBezTo>
                                  <a:cubicBezTo>
                                    <a:pt x="8344" y="2838"/>
                                    <a:pt x="8351" y="2838"/>
                                    <a:pt x="8360" y="2835"/>
                                  </a:cubicBezTo>
                                  <a:cubicBezTo>
                                    <a:pt x="8369" y="2832"/>
                                    <a:pt x="8377" y="2832"/>
                                    <a:pt x="8383" y="2832"/>
                                  </a:cubicBezTo>
                                  <a:cubicBezTo>
                                    <a:pt x="8389" y="2832"/>
                                    <a:pt x="8386" y="2838"/>
                                    <a:pt x="8383" y="2842"/>
                                  </a:cubicBezTo>
                                  <a:cubicBezTo>
                                    <a:pt x="8379" y="2846"/>
                                    <a:pt x="8377" y="2847"/>
                                    <a:pt x="8370" y="2850"/>
                                  </a:cubicBezTo>
                                  <a:cubicBezTo>
                                    <a:pt x="8363" y="2854"/>
                                    <a:pt x="8366" y="2855"/>
                                    <a:pt x="8364" y="2860"/>
                                  </a:cubicBezTo>
                                  <a:cubicBezTo>
                                    <a:pt x="8363" y="2865"/>
                                    <a:pt x="8367" y="2867"/>
                                    <a:pt x="8371" y="2874"/>
                                  </a:cubicBezTo>
                                  <a:cubicBezTo>
                                    <a:pt x="8375" y="2881"/>
                                    <a:pt x="8383" y="2871"/>
                                    <a:pt x="8392" y="2869"/>
                                  </a:cubicBezTo>
                                  <a:cubicBezTo>
                                    <a:pt x="8401" y="2866"/>
                                    <a:pt x="8404" y="2863"/>
                                    <a:pt x="8405" y="2859"/>
                                  </a:cubicBezTo>
                                  <a:cubicBezTo>
                                    <a:pt x="8406" y="2855"/>
                                    <a:pt x="8405" y="2847"/>
                                    <a:pt x="8401" y="2841"/>
                                  </a:cubicBezTo>
                                  <a:cubicBezTo>
                                    <a:pt x="8396" y="2834"/>
                                    <a:pt x="8397" y="2831"/>
                                    <a:pt x="8397" y="2823"/>
                                  </a:cubicBezTo>
                                  <a:cubicBezTo>
                                    <a:pt x="8397" y="2814"/>
                                    <a:pt x="8394" y="2813"/>
                                    <a:pt x="8387" y="2811"/>
                                  </a:cubicBezTo>
                                  <a:cubicBezTo>
                                    <a:pt x="8381" y="2808"/>
                                    <a:pt x="8380" y="2810"/>
                                    <a:pt x="8373" y="2806"/>
                                  </a:cubicBezTo>
                                  <a:cubicBezTo>
                                    <a:pt x="8367" y="2802"/>
                                    <a:pt x="8370" y="2798"/>
                                    <a:pt x="8370" y="2784"/>
                                  </a:cubicBezTo>
                                  <a:cubicBezTo>
                                    <a:pt x="8369" y="2769"/>
                                    <a:pt x="8370" y="2766"/>
                                    <a:pt x="8369" y="2761"/>
                                  </a:cubicBezTo>
                                  <a:cubicBezTo>
                                    <a:pt x="8369" y="2757"/>
                                    <a:pt x="8374" y="2751"/>
                                    <a:pt x="8378" y="2746"/>
                                  </a:cubicBezTo>
                                  <a:cubicBezTo>
                                    <a:pt x="8382" y="2741"/>
                                    <a:pt x="8388" y="2734"/>
                                    <a:pt x="8392" y="2729"/>
                                  </a:cubicBezTo>
                                  <a:cubicBezTo>
                                    <a:pt x="8395" y="2724"/>
                                    <a:pt x="8400" y="2721"/>
                                    <a:pt x="8394" y="2716"/>
                                  </a:cubicBezTo>
                                  <a:cubicBezTo>
                                    <a:pt x="8387" y="2712"/>
                                    <a:pt x="8387" y="2713"/>
                                    <a:pt x="8381" y="2712"/>
                                  </a:cubicBezTo>
                                  <a:cubicBezTo>
                                    <a:pt x="8375" y="2712"/>
                                    <a:pt x="8377" y="2711"/>
                                    <a:pt x="8370" y="2707"/>
                                  </a:cubicBezTo>
                                  <a:cubicBezTo>
                                    <a:pt x="8363" y="2702"/>
                                    <a:pt x="8361" y="2704"/>
                                    <a:pt x="8356" y="2705"/>
                                  </a:cubicBezTo>
                                  <a:cubicBezTo>
                                    <a:pt x="8351" y="2706"/>
                                    <a:pt x="8353" y="2713"/>
                                    <a:pt x="8353" y="2720"/>
                                  </a:cubicBezTo>
                                  <a:cubicBezTo>
                                    <a:pt x="8353" y="2727"/>
                                    <a:pt x="8350" y="2726"/>
                                    <a:pt x="8346" y="2727"/>
                                  </a:cubicBezTo>
                                  <a:cubicBezTo>
                                    <a:pt x="8342" y="2728"/>
                                    <a:pt x="8345" y="2723"/>
                                    <a:pt x="8344" y="2716"/>
                                  </a:cubicBezTo>
                                  <a:cubicBezTo>
                                    <a:pt x="8343" y="2710"/>
                                    <a:pt x="8338" y="2713"/>
                                    <a:pt x="8331" y="2708"/>
                                  </a:cubicBezTo>
                                  <a:cubicBezTo>
                                    <a:pt x="8324" y="2703"/>
                                    <a:pt x="8323" y="2701"/>
                                    <a:pt x="8319" y="2696"/>
                                  </a:cubicBezTo>
                                  <a:cubicBezTo>
                                    <a:pt x="8314" y="2691"/>
                                    <a:pt x="8319" y="2687"/>
                                    <a:pt x="8320" y="2679"/>
                                  </a:cubicBezTo>
                                  <a:cubicBezTo>
                                    <a:pt x="8321" y="2671"/>
                                    <a:pt x="8326" y="2669"/>
                                    <a:pt x="8332" y="2661"/>
                                  </a:cubicBezTo>
                                  <a:cubicBezTo>
                                    <a:pt x="8338" y="2653"/>
                                    <a:pt x="8341" y="2648"/>
                                    <a:pt x="8342" y="2645"/>
                                  </a:cubicBezTo>
                                  <a:cubicBezTo>
                                    <a:pt x="8343" y="2641"/>
                                    <a:pt x="8352" y="2634"/>
                                    <a:pt x="8358" y="2629"/>
                                  </a:cubicBezTo>
                                  <a:cubicBezTo>
                                    <a:pt x="8364" y="2625"/>
                                    <a:pt x="8372" y="2620"/>
                                    <a:pt x="8376" y="2618"/>
                                  </a:cubicBezTo>
                                  <a:cubicBezTo>
                                    <a:pt x="8381" y="2617"/>
                                    <a:pt x="8383" y="2613"/>
                                    <a:pt x="8382" y="2611"/>
                                  </a:cubicBezTo>
                                  <a:cubicBezTo>
                                    <a:pt x="8381" y="2609"/>
                                    <a:pt x="8379" y="2604"/>
                                    <a:pt x="8379" y="2600"/>
                                  </a:cubicBezTo>
                                  <a:cubicBezTo>
                                    <a:pt x="8379" y="2596"/>
                                    <a:pt x="8382" y="2598"/>
                                    <a:pt x="8385" y="2598"/>
                                  </a:cubicBezTo>
                                  <a:cubicBezTo>
                                    <a:pt x="8388" y="2598"/>
                                    <a:pt x="8391" y="2599"/>
                                    <a:pt x="8392" y="2597"/>
                                  </a:cubicBezTo>
                                  <a:cubicBezTo>
                                    <a:pt x="8393" y="2596"/>
                                    <a:pt x="8391" y="2594"/>
                                    <a:pt x="8390" y="2591"/>
                                  </a:cubicBezTo>
                                  <a:cubicBezTo>
                                    <a:pt x="8390" y="2587"/>
                                    <a:pt x="8391" y="2585"/>
                                    <a:pt x="8393" y="2583"/>
                                  </a:cubicBezTo>
                                  <a:cubicBezTo>
                                    <a:pt x="8395" y="2581"/>
                                    <a:pt x="8400" y="2581"/>
                                    <a:pt x="8401" y="2578"/>
                                  </a:cubicBezTo>
                                  <a:cubicBezTo>
                                    <a:pt x="8403" y="2575"/>
                                    <a:pt x="8403" y="2571"/>
                                    <a:pt x="8402" y="2568"/>
                                  </a:cubicBezTo>
                                  <a:cubicBezTo>
                                    <a:pt x="8401" y="2566"/>
                                    <a:pt x="8398" y="2557"/>
                                    <a:pt x="8398" y="2554"/>
                                  </a:cubicBezTo>
                                  <a:cubicBezTo>
                                    <a:pt x="8398" y="2551"/>
                                    <a:pt x="8402" y="2547"/>
                                    <a:pt x="8404" y="2544"/>
                                  </a:cubicBezTo>
                                  <a:cubicBezTo>
                                    <a:pt x="8407" y="2540"/>
                                    <a:pt x="8406" y="2538"/>
                                    <a:pt x="8409" y="2533"/>
                                  </a:cubicBezTo>
                                  <a:cubicBezTo>
                                    <a:pt x="8412" y="2528"/>
                                    <a:pt x="8416" y="2529"/>
                                    <a:pt x="8420" y="2527"/>
                                  </a:cubicBezTo>
                                  <a:cubicBezTo>
                                    <a:pt x="8424" y="2524"/>
                                    <a:pt x="8423" y="2524"/>
                                    <a:pt x="8424" y="2518"/>
                                  </a:cubicBezTo>
                                  <a:cubicBezTo>
                                    <a:pt x="8425" y="2512"/>
                                    <a:pt x="8427" y="2512"/>
                                    <a:pt x="8433" y="2511"/>
                                  </a:cubicBezTo>
                                  <a:cubicBezTo>
                                    <a:pt x="8438" y="2509"/>
                                    <a:pt x="8443" y="2511"/>
                                    <a:pt x="8448" y="2515"/>
                                  </a:cubicBezTo>
                                  <a:cubicBezTo>
                                    <a:pt x="8453" y="2518"/>
                                    <a:pt x="8448" y="2519"/>
                                    <a:pt x="8448" y="2521"/>
                                  </a:cubicBezTo>
                                  <a:cubicBezTo>
                                    <a:pt x="8447" y="2522"/>
                                    <a:pt x="8448" y="2526"/>
                                    <a:pt x="8450" y="2528"/>
                                  </a:cubicBezTo>
                                  <a:cubicBezTo>
                                    <a:pt x="8452" y="2530"/>
                                    <a:pt x="8454" y="2527"/>
                                    <a:pt x="8457" y="2524"/>
                                  </a:cubicBezTo>
                                  <a:cubicBezTo>
                                    <a:pt x="8459" y="2521"/>
                                    <a:pt x="8464" y="2518"/>
                                    <a:pt x="8468" y="2514"/>
                                  </a:cubicBezTo>
                                  <a:cubicBezTo>
                                    <a:pt x="8472" y="2511"/>
                                    <a:pt x="8477" y="2510"/>
                                    <a:pt x="8481" y="2511"/>
                                  </a:cubicBezTo>
                                  <a:cubicBezTo>
                                    <a:pt x="8485" y="2512"/>
                                    <a:pt x="8487" y="2518"/>
                                    <a:pt x="8489" y="2522"/>
                                  </a:cubicBezTo>
                                  <a:cubicBezTo>
                                    <a:pt x="8490" y="2527"/>
                                    <a:pt x="8496" y="2533"/>
                                    <a:pt x="8499" y="2535"/>
                                  </a:cubicBezTo>
                                  <a:cubicBezTo>
                                    <a:pt x="8502" y="2538"/>
                                    <a:pt x="8505" y="2534"/>
                                    <a:pt x="8508" y="2530"/>
                                  </a:cubicBezTo>
                                  <a:cubicBezTo>
                                    <a:pt x="8511" y="2526"/>
                                    <a:pt x="8513" y="2527"/>
                                    <a:pt x="8517" y="2524"/>
                                  </a:cubicBezTo>
                                  <a:cubicBezTo>
                                    <a:pt x="8522" y="2520"/>
                                    <a:pt x="8521" y="2517"/>
                                    <a:pt x="8523" y="2509"/>
                                  </a:cubicBezTo>
                                  <a:cubicBezTo>
                                    <a:pt x="8526" y="2502"/>
                                    <a:pt x="8530" y="2505"/>
                                    <a:pt x="8536" y="2503"/>
                                  </a:cubicBezTo>
                                  <a:cubicBezTo>
                                    <a:pt x="8542" y="2500"/>
                                    <a:pt x="8548" y="2496"/>
                                    <a:pt x="8553" y="2494"/>
                                  </a:cubicBezTo>
                                  <a:cubicBezTo>
                                    <a:pt x="8559" y="2491"/>
                                    <a:pt x="8574" y="2483"/>
                                    <a:pt x="8579" y="2479"/>
                                  </a:cubicBezTo>
                                  <a:cubicBezTo>
                                    <a:pt x="8585" y="2474"/>
                                    <a:pt x="8590" y="2471"/>
                                    <a:pt x="8592" y="2473"/>
                                  </a:cubicBezTo>
                                  <a:cubicBezTo>
                                    <a:pt x="8594" y="2475"/>
                                    <a:pt x="8592" y="2477"/>
                                    <a:pt x="8590" y="2479"/>
                                  </a:cubicBezTo>
                                  <a:cubicBezTo>
                                    <a:pt x="8589" y="2481"/>
                                    <a:pt x="8587" y="2483"/>
                                    <a:pt x="8586" y="2487"/>
                                  </a:cubicBezTo>
                                  <a:cubicBezTo>
                                    <a:pt x="8585" y="2490"/>
                                    <a:pt x="8586" y="2491"/>
                                    <a:pt x="8587" y="2497"/>
                                  </a:cubicBezTo>
                                  <a:cubicBezTo>
                                    <a:pt x="8588" y="2503"/>
                                    <a:pt x="8587" y="2502"/>
                                    <a:pt x="8585" y="2504"/>
                                  </a:cubicBezTo>
                                  <a:cubicBezTo>
                                    <a:pt x="8583" y="2507"/>
                                    <a:pt x="8578" y="2512"/>
                                    <a:pt x="8578" y="2516"/>
                                  </a:cubicBezTo>
                                  <a:cubicBezTo>
                                    <a:pt x="8578" y="2521"/>
                                    <a:pt x="8580" y="2526"/>
                                    <a:pt x="8583" y="2531"/>
                                  </a:cubicBezTo>
                                  <a:cubicBezTo>
                                    <a:pt x="8587" y="2536"/>
                                    <a:pt x="8587" y="2532"/>
                                    <a:pt x="8593" y="2526"/>
                                  </a:cubicBezTo>
                                  <a:cubicBezTo>
                                    <a:pt x="8599" y="2520"/>
                                    <a:pt x="8607" y="2513"/>
                                    <a:pt x="8615" y="2505"/>
                                  </a:cubicBezTo>
                                  <a:cubicBezTo>
                                    <a:pt x="8624" y="2497"/>
                                    <a:pt x="8626" y="2492"/>
                                    <a:pt x="8634" y="2487"/>
                                  </a:cubicBezTo>
                                  <a:cubicBezTo>
                                    <a:pt x="8642" y="2483"/>
                                    <a:pt x="8652" y="2482"/>
                                    <a:pt x="8658" y="2477"/>
                                  </a:cubicBezTo>
                                  <a:cubicBezTo>
                                    <a:pt x="8663" y="2472"/>
                                    <a:pt x="8674" y="2468"/>
                                    <a:pt x="8684" y="2464"/>
                                  </a:cubicBezTo>
                                  <a:cubicBezTo>
                                    <a:pt x="8693" y="2460"/>
                                    <a:pt x="8706" y="2464"/>
                                    <a:pt x="8717" y="2464"/>
                                  </a:cubicBezTo>
                                  <a:cubicBezTo>
                                    <a:pt x="8728" y="2464"/>
                                    <a:pt x="8736" y="2462"/>
                                    <a:pt x="8749" y="2461"/>
                                  </a:cubicBezTo>
                                  <a:cubicBezTo>
                                    <a:pt x="8763" y="2461"/>
                                    <a:pt x="8766" y="2459"/>
                                    <a:pt x="8770" y="2462"/>
                                  </a:cubicBezTo>
                                  <a:cubicBezTo>
                                    <a:pt x="8775" y="2464"/>
                                    <a:pt x="8782" y="2467"/>
                                    <a:pt x="8787" y="2474"/>
                                  </a:cubicBezTo>
                                  <a:cubicBezTo>
                                    <a:pt x="8792" y="2481"/>
                                    <a:pt x="8795" y="2478"/>
                                    <a:pt x="8799" y="2481"/>
                                  </a:cubicBezTo>
                                  <a:cubicBezTo>
                                    <a:pt x="8803" y="2485"/>
                                    <a:pt x="8800" y="2487"/>
                                    <a:pt x="8801" y="2492"/>
                                  </a:cubicBezTo>
                                  <a:cubicBezTo>
                                    <a:pt x="8803" y="2497"/>
                                    <a:pt x="8809" y="2494"/>
                                    <a:pt x="8812" y="2497"/>
                                  </a:cubicBezTo>
                                  <a:cubicBezTo>
                                    <a:pt x="8816" y="2501"/>
                                    <a:pt x="8811" y="2502"/>
                                    <a:pt x="8812" y="2508"/>
                                  </a:cubicBezTo>
                                  <a:cubicBezTo>
                                    <a:pt x="8813" y="2515"/>
                                    <a:pt x="8822" y="2519"/>
                                    <a:pt x="8828" y="2523"/>
                                  </a:cubicBezTo>
                                  <a:cubicBezTo>
                                    <a:pt x="8834" y="2527"/>
                                    <a:pt x="8839" y="2524"/>
                                    <a:pt x="8843" y="2517"/>
                                  </a:cubicBezTo>
                                  <a:cubicBezTo>
                                    <a:pt x="8846" y="2511"/>
                                    <a:pt x="8846" y="2510"/>
                                    <a:pt x="8847" y="2503"/>
                                  </a:cubicBezTo>
                                  <a:cubicBezTo>
                                    <a:pt x="8849" y="2497"/>
                                    <a:pt x="8852" y="2494"/>
                                    <a:pt x="8855" y="2492"/>
                                  </a:cubicBezTo>
                                  <a:cubicBezTo>
                                    <a:pt x="8859" y="2491"/>
                                    <a:pt x="8857" y="2482"/>
                                    <a:pt x="8859" y="2479"/>
                                  </a:cubicBezTo>
                                  <a:cubicBezTo>
                                    <a:pt x="8861" y="2475"/>
                                    <a:pt x="8870" y="2474"/>
                                    <a:pt x="8877" y="2469"/>
                                  </a:cubicBezTo>
                                  <a:cubicBezTo>
                                    <a:pt x="8884" y="2465"/>
                                    <a:pt x="8905" y="2455"/>
                                    <a:pt x="8913" y="2452"/>
                                  </a:cubicBezTo>
                                  <a:cubicBezTo>
                                    <a:pt x="8921" y="2448"/>
                                    <a:pt x="8927" y="2444"/>
                                    <a:pt x="8938" y="2439"/>
                                  </a:cubicBezTo>
                                  <a:cubicBezTo>
                                    <a:pt x="8948" y="2433"/>
                                    <a:pt x="8950" y="2432"/>
                                    <a:pt x="8951" y="2428"/>
                                  </a:cubicBezTo>
                                  <a:cubicBezTo>
                                    <a:pt x="8952" y="2424"/>
                                    <a:pt x="8952" y="2420"/>
                                    <a:pt x="8957" y="2420"/>
                                  </a:cubicBezTo>
                                  <a:cubicBezTo>
                                    <a:pt x="8961" y="2419"/>
                                    <a:pt x="8965" y="2418"/>
                                    <a:pt x="8965" y="2411"/>
                                  </a:cubicBezTo>
                                  <a:cubicBezTo>
                                    <a:pt x="8966" y="2404"/>
                                    <a:pt x="8963" y="2403"/>
                                    <a:pt x="8969" y="2401"/>
                                  </a:cubicBezTo>
                                  <a:cubicBezTo>
                                    <a:pt x="8976" y="2398"/>
                                    <a:pt x="8979" y="2399"/>
                                    <a:pt x="8982" y="2396"/>
                                  </a:cubicBezTo>
                                  <a:cubicBezTo>
                                    <a:pt x="8984" y="2394"/>
                                    <a:pt x="8990" y="2395"/>
                                    <a:pt x="8994" y="2393"/>
                                  </a:cubicBezTo>
                                  <a:cubicBezTo>
                                    <a:pt x="8997" y="2391"/>
                                    <a:pt x="8992" y="2385"/>
                                    <a:pt x="8994" y="2383"/>
                                  </a:cubicBezTo>
                                  <a:cubicBezTo>
                                    <a:pt x="8996" y="2380"/>
                                    <a:pt x="9005" y="2379"/>
                                    <a:pt x="9017" y="2376"/>
                                  </a:cubicBezTo>
                                  <a:cubicBezTo>
                                    <a:pt x="9029" y="2372"/>
                                    <a:pt x="9030" y="2374"/>
                                    <a:pt x="9034" y="2370"/>
                                  </a:cubicBezTo>
                                  <a:cubicBezTo>
                                    <a:pt x="9039" y="2367"/>
                                    <a:pt x="9036" y="2362"/>
                                    <a:pt x="9037" y="2358"/>
                                  </a:cubicBezTo>
                                  <a:cubicBezTo>
                                    <a:pt x="9038" y="2354"/>
                                    <a:pt x="9042" y="2357"/>
                                    <a:pt x="9049" y="2358"/>
                                  </a:cubicBezTo>
                                  <a:cubicBezTo>
                                    <a:pt x="9057" y="2358"/>
                                    <a:pt x="9062" y="2352"/>
                                    <a:pt x="9071" y="2347"/>
                                  </a:cubicBezTo>
                                  <a:cubicBezTo>
                                    <a:pt x="9081" y="2342"/>
                                    <a:pt x="9081" y="2347"/>
                                    <a:pt x="9090" y="2349"/>
                                  </a:cubicBezTo>
                                  <a:cubicBezTo>
                                    <a:pt x="9099" y="2351"/>
                                    <a:pt x="9100" y="2347"/>
                                    <a:pt x="9105" y="2341"/>
                                  </a:cubicBezTo>
                                  <a:cubicBezTo>
                                    <a:pt x="9109" y="2335"/>
                                    <a:pt x="9109" y="2333"/>
                                    <a:pt x="9117" y="2331"/>
                                  </a:cubicBezTo>
                                  <a:cubicBezTo>
                                    <a:pt x="9125" y="2328"/>
                                    <a:pt x="9137" y="2329"/>
                                    <a:pt x="9140" y="2323"/>
                                  </a:cubicBezTo>
                                  <a:cubicBezTo>
                                    <a:pt x="9142" y="2316"/>
                                    <a:pt x="9144" y="2320"/>
                                    <a:pt x="9150" y="2314"/>
                                  </a:cubicBezTo>
                                  <a:cubicBezTo>
                                    <a:pt x="9155" y="2308"/>
                                    <a:pt x="9162" y="2308"/>
                                    <a:pt x="9174" y="2303"/>
                                  </a:cubicBezTo>
                                  <a:cubicBezTo>
                                    <a:pt x="9185" y="2298"/>
                                    <a:pt x="9199" y="2291"/>
                                    <a:pt x="9216" y="2285"/>
                                  </a:cubicBezTo>
                                  <a:cubicBezTo>
                                    <a:pt x="9232" y="2279"/>
                                    <a:pt x="9242" y="2276"/>
                                    <a:pt x="9247" y="2276"/>
                                  </a:cubicBezTo>
                                  <a:cubicBezTo>
                                    <a:pt x="9253" y="2275"/>
                                    <a:pt x="9248" y="2270"/>
                                    <a:pt x="9250" y="2265"/>
                                  </a:cubicBezTo>
                                  <a:cubicBezTo>
                                    <a:pt x="9252" y="2260"/>
                                    <a:pt x="9250" y="2260"/>
                                    <a:pt x="9247" y="2255"/>
                                  </a:cubicBezTo>
                                  <a:cubicBezTo>
                                    <a:pt x="9244" y="2250"/>
                                    <a:pt x="9249" y="2250"/>
                                    <a:pt x="9253" y="2248"/>
                                  </a:cubicBezTo>
                                  <a:cubicBezTo>
                                    <a:pt x="9257" y="2246"/>
                                    <a:pt x="9259" y="2251"/>
                                    <a:pt x="9266" y="2251"/>
                                  </a:cubicBezTo>
                                  <a:cubicBezTo>
                                    <a:pt x="9274" y="2251"/>
                                    <a:pt x="9277" y="2250"/>
                                    <a:pt x="9277" y="2254"/>
                                  </a:cubicBezTo>
                                  <a:cubicBezTo>
                                    <a:pt x="9278" y="2258"/>
                                    <a:pt x="9270" y="2257"/>
                                    <a:pt x="9269" y="2262"/>
                                  </a:cubicBezTo>
                                  <a:cubicBezTo>
                                    <a:pt x="9268" y="2267"/>
                                    <a:pt x="9265" y="2270"/>
                                    <a:pt x="9264" y="2274"/>
                                  </a:cubicBezTo>
                                  <a:cubicBezTo>
                                    <a:pt x="9263" y="2277"/>
                                    <a:pt x="9269" y="2275"/>
                                    <a:pt x="9278" y="2277"/>
                                  </a:cubicBezTo>
                                  <a:cubicBezTo>
                                    <a:pt x="9287" y="2280"/>
                                    <a:pt x="9297" y="2278"/>
                                    <a:pt x="9316" y="2280"/>
                                  </a:cubicBezTo>
                                  <a:cubicBezTo>
                                    <a:pt x="9335" y="2281"/>
                                    <a:pt x="9333" y="2282"/>
                                    <a:pt x="9340" y="2285"/>
                                  </a:cubicBezTo>
                                  <a:cubicBezTo>
                                    <a:pt x="9347" y="2289"/>
                                    <a:pt x="9366" y="2298"/>
                                    <a:pt x="9374" y="2302"/>
                                  </a:cubicBezTo>
                                  <a:cubicBezTo>
                                    <a:pt x="9383" y="2307"/>
                                    <a:pt x="9383" y="2301"/>
                                    <a:pt x="9383" y="2296"/>
                                  </a:cubicBezTo>
                                  <a:cubicBezTo>
                                    <a:pt x="9383" y="2292"/>
                                    <a:pt x="9387" y="2286"/>
                                    <a:pt x="9395" y="2280"/>
                                  </a:cubicBezTo>
                                  <a:cubicBezTo>
                                    <a:pt x="9402" y="2273"/>
                                    <a:pt x="9404" y="2277"/>
                                    <a:pt x="9408" y="2271"/>
                                  </a:cubicBezTo>
                                  <a:cubicBezTo>
                                    <a:pt x="9411" y="2265"/>
                                    <a:pt x="9408" y="2264"/>
                                    <a:pt x="9408" y="2254"/>
                                  </a:cubicBezTo>
                                  <a:cubicBezTo>
                                    <a:pt x="9408" y="2244"/>
                                    <a:pt x="9402" y="2248"/>
                                    <a:pt x="9396" y="2244"/>
                                  </a:cubicBezTo>
                                  <a:cubicBezTo>
                                    <a:pt x="9389" y="2241"/>
                                    <a:pt x="9393" y="2238"/>
                                    <a:pt x="9395" y="2231"/>
                                  </a:cubicBezTo>
                                  <a:cubicBezTo>
                                    <a:pt x="9398" y="2223"/>
                                    <a:pt x="9397" y="2223"/>
                                    <a:pt x="9396" y="2219"/>
                                  </a:cubicBezTo>
                                  <a:cubicBezTo>
                                    <a:pt x="9394" y="2215"/>
                                    <a:pt x="9389" y="2215"/>
                                    <a:pt x="9383" y="2212"/>
                                  </a:cubicBezTo>
                                  <a:cubicBezTo>
                                    <a:pt x="9378" y="2209"/>
                                    <a:pt x="9375" y="2206"/>
                                    <a:pt x="9371" y="2202"/>
                                  </a:cubicBezTo>
                                  <a:cubicBezTo>
                                    <a:pt x="9366" y="2198"/>
                                    <a:pt x="9367" y="2198"/>
                                    <a:pt x="9360" y="2197"/>
                                  </a:cubicBezTo>
                                  <a:cubicBezTo>
                                    <a:pt x="9352" y="2195"/>
                                    <a:pt x="9357" y="2192"/>
                                    <a:pt x="9354" y="2186"/>
                                  </a:cubicBezTo>
                                  <a:cubicBezTo>
                                    <a:pt x="9351" y="2180"/>
                                    <a:pt x="9348" y="2183"/>
                                    <a:pt x="9340" y="2182"/>
                                  </a:cubicBezTo>
                                  <a:cubicBezTo>
                                    <a:pt x="9332" y="2182"/>
                                    <a:pt x="9336" y="2178"/>
                                    <a:pt x="9336" y="2174"/>
                                  </a:cubicBezTo>
                                  <a:cubicBezTo>
                                    <a:pt x="9336" y="2169"/>
                                    <a:pt x="9341" y="2171"/>
                                    <a:pt x="9349" y="2171"/>
                                  </a:cubicBezTo>
                                  <a:cubicBezTo>
                                    <a:pt x="9357" y="2171"/>
                                    <a:pt x="9355" y="2169"/>
                                    <a:pt x="9356" y="2165"/>
                                  </a:cubicBezTo>
                                  <a:cubicBezTo>
                                    <a:pt x="9357" y="2161"/>
                                    <a:pt x="9356" y="2153"/>
                                    <a:pt x="9351" y="2144"/>
                                  </a:cubicBezTo>
                                  <a:cubicBezTo>
                                    <a:pt x="9347" y="2136"/>
                                    <a:pt x="9345" y="2134"/>
                                    <a:pt x="9342" y="2123"/>
                                  </a:cubicBezTo>
                                  <a:cubicBezTo>
                                    <a:pt x="9339" y="2113"/>
                                    <a:pt x="9336" y="2108"/>
                                    <a:pt x="9331" y="2107"/>
                                  </a:cubicBezTo>
                                  <a:cubicBezTo>
                                    <a:pt x="9325" y="2106"/>
                                    <a:pt x="9318" y="2113"/>
                                    <a:pt x="9314" y="2115"/>
                                  </a:cubicBezTo>
                                  <a:cubicBezTo>
                                    <a:pt x="9311" y="2117"/>
                                    <a:pt x="9309" y="2111"/>
                                    <a:pt x="9301" y="2108"/>
                                  </a:cubicBezTo>
                                  <a:cubicBezTo>
                                    <a:pt x="9292" y="2105"/>
                                    <a:pt x="9291" y="2103"/>
                                    <a:pt x="9286" y="2099"/>
                                  </a:cubicBezTo>
                                  <a:cubicBezTo>
                                    <a:pt x="9282" y="2095"/>
                                    <a:pt x="9280" y="2093"/>
                                    <a:pt x="9277" y="2088"/>
                                  </a:cubicBezTo>
                                  <a:cubicBezTo>
                                    <a:pt x="9275" y="2083"/>
                                    <a:pt x="9276" y="2077"/>
                                    <a:pt x="9273" y="2072"/>
                                  </a:cubicBezTo>
                                  <a:cubicBezTo>
                                    <a:pt x="9270" y="2066"/>
                                    <a:pt x="9270" y="2066"/>
                                    <a:pt x="9264" y="2065"/>
                                  </a:cubicBezTo>
                                  <a:cubicBezTo>
                                    <a:pt x="9259" y="2063"/>
                                    <a:pt x="9255" y="2065"/>
                                    <a:pt x="9249" y="2069"/>
                                  </a:cubicBezTo>
                                  <a:cubicBezTo>
                                    <a:pt x="9242" y="2072"/>
                                    <a:pt x="9243" y="2071"/>
                                    <a:pt x="9238" y="2070"/>
                                  </a:cubicBezTo>
                                  <a:cubicBezTo>
                                    <a:pt x="9233" y="2070"/>
                                    <a:pt x="9229" y="2070"/>
                                    <a:pt x="9222" y="2070"/>
                                  </a:cubicBezTo>
                                  <a:cubicBezTo>
                                    <a:pt x="9214" y="2070"/>
                                    <a:pt x="9211" y="2071"/>
                                    <a:pt x="9207" y="2077"/>
                                  </a:cubicBezTo>
                                  <a:cubicBezTo>
                                    <a:pt x="9203" y="2082"/>
                                    <a:pt x="9201" y="2080"/>
                                    <a:pt x="9197" y="2081"/>
                                  </a:cubicBezTo>
                                  <a:cubicBezTo>
                                    <a:pt x="9192" y="2081"/>
                                    <a:pt x="9195" y="2078"/>
                                    <a:pt x="9195" y="2075"/>
                                  </a:cubicBezTo>
                                  <a:cubicBezTo>
                                    <a:pt x="9196" y="2071"/>
                                    <a:pt x="9198" y="2071"/>
                                    <a:pt x="9201" y="2067"/>
                                  </a:cubicBezTo>
                                  <a:cubicBezTo>
                                    <a:pt x="9204" y="2064"/>
                                    <a:pt x="9202" y="2064"/>
                                    <a:pt x="9199" y="2060"/>
                                  </a:cubicBezTo>
                                  <a:cubicBezTo>
                                    <a:pt x="9197" y="2057"/>
                                    <a:pt x="9195" y="2056"/>
                                    <a:pt x="9191" y="2053"/>
                                  </a:cubicBezTo>
                                  <a:cubicBezTo>
                                    <a:pt x="9187" y="2051"/>
                                    <a:pt x="9188" y="2048"/>
                                    <a:pt x="9190" y="2046"/>
                                  </a:cubicBezTo>
                                  <a:cubicBezTo>
                                    <a:pt x="9191" y="2043"/>
                                    <a:pt x="9197" y="2044"/>
                                    <a:pt x="9204" y="2045"/>
                                  </a:cubicBezTo>
                                  <a:cubicBezTo>
                                    <a:pt x="9212" y="2046"/>
                                    <a:pt x="9210" y="2050"/>
                                    <a:pt x="9214" y="2051"/>
                                  </a:cubicBezTo>
                                  <a:cubicBezTo>
                                    <a:pt x="9218" y="2053"/>
                                    <a:pt x="9219" y="2053"/>
                                    <a:pt x="9222" y="2050"/>
                                  </a:cubicBezTo>
                                  <a:cubicBezTo>
                                    <a:pt x="9225" y="2048"/>
                                    <a:pt x="9229" y="2047"/>
                                    <a:pt x="9236" y="2048"/>
                                  </a:cubicBezTo>
                                  <a:cubicBezTo>
                                    <a:pt x="9242" y="2049"/>
                                    <a:pt x="9246" y="2052"/>
                                    <a:pt x="9250" y="2054"/>
                                  </a:cubicBezTo>
                                  <a:cubicBezTo>
                                    <a:pt x="9254" y="2055"/>
                                    <a:pt x="9254" y="2052"/>
                                    <a:pt x="9255" y="2049"/>
                                  </a:cubicBezTo>
                                  <a:cubicBezTo>
                                    <a:pt x="9255" y="2045"/>
                                    <a:pt x="9254" y="2042"/>
                                    <a:pt x="9250" y="2039"/>
                                  </a:cubicBezTo>
                                  <a:cubicBezTo>
                                    <a:pt x="9245" y="2036"/>
                                    <a:pt x="9244" y="2037"/>
                                    <a:pt x="9239" y="2037"/>
                                  </a:cubicBezTo>
                                  <a:cubicBezTo>
                                    <a:pt x="9234" y="2037"/>
                                    <a:pt x="9227" y="2036"/>
                                    <a:pt x="9223" y="2035"/>
                                  </a:cubicBezTo>
                                  <a:cubicBezTo>
                                    <a:pt x="9218" y="2034"/>
                                    <a:pt x="9218" y="2035"/>
                                    <a:pt x="9214" y="2032"/>
                                  </a:cubicBezTo>
                                  <a:cubicBezTo>
                                    <a:pt x="9210" y="2030"/>
                                    <a:pt x="9213" y="2028"/>
                                    <a:pt x="9215" y="2026"/>
                                  </a:cubicBezTo>
                                  <a:cubicBezTo>
                                    <a:pt x="9216" y="2024"/>
                                    <a:pt x="9221" y="2027"/>
                                    <a:pt x="9227" y="2027"/>
                                  </a:cubicBezTo>
                                  <a:cubicBezTo>
                                    <a:pt x="9233" y="2028"/>
                                    <a:pt x="9233" y="2027"/>
                                    <a:pt x="9241" y="2027"/>
                                  </a:cubicBezTo>
                                  <a:cubicBezTo>
                                    <a:pt x="9250" y="2027"/>
                                    <a:pt x="9248" y="2027"/>
                                    <a:pt x="9253" y="2031"/>
                                  </a:cubicBezTo>
                                  <a:cubicBezTo>
                                    <a:pt x="9259" y="2034"/>
                                    <a:pt x="9259" y="2035"/>
                                    <a:pt x="9266" y="2037"/>
                                  </a:cubicBezTo>
                                  <a:cubicBezTo>
                                    <a:pt x="9273" y="2040"/>
                                    <a:pt x="9274" y="2040"/>
                                    <a:pt x="9275" y="2045"/>
                                  </a:cubicBezTo>
                                  <a:cubicBezTo>
                                    <a:pt x="9277" y="2051"/>
                                    <a:pt x="9278" y="2054"/>
                                    <a:pt x="9280" y="2062"/>
                                  </a:cubicBezTo>
                                  <a:cubicBezTo>
                                    <a:pt x="9282" y="2071"/>
                                    <a:pt x="9296" y="2067"/>
                                    <a:pt x="9309" y="2070"/>
                                  </a:cubicBezTo>
                                  <a:cubicBezTo>
                                    <a:pt x="9323" y="2073"/>
                                    <a:pt x="9325" y="2067"/>
                                    <a:pt x="9336" y="2064"/>
                                  </a:cubicBezTo>
                                  <a:cubicBezTo>
                                    <a:pt x="9348" y="2061"/>
                                    <a:pt x="9356" y="2060"/>
                                    <a:pt x="9368" y="2055"/>
                                  </a:cubicBezTo>
                                  <a:cubicBezTo>
                                    <a:pt x="9380" y="2049"/>
                                    <a:pt x="9399" y="2043"/>
                                    <a:pt x="9410" y="2043"/>
                                  </a:cubicBezTo>
                                  <a:cubicBezTo>
                                    <a:pt x="9421" y="2043"/>
                                    <a:pt x="9423" y="2040"/>
                                    <a:pt x="9433" y="2032"/>
                                  </a:cubicBezTo>
                                  <a:cubicBezTo>
                                    <a:pt x="9444" y="2024"/>
                                    <a:pt x="9447" y="2027"/>
                                    <a:pt x="9455" y="2022"/>
                                  </a:cubicBezTo>
                                  <a:cubicBezTo>
                                    <a:pt x="9462" y="2017"/>
                                    <a:pt x="9464" y="2012"/>
                                    <a:pt x="9464" y="2007"/>
                                  </a:cubicBezTo>
                                  <a:cubicBezTo>
                                    <a:pt x="9464" y="2002"/>
                                    <a:pt x="9460" y="2002"/>
                                    <a:pt x="9449" y="2002"/>
                                  </a:cubicBezTo>
                                  <a:cubicBezTo>
                                    <a:pt x="9437" y="2001"/>
                                    <a:pt x="9443" y="2004"/>
                                    <a:pt x="9436" y="2004"/>
                                  </a:cubicBezTo>
                                  <a:cubicBezTo>
                                    <a:pt x="9430" y="2005"/>
                                    <a:pt x="9431" y="2001"/>
                                    <a:pt x="9434" y="1996"/>
                                  </a:cubicBezTo>
                                  <a:cubicBezTo>
                                    <a:pt x="9438" y="1991"/>
                                    <a:pt x="9453" y="1985"/>
                                    <a:pt x="9462" y="1985"/>
                                  </a:cubicBezTo>
                                  <a:cubicBezTo>
                                    <a:pt x="9471" y="1985"/>
                                    <a:pt x="9476" y="1982"/>
                                    <a:pt x="9478" y="1979"/>
                                  </a:cubicBezTo>
                                  <a:cubicBezTo>
                                    <a:pt x="9480" y="1976"/>
                                    <a:pt x="9479" y="1974"/>
                                    <a:pt x="9475" y="1968"/>
                                  </a:cubicBezTo>
                                  <a:cubicBezTo>
                                    <a:pt x="9472" y="1963"/>
                                    <a:pt x="9468" y="1964"/>
                                    <a:pt x="9463" y="1961"/>
                                  </a:cubicBezTo>
                                  <a:cubicBezTo>
                                    <a:pt x="9458" y="1959"/>
                                    <a:pt x="9454" y="1954"/>
                                    <a:pt x="9452" y="1948"/>
                                  </a:cubicBezTo>
                                  <a:cubicBezTo>
                                    <a:pt x="9451" y="1943"/>
                                    <a:pt x="9452" y="1944"/>
                                    <a:pt x="9453" y="1938"/>
                                  </a:cubicBezTo>
                                  <a:cubicBezTo>
                                    <a:pt x="9454" y="1932"/>
                                    <a:pt x="9451" y="1925"/>
                                    <a:pt x="9451" y="1921"/>
                                  </a:cubicBezTo>
                                  <a:cubicBezTo>
                                    <a:pt x="9452" y="1918"/>
                                    <a:pt x="9452" y="1918"/>
                                    <a:pt x="9456" y="1917"/>
                                  </a:cubicBezTo>
                                  <a:cubicBezTo>
                                    <a:pt x="9459" y="1917"/>
                                    <a:pt x="9462" y="1921"/>
                                    <a:pt x="9465" y="1922"/>
                                  </a:cubicBezTo>
                                  <a:cubicBezTo>
                                    <a:pt x="9468" y="1923"/>
                                    <a:pt x="9469" y="1919"/>
                                    <a:pt x="9470" y="1918"/>
                                  </a:cubicBezTo>
                                  <a:cubicBezTo>
                                    <a:pt x="9472" y="1917"/>
                                    <a:pt x="9477" y="1916"/>
                                    <a:pt x="9480" y="1915"/>
                                  </a:cubicBezTo>
                                  <a:cubicBezTo>
                                    <a:pt x="9482" y="1914"/>
                                    <a:pt x="9481" y="1910"/>
                                    <a:pt x="9480" y="1908"/>
                                  </a:cubicBezTo>
                                  <a:cubicBezTo>
                                    <a:pt x="9479" y="1906"/>
                                    <a:pt x="9476" y="1902"/>
                                    <a:pt x="9477" y="1901"/>
                                  </a:cubicBezTo>
                                  <a:cubicBezTo>
                                    <a:pt x="9477" y="1899"/>
                                    <a:pt x="9484" y="1897"/>
                                    <a:pt x="9488" y="1898"/>
                                  </a:cubicBezTo>
                                  <a:cubicBezTo>
                                    <a:pt x="9491" y="1899"/>
                                    <a:pt x="9490" y="1903"/>
                                    <a:pt x="9492" y="1907"/>
                                  </a:cubicBezTo>
                                  <a:cubicBezTo>
                                    <a:pt x="9493" y="1912"/>
                                    <a:pt x="9493" y="1916"/>
                                    <a:pt x="9496" y="1915"/>
                                  </a:cubicBezTo>
                                  <a:cubicBezTo>
                                    <a:pt x="9499" y="1914"/>
                                    <a:pt x="9504" y="1911"/>
                                    <a:pt x="9511" y="1905"/>
                                  </a:cubicBezTo>
                                  <a:cubicBezTo>
                                    <a:pt x="9517" y="1898"/>
                                    <a:pt x="9522" y="1897"/>
                                    <a:pt x="9527" y="1897"/>
                                  </a:cubicBezTo>
                                  <a:cubicBezTo>
                                    <a:pt x="9532" y="1897"/>
                                    <a:pt x="9529" y="1902"/>
                                    <a:pt x="9526" y="1914"/>
                                  </a:cubicBezTo>
                                  <a:cubicBezTo>
                                    <a:pt x="9523" y="1926"/>
                                    <a:pt x="9522" y="1925"/>
                                    <a:pt x="9517" y="1930"/>
                                  </a:cubicBezTo>
                                  <a:cubicBezTo>
                                    <a:pt x="9512" y="1934"/>
                                    <a:pt x="9501" y="1934"/>
                                    <a:pt x="9502" y="1941"/>
                                  </a:cubicBezTo>
                                  <a:cubicBezTo>
                                    <a:pt x="9504" y="1948"/>
                                    <a:pt x="9511" y="1951"/>
                                    <a:pt x="9519" y="1957"/>
                                  </a:cubicBezTo>
                                  <a:cubicBezTo>
                                    <a:pt x="9527" y="1962"/>
                                    <a:pt x="9526" y="1965"/>
                                    <a:pt x="9527" y="1975"/>
                                  </a:cubicBezTo>
                                  <a:cubicBezTo>
                                    <a:pt x="9528" y="1985"/>
                                    <a:pt x="9541" y="1979"/>
                                    <a:pt x="9560" y="1979"/>
                                  </a:cubicBezTo>
                                  <a:cubicBezTo>
                                    <a:pt x="9580" y="1979"/>
                                    <a:pt x="9625" y="1979"/>
                                    <a:pt x="9637" y="1981"/>
                                  </a:cubicBezTo>
                                  <a:cubicBezTo>
                                    <a:pt x="9648" y="1984"/>
                                    <a:pt x="9660" y="1984"/>
                                    <a:pt x="9672" y="1991"/>
                                  </a:cubicBezTo>
                                  <a:cubicBezTo>
                                    <a:pt x="9683" y="1998"/>
                                    <a:pt x="9685" y="2001"/>
                                    <a:pt x="9693" y="2017"/>
                                  </a:cubicBezTo>
                                  <a:cubicBezTo>
                                    <a:pt x="9702" y="2032"/>
                                    <a:pt x="9704" y="2039"/>
                                    <a:pt x="9710" y="2047"/>
                                  </a:cubicBezTo>
                                  <a:cubicBezTo>
                                    <a:pt x="9716" y="2056"/>
                                    <a:pt x="9719" y="2057"/>
                                    <a:pt x="9731" y="2056"/>
                                  </a:cubicBezTo>
                                  <a:cubicBezTo>
                                    <a:pt x="9743" y="2055"/>
                                    <a:pt x="9746" y="2056"/>
                                    <a:pt x="9764" y="2062"/>
                                  </a:cubicBezTo>
                                  <a:cubicBezTo>
                                    <a:pt x="9782" y="2067"/>
                                    <a:pt x="9783" y="2066"/>
                                    <a:pt x="9790" y="2073"/>
                                  </a:cubicBezTo>
                                  <a:cubicBezTo>
                                    <a:pt x="9798" y="2080"/>
                                    <a:pt x="9802" y="2085"/>
                                    <a:pt x="9813" y="2093"/>
                                  </a:cubicBezTo>
                                  <a:cubicBezTo>
                                    <a:pt x="9824" y="2100"/>
                                    <a:pt x="9828" y="2100"/>
                                    <a:pt x="9837" y="2095"/>
                                  </a:cubicBezTo>
                                  <a:cubicBezTo>
                                    <a:pt x="9845" y="2091"/>
                                    <a:pt x="9840" y="2086"/>
                                    <a:pt x="9842" y="2079"/>
                                  </a:cubicBezTo>
                                  <a:cubicBezTo>
                                    <a:pt x="9843" y="2071"/>
                                    <a:pt x="9848" y="2079"/>
                                    <a:pt x="9851" y="2089"/>
                                  </a:cubicBezTo>
                                  <a:cubicBezTo>
                                    <a:pt x="9854" y="2100"/>
                                    <a:pt x="9851" y="2101"/>
                                    <a:pt x="9852" y="2107"/>
                                  </a:cubicBezTo>
                                  <a:cubicBezTo>
                                    <a:pt x="9853" y="2114"/>
                                    <a:pt x="9863" y="2110"/>
                                    <a:pt x="9866" y="2106"/>
                                  </a:cubicBezTo>
                                  <a:cubicBezTo>
                                    <a:pt x="9869" y="2102"/>
                                    <a:pt x="9863" y="2095"/>
                                    <a:pt x="9868" y="2091"/>
                                  </a:cubicBezTo>
                                  <a:cubicBezTo>
                                    <a:pt x="9873" y="2086"/>
                                    <a:pt x="9884" y="2096"/>
                                    <a:pt x="9895" y="2098"/>
                                  </a:cubicBezTo>
                                  <a:cubicBezTo>
                                    <a:pt x="9906" y="2100"/>
                                    <a:pt x="9911" y="2100"/>
                                    <a:pt x="9912" y="2093"/>
                                  </a:cubicBezTo>
                                  <a:cubicBezTo>
                                    <a:pt x="9913" y="2085"/>
                                    <a:pt x="9907" y="2089"/>
                                    <a:pt x="9897" y="2083"/>
                                  </a:cubicBezTo>
                                  <a:cubicBezTo>
                                    <a:pt x="9887" y="2077"/>
                                    <a:pt x="9884" y="2082"/>
                                    <a:pt x="9875" y="2079"/>
                                  </a:cubicBezTo>
                                  <a:cubicBezTo>
                                    <a:pt x="9867" y="2076"/>
                                    <a:pt x="9870" y="2073"/>
                                    <a:pt x="9872" y="2069"/>
                                  </a:cubicBezTo>
                                  <a:cubicBezTo>
                                    <a:pt x="9874" y="2064"/>
                                    <a:pt x="9880" y="2065"/>
                                    <a:pt x="9879" y="2061"/>
                                  </a:cubicBezTo>
                                  <a:cubicBezTo>
                                    <a:pt x="9878" y="2056"/>
                                    <a:pt x="9875" y="2057"/>
                                    <a:pt x="9866" y="2061"/>
                                  </a:cubicBezTo>
                                  <a:cubicBezTo>
                                    <a:pt x="9856" y="2064"/>
                                    <a:pt x="9856" y="2061"/>
                                    <a:pt x="9855" y="2059"/>
                                  </a:cubicBezTo>
                                  <a:cubicBezTo>
                                    <a:pt x="9854" y="2057"/>
                                    <a:pt x="9860" y="2052"/>
                                    <a:pt x="9867" y="2049"/>
                                  </a:cubicBezTo>
                                  <a:cubicBezTo>
                                    <a:pt x="9875" y="2045"/>
                                    <a:pt x="9890" y="2047"/>
                                    <a:pt x="9898" y="2044"/>
                                  </a:cubicBezTo>
                                  <a:cubicBezTo>
                                    <a:pt x="9905" y="2042"/>
                                    <a:pt x="9912" y="2039"/>
                                    <a:pt x="9915" y="2036"/>
                                  </a:cubicBezTo>
                                  <a:cubicBezTo>
                                    <a:pt x="9918" y="2032"/>
                                    <a:pt x="9917" y="2024"/>
                                    <a:pt x="9910" y="2020"/>
                                  </a:cubicBezTo>
                                  <a:close/>
                                  <a:moveTo>
                                    <a:pt x="309" y="1531"/>
                                  </a:moveTo>
                                  <a:cubicBezTo>
                                    <a:pt x="303" y="1525"/>
                                    <a:pt x="299" y="1523"/>
                                    <a:pt x="297" y="1520"/>
                                  </a:cubicBezTo>
                                  <a:cubicBezTo>
                                    <a:pt x="294" y="1517"/>
                                    <a:pt x="286" y="1508"/>
                                    <a:pt x="284" y="1514"/>
                                  </a:cubicBezTo>
                                  <a:cubicBezTo>
                                    <a:pt x="283" y="1519"/>
                                    <a:pt x="284" y="1521"/>
                                    <a:pt x="288" y="1526"/>
                                  </a:cubicBezTo>
                                  <a:cubicBezTo>
                                    <a:pt x="293" y="1531"/>
                                    <a:pt x="293" y="1531"/>
                                    <a:pt x="295" y="1537"/>
                                  </a:cubicBezTo>
                                  <a:cubicBezTo>
                                    <a:pt x="297" y="1542"/>
                                    <a:pt x="294" y="1542"/>
                                    <a:pt x="303" y="1546"/>
                                  </a:cubicBezTo>
                                  <a:cubicBezTo>
                                    <a:pt x="312" y="1549"/>
                                    <a:pt x="322" y="1554"/>
                                    <a:pt x="327" y="1551"/>
                                  </a:cubicBezTo>
                                  <a:cubicBezTo>
                                    <a:pt x="333" y="1547"/>
                                    <a:pt x="342" y="1545"/>
                                    <a:pt x="344" y="1542"/>
                                  </a:cubicBezTo>
                                  <a:cubicBezTo>
                                    <a:pt x="345" y="1539"/>
                                    <a:pt x="348" y="1535"/>
                                    <a:pt x="336" y="1535"/>
                                  </a:cubicBezTo>
                                  <a:cubicBezTo>
                                    <a:pt x="323" y="1535"/>
                                    <a:pt x="315" y="1537"/>
                                    <a:pt x="309" y="1531"/>
                                  </a:cubicBezTo>
                                  <a:close/>
                                  <a:moveTo>
                                    <a:pt x="1752" y="92"/>
                                  </a:moveTo>
                                  <a:cubicBezTo>
                                    <a:pt x="1760" y="91"/>
                                    <a:pt x="1757" y="89"/>
                                    <a:pt x="1764" y="90"/>
                                  </a:cubicBezTo>
                                  <a:cubicBezTo>
                                    <a:pt x="1772" y="91"/>
                                    <a:pt x="1770" y="91"/>
                                    <a:pt x="1775" y="92"/>
                                  </a:cubicBezTo>
                                  <a:cubicBezTo>
                                    <a:pt x="1780" y="93"/>
                                    <a:pt x="1780" y="88"/>
                                    <a:pt x="1786" y="93"/>
                                  </a:cubicBezTo>
                                  <a:cubicBezTo>
                                    <a:pt x="1792" y="97"/>
                                    <a:pt x="1787" y="100"/>
                                    <a:pt x="1796" y="98"/>
                                  </a:cubicBezTo>
                                  <a:cubicBezTo>
                                    <a:pt x="1804" y="97"/>
                                    <a:pt x="1801" y="98"/>
                                    <a:pt x="1809" y="93"/>
                                  </a:cubicBezTo>
                                  <a:cubicBezTo>
                                    <a:pt x="1816" y="89"/>
                                    <a:pt x="1817" y="90"/>
                                    <a:pt x="1826" y="88"/>
                                  </a:cubicBezTo>
                                  <a:cubicBezTo>
                                    <a:pt x="1834" y="86"/>
                                    <a:pt x="1830" y="83"/>
                                    <a:pt x="1840" y="83"/>
                                  </a:cubicBezTo>
                                  <a:cubicBezTo>
                                    <a:pt x="1850" y="83"/>
                                    <a:pt x="1854" y="83"/>
                                    <a:pt x="1859" y="83"/>
                                  </a:cubicBezTo>
                                  <a:cubicBezTo>
                                    <a:pt x="1865" y="83"/>
                                    <a:pt x="1872" y="84"/>
                                    <a:pt x="1869" y="81"/>
                                  </a:cubicBezTo>
                                  <a:cubicBezTo>
                                    <a:pt x="1866" y="79"/>
                                    <a:pt x="1863" y="80"/>
                                    <a:pt x="1855" y="78"/>
                                  </a:cubicBezTo>
                                  <a:cubicBezTo>
                                    <a:pt x="1848" y="76"/>
                                    <a:pt x="1847" y="73"/>
                                    <a:pt x="1839" y="72"/>
                                  </a:cubicBezTo>
                                  <a:cubicBezTo>
                                    <a:pt x="1832" y="72"/>
                                    <a:pt x="1832" y="72"/>
                                    <a:pt x="1826" y="70"/>
                                  </a:cubicBezTo>
                                  <a:cubicBezTo>
                                    <a:pt x="1819" y="68"/>
                                    <a:pt x="1816" y="69"/>
                                    <a:pt x="1809" y="68"/>
                                  </a:cubicBezTo>
                                  <a:cubicBezTo>
                                    <a:pt x="1798" y="68"/>
                                    <a:pt x="1794" y="65"/>
                                    <a:pt x="1794" y="69"/>
                                  </a:cubicBezTo>
                                  <a:cubicBezTo>
                                    <a:pt x="1793" y="73"/>
                                    <a:pt x="1792" y="76"/>
                                    <a:pt x="1795" y="77"/>
                                  </a:cubicBezTo>
                                  <a:cubicBezTo>
                                    <a:pt x="1798" y="79"/>
                                    <a:pt x="1802" y="79"/>
                                    <a:pt x="1798" y="82"/>
                                  </a:cubicBezTo>
                                  <a:cubicBezTo>
                                    <a:pt x="1795" y="85"/>
                                    <a:pt x="1795" y="87"/>
                                    <a:pt x="1790" y="85"/>
                                  </a:cubicBezTo>
                                  <a:cubicBezTo>
                                    <a:pt x="1785" y="83"/>
                                    <a:pt x="1789" y="80"/>
                                    <a:pt x="1779" y="82"/>
                                  </a:cubicBezTo>
                                  <a:cubicBezTo>
                                    <a:pt x="1769" y="83"/>
                                    <a:pt x="1768" y="85"/>
                                    <a:pt x="1762" y="83"/>
                                  </a:cubicBezTo>
                                  <a:cubicBezTo>
                                    <a:pt x="1756" y="80"/>
                                    <a:pt x="1757" y="75"/>
                                    <a:pt x="1750" y="79"/>
                                  </a:cubicBezTo>
                                  <a:cubicBezTo>
                                    <a:pt x="1743" y="83"/>
                                    <a:pt x="1740" y="82"/>
                                    <a:pt x="1744" y="87"/>
                                  </a:cubicBezTo>
                                  <a:cubicBezTo>
                                    <a:pt x="1747" y="92"/>
                                    <a:pt x="1745" y="93"/>
                                    <a:pt x="1752" y="92"/>
                                  </a:cubicBezTo>
                                  <a:close/>
                                  <a:moveTo>
                                    <a:pt x="1692" y="128"/>
                                  </a:moveTo>
                                  <a:cubicBezTo>
                                    <a:pt x="1701" y="128"/>
                                    <a:pt x="1696" y="128"/>
                                    <a:pt x="1709" y="128"/>
                                  </a:cubicBezTo>
                                  <a:cubicBezTo>
                                    <a:pt x="1721" y="127"/>
                                    <a:pt x="1725" y="125"/>
                                    <a:pt x="1730" y="128"/>
                                  </a:cubicBezTo>
                                  <a:cubicBezTo>
                                    <a:pt x="1735" y="132"/>
                                    <a:pt x="1732" y="134"/>
                                    <a:pt x="1742" y="138"/>
                                  </a:cubicBezTo>
                                  <a:cubicBezTo>
                                    <a:pt x="1752" y="141"/>
                                    <a:pt x="1751" y="142"/>
                                    <a:pt x="1761" y="142"/>
                                  </a:cubicBezTo>
                                  <a:cubicBezTo>
                                    <a:pt x="1772" y="142"/>
                                    <a:pt x="1772" y="140"/>
                                    <a:pt x="1781" y="145"/>
                                  </a:cubicBezTo>
                                  <a:cubicBezTo>
                                    <a:pt x="1789" y="150"/>
                                    <a:pt x="1799" y="146"/>
                                    <a:pt x="1804" y="148"/>
                                  </a:cubicBezTo>
                                  <a:cubicBezTo>
                                    <a:pt x="1810" y="150"/>
                                    <a:pt x="1816" y="155"/>
                                    <a:pt x="1819" y="158"/>
                                  </a:cubicBezTo>
                                  <a:cubicBezTo>
                                    <a:pt x="1822" y="160"/>
                                    <a:pt x="1816" y="164"/>
                                    <a:pt x="1828" y="164"/>
                                  </a:cubicBezTo>
                                  <a:cubicBezTo>
                                    <a:pt x="1840" y="165"/>
                                    <a:pt x="1844" y="158"/>
                                    <a:pt x="1853" y="156"/>
                                  </a:cubicBezTo>
                                  <a:cubicBezTo>
                                    <a:pt x="1863" y="153"/>
                                    <a:pt x="1866" y="150"/>
                                    <a:pt x="1862" y="150"/>
                                  </a:cubicBezTo>
                                  <a:cubicBezTo>
                                    <a:pt x="1859" y="150"/>
                                    <a:pt x="1851" y="152"/>
                                    <a:pt x="1848" y="149"/>
                                  </a:cubicBezTo>
                                  <a:cubicBezTo>
                                    <a:pt x="1844" y="146"/>
                                    <a:pt x="1839" y="145"/>
                                    <a:pt x="1836" y="141"/>
                                  </a:cubicBezTo>
                                  <a:cubicBezTo>
                                    <a:pt x="1833" y="138"/>
                                    <a:pt x="1826" y="137"/>
                                    <a:pt x="1818" y="135"/>
                                  </a:cubicBezTo>
                                  <a:cubicBezTo>
                                    <a:pt x="1809" y="133"/>
                                    <a:pt x="1800" y="131"/>
                                    <a:pt x="1796" y="129"/>
                                  </a:cubicBezTo>
                                  <a:cubicBezTo>
                                    <a:pt x="1791" y="127"/>
                                    <a:pt x="1786" y="127"/>
                                    <a:pt x="1778" y="124"/>
                                  </a:cubicBezTo>
                                  <a:cubicBezTo>
                                    <a:pt x="1769" y="121"/>
                                    <a:pt x="1775" y="120"/>
                                    <a:pt x="1761" y="118"/>
                                  </a:cubicBezTo>
                                  <a:cubicBezTo>
                                    <a:pt x="1748" y="117"/>
                                    <a:pt x="1748" y="115"/>
                                    <a:pt x="1736" y="117"/>
                                  </a:cubicBezTo>
                                  <a:cubicBezTo>
                                    <a:pt x="1725" y="119"/>
                                    <a:pt x="1716" y="115"/>
                                    <a:pt x="1704" y="119"/>
                                  </a:cubicBezTo>
                                  <a:cubicBezTo>
                                    <a:pt x="1698" y="120"/>
                                    <a:pt x="1695" y="115"/>
                                    <a:pt x="1692" y="120"/>
                                  </a:cubicBezTo>
                                  <a:cubicBezTo>
                                    <a:pt x="1688" y="125"/>
                                    <a:pt x="1684" y="127"/>
                                    <a:pt x="1692" y="128"/>
                                  </a:cubicBezTo>
                                  <a:close/>
                                  <a:moveTo>
                                    <a:pt x="1772" y="257"/>
                                  </a:moveTo>
                                  <a:cubicBezTo>
                                    <a:pt x="1783" y="256"/>
                                    <a:pt x="1777" y="255"/>
                                    <a:pt x="1791" y="254"/>
                                  </a:cubicBezTo>
                                  <a:cubicBezTo>
                                    <a:pt x="1805" y="254"/>
                                    <a:pt x="1811" y="254"/>
                                    <a:pt x="1817" y="254"/>
                                  </a:cubicBezTo>
                                  <a:cubicBezTo>
                                    <a:pt x="1823" y="253"/>
                                    <a:pt x="1827" y="255"/>
                                    <a:pt x="1829" y="249"/>
                                  </a:cubicBezTo>
                                  <a:cubicBezTo>
                                    <a:pt x="1830" y="243"/>
                                    <a:pt x="1830" y="242"/>
                                    <a:pt x="1829" y="235"/>
                                  </a:cubicBezTo>
                                  <a:cubicBezTo>
                                    <a:pt x="1828" y="228"/>
                                    <a:pt x="1828" y="222"/>
                                    <a:pt x="1821" y="220"/>
                                  </a:cubicBezTo>
                                  <a:cubicBezTo>
                                    <a:pt x="1813" y="218"/>
                                    <a:pt x="1809" y="214"/>
                                    <a:pt x="1796" y="215"/>
                                  </a:cubicBezTo>
                                  <a:cubicBezTo>
                                    <a:pt x="1782" y="216"/>
                                    <a:pt x="1770" y="221"/>
                                    <a:pt x="1769" y="226"/>
                                  </a:cubicBezTo>
                                  <a:cubicBezTo>
                                    <a:pt x="1770" y="233"/>
                                    <a:pt x="1770" y="236"/>
                                    <a:pt x="1764" y="240"/>
                                  </a:cubicBezTo>
                                  <a:cubicBezTo>
                                    <a:pt x="1758" y="245"/>
                                    <a:pt x="1754" y="247"/>
                                    <a:pt x="1757" y="251"/>
                                  </a:cubicBezTo>
                                  <a:cubicBezTo>
                                    <a:pt x="1759" y="255"/>
                                    <a:pt x="1761" y="257"/>
                                    <a:pt x="1772" y="257"/>
                                  </a:cubicBezTo>
                                  <a:close/>
                                  <a:moveTo>
                                    <a:pt x="1715" y="155"/>
                                  </a:moveTo>
                                  <a:cubicBezTo>
                                    <a:pt x="1706" y="155"/>
                                    <a:pt x="1709" y="156"/>
                                    <a:pt x="1701" y="153"/>
                                  </a:cubicBezTo>
                                  <a:cubicBezTo>
                                    <a:pt x="1697" y="150"/>
                                    <a:pt x="1693" y="152"/>
                                    <a:pt x="1691" y="153"/>
                                  </a:cubicBezTo>
                                  <a:cubicBezTo>
                                    <a:pt x="1688" y="154"/>
                                    <a:pt x="1689" y="157"/>
                                    <a:pt x="1690" y="160"/>
                                  </a:cubicBezTo>
                                  <a:cubicBezTo>
                                    <a:pt x="1691" y="164"/>
                                    <a:pt x="1697" y="165"/>
                                    <a:pt x="1704" y="164"/>
                                  </a:cubicBezTo>
                                  <a:cubicBezTo>
                                    <a:pt x="1712" y="163"/>
                                    <a:pt x="1711" y="162"/>
                                    <a:pt x="1718" y="161"/>
                                  </a:cubicBezTo>
                                  <a:cubicBezTo>
                                    <a:pt x="1726" y="160"/>
                                    <a:pt x="1728" y="158"/>
                                    <a:pt x="1727" y="156"/>
                                  </a:cubicBezTo>
                                  <a:cubicBezTo>
                                    <a:pt x="1727" y="153"/>
                                    <a:pt x="1724" y="154"/>
                                    <a:pt x="1715" y="155"/>
                                  </a:cubicBezTo>
                                  <a:close/>
                                  <a:moveTo>
                                    <a:pt x="1780" y="176"/>
                                  </a:moveTo>
                                  <a:cubicBezTo>
                                    <a:pt x="1792" y="176"/>
                                    <a:pt x="1794" y="175"/>
                                    <a:pt x="1799" y="177"/>
                                  </a:cubicBezTo>
                                  <a:cubicBezTo>
                                    <a:pt x="1804" y="178"/>
                                    <a:pt x="1807" y="180"/>
                                    <a:pt x="1809" y="175"/>
                                  </a:cubicBezTo>
                                  <a:cubicBezTo>
                                    <a:pt x="1811" y="171"/>
                                    <a:pt x="1814" y="169"/>
                                    <a:pt x="1802" y="168"/>
                                  </a:cubicBezTo>
                                  <a:cubicBezTo>
                                    <a:pt x="1791" y="167"/>
                                    <a:pt x="1792" y="166"/>
                                    <a:pt x="1784" y="166"/>
                                  </a:cubicBezTo>
                                  <a:cubicBezTo>
                                    <a:pt x="1775" y="166"/>
                                    <a:pt x="1773" y="164"/>
                                    <a:pt x="1764" y="165"/>
                                  </a:cubicBezTo>
                                  <a:cubicBezTo>
                                    <a:pt x="1750" y="166"/>
                                    <a:pt x="1745" y="160"/>
                                    <a:pt x="1743" y="164"/>
                                  </a:cubicBezTo>
                                  <a:cubicBezTo>
                                    <a:pt x="1740" y="167"/>
                                    <a:pt x="1739" y="171"/>
                                    <a:pt x="1745" y="174"/>
                                  </a:cubicBezTo>
                                  <a:cubicBezTo>
                                    <a:pt x="1751" y="177"/>
                                    <a:pt x="1747" y="179"/>
                                    <a:pt x="1760" y="179"/>
                                  </a:cubicBezTo>
                                  <a:cubicBezTo>
                                    <a:pt x="1772" y="178"/>
                                    <a:pt x="1767" y="176"/>
                                    <a:pt x="1780" y="176"/>
                                  </a:cubicBezTo>
                                  <a:close/>
                                  <a:moveTo>
                                    <a:pt x="1970" y="184"/>
                                  </a:moveTo>
                                  <a:cubicBezTo>
                                    <a:pt x="1972" y="189"/>
                                    <a:pt x="1970" y="188"/>
                                    <a:pt x="1978" y="195"/>
                                  </a:cubicBezTo>
                                  <a:cubicBezTo>
                                    <a:pt x="1986" y="201"/>
                                    <a:pt x="1983" y="203"/>
                                    <a:pt x="1990" y="204"/>
                                  </a:cubicBezTo>
                                  <a:cubicBezTo>
                                    <a:pt x="1997" y="204"/>
                                    <a:pt x="2000" y="204"/>
                                    <a:pt x="2005" y="201"/>
                                  </a:cubicBezTo>
                                  <a:cubicBezTo>
                                    <a:pt x="2010" y="197"/>
                                    <a:pt x="2009" y="195"/>
                                    <a:pt x="2021" y="195"/>
                                  </a:cubicBezTo>
                                  <a:cubicBezTo>
                                    <a:pt x="2033" y="195"/>
                                    <a:pt x="2044" y="195"/>
                                    <a:pt x="2051" y="199"/>
                                  </a:cubicBezTo>
                                  <a:cubicBezTo>
                                    <a:pt x="2058" y="203"/>
                                    <a:pt x="2063" y="206"/>
                                    <a:pt x="2070" y="206"/>
                                  </a:cubicBezTo>
                                  <a:cubicBezTo>
                                    <a:pt x="2077" y="206"/>
                                    <a:pt x="2086" y="204"/>
                                    <a:pt x="2090" y="199"/>
                                  </a:cubicBezTo>
                                  <a:cubicBezTo>
                                    <a:pt x="2095" y="194"/>
                                    <a:pt x="2094" y="188"/>
                                    <a:pt x="2107" y="184"/>
                                  </a:cubicBezTo>
                                  <a:cubicBezTo>
                                    <a:pt x="2120" y="180"/>
                                    <a:pt x="2122" y="180"/>
                                    <a:pt x="2132" y="178"/>
                                  </a:cubicBezTo>
                                  <a:cubicBezTo>
                                    <a:pt x="2143" y="175"/>
                                    <a:pt x="2145" y="174"/>
                                    <a:pt x="2147" y="168"/>
                                  </a:cubicBezTo>
                                  <a:cubicBezTo>
                                    <a:pt x="2148" y="162"/>
                                    <a:pt x="2151" y="163"/>
                                    <a:pt x="2150" y="158"/>
                                  </a:cubicBezTo>
                                  <a:cubicBezTo>
                                    <a:pt x="2149" y="153"/>
                                    <a:pt x="2149" y="152"/>
                                    <a:pt x="2144" y="147"/>
                                  </a:cubicBezTo>
                                  <a:cubicBezTo>
                                    <a:pt x="2139" y="142"/>
                                    <a:pt x="2141" y="138"/>
                                    <a:pt x="2129" y="140"/>
                                  </a:cubicBezTo>
                                  <a:cubicBezTo>
                                    <a:pt x="2117" y="141"/>
                                    <a:pt x="2118" y="143"/>
                                    <a:pt x="2111" y="144"/>
                                  </a:cubicBezTo>
                                  <a:cubicBezTo>
                                    <a:pt x="2103" y="146"/>
                                    <a:pt x="2092" y="145"/>
                                    <a:pt x="2084" y="146"/>
                                  </a:cubicBezTo>
                                  <a:cubicBezTo>
                                    <a:pt x="2076" y="146"/>
                                    <a:pt x="2077" y="147"/>
                                    <a:pt x="2069" y="150"/>
                                  </a:cubicBezTo>
                                  <a:cubicBezTo>
                                    <a:pt x="2061" y="153"/>
                                    <a:pt x="2053" y="152"/>
                                    <a:pt x="2046" y="152"/>
                                  </a:cubicBezTo>
                                  <a:cubicBezTo>
                                    <a:pt x="2038" y="152"/>
                                    <a:pt x="2035" y="154"/>
                                    <a:pt x="2030" y="152"/>
                                  </a:cubicBezTo>
                                  <a:cubicBezTo>
                                    <a:pt x="2024" y="150"/>
                                    <a:pt x="2024" y="148"/>
                                    <a:pt x="2017" y="147"/>
                                  </a:cubicBezTo>
                                  <a:cubicBezTo>
                                    <a:pt x="2010" y="146"/>
                                    <a:pt x="2007" y="143"/>
                                    <a:pt x="2002" y="148"/>
                                  </a:cubicBezTo>
                                  <a:cubicBezTo>
                                    <a:pt x="1998" y="152"/>
                                    <a:pt x="1995" y="154"/>
                                    <a:pt x="1986" y="157"/>
                                  </a:cubicBezTo>
                                  <a:cubicBezTo>
                                    <a:pt x="1976" y="159"/>
                                    <a:pt x="1971" y="162"/>
                                    <a:pt x="1969" y="171"/>
                                  </a:cubicBezTo>
                                  <a:cubicBezTo>
                                    <a:pt x="1969" y="176"/>
                                    <a:pt x="1968" y="178"/>
                                    <a:pt x="1970" y="184"/>
                                  </a:cubicBezTo>
                                  <a:close/>
                                  <a:moveTo>
                                    <a:pt x="1665" y="159"/>
                                  </a:moveTo>
                                  <a:cubicBezTo>
                                    <a:pt x="1669" y="159"/>
                                    <a:pt x="1674" y="155"/>
                                    <a:pt x="1674" y="152"/>
                                  </a:cubicBezTo>
                                  <a:cubicBezTo>
                                    <a:pt x="1673" y="148"/>
                                    <a:pt x="1670" y="150"/>
                                    <a:pt x="1665" y="151"/>
                                  </a:cubicBezTo>
                                  <a:cubicBezTo>
                                    <a:pt x="1661" y="152"/>
                                    <a:pt x="1660" y="151"/>
                                    <a:pt x="1654" y="148"/>
                                  </a:cubicBezTo>
                                  <a:cubicBezTo>
                                    <a:pt x="1645" y="145"/>
                                    <a:pt x="1645" y="147"/>
                                    <a:pt x="1646" y="151"/>
                                  </a:cubicBezTo>
                                  <a:cubicBezTo>
                                    <a:pt x="1646" y="156"/>
                                    <a:pt x="1662" y="158"/>
                                    <a:pt x="1665" y="159"/>
                                  </a:cubicBezTo>
                                  <a:close/>
                                  <a:moveTo>
                                    <a:pt x="1872" y="142"/>
                                  </a:moveTo>
                                  <a:cubicBezTo>
                                    <a:pt x="1880" y="138"/>
                                    <a:pt x="1882" y="135"/>
                                    <a:pt x="1887" y="135"/>
                                  </a:cubicBezTo>
                                  <a:cubicBezTo>
                                    <a:pt x="1892" y="135"/>
                                    <a:pt x="1898" y="137"/>
                                    <a:pt x="1895" y="133"/>
                                  </a:cubicBezTo>
                                  <a:cubicBezTo>
                                    <a:pt x="1892" y="128"/>
                                    <a:pt x="1888" y="131"/>
                                    <a:pt x="1881" y="129"/>
                                  </a:cubicBezTo>
                                  <a:cubicBezTo>
                                    <a:pt x="1873" y="126"/>
                                    <a:pt x="1872" y="125"/>
                                    <a:pt x="1868" y="126"/>
                                  </a:cubicBezTo>
                                  <a:cubicBezTo>
                                    <a:pt x="1864" y="126"/>
                                    <a:pt x="1861" y="126"/>
                                    <a:pt x="1856" y="124"/>
                                  </a:cubicBezTo>
                                  <a:cubicBezTo>
                                    <a:pt x="1851" y="122"/>
                                    <a:pt x="1842" y="121"/>
                                    <a:pt x="1838" y="120"/>
                                  </a:cubicBezTo>
                                  <a:cubicBezTo>
                                    <a:pt x="1834" y="118"/>
                                    <a:pt x="1819" y="114"/>
                                    <a:pt x="1819" y="117"/>
                                  </a:cubicBezTo>
                                  <a:cubicBezTo>
                                    <a:pt x="1819" y="120"/>
                                    <a:pt x="1817" y="123"/>
                                    <a:pt x="1825" y="124"/>
                                  </a:cubicBezTo>
                                  <a:cubicBezTo>
                                    <a:pt x="1832" y="125"/>
                                    <a:pt x="1835" y="126"/>
                                    <a:pt x="1842" y="129"/>
                                  </a:cubicBezTo>
                                  <a:cubicBezTo>
                                    <a:pt x="1849" y="132"/>
                                    <a:pt x="1855" y="133"/>
                                    <a:pt x="1860" y="137"/>
                                  </a:cubicBezTo>
                                  <a:cubicBezTo>
                                    <a:pt x="1865" y="141"/>
                                    <a:pt x="1865" y="145"/>
                                    <a:pt x="1872" y="142"/>
                                  </a:cubicBezTo>
                                  <a:close/>
                                  <a:moveTo>
                                    <a:pt x="1905" y="23"/>
                                  </a:moveTo>
                                  <a:cubicBezTo>
                                    <a:pt x="1912" y="23"/>
                                    <a:pt x="1926" y="21"/>
                                    <a:pt x="1938" y="18"/>
                                  </a:cubicBezTo>
                                  <a:cubicBezTo>
                                    <a:pt x="1950" y="16"/>
                                    <a:pt x="1952" y="17"/>
                                    <a:pt x="1963" y="17"/>
                                  </a:cubicBezTo>
                                  <a:cubicBezTo>
                                    <a:pt x="1973" y="17"/>
                                    <a:pt x="1971" y="10"/>
                                    <a:pt x="1968" y="5"/>
                                  </a:cubicBezTo>
                                  <a:cubicBezTo>
                                    <a:pt x="1965" y="0"/>
                                    <a:pt x="1951" y="2"/>
                                    <a:pt x="1939" y="3"/>
                                  </a:cubicBezTo>
                                  <a:cubicBezTo>
                                    <a:pt x="1928" y="5"/>
                                    <a:pt x="1927" y="5"/>
                                    <a:pt x="1917" y="4"/>
                                  </a:cubicBezTo>
                                  <a:cubicBezTo>
                                    <a:pt x="1907" y="1"/>
                                    <a:pt x="1894" y="4"/>
                                    <a:pt x="1888" y="8"/>
                                  </a:cubicBezTo>
                                  <a:cubicBezTo>
                                    <a:pt x="1882" y="13"/>
                                    <a:pt x="1886" y="14"/>
                                    <a:pt x="1886" y="18"/>
                                  </a:cubicBezTo>
                                  <a:cubicBezTo>
                                    <a:pt x="1887" y="21"/>
                                    <a:pt x="1898" y="24"/>
                                    <a:pt x="1905" y="23"/>
                                  </a:cubicBezTo>
                                  <a:close/>
                                  <a:moveTo>
                                    <a:pt x="1824" y="56"/>
                                  </a:moveTo>
                                  <a:cubicBezTo>
                                    <a:pt x="1829" y="59"/>
                                    <a:pt x="1834" y="61"/>
                                    <a:pt x="1842" y="60"/>
                                  </a:cubicBezTo>
                                  <a:cubicBezTo>
                                    <a:pt x="1850" y="60"/>
                                    <a:pt x="1850" y="58"/>
                                    <a:pt x="1860" y="61"/>
                                  </a:cubicBezTo>
                                  <a:cubicBezTo>
                                    <a:pt x="1869" y="65"/>
                                    <a:pt x="1869" y="66"/>
                                    <a:pt x="1879" y="67"/>
                                  </a:cubicBezTo>
                                  <a:cubicBezTo>
                                    <a:pt x="1888" y="68"/>
                                    <a:pt x="1894" y="68"/>
                                    <a:pt x="1901" y="68"/>
                                  </a:cubicBezTo>
                                  <a:cubicBezTo>
                                    <a:pt x="1908" y="67"/>
                                    <a:pt x="1913" y="68"/>
                                    <a:pt x="1910" y="65"/>
                                  </a:cubicBezTo>
                                  <a:cubicBezTo>
                                    <a:pt x="1907" y="62"/>
                                    <a:pt x="1902" y="63"/>
                                    <a:pt x="1897" y="60"/>
                                  </a:cubicBezTo>
                                  <a:cubicBezTo>
                                    <a:pt x="1891" y="58"/>
                                    <a:pt x="1884" y="56"/>
                                    <a:pt x="1882" y="52"/>
                                  </a:cubicBezTo>
                                  <a:cubicBezTo>
                                    <a:pt x="1880" y="47"/>
                                    <a:pt x="1881" y="46"/>
                                    <a:pt x="1877" y="45"/>
                                  </a:cubicBezTo>
                                  <a:cubicBezTo>
                                    <a:pt x="1872" y="44"/>
                                    <a:pt x="1868" y="47"/>
                                    <a:pt x="1861" y="45"/>
                                  </a:cubicBezTo>
                                  <a:cubicBezTo>
                                    <a:pt x="1853" y="43"/>
                                    <a:pt x="1849" y="42"/>
                                    <a:pt x="1843" y="45"/>
                                  </a:cubicBezTo>
                                  <a:cubicBezTo>
                                    <a:pt x="1836" y="48"/>
                                    <a:pt x="1832" y="45"/>
                                    <a:pt x="1828" y="49"/>
                                  </a:cubicBezTo>
                                  <a:cubicBezTo>
                                    <a:pt x="1823" y="52"/>
                                    <a:pt x="1820" y="53"/>
                                    <a:pt x="1824" y="56"/>
                                  </a:cubicBezTo>
                                  <a:close/>
                                  <a:moveTo>
                                    <a:pt x="1950" y="271"/>
                                  </a:moveTo>
                                  <a:cubicBezTo>
                                    <a:pt x="1958" y="272"/>
                                    <a:pt x="1963" y="272"/>
                                    <a:pt x="1967" y="276"/>
                                  </a:cubicBezTo>
                                  <a:cubicBezTo>
                                    <a:pt x="1971" y="279"/>
                                    <a:pt x="1973" y="281"/>
                                    <a:pt x="1979" y="277"/>
                                  </a:cubicBezTo>
                                  <a:cubicBezTo>
                                    <a:pt x="1984" y="273"/>
                                    <a:pt x="1984" y="271"/>
                                    <a:pt x="1990" y="270"/>
                                  </a:cubicBezTo>
                                  <a:cubicBezTo>
                                    <a:pt x="1997" y="270"/>
                                    <a:pt x="2002" y="270"/>
                                    <a:pt x="2001" y="265"/>
                                  </a:cubicBezTo>
                                  <a:cubicBezTo>
                                    <a:pt x="1999" y="260"/>
                                    <a:pt x="1996" y="260"/>
                                    <a:pt x="1989" y="259"/>
                                  </a:cubicBezTo>
                                  <a:cubicBezTo>
                                    <a:pt x="1983" y="257"/>
                                    <a:pt x="1981" y="254"/>
                                    <a:pt x="1977" y="254"/>
                                  </a:cubicBezTo>
                                  <a:cubicBezTo>
                                    <a:pt x="1974" y="254"/>
                                    <a:pt x="1967" y="254"/>
                                    <a:pt x="1961" y="256"/>
                                  </a:cubicBezTo>
                                  <a:cubicBezTo>
                                    <a:pt x="1953" y="260"/>
                                    <a:pt x="1949" y="260"/>
                                    <a:pt x="1944" y="263"/>
                                  </a:cubicBezTo>
                                  <a:cubicBezTo>
                                    <a:pt x="1939" y="265"/>
                                    <a:pt x="1942" y="271"/>
                                    <a:pt x="1950" y="271"/>
                                  </a:cubicBezTo>
                                  <a:close/>
                                  <a:moveTo>
                                    <a:pt x="2030" y="131"/>
                                  </a:moveTo>
                                  <a:cubicBezTo>
                                    <a:pt x="2039" y="131"/>
                                    <a:pt x="2043" y="129"/>
                                    <a:pt x="2049" y="132"/>
                                  </a:cubicBezTo>
                                  <a:cubicBezTo>
                                    <a:pt x="2055" y="134"/>
                                    <a:pt x="2057" y="136"/>
                                    <a:pt x="2064" y="134"/>
                                  </a:cubicBezTo>
                                  <a:cubicBezTo>
                                    <a:pt x="2071" y="133"/>
                                    <a:pt x="2072" y="135"/>
                                    <a:pt x="2081" y="132"/>
                                  </a:cubicBezTo>
                                  <a:cubicBezTo>
                                    <a:pt x="2091" y="128"/>
                                    <a:pt x="2092" y="129"/>
                                    <a:pt x="2097" y="124"/>
                                  </a:cubicBezTo>
                                  <a:cubicBezTo>
                                    <a:pt x="2102" y="119"/>
                                    <a:pt x="2105" y="119"/>
                                    <a:pt x="2110" y="115"/>
                                  </a:cubicBezTo>
                                  <a:cubicBezTo>
                                    <a:pt x="2116" y="111"/>
                                    <a:pt x="2121" y="106"/>
                                    <a:pt x="2114" y="108"/>
                                  </a:cubicBezTo>
                                  <a:cubicBezTo>
                                    <a:pt x="2106" y="110"/>
                                    <a:pt x="2108" y="115"/>
                                    <a:pt x="2094" y="113"/>
                                  </a:cubicBezTo>
                                  <a:cubicBezTo>
                                    <a:pt x="2080" y="112"/>
                                    <a:pt x="2078" y="111"/>
                                    <a:pt x="2074" y="112"/>
                                  </a:cubicBezTo>
                                  <a:cubicBezTo>
                                    <a:pt x="2069" y="112"/>
                                    <a:pt x="2062" y="112"/>
                                    <a:pt x="2055" y="116"/>
                                  </a:cubicBezTo>
                                  <a:cubicBezTo>
                                    <a:pt x="2047" y="119"/>
                                    <a:pt x="2045" y="121"/>
                                    <a:pt x="2041" y="120"/>
                                  </a:cubicBezTo>
                                  <a:cubicBezTo>
                                    <a:pt x="2037" y="120"/>
                                    <a:pt x="2026" y="118"/>
                                    <a:pt x="2024" y="121"/>
                                  </a:cubicBezTo>
                                  <a:cubicBezTo>
                                    <a:pt x="2022" y="124"/>
                                    <a:pt x="2022" y="131"/>
                                    <a:pt x="2030" y="131"/>
                                  </a:cubicBezTo>
                                  <a:close/>
                                  <a:moveTo>
                                    <a:pt x="1639" y="1079"/>
                                  </a:moveTo>
                                  <a:cubicBezTo>
                                    <a:pt x="1646" y="1080"/>
                                    <a:pt x="1645" y="1080"/>
                                    <a:pt x="1656" y="1081"/>
                                  </a:cubicBezTo>
                                  <a:cubicBezTo>
                                    <a:pt x="1668" y="1082"/>
                                    <a:pt x="1669" y="1084"/>
                                    <a:pt x="1675" y="1084"/>
                                  </a:cubicBezTo>
                                  <a:cubicBezTo>
                                    <a:pt x="1681" y="1084"/>
                                    <a:pt x="1683" y="1084"/>
                                    <a:pt x="1692" y="1083"/>
                                  </a:cubicBezTo>
                                  <a:cubicBezTo>
                                    <a:pt x="1700" y="1082"/>
                                    <a:pt x="1706" y="1083"/>
                                    <a:pt x="1713" y="1081"/>
                                  </a:cubicBezTo>
                                  <a:cubicBezTo>
                                    <a:pt x="1719" y="1080"/>
                                    <a:pt x="1724" y="1079"/>
                                    <a:pt x="1724" y="1080"/>
                                  </a:cubicBezTo>
                                  <a:cubicBezTo>
                                    <a:pt x="1725" y="1082"/>
                                    <a:pt x="1722" y="1086"/>
                                    <a:pt x="1716" y="1087"/>
                                  </a:cubicBezTo>
                                  <a:cubicBezTo>
                                    <a:pt x="1711" y="1088"/>
                                    <a:pt x="1704" y="1087"/>
                                    <a:pt x="1700" y="1090"/>
                                  </a:cubicBezTo>
                                  <a:cubicBezTo>
                                    <a:pt x="1697" y="1093"/>
                                    <a:pt x="1690" y="1093"/>
                                    <a:pt x="1683" y="1096"/>
                                  </a:cubicBezTo>
                                  <a:cubicBezTo>
                                    <a:pt x="1676" y="1097"/>
                                    <a:pt x="1675" y="1095"/>
                                    <a:pt x="1668" y="1100"/>
                                  </a:cubicBezTo>
                                  <a:cubicBezTo>
                                    <a:pt x="1661" y="1104"/>
                                    <a:pt x="1650" y="1107"/>
                                    <a:pt x="1648" y="1113"/>
                                  </a:cubicBezTo>
                                  <a:cubicBezTo>
                                    <a:pt x="1647" y="1120"/>
                                    <a:pt x="1650" y="1121"/>
                                    <a:pt x="1655" y="1120"/>
                                  </a:cubicBezTo>
                                  <a:cubicBezTo>
                                    <a:pt x="1660" y="1119"/>
                                    <a:pt x="1661" y="1118"/>
                                    <a:pt x="1669" y="1116"/>
                                  </a:cubicBezTo>
                                  <a:cubicBezTo>
                                    <a:pt x="1676" y="1114"/>
                                    <a:pt x="1682" y="1112"/>
                                    <a:pt x="1693" y="1113"/>
                                  </a:cubicBezTo>
                                  <a:cubicBezTo>
                                    <a:pt x="1704" y="1115"/>
                                    <a:pt x="1702" y="1112"/>
                                    <a:pt x="1710" y="1117"/>
                                  </a:cubicBezTo>
                                  <a:cubicBezTo>
                                    <a:pt x="1718" y="1121"/>
                                    <a:pt x="1718" y="1122"/>
                                    <a:pt x="1728" y="1123"/>
                                  </a:cubicBezTo>
                                  <a:cubicBezTo>
                                    <a:pt x="1738" y="1124"/>
                                    <a:pt x="1745" y="1127"/>
                                    <a:pt x="1750" y="1124"/>
                                  </a:cubicBezTo>
                                  <a:cubicBezTo>
                                    <a:pt x="1756" y="1121"/>
                                    <a:pt x="1754" y="1117"/>
                                    <a:pt x="1760" y="1116"/>
                                  </a:cubicBezTo>
                                  <a:cubicBezTo>
                                    <a:pt x="1765" y="1115"/>
                                    <a:pt x="1770" y="1118"/>
                                    <a:pt x="1773" y="1124"/>
                                  </a:cubicBezTo>
                                  <a:cubicBezTo>
                                    <a:pt x="1776" y="1129"/>
                                    <a:pt x="1775" y="1130"/>
                                    <a:pt x="1784" y="1131"/>
                                  </a:cubicBezTo>
                                  <a:cubicBezTo>
                                    <a:pt x="1792" y="1133"/>
                                    <a:pt x="1794" y="1133"/>
                                    <a:pt x="1799" y="1133"/>
                                  </a:cubicBezTo>
                                  <a:cubicBezTo>
                                    <a:pt x="1805" y="1133"/>
                                    <a:pt x="1808" y="1131"/>
                                    <a:pt x="1810" y="1126"/>
                                  </a:cubicBezTo>
                                  <a:cubicBezTo>
                                    <a:pt x="1811" y="1121"/>
                                    <a:pt x="1811" y="1121"/>
                                    <a:pt x="1817" y="1118"/>
                                  </a:cubicBezTo>
                                  <a:cubicBezTo>
                                    <a:pt x="1823" y="1114"/>
                                    <a:pt x="1830" y="1113"/>
                                    <a:pt x="1831" y="1109"/>
                                  </a:cubicBezTo>
                                  <a:cubicBezTo>
                                    <a:pt x="1832" y="1105"/>
                                    <a:pt x="1830" y="1107"/>
                                    <a:pt x="1824" y="1104"/>
                                  </a:cubicBezTo>
                                  <a:cubicBezTo>
                                    <a:pt x="1817" y="1102"/>
                                    <a:pt x="1806" y="1098"/>
                                    <a:pt x="1810" y="1093"/>
                                  </a:cubicBezTo>
                                  <a:cubicBezTo>
                                    <a:pt x="1814" y="1088"/>
                                    <a:pt x="1819" y="1091"/>
                                    <a:pt x="1827" y="1094"/>
                                  </a:cubicBezTo>
                                  <a:cubicBezTo>
                                    <a:pt x="1835" y="1097"/>
                                    <a:pt x="1842" y="1098"/>
                                    <a:pt x="1845" y="1097"/>
                                  </a:cubicBezTo>
                                  <a:cubicBezTo>
                                    <a:pt x="1848" y="1095"/>
                                    <a:pt x="1852" y="1089"/>
                                    <a:pt x="1853" y="1086"/>
                                  </a:cubicBezTo>
                                  <a:cubicBezTo>
                                    <a:pt x="1853" y="1084"/>
                                    <a:pt x="1852" y="1078"/>
                                    <a:pt x="1845" y="1076"/>
                                  </a:cubicBezTo>
                                  <a:cubicBezTo>
                                    <a:pt x="1838" y="1074"/>
                                    <a:pt x="1833" y="1072"/>
                                    <a:pt x="1822" y="1072"/>
                                  </a:cubicBezTo>
                                  <a:cubicBezTo>
                                    <a:pt x="1811" y="1072"/>
                                    <a:pt x="1800" y="1073"/>
                                    <a:pt x="1800" y="1068"/>
                                  </a:cubicBezTo>
                                  <a:cubicBezTo>
                                    <a:pt x="1799" y="1063"/>
                                    <a:pt x="1799" y="1061"/>
                                    <a:pt x="1807" y="1061"/>
                                  </a:cubicBezTo>
                                  <a:cubicBezTo>
                                    <a:pt x="1816" y="1062"/>
                                    <a:pt x="1815" y="1060"/>
                                    <a:pt x="1828" y="1062"/>
                                  </a:cubicBezTo>
                                  <a:cubicBezTo>
                                    <a:pt x="1840" y="1064"/>
                                    <a:pt x="1850" y="1063"/>
                                    <a:pt x="1856" y="1068"/>
                                  </a:cubicBezTo>
                                  <a:cubicBezTo>
                                    <a:pt x="1862" y="1072"/>
                                    <a:pt x="1864" y="1080"/>
                                    <a:pt x="1870" y="1078"/>
                                  </a:cubicBezTo>
                                  <a:cubicBezTo>
                                    <a:pt x="1876" y="1077"/>
                                    <a:pt x="1879" y="1071"/>
                                    <a:pt x="1879" y="1066"/>
                                  </a:cubicBezTo>
                                  <a:cubicBezTo>
                                    <a:pt x="1880" y="1060"/>
                                    <a:pt x="1882" y="1058"/>
                                    <a:pt x="1877" y="1054"/>
                                  </a:cubicBezTo>
                                  <a:cubicBezTo>
                                    <a:pt x="1873" y="1049"/>
                                    <a:pt x="1872" y="1044"/>
                                    <a:pt x="1863" y="1043"/>
                                  </a:cubicBezTo>
                                  <a:cubicBezTo>
                                    <a:pt x="1854" y="1043"/>
                                    <a:pt x="1845" y="1044"/>
                                    <a:pt x="1846" y="1038"/>
                                  </a:cubicBezTo>
                                  <a:cubicBezTo>
                                    <a:pt x="1847" y="1031"/>
                                    <a:pt x="1852" y="1024"/>
                                    <a:pt x="1857" y="1027"/>
                                  </a:cubicBezTo>
                                  <a:cubicBezTo>
                                    <a:pt x="1862" y="1029"/>
                                    <a:pt x="1864" y="1035"/>
                                    <a:pt x="1873" y="1039"/>
                                  </a:cubicBezTo>
                                  <a:cubicBezTo>
                                    <a:pt x="1882" y="1044"/>
                                    <a:pt x="1887" y="1049"/>
                                    <a:pt x="1892" y="1046"/>
                                  </a:cubicBezTo>
                                  <a:cubicBezTo>
                                    <a:pt x="1896" y="1042"/>
                                    <a:pt x="1898" y="1041"/>
                                    <a:pt x="1899" y="1035"/>
                                  </a:cubicBezTo>
                                  <a:cubicBezTo>
                                    <a:pt x="1899" y="1028"/>
                                    <a:pt x="1896" y="1023"/>
                                    <a:pt x="1904" y="1023"/>
                                  </a:cubicBezTo>
                                  <a:cubicBezTo>
                                    <a:pt x="1912" y="1023"/>
                                    <a:pt x="1920" y="1027"/>
                                    <a:pt x="1922" y="1023"/>
                                  </a:cubicBezTo>
                                  <a:cubicBezTo>
                                    <a:pt x="1924" y="1019"/>
                                    <a:pt x="1926" y="1016"/>
                                    <a:pt x="1925" y="1010"/>
                                  </a:cubicBezTo>
                                  <a:cubicBezTo>
                                    <a:pt x="1924" y="1003"/>
                                    <a:pt x="1925" y="999"/>
                                    <a:pt x="1922" y="997"/>
                                  </a:cubicBezTo>
                                  <a:cubicBezTo>
                                    <a:pt x="1918" y="994"/>
                                    <a:pt x="1916" y="991"/>
                                    <a:pt x="1910" y="988"/>
                                  </a:cubicBezTo>
                                  <a:cubicBezTo>
                                    <a:pt x="1904" y="986"/>
                                    <a:pt x="1896" y="981"/>
                                    <a:pt x="1899" y="979"/>
                                  </a:cubicBezTo>
                                  <a:cubicBezTo>
                                    <a:pt x="1902" y="976"/>
                                    <a:pt x="1904" y="972"/>
                                    <a:pt x="1911" y="978"/>
                                  </a:cubicBezTo>
                                  <a:cubicBezTo>
                                    <a:pt x="1918" y="983"/>
                                    <a:pt x="1924" y="983"/>
                                    <a:pt x="1933" y="986"/>
                                  </a:cubicBezTo>
                                  <a:cubicBezTo>
                                    <a:pt x="1943" y="990"/>
                                    <a:pt x="1951" y="992"/>
                                    <a:pt x="1954" y="991"/>
                                  </a:cubicBezTo>
                                  <a:cubicBezTo>
                                    <a:pt x="1956" y="990"/>
                                    <a:pt x="1960" y="986"/>
                                    <a:pt x="1959" y="980"/>
                                  </a:cubicBezTo>
                                  <a:cubicBezTo>
                                    <a:pt x="1958" y="975"/>
                                    <a:pt x="1957" y="972"/>
                                    <a:pt x="1957" y="967"/>
                                  </a:cubicBezTo>
                                  <a:cubicBezTo>
                                    <a:pt x="1956" y="962"/>
                                    <a:pt x="1954" y="959"/>
                                    <a:pt x="1961" y="961"/>
                                  </a:cubicBezTo>
                                  <a:cubicBezTo>
                                    <a:pt x="1967" y="963"/>
                                    <a:pt x="1970" y="964"/>
                                    <a:pt x="1975" y="969"/>
                                  </a:cubicBezTo>
                                  <a:cubicBezTo>
                                    <a:pt x="1979" y="974"/>
                                    <a:pt x="1985" y="975"/>
                                    <a:pt x="1989" y="976"/>
                                  </a:cubicBezTo>
                                  <a:cubicBezTo>
                                    <a:pt x="1993" y="976"/>
                                    <a:pt x="1997" y="973"/>
                                    <a:pt x="1997" y="970"/>
                                  </a:cubicBezTo>
                                  <a:cubicBezTo>
                                    <a:pt x="1997" y="967"/>
                                    <a:pt x="1996" y="965"/>
                                    <a:pt x="1991" y="962"/>
                                  </a:cubicBezTo>
                                  <a:cubicBezTo>
                                    <a:pt x="1986" y="958"/>
                                    <a:pt x="1982" y="954"/>
                                    <a:pt x="1984" y="953"/>
                                  </a:cubicBezTo>
                                  <a:cubicBezTo>
                                    <a:pt x="1987" y="951"/>
                                    <a:pt x="1992" y="950"/>
                                    <a:pt x="1997" y="955"/>
                                  </a:cubicBezTo>
                                  <a:cubicBezTo>
                                    <a:pt x="2002" y="959"/>
                                    <a:pt x="2003" y="959"/>
                                    <a:pt x="2009" y="959"/>
                                  </a:cubicBezTo>
                                  <a:cubicBezTo>
                                    <a:pt x="2015" y="959"/>
                                    <a:pt x="2023" y="962"/>
                                    <a:pt x="2024" y="956"/>
                                  </a:cubicBezTo>
                                  <a:cubicBezTo>
                                    <a:pt x="2026" y="950"/>
                                    <a:pt x="2024" y="951"/>
                                    <a:pt x="2028" y="945"/>
                                  </a:cubicBezTo>
                                  <a:cubicBezTo>
                                    <a:pt x="2031" y="939"/>
                                    <a:pt x="2037" y="939"/>
                                    <a:pt x="2039" y="935"/>
                                  </a:cubicBezTo>
                                  <a:cubicBezTo>
                                    <a:pt x="2041" y="932"/>
                                    <a:pt x="2039" y="933"/>
                                    <a:pt x="2038" y="929"/>
                                  </a:cubicBezTo>
                                  <a:cubicBezTo>
                                    <a:pt x="2037" y="925"/>
                                    <a:pt x="2038" y="922"/>
                                    <a:pt x="2042" y="921"/>
                                  </a:cubicBezTo>
                                  <a:cubicBezTo>
                                    <a:pt x="2046" y="920"/>
                                    <a:pt x="2051" y="921"/>
                                    <a:pt x="2057" y="918"/>
                                  </a:cubicBezTo>
                                  <a:cubicBezTo>
                                    <a:pt x="2062" y="915"/>
                                    <a:pt x="2066" y="915"/>
                                    <a:pt x="2067" y="911"/>
                                  </a:cubicBezTo>
                                  <a:cubicBezTo>
                                    <a:pt x="2069" y="908"/>
                                    <a:pt x="2071" y="902"/>
                                    <a:pt x="2074" y="898"/>
                                  </a:cubicBezTo>
                                  <a:cubicBezTo>
                                    <a:pt x="2078" y="894"/>
                                    <a:pt x="2081" y="889"/>
                                    <a:pt x="2084" y="887"/>
                                  </a:cubicBezTo>
                                  <a:cubicBezTo>
                                    <a:pt x="2087" y="885"/>
                                    <a:pt x="2091" y="879"/>
                                    <a:pt x="2094" y="884"/>
                                  </a:cubicBezTo>
                                  <a:cubicBezTo>
                                    <a:pt x="2097" y="888"/>
                                    <a:pt x="2097" y="893"/>
                                    <a:pt x="2103" y="893"/>
                                  </a:cubicBezTo>
                                  <a:cubicBezTo>
                                    <a:pt x="2109" y="893"/>
                                    <a:pt x="2113" y="890"/>
                                    <a:pt x="2116" y="887"/>
                                  </a:cubicBezTo>
                                  <a:cubicBezTo>
                                    <a:pt x="2118" y="884"/>
                                    <a:pt x="2122" y="878"/>
                                    <a:pt x="2126" y="876"/>
                                  </a:cubicBezTo>
                                  <a:cubicBezTo>
                                    <a:pt x="2130" y="873"/>
                                    <a:pt x="2137" y="868"/>
                                    <a:pt x="2143" y="867"/>
                                  </a:cubicBezTo>
                                  <a:cubicBezTo>
                                    <a:pt x="2148" y="867"/>
                                    <a:pt x="2170" y="861"/>
                                    <a:pt x="2173" y="860"/>
                                  </a:cubicBezTo>
                                  <a:cubicBezTo>
                                    <a:pt x="2176" y="860"/>
                                    <a:pt x="2228" y="848"/>
                                    <a:pt x="2251" y="842"/>
                                  </a:cubicBezTo>
                                  <a:cubicBezTo>
                                    <a:pt x="2274" y="836"/>
                                    <a:pt x="2329" y="823"/>
                                    <a:pt x="2344" y="817"/>
                                  </a:cubicBezTo>
                                  <a:cubicBezTo>
                                    <a:pt x="2360" y="811"/>
                                    <a:pt x="2425" y="791"/>
                                    <a:pt x="2425" y="791"/>
                                  </a:cubicBezTo>
                                  <a:cubicBezTo>
                                    <a:pt x="2425" y="791"/>
                                    <a:pt x="2451" y="783"/>
                                    <a:pt x="2467" y="782"/>
                                  </a:cubicBezTo>
                                  <a:cubicBezTo>
                                    <a:pt x="2483" y="781"/>
                                    <a:pt x="2506" y="770"/>
                                    <a:pt x="2518" y="765"/>
                                  </a:cubicBezTo>
                                  <a:cubicBezTo>
                                    <a:pt x="2529" y="760"/>
                                    <a:pt x="2539" y="755"/>
                                    <a:pt x="2546" y="745"/>
                                  </a:cubicBezTo>
                                  <a:cubicBezTo>
                                    <a:pt x="2553" y="734"/>
                                    <a:pt x="2567" y="721"/>
                                    <a:pt x="2567" y="715"/>
                                  </a:cubicBezTo>
                                  <a:cubicBezTo>
                                    <a:pt x="2568" y="708"/>
                                    <a:pt x="2565" y="704"/>
                                    <a:pt x="2560" y="703"/>
                                  </a:cubicBezTo>
                                  <a:cubicBezTo>
                                    <a:pt x="2554" y="701"/>
                                    <a:pt x="2554" y="692"/>
                                    <a:pt x="2553" y="687"/>
                                  </a:cubicBezTo>
                                  <a:cubicBezTo>
                                    <a:pt x="2551" y="683"/>
                                    <a:pt x="2545" y="679"/>
                                    <a:pt x="2533" y="680"/>
                                  </a:cubicBezTo>
                                  <a:cubicBezTo>
                                    <a:pt x="2521" y="680"/>
                                    <a:pt x="2517" y="680"/>
                                    <a:pt x="2506" y="677"/>
                                  </a:cubicBezTo>
                                  <a:cubicBezTo>
                                    <a:pt x="2496" y="673"/>
                                    <a:pt x="2496" y="666"/>
                                    <a:pt x="2482" y="671"/>
                                  </a:cubicBezTo>
                                  <a:cubicBezTo>
                                    <a:pt x="2467" y="675"/>
                                    <a:pt x="2459" y="679"/>
                                    <a:pt x="2452" y="682"/>
                                  </a:cubicBezTo>
                                  <a:cubicBezTo>
                                    <a:pt x="2446" y="685"/>
                                    <a:pt x="2431" y="688"/>
                                    <a:pt x="2418" y="691"/>
                                  </a:cubicBezTo>
                                  <a:cubicBezTo>
                                    <a:pt x="2404" y="694"/>
                                    <a:pt x="2392" y="693"/>
                                    <a:pt x="2388" y="703"/>
                                  </a:cubicBezTo>
                                  <a:cubicBezTo>
                                    <a:pt x="2384" y="713"/>
                                    <a:pt x="2381" y="713"/>
                                    <a:pt x="2383" y="720"/>
                                  </a:cubicBezTo>
                                  <a:cubicBezTo>
                                    <a:pt x="2385" y="728"/>
                                    <a:pt x="2389" y="733"/>
                                    <a:pt x="2389" y="733"/>
                                  </a:cubicBezTo>
                                  <a:cubicBezTo>
                                    <a:pt x="2389" y="733"/>
                                    <a:pt x="2388" y="737"/>
                                    <a:pt x="2381" y="734"/>
                                  </a:cubicBezTo>
                                  <a:cubicBezTo>
                                    <a:pt x="2374" y="731"/>
                                    <a:pt x="2366" y="730"/>
                                    <a:pt x="2359" y="730"/>
                                  </a:cubicBezTo>
                                  <a:cubicBezTo>
                                    <a:pt x="2352" y="730"/>
                                    <a:pt x="2350" y="727"/>
                                    <a:pt x="2340" y="734"/>
                                  </a:cubicBezTo>
                                  <a:cubicBezTo>
                                    <a:pt x="2330" y="741"/>
                                    <a:pt x="2327" y="743"/>
                                    <a:pt x="2318" y="746"/>
                                  </a:cubicBezTo>
                                  <a:cubicBezTo>
                                    <a:pt x="2309" y="750"/>
                                    <a:pt x="2309" y="747"/>
                                    <a:pt x="2297" y="751"/>
                                  </a:cubicBezTo>
                                  <a:cubicBezTo>
                                    <a:pt x="2285" y="755"/>
                                    <a:pt x="2286" y="750"/>
                                    <a:pt x="2277" y="758"/>
                                  </a:cubicBezTo>
                                  <a:cubicBezTo>
                                    <a:pt x="2267" y="766"/>
                                    <a:pt x="2267" y="765"/>
                                    <a:pt x="2252" y="762"/>
                                  </a:cubicBezTo>
                                  <a:cubicBezTo>
                                    <a:pt x="2237" y="759"/>
                                    <a:pt x="2241" y="753"/>
                                    <a:pt x="2229" y="760"/>
                                  </a:cubicBezTo>
                                  <a:cubicBezTo>
                                    <a:pt x="2217" y="767"/>
                                    <a:pt x="2214" y="773"/>
                                    <a:pt x="2206" y="775"/>
                                  </a:cubicBezTo>
                                  <a:cubicBezTo>
                                    <a:pt x="2198" y="778"/>
                                    <a:pt x="2197" y="771"/>
                                    <a:pt x="2186" y="771"/>
                                  </a:cubicBezTo>
                                  <a:cubicBezTo>
                                    <a:pt x="2176" y="771"/>
                                    <a:pt x="2175" y="772"/>
                                    <a:pt x="2166" y="774"/>
                                  </a:cubicBezTo>
                                  <a:cubicBezTo>
                                    <a:pt x="2157" y="777"/>
                                    <a:pt x="2156" y="773"/>
                                    <a:pt x="2147" y="772"/>
                                  </a:cubicBezTo>
                                  <a:cubicBezTo>
                                    <a:pt x="2138" y="772"/>
                                    <a:pt x="2138" y="776"/>
                                    <a:pt x="2134" y="771"/>
                                  </a:cubicBezTo>
                                  <a:cubicBezTo>
                                    <a:pt x="2129" y="766"/>
                                    <a:pt x="2125" y="762"/>
                                    <a:pt x="2112" y="762"/>
                                  </a:cubicBezTo>
                                  <a:cubicBezTo>
                                    <a:pt x="2100" y="762"/>
                                    <a:pt x="2095" y="764"/>
                                    <a:pt x="2090" y="767"/>
                                  </a:cubicBezTo>
                                  <a:cubicBezTo>
                                    <a:pt x="2084" y="770"/>
                                    <a:pt x="2079" y="772"/>
                                    <a:pt x="2081" y="780"/>
                                  </a:cubicBezTo>
                                  <a:cubicBezTo>
                                    <a:pt x="2084" y="788"/>
                                    <a:pt x="2088" y="789"/>
                                    <a:pt x="2078" y="791"/>
                                  </a:cubicBezTo>
                                  <a:cubicBezTo>
                                    <a:pt x="2069" y="794"/>
                                    <a:pt x="2059" y="800"/>
                                    <a:pt x="2052" y="798"/>
                                  </a:cubicBezTo>
                                  <a:cubicBezTo>
                                    <a:pt x="2046" y="795"/>
                                    <a:pt x="2044" y="793"/>
                                    <a:pt x="2045" y="790"/>
                                  </a:cubicBezTo>
                                  <a:cubicBezTo>
                                    <a:pt x="2046" y="787"/>
                                    <a:pt x="2041" y="786"/>
                                    <a:pt x="2033" y="786"/>
                                  </a:cubicBezTo>
                                  <a:cubicBezTo>
                                    <a:pt x="2026" y="786"/>
                                    <a:pt x="2020" y="787"/>
                                    <a:pt x="2022" y="791"/>
                                  </a:cubicBezTo>
                                  <a:cubicBezTo>
                                    <a:pt x="2023" y="796"/>
                                    <a:pt x="2028" y="804"/>
                                    <a:pt x="2023" y="806"/>
                                  </a:cubicBezTo>
                                  <a:cubicBezTo>
                                    <a:pt x="2019" y="807"/>
                                    <a:pt x="2001" y="805"/>
                                    <a:pt x="1992" y="805"/>
                                  </a:cubicBezTo>
                                  <a:cubicBezTo>
                                    <a:pt x="1984" y="805"/>
                                    <a:pt x="1969" y="810"/>
                                    <a:pt x="1964" y="813"/>
                                  </a:cubicBezTo>
                                  <a:cubicBezTo>
                                    <a:pt x="1958" y="816"/>
                                    <a:pt x="1955" y="820"/>
                                    <a:pt x="1941" y="826"/>
                                  </a:cubicBezTo>
                                  <a:cubicBezTo>
                                    <a:pt x="1928" y="832"/>
                                    <a:pt x="1928" y="831"/>
                                    <a:pt x="1916" y="834"/>
                                  </a:cubicBezTo>
                                  <a:cubicBezTo>
                                    <a:pt x="1905" y="838"/>
                                    <a:pt x="1897" y="837"/>
                                    <a:pt x="1897" y="841"/>
                                  </a:cubicBezTo>
                                  <a:cubicBezTo>
                                    <a:pt x="1897" y="844"/>
                                    <a:pt x="1898" y="847"/>
                                    <a:pt x="1899" y="852"/>
                                  </a:cubicBezTo>
                                  <a:cubicBezTo>
                                    <a:pt x="1901" y="858"/>
                                    <a:pt x="1900" y="859"/>
                                    <a:pt x="1889" y="859"/>
                                  </a:cubicBezTo>
                                  <a:cubicBezTo>
                                    <a:pt x="1878" y="859"/>
                                    <a:pt x="1867" y="862"/>
                                    <a:pt x="1866" y="865"/>
                                  </a:cubicBezTo>
                                  <a:cubicBezTo>
                                    <a:pt x="1866" y="869"/>
                                    <a:pt x="1870" y="873"/>
                                    <a:pt x="1873" y="879"/>
                                  </a:cubicBezTo>
                                  <a:cubicBezTo>
                                    <a:pt x="1875" y="885"/>
                                    <a:pt x="1876" y="885"/>
                                    <a:pt x="1871" y="887"/>
                                  </a:cubicBezTo>
                                  <a:cubicBezTo>
                                    <a:pt x="1866" y="888"/>
                                    <a:pt x="1865" y="889"/>
                                    <a:pt x="1859" y="886"/>
                                  </a:cubicBezTo>
                                  <a:cubicBezTo>
                                    <a:pt x="1852" y="883"/>
                                    <a:pt x="1841" y="881"/>
                                    <a:pt x="1836" y="880"/>
                                  </a:cubicBezTo>
                                  <a:cubicBezTo>
                                    <a:pt x="1831" y="879"/>
                                    <a:pt x="1819" y="882"/>
                                    <a:pt x="1819" y="882"/>
                                  </a:cubicBezTo>
                                  <a:cubicBezTo>
                                    <a:pt x="1819" y="882"/>
                                    <a:pt x="1815" y="888"/>
                                    <a:pt x="1820" y="890"/>
                                  </a:cubicBezTo>
                                  <a:cubicBezTo>
                                    <a:pt x="1825" y="893"/>
                                    <a:pt x="1828" y="896"/>
                                    <a:pt x="1821" y="899"/>
                                  </a:cubicBezTo>
                                  <a:cubicBezTo>
                                    <a:pt x="1815" y="903"/>
                                    <a:pt x="1808" y="905"/>
                                    <a:pt x="1806" y="910"/>
                                  </a:cubicBezTo>
                                  <a:cubicBezTo>
                                    <a:pt x="1805" y="915"/>
                                    <a:pt x="1809" y="916"/>
                                    <a:pt x="1801" y="916"/>
                                  </a:cubicBezTo>
                                  <a:cubicBezTo>
                                    <a:pt x="1792" y="916"/>
                                    <a:pt x="1789" y="914"/>
                                    <a:pt x="1789" y="910"/>
                                  </a:cubicBezTo>
                                  <a:cubicBezTo>
                                    <a:pt x="1790" y="906"/>
                                    <a:pt x="1787" y="904"/>
                                    <a:pt x="1781" y="906"/>
                                  </a:cubicBezTo>
                                  <a:cubicBezTo>
                                    <a:pt x="1775" y="908"/>
                                    <a:pt x="1769" y="911"/>
                                    <a:pt x="1769" y="907"/>
                                  </a:cubicBezTo>
                                  <a:cubicBezTo>
                                    <a:pt x="1769" y="903"/>
                                    <a:pt x="1761" y="899"/>
                                    <a:pt x="1760" y="903"/>
                                  </a:cubicBezTo>
                                  <a:cubicBezTo>
                                    <a:pt x="1759" y="907"/>
                                    <a:pt x="1754" y="909"/>
                                    <a:pt x="1756" y="912"/>
                                  </a:cubicBezTo>
                                  <a:cubicBezTo>
                                    <a:pt x="1758" y="914"/>
                                    <a:pt x="1762" y="910"/>
                                    <a:pt x="1764" y="915"/>
                                  </a:cubicBezTo>
                                  <a:cubicBezTo>
                                    <a:pt x="1765" y="921"/>
                                    <a:pt x="1757" y="925"/>
                                    <a:pt x="1766" y="925"/>
                                  </a:cubicBezTo>
                                  <a:cubicBezTo>
                                    <a:pt x="1775" y="924"/>
                                    <a:pt x="1773" y="923"/>
                                    <a:pt x="1780" y="923"/>
                                  </a:cubicBezTo>
                                  <a:cubicBezTo>
                                    <a:pt x="1787" y="922"/>
                                    <a:pt x="1791" y="920"/>
                                    <a:pt x="1791" y="925"/>
                                  </a:cubicBezTo>
                                  <a:cubicBezTo>
                                    <a:pt x="1791" y="929"/>
                                    <a:pt x="1793" y="928"/>
                                    <a:pt x="1799" y="929"/>
                                  </a:cubicBezTo>
                                  <a:cubicBezTo>
                                    <a:pt x="1804" y="930"/>
                                    <a:pt x="1810" y="935"/>
                                    <a:pt x="1805" y="936"/>
                                  </a:cubicBezTo>
                                  <a:cubicBezTo>
                                    <a:pt x="1801" y="938"/>
                                    <a:pt x="1795" y="938"/>
                                    <a:pt x="1788" y="938"/>
                                  </a:cubicBezTo>
                                  <a:cubicBezTo>
                                    <a:pt x="1781" y="938"/>
                                    <a:pt x="1766" y="944"/>
                                    <a:pt x="1766" y="944"/>
                                  </a:cubicBezTo>
                                  <a:cubicBezTo>
                                    <a:pt x="1766" y="944"/>
                                    <a:pt x="1766" y="951"/>
                                    <a:pt x="1776" y="950"/>
                                  </a:cubicBezTo>
                                  <a:cubicBezTo>
                                    <a:pt x="1785" y="950"/>
                                    <a:pt x="1780" y="947"/>
                                    <a:pt x="1791" y="949"/>
                                  </a:cubicBezTo>
                                  <a:cubicBezTo>
                                    <a:pt x="1802" y="951"/>
                                    <a:pt x="1798" y="954"/>
                                    <a:pt x="1804" y="958"/>
                                  </a:cubicBezTo>
                                  <a:cubicBezTo>
                                    <a:pt x="1810" y="961"/>
                                    <a:pt x="1822" y="960"/>
                                    <a:pt x="1823" y="965"/>
                                  </a:cubicBezTo>
                                  <a:cubicBezTo>
                                    <a:pt x="1824" y="969"/>
                                    <a:pt x="1814" y="969"/>
                                    <a:pt x="1804" y="967"/>
                                  </a:cubicBezTo>
                                  <a:cubicBezTo>
                                    <a:pt x="1794" y="965"/>
                                    <a:pt x="1792" y="962"/>
                                    <a:pt x="1783" y="962"/>
                                  </a:cubicBezTo>
                                  <a:cubicBezTo>
                                    <a:pt x="1775" y="962"/>
                                    <a:pt x="1766" y="962"/>
                                    <a:pt x="1760" y="965"/>
                                  </a:cubicBezTo>
                                  <a:cubicBezTo>
                                    <a:pt x="1754" y="967"/>
                                    <a:pt x="1746" y="967"/>
                                    <a:pt x="1748" y="970"/>
                                  </a:cubicBezTo>
                                  <a:cubicBezTo>
                                    <a:pt x="1751" y="974"/>
                                    <a:pt x="1750" y="976"/>
                                    <a:pt x="1759" y="979"/>
                                  </a:cubicBezTo>
                                  <a:cubicBezTo>
                                    <a:pt x="1768" y="982"/>
                                    <a:pt x="1759" y="979"/>
                                    <a:pt x="1774" y="983"/>
                                  </a:cubicBezTo>
                                  <a:cubicBezTo>
                                    <a:pt x="1788" y="988"/>
                                    <a:pt x="1788" y="994"/>
                                    <a:pt x="1781" y="994"/>
                                  </a:cubicBezTo>
                                  <a:cubicBezTo>
                                    <a:pt x="1774" y="993"/>
                                    <a:pt x="1771" y="992"/>
                                    <a:pt x="1762" y="992"/>
                                  </a:cubicBezTo>
                                  <a:cubicBezTo>
                                    <a:pt x="1753" y="992"/>
                                    <a:pt x="1739" y="990"/>
                                    <a:pt x="1736" y="993"/>
                                  </a:cubicBezTo>
                                  <a:cubicBezTo>
                                    <a:pt x="1733" y="996"/>
                                    <a:pt x="1729" y="1001"/>
                                    <a:pt x="1736" y="1002"/>
                                  </a:cubicBezTo>
                                  <a:cubicBezTo>
                                    <a:pt x="1744" y="1002"/>
                                    <a:pt x="1749" y="1000"/>
                                    <a:pt x="1751" y="1004"/>
                                  </a:cubicBezTo>
                                  <a:cubicBezTo>
                                    <a:pt x="1753" y="1008"/>
                                    <a:pt x="1754" y="1011"/>
                                    <a:pt x="1750" y="1011"/>
                                  </a:cubicBezTo>
                                  <a:cubicBezTo>
                                    <a:pt x="1746" y="1011"/>
                                    <a:pt x="1740" y="1011"/>
                                    <a:pt x="1737" y="1011"/>
                                  </a:cubicBezTo>
                                  <a:cubicBezTo>
                                    <a:pt x="1734" y="1011"/>
                                    <a:pt x="1721" y="1010"/>
                                    <a:pt x="1720" y="1012"/>
                                  </a:cubicBezTo>
                                  <a:cubicBezTo>
                                    <a:pt x="1720" y="1015"/>
                                    <a:pt x="1717" y="1017"/>
                                    <a:pt x="1726" y="1020"/>
                                  </a:cubicBezTo>
                                  <a:cubicBezTo>
                                    <a:pt x="1735" y="1022"/>
                                    <a:pt x="1742" y="1024"/>
                                    <a:pt x="1749" y="1028"/>
                                  </a:cubicBezTo>
                                  <a:cubicBezTo>
                                    <a:pt x="1757" y="1032"/>
                                    <a:pt x="1759" y="1031"/>
                                    <a:pt x="1758" y="1034"/>
                                  </a:cubicBezTo>
                                  <a:cubicBezTo>
                                    <a:pt x="1756" y="1036"/>
                                    <a:pt x="1750" y="1037"/>
                                    <a:pt x="1744" y="1037"/>
                                  </a:cubicBezTo>
                                  <a:cubicBezTo>
                                    <a:pt x="1739" y="1036"/>
                                    <a:pt x="1732" y="1032"/>
                                    <a:pt x="1727" y="1032"/>
                                  </a:cubicBezTo>
                                  <a:cubicBezTo>
                                    <a:pt x="1722" y="1031"/>
                                    <a:pt x="1708" y="1026"/>
                                    <a:pt x="1705" y="1029"/>
                                  </a:cubicBezTo>
                                  <a:cubicBezTo>
                                    <a:pt x="1702" y="1033"/>
                                    <a:pt x="1697" y="1035"/>
                                    <a:pt x="1693" y="1038"/>
                                  </a:cubicBezTo>
                                  <a:cubicBezTo>
                                    <a:pt x="1689" y="1040"/>
                                    <a:pt x="1684" y="1043"/>
                                    <a:pt x="1686" y="1048"/>
                                  </a:cubicBezTo>
                                  <a:cubicBezTo>
                                    <a:pt x="1688" y="1054"/>
                                    <a:pt x="1681" y="1054"/>
                                    <a:pt x="1678" y="1055"/>
                                  </a:cubicBezTo>
                                  <a:cubicBezTo>
                                    <a:pt x="1676" y="1055"/>
                                    <a:pt x="1671" y="1054"/>
                                    <a:pt x="1662" y="1059"/>
                                  </a:cubicBezTo>
                                  <a:cubicBezTo>
                                    <a:pt x="1654" y="1063"/>
                                    <a:pt x="1651" y="1066"/>
                                    <a:pt x="1648" y="1069"/>
                                  </a:cubicBezTo>
                                  <a:cubicBezTo>
                                    <a:pt x="1645" y="1072"/>
                                    <a:pt x="1642" y="1073"/>
                                    <a:pt x="1639" y="1073"/>
                                  </a:cubicBezTo>
                                  <a:cubicBezTo>
                                    <a:pt x="1636" y="1073"/>
                                    <a:pt x="1630" y="1072"/>
                                    <a:pt x="1630" y="1075"/>
                                  </a:cubicBezTo>
                                  <a:cubicBezTo>
                                    <a:pt x="1631" y="1078"/>
                                    <a:pt x="1633" y="1078"/>
                                    <a:pt x="1639" y="1079"/>
                                  </a:cubicBezTo>
                                  <a:close/>
                                  <a:moveTo>
                                    <a:pt x="1952" y="1516"/>
                                  </a:moveTo>
                                  <a:cubicBezTo>
                                    <a:pt x="1956" y="1514"/>
                                    <a:pt x="1961" y="1522"/>
                                    <a:pt x="1972" y="1526"/>
                                  </a:cubicBezTo>
                                  <a:cubicBezTo>
                                    <a:pt x="1982" y="1530"/>
                                    <a:pt x="1981" y="1526"/>
                                    <a:pt x="1989" y="1526"/>
                                  </a:cubicBezTo>
                                  <a:cubicBezTo>
                                    <a:pt x="1996" y="1526"/>
                                    <a:pt x="2005" y="1539"/>
                                    <a:pt x="2016" y="1537"/>
                                  </a:cubicBezTo>
                                  <a:cubicBezTo>
                                    <a:pt x="2027" y="1528"/>
                                    <a:pt x="2025" y="1530"/>
                                    <a:pt x="2029" y="1528"/>
                                  </a:cubicBezTo>
                                  <a:cubicBezTo>
                                    <a:pt x="2033" y="1527"/>
                                    <a:pt x="2033" y="1514"/>
                                    <a:pt x="2033" y="1510"/>
                                  </a:cubicBezTo>
                                  <a:cubicBezTo>
                                    <a:pt x="2033" y="1505"/>
                                    <a:pt x="2029" y="1509"/>
                                    <a:pt x="2020" y="1503"/>
                                  </a:cubicBezTo>
                                  <a:cubicBezTo>
                                    <a:pt x="2011" y="1497"/>
                                    <a:pt x="2012" y="1496"/>
                                    <a:pt x="2006" y="1489"/>
                                  </a:cubicBezTo>
                                  <a:cubicBezTo>
                                    <a:pt x="2001" y="1482"/>
                                    <a:pt x="1992" y="1483"/>
                                    <a:pt x="1985" y="1481"/>
                                  </a:cubicBezTo>
                                  <a:cubicBezTo>
                                    <a:pt x="1977" y="1479"/>
                                    <a:pt x="1973" y="1476"/>
                                    <a:pt x="1969" y="1467"/>
                                  </a:cubicBezTo>
                                  <a:cubicBezTo>
                                    <a:pt x="1969" y="1462"/>
                                    <a:pt x="1957" y="1457"/>
                                    <a:pt x="1952" y="1457"/>
                                  </a:cubicBezTo>
                                  <a:cubicBezTo>
                                    <a:pt x="1946" y="1458"/>
                                    <a:pt x="1944" y="1462"/>
                                    <a:pt x="1939" y="1462"/>
                                  </a:cubicBezTo>
                                  <a:cubicBezTo>
                                    <a:pt x="1934" y="1462"/>
                                    <a:pt x="1925" y="1465"/>
                                    <a:pt x="1923" y="1468"/>
                                  </a:cubicBezTo>
                                  <a:cubicBezTo>
                                    <a:pt x="1922" y="1470"/>
                                    <a:pt x="1931" y="1475"/>
                                    <a:pt x="1934" y="1479"/>
                                  </a:cubicBezTo>
                                  <a:cubicBezTo>
                                    <a:pt x="1937" y="1483"/>
                                    <a:pt x="1933" y="1486"/>
                                    <a:pt x="1928" y="1487"/>
                                  </a:cubicBezTo>
                                  <a:cubicBezTo>
                                    <a:pt x="1924" y="1487"/>
                                    <a:pt x="1911" y="1486"/>
                                    <a:pt x="1913" y="1494"/>
                                  </a:cubicBezTo>
                                  <a:cubicBezTo>
                                    <a:pt x="1915" y="1502"/>
                                    <a:pt x="1927" y="1502"/>
                                    <a:pt x="1934" y="1511"/>
                                  </a:cubicBezTo>
                                  <a:cubicBezTo>
                                    <a:pt x="1940" y="1519"/>
                                    <a:pt x="1939" y="1522"/>
                                    <a:pt x="1946" y="1524"/>
                                  </a:cubicBezTo>
                                  <a:cubicBezTo>
                                    <a:pt x="1954" y="1527"/>
                                    <a:pt x="1947" y="1517"/>
                                    <a:pt x="1952" y="1516"/>
                                  </a:cubicBezTo>
                                  <a:close/>
                                  <a:moveTo>
                                    <a:pt x="1554" y="240"/>
                                  </a:moveTo>
                                  <a:cubicBezTo>
                                    <a:pt x="1563" y="240"/>
                                    <a:pt x="1563" y="238"/>
                                    <a:pt x="1570" y="240"/>
                                  </a:cubicBezTo>
                                  <a:cubicBezTo>
                                    <a:pt x="1576" y="243"/>
                                    <a:pt x="1579" y="244"/>
                                    <a:pt x="1586" y="242"/>
                                  </a:cubicBezTo>
                                  <a:cubicBezTo>
                                    <a:pt x="1593" y="241"/>
                                    <a:pt x="1598" y="240"/>
                                    <a:pt x="1603" y="239"/>
                                  </a:cubicBezTo>
                                  <a:cubicBezTo>
                                    <a:pt x="1607" y="238"/>
                                    <a:pt x="1609" y="236"/>
                                    <a:pt x="1612" y="234"/>
                                  </a:cubicBezTo>
                                  <a:cubicBezTo>
                                    <a:pt x="1615" y="233"/>
                                    <a:pt x="1622" y="236"/>
                                    <a:pt x="1624" y="232"/>
                                  </a:cubicBezTo>
                                  <a:cubicBezTo>
                                    <a:pt x="1626" y="228"/>
                                    <a:pt x="1626" y="224"/>
                                    <a:pt x="1618" y="222"/>
                                  </a:cubicBezTo>
                                  <a:cubicBezTo>
                                    <a:pt x="1611" y="220"/>
                                    <a:pt x="1605" y="213"/>
                                    <a:pt x="1601" y="210"/>
                                  </a:cubicBezTo>
                                  <a:cubicBezTo>
                                    <a:pt x="1596" y="208"/>
                                    <a:pt x="1594" y="206"/>
                                    <a:pt x="1589" y="207"/>
                                  </a:cubicBezTo>
                                  <a:cubicBezTo>
                                    <a:pt x="1585" y="208"/>
                                    <a:pt x="1577" y="215"/>
                                    <a:pt x="1571" y="217"/>
                                  </a:cubicBezTo>
                                  <a:cubicBezTo>
                                    <a:pt x="1567" y="222"/>
                                    <a:pt x="1561" y="223"/>
                                    <a:pt x="1554" y="226"/>
                                  </a:cubicBezTo>
                                  <a:cubicBezTo>
                                    <a:pt x="1547" y="230"/>
                                    <a:pt x="1543" y="230"/>
                                    <a:pt x="1545" y="234"/>
                                  </a:cubicBezTo>
                                  <a:cubicBezTo>
                                    <a:pt x="1547" y="238"/>
                                    <a:pt x="1544" y="240"/>
                                    <a:pt x="1554" y="240"/>
                                  </a:cubicBezTo>
                                  <a:close/>
                                  <a:moveTo>
                                    <a:pt x="1408" y="1618"/>
                                  </a:moveTo>
                                  <a:cubicBezTo>
                                    <a:pt x="1413" y="1607"/>
                                    <a:pt x="1417" y="1604"/>
                                    <a:pt x="1415" y="1599"/>
                                  </a:cubicBezTo>
                                  <a:cubicBezTo>
                                    <a:pt x="1413" y="1593"/>
                                    <a:pt x="1412" y="1590"/>
                                    <a:pt x="1403" y="1590"/>
                                  </a:cubicBezTo>
                                  <a:cubicBezTo>
                                    <a:pt x="1394" y="1590"/>
                                    <a:pt x="1389" y="1592"/>
                                    <a:pt x="1383" y="1584"/>
                                  </a:cubicBezTo>
                                  <a:cubicBezTo>
                                    <a:pt x="1377" y="1575"/>
                                    <a:pt x="1373" y="1568"/>
                                    <a:pt x="1361" y="1567"/>
                                  </a:cubicBezTo>
                                  <a:cubicBezTo>
                                    <a:pt x="1349" y="1565"/>
                                    <a:pt x="1336" y="1561"/>
                                    <a:pt x="1332" y="1566"/>
                                  </a:cubicBezTo>
                                  <a:cubicBezTo>
                                    <a:pt x="1317" y="1573"/>
                                    <a:pt x="1319" y="1567"/>
                                    <a:pt x="1310" y="1572"/>
                                  </a:cubicBezTo>
                                  <a:cubicBezTo>
                                    <a:pt x="1301" y="1577"/>
                                    <a:pt x="1297" y="1580"/>
                                    <a:pt x="1292" y="1590"/>
                                  </a:cubicBezTo>
                                  <a:cubicBezTo>
                                    <a:pt x="1287" y="1600"/>
                                    <a:pt x="1287" y="1604"/>
                                    <a:pt x="1287" y="1614"/>
                                  </a:cubicBezTo>
                                  <a:cubicBezTo>
                                    <a:pt x="1286" y="1625"/>
                                    <a:pt x="1281" y="1629"/>
                                    <a:pt x="1292" y="1634"/>
                                  </a:cubicBezTo>
                                  <a:cubicBezTo>
                                    <a:pt x="1304" y="1638"/>
                                    <a:pt x="1307" y="1634"/>
                                    <a:pt x="1314" y="1642"/>
                                  </a:cubicBezTo>
                                  <a:cubicBezTo>
                                    <a:pt x="1322" y="1650"/>
                                    <a:pt x="1331" y="1651"/>
                                    <a:pt x="1337" y="1648"/>
                                  </a:cubicBezTo>
                                  <a:cubicBezTo>
                                    <a:pt x="1343" y="1645"/>
                                    <a:pt x="1343" y="1640"/>
                                    <a:pt x="1353" y="1637"/>
                                  </a:cubicBezTo>
                                  <a:cubicBezTo>
                                    <a:pt x="1363" y="1634"/>
                                    <a:pt x="1371" y="1638"/>
                                    <a:pt x="1375" y="1627"/>
                                  </a:cubicBezTo>
                                  <a:cubicBezTo>
                                    <a:pt x="1380" y="1616"/>
                                    <a:pt x="1381" y="1611"/>
                                    <a:pt x="1387" y="1609"/>
                                  </a:cubicBezTo>
                                  <a:cubicBezTo>
                                    <a:pt x="1393" y="1607"/>
                                    <a:pt x="1400" y="1602"/>
                                    <a:pt x="1402" y="1605"/>
                                  </a:cubicBezTo>
                                  <a:cubicBezTo>
                                    <a:pt x="1404" y="1608"/>
                                    <a:pt x="1402" y="1618"/>
                                    <a:pt x="1402" y="1618"/>
                                  </a:cubicBezTo>
                                  <a:cubicBezTo>
                                    <a:pt x="1402" y="1618"/>
                                    <a:pt x="1404" y="1629"/>
                                    <a:pt x="1408" y="1618"/>
                                  </a:cubicBezTo>
                                  <a:close/>
                                  <a:moveTo>
                                    <a:pt x="1481" y="1285"/>
                                  </a:moveTo>
                                  <a:cubicBezTo>
                                    <a:pt x="1477" y="1293"/>
                                    <a:pt x="1480" y="1294"/>
                                    <a:pt x="1481" y="1303"/>
                                  </a:cubicBezTo>
                                  <a:cubicBezTo>
                                    <a:pt x="1482" y="1313"/>
                                    <a:pt x="1481" y="1316"/>
                                    <a:pt x="1482" y="1324"/>
                                  </a:cubicBezTo>
                                  <a:cubicBezTo>
                                    <a:pt x="1484" y="1333"/>
                                    <a:pt x="1488" y="1331"/>
                                    <a:pt x="1500" y="1331"/>
                                  </a:cubicBezTo>
                                  <a:cubicBezTo>
                                    <a:pt x="1512" y="1331"/>
                                    <a:pt x="1509" y="1331"/>
                                    <a:pt x="1523" y="1331"/>
                                  </a:cubicBezTo>
                                  <a:cubicBezTo>
                                    <a:pt x="1536" y="1332"/>
                                    <a:pt x="1536" y="1333"/>
                                    <a:pt x="1539" y="1330"/>
                                  </a:cubicBezTo>
                                  <a:cubicBezTo>
                                    <a:pt x="1542" y="1328"/>
                                    <a:pt x="1545" y="1325"/>
                                    <a:pt x="1549" y="1326"/>
                                  </a:cubicBezTo>
                                  <a:cubicBezTo>
                                    <a:pt x="1553" y="1326"/>
                                    <a:pt x="1549" y="1332"/>
                                    <a:pt x="1551" y="1339"/>
                                  </a:cubicBezTo>
                                  <a:cubicBezTo>
                                    <a:pt x="1553" y="1347"/>
                                    <a:pt x="1558" y="1344"/>
                                    <a:pt x="1565" y="1346"/>
                                  </a:cubicBezTo>
                                  <a:cubicBezTo>
                                    <a:pt x="1573" y="1348"/>
                                    <a:pt x="1570" y="1346"/>
                                    <a:pt x="1575" y="1338"/>
                                  </a:cubicBezTo>
                                  <a:cubicBezTo>
                                    <a:pt x="1579" y="1331"/>
                                    <a:pt x="1590" y="1331"/>
                                    <a:pt x="1596" y="1331"/>
                                  </a:cubicBezTo>
                                  <a:cubicBezTo>
                                    <a:pt x="1602" y="1332"/>
                                    <a:pt x="1598" y="1339"/>
                                    <a:pt x="1595" y="1344"/>
                                  </a:cubicBezTo>
                                  <a:cubicBezTo>
                                    <a:pt x="1592" y="1349"/>
                                    <a:pt x="1595" y="1357"/>
                                    <a:pt x="1599" y="1361"/>
                                  </a:cubicBezTo>
                                  <a:cubicBezTo>
                                    <a:pt x="1603" y="1365"/>
                                    <a:pt x="1611" y="1359"/>
                                    <a:pt x="1618" y="1351"/>
                                  </a:cubicBezTo>
                                  <a:cubicBezTo>
                                    <a:pt x="1626" y="1343"/>
                                    <a:pt x="1630" y="1345"/>
                                    <a:pt x="1632" y="1349"/>
                                  </a:cubicBezTo>
                                  <a:cubicBezTo>
                                    <a:pt x="1635" y="1354"/>
                                    <a:pt x="1628" y="1355"/>
                                    <a:pt x="1622" y="1359"/>
                                  </a:cubicBezTo>
                                  <a:cubicBezTo>
                                    <a:pt x="1616" y="1363"/>
                                    <a:pt x="1615" y="1365"/>
                                    <a:pt x="1613" y="1369"/>
                                  </a:cubicBezTo>
                                  <a:cubicBezTo>
                                    <a:pt x="1612" y="1374"/>
                                    <a:pt x="1620" y="1381"/>
                                    <a:pt x="1625" y="1382"/>
                                  </a:cubicBezTo>
                                  <a:cubicBezTo>
                                    <a:pt x="1630" y="1382"/>
                                    <a:pt x="1637" y="1383"/>
                                    <a:pt x="1632" y="1392"/>
                                  </a:cubicBezTo>
                                  <a:cubicBezTo>
                                    <a:pt x="1628" y="1401"/>
                                    <a:pt x="1619" y="1390"/>
                                    <a:pt x="1615" y="1392"/>
                                  </a:cubicBezTo>
                                  <a:cubicBezTo>
                                    <a:pt x="1612" y="1393"/>
                                    <a:pt x="1617" y="1399"/>
                                    <a:pt x="1623" y="1403"/>
                                  </a:cubicBezTo>
                                  <a:cubicBezTo>
                                    <a:pt x="1628" y="1408"/>
                                    <a:pt x="1616" y="1412"/>
                                    <a:pt x="1606" y="1411"/>
                                  </a:cubicBezTo>
                                  <a:cubicBezTo>
                                    <a:pt x="1596" y="1410"/>
                                    <a:pt x="1595" y="1414"/>
                                    <a:pt x="1595" y="1417"/>
                                  </a:cubicBezTo>
                                  <a:cubicBezTo>
                                    <a:pt x="1596" y="1421"/>
                                    <a:pt x="1610" y="1420"/>
                                    <a:pt x="1617" y="1420"/>
                                  </a:cubicBezTo>
                                  <a:cubicBezTo>
                                    <a:pt x="1625" y="1421"/>
                                    <a:pt x="1625" y="1424"/>
                                    <a:pt x="1633" y="1425"/>
                                  </a:cubicBezTo>
                                  <a:cubicBezTo>
                                    <a:pt x="1640" y="1425"/>
                                    <a:pt x="1643" y="1426"/>
                                    <a:pt x="1656" y="1430"/>
                                  </a:cubicBezTo>
                                  <a:cubicBezTo>
                                    <a:pt x="1670" y="1434"/>
                                    <a:pt x="1661" y="1432"/>
                                    <a:pt x="1668" y="1441"/>
                                  </a:cubicBezTo>
                                  <a:cubicBezTo>
                                    <a:pt x="1676" y="1449"/>
                                    <a:pt x="1675" y="1441"/>
                                    <a:pt x="1676" y="1434"/>
                                  </a:cubicBezTo>
                                  <a:cubicBezTo>
                                    <a:pt x="1677" y="1427"/>
                                    <a:pt x="1670" y="1428"/>
                                    <a:pt x="1669" y="1422"/>
                                  </a:cubicBezTo>
                                  <a:cubicBezTo>
                                    <a:pt x="1669" y="1415"/>
                                    <a:pt x="1685" y="1424"/>
                                    <a:pt x="1690" y="1425"/>
                                  </a:cubicBezTo>
                                  <a:cubicBezTo>
                                    <a:pt x="1695" y="1426"/>
                                    <a:pt x="1695" y="1428"/>
                                    <a:pt x="1697" y="1436"/>
                                  </a:cubicBezTo>
                                  <a:cubicBezTo>
                                    <a:pt x="1699" y="1444"/>
                                    <a:pt x="1701" y="1440"/>
                                    <a:pt x="1710" y="1444"/>
                                  </a:cubicBezTo>
                                  <a:cubicBezTo>
                                    <a:pt x="1718" y="1449"/>
                                    <a:pt x="1715" y="1441"/>
                                    <a:pt x="1717" y="1436"/>
                                  </a:cubicBezTo>
                                  <a:cubicBezTo>
                                    <a:pt x="1718" y="1432"/>
                                    <a:pt x="1723" y="1430"/>
                                    <a:pt x="1731" y="1429"/>
                                  </a:cubicBezTo>
                                  <a:cubicBezTo>
                                    <a:pt x="1740" y="1428"/>
                                    <a:pt x="1740" y="1433"/>
                                    <a:pt x="1742" y="1436"/>
                                  </a:cubicBezTo>
                                  <a:cubicBezTo>
                                    <a:pt x="1744" y="1440"/>
                                    <a:pt x="1752" y="1440"/>
                                    <a:pt x="1759" y="1437"/>
                                  </a:cubicBezTo>
                                  <a:cubicBezTo>
                                    <a:pt x="1765" y="1433"/>
                                    <a:pt x="1768" y="1438"/>
                                    <a:pt x="1776" y="1438"/>
                                  </a:cubicBezTo>
                                  <a:cubicBezTo>
                                    <a:pt x="1785" y="1439"/>
                                    <a:pt x="1788" y="1444"/>
                                    <a:pt x="1791" y="1442"/>
                                  </a:cubicBezTo>
                                  <a:cubicBezTo>
                                    <a:pt x="1795" y="1440"/>
                                    <a:pt x="1790" y="1436"/>
                                    <a:pt x="1786" y="1432"/>
                                  </a:cubicBezTo>
                                  <a:cubicBezTo>
                                    <a:pt x="1781" y="1428"/>
                                    <a:pt x="1779" y="1430"/>
                                    <a:pt x="1781" y="1426"/>
                                  </a:cubicBezTo>
                                  <a:cubicBezTo>
                                    <a:pt x="1783" y="1422"/>
                                    <a:pt x="1794" y="1429"/>
                                    <a:pt x="1797" y="1432"/>
                                  </a:cubicBezTo>
                                  <a:cubicBezTo>
                                    <a:pt x="1800" y="1435"/>
                                    <a:pt x="1811" y="1436"/>
                                    <a:pt x="1818" y="1437"/>
                                  </a:cubicBezTo>
                                  <a:cubicBezTo>
                                    <a:pt x="1825" y="1437"/>
                                    <a:pt x="1833" y="1441"/>
                                    <a:pt x="1838" y="1438"/>
                                  </a:cubicBezTo>
                                  <a:cubicBezTo>
                                    <a:pt x="1844" y="1435"/>
                                    <a:pt x="1847" y="1433"/>
                                    <a:pt x="1857" y="1429"/>
                                  </a:cubicBezTo>
                                  <a:cubicBezTo>
                                    <a:pt x="1866" y="1426"/>
                                    <a:pt x="1852" y="1418"/>
                                    <a:pt x="1843" y="1415"/>
                                  </a:cubicBezTo>
                                  <a:cubicBezTo>
                                    <a:pt x="1834" y="1413"/>
                                    <a:pt x="1832" y="1414"/>
                                    <a:pt x="1820" y="1407"/>
                                  </a:cubicBezTo>
                                  <a:cubicBezTo>
                                    <a:pt x="1807" y="1400"/>
                                    <a:pt x="1811" y="1401"/>
                                    <a:pt x="1800" y="1391"/>
                                  </a:cubicBezTo>
                                  <a:cubicBezTo>
                                    <a:pt x="1789" y="1382"/>
                                    <a:pt x="1786" y="1384"/>
                                    <a:pt x="1774" y="1374"/>
                                  </a:cubicBezTo>
                                  <a:cubicBezTo>
                                    <a:pt x="1761" y="1364"/>
                                    <a:pt x="1764" y="1364"/>
                                    <a:pt x="1763" y="1354"/>
                                  </a:cubicBezTo>
                                  <a:cubicBezTo>
                                    <a:pt x="1761" y="1344"/>
                                    <a:pt x="1759" y="1338"/>
                                    <a:pt x="1749" y="1325"/>
                                  </a:cubicBezTo>
                                  <a:cubicBezTo>
                                    <a:pt x="1743" y="1316"/>
                                    <a:pt x="1747" y="1317"/>
                                    <a:pt x="1744" y="1314"/>
                                  </a:cubicBezTo>
                                  <a:cubicBezTo>
                                    <a:pt x="1742" y="1310"/>
                                    <a:pt x="1734" y="1305"/>
                                    <a:pt x="1725" y="1303"/>
                                  </a:cubicBezTo>
                                  <a:cubicBezTo>
                                    <a:pt x="1717" y="1301"/>
                                    <a:pt x="1718" y="1296"/>
                                    <a:pt x="1718" y="1291"/>
                                  </a:cubicBezTo>
                                  <a:cubicBezTo>
                                    <a:pt x="1718" y="1287"/>
                                    <a:pt x="1722" y="1290"/>
                                    <a:pt x="1729" y="1285"/>
                                  </a:cubicBezTo>
                                  <a:cubicBezTo>
                                    <a:pt x="1736" y="1280"/>
                                    <a:pt x="1732" y="1281"/>
                                    <a:pt x="1735" y="1273"/>
                                  </a:cubicBezTo>
                                  <a:cubicBezTo>
                                    <a:pt x="1738" y="1266"/>
                                    <a:pt x="1737" y="1266"/>
                                    <a:pt x="1734" y="1260"/>
                                  </a:cubicBezTo>
                                  <a:cubicBezTo>
                                    <a:pt x="1732" y="1255"/>
                                    <a:pt x="1729" y="1258"/>
                                    <a:pt x="1726" y="1250"/>
                                  </a:cubicBezTo>
                                  <a:cubicBezTo>
                                    <a:pt x="1724" y="1242"/>
                                    <a:pt x="1726" y="1249"/>
                                    <a:pt x="1726" y="1243"/>
                                  </a:cubicBezTo>
                                  <a:cubicBezTo>
                                    <a:pt x="1725" y="1238"/>
                                    <a:pt x="1725" y="1241"/>
                                    <a:pt x="1722" y="1240"/>
                                  </a:cubicBezTo>
                                  <a:cubicBezTo>
                                    <a:pt x="1718" y="1238"/>
                                    <a:pt x="1717" y="1238"/>
                                    <a:pt x="1717" y="1234"/>
                                  </a:cubicBezTo>
                                  <a:cubicBezTo>
                                    <a:pt x="1717" y="1231"/>
                                    <a:pt x="1721" y="1234"/>
                                    <a:pt x="1721" y="1234"/>
                                  </a:cubicBezTo>
                                  <a:cubicBezTo>
                                    <a:pt x="1721" y="1234"/>
                                    <a:pt x="1726" y="1232"/>
                                    <a:pt x="1726" y="1227"/>
                                  </a:cubicBezTo>
                                  <a:cubicBezTo>
                                    <a:pt x="1726" y="1223"/>
                                    <a:pt x="1724" y="1223"/>
                                    <a:pt x="1719" y="1220"/>
                                  </a:cubicBezTo>
                                  <a:cubicBezTo>
                                    <a:pt x="1714" y="1216"/>
                                    <a:pt x="1719" y="1216"/>
                                    <a:pt x="1723" y="1216"/>
                                  </a:cubicBezTo>
                                  <a:cubicBezTo>
                                    <a:pt x="1727" y="1216"/>
                                    <a:pt x="1728" y="1218"/>
                                    <a:pt x="1732" y="1219"/>
                                  </a:cubicBezTo>
                                  <a:cubicBezTo>
                                    <a:pt x="1736" y="1219"/>
                                    <a:pt x="1737" y="1219"/>
                                    <a:pt x="1743" y="1215"/>
                                  </a:cubicBezTo>
                                  <a:cubicBezTo>
                                    <a:pt x="1748" y="1211"/>
                                    <a:pt x="1749" y="1209"/>
                                    <a:pt x="1749" y="1206"/>
                                  </a:cubicBezTo>
                                  <a:cubicBezTo>
                                    <a:pt x="1749" y="1202"/>
                                    <a:pt x="1745" y="1201"/>
                                    <a:pt x="1739" y="1199"/>
                                  </a:cubicBezTo>
                                  <a:cubicBezTo>
                                    <a:pt x="1734" y="1197"/>
                                    <a:pt x="1733" y="1197"/>
                                    <a:pt x="1734" y="1191"/>
                                  </a:cubicBezTo>
                                  <a:cubicBezTo>
                                    <a:pt x="1734" y="1186"/>
                                    <a:pt x="1741" y="1191"/>
                                    <a:pt x="1746" y="1191"/>
                                  </a:cubicBezTo>
                                  <a:cubicBezTo>
                                    <a:pt x="1750" y="1191"/>
                                    <a:pt x="1753" y="1194"/>
                                    <a:pt x="1758" y="1197"/>
                                  </a:cubicBezTo>
                                  <a:cubicBezTo>
                                    <a:pt x="1762" y="1200"/>
                                    <a:pt x="1763" y="1197"/>
                                    <a:pt x="1768" y="1197"/>
                                  </a:cubicBezTo>
                                  <a:cubicBezTo>
                                    <a:pt x="1773" y="1196"/>
                                    <a:pt x="1773" y="1194"/>
                                    <a:pt x="1773" y="1194"/>
                                  </a:cubicBezTo>
                                  <a:cubicBezTo>
                                    <a:pt x="1773" y="1194"/>
                                    <a:pt x="1775" y="1187"/>
                                    <a:pt x="1774" y="1182"/>
                                  </a:cubicBezTo>
                                  <a:cubicBezTo>
                                    <a:pt x="1774" y="1177"/>
                                    <a:pt x="1770" y="1179"/>
                                    <a:pt x="1762" y="1182"/>
                                  </a:cubicBezTo>
                                  <a:cubicBezTo>
                                    <a:pt x="1753" y="1186"/>
                                    <a:pt x="1750" y="1183"/>
                                    <a:pt x="1747" y="1178"/>
                                  </a:cubicBezTo>
                                  <a:cubicBezTo>
                                    <a:pt x="1744" y="1173"/>
                                    <a:pt x="1749" y="1173"/>
                                    <a:pt x="1751" y="1172"/>
                                  </a:cubicBezTo>
                                  <a:cubicBezTo>
                                    <a:pt x="1754" y="1171"/>
                                    <a:pt x="1764" y="1172"/>
                                    <a:pt x="1767" y="1170"/>
                                  </a:cubicBezTo>
                                  <a:cubicBezTo>
                                    <a:pt x="1771" y="1168"/>
                                    <a:pt x="1767" y="1168"/>
                                    <a:pt x="1762" y="1164"/>
                                  </a:cubicBezTo>
                                  <a:cubicBezTo>
                                    <a:pt x="1757" y="1160"/>
                                    <a:pt x="1765" y="1160"/>
                                    <a:pt x="1769" y="1157"/>
                                  </a:cubicBezTo>
                                  <a:cubicBezTo>
                                    <a:pt x="1773" y="1154"/>
                                    <a:pt x="1777" y="1157"/>
                                    <a:pt x="1787" y="1158"/>
                                  </a:cubicBezTo>
                                  <a:cubicBezTo>
                                    <a:pt x="1797" y="1159"/>
                                    <a:pt x="1796" y="1152"/>
                                    <a:pt x="1778" y="1147"/>
                                  </a:cubicBezTo>
                                  <a:cubicBezTo>
                                    <a:pt x="1759" y="1141"/>
                                    <a:pt x="1762" y="1145"/>
                                    <a:pt x="1752" y="1141"/>
                                  </a:cubicBezTo>
                                  <a:cubicBezTo>
                                    <a:pt x="1741" y="1137"/>
                                    <a:pt x="1740" y="1137"/>
                                    <a:pt x="1728" y="1134"/>
                                  </a:cubicBezTo>
                                  <a:cubicBezTo>
                                    <a:pt x="1716" y="1130"/>
                                    <a:pt x="1703" y="1132"/>
                                    <a:pt x="1689" y="1132"/>
                                  </a:cubicBezTo>
                                  <a:cubicBezTo>
                                    <a:pt x="1674" y="1132"/>
                                    <a:pt x="1664" y="1133"/>
                                    <a:pt x="1661" y="1133"/>
                                  </a:cubicBezTo>
                                  <a:cubicBezTo>
                                    <a:pt x="1657" y="1134"/>
                                    <a:pt x="1643" y="1139"/>
                                    <a:pt x="1630" y="1140"/>
                                  </a:cubicBezTo>
                                  <a:cubicBezTo>
                                    <a:pt x="1618" y="1141"/>
                                    <a:pt x="1609" y="1142"/>
                                    <a:pt x="1600" y="1144"/>
                                  </a:cubicBezTo>
                                  <a:cubicBezTo>
                                    <a:pt x="1591" y="1146"/>
                                    <a:pt x="1590" y="1150"/>
                                    <a:pt x="1590" y="1156"/>
                                  </a:cubicBezTo>
                                  <a:cubicBezTo>
                                    <a:pt x="1591" y="1163"/>
                                    <a:pt x="1595" y="1172"/>
                                    <a:pt x="1592" y="1177"/>
                                  </a:cubicBezTo>
                                  <a:cubicBezTo>
                                    <a:pt x="1588" y="1182"/>
                                    <a:pt x="1580" y="1177"/>
                                    <a:pt x="1569" y="1177"/>
                                  </a:cubicBezTo>
                                  <a:cubicBezTo>
                                    <a:pt x="1558" y="1176"/>
                                    <a:pt x="1561" y="1182"/>
                                    <a:pt x="1553" y="1187"/>
                                  </a:cubicBezTo>
                                  <a:cubicBezTo>
                                    <a:pt x="1545" y="1192"/>
                                    <a:pt x="1541" y="1198"/>
                                    <a:pt x="1541" y="1198"/>
                                  </a:cubicBezTo>
                                  <a:cubicBezTo>
                                    <a:pt x="1541" y="1198"/>
                                    <a:pt x="1551" y="1206"/>
                                    <a:pt x="1559" y="1206"/>
                                  </a:cubicBezTo>
                                  <a:cubicBezTo>
                                    <a:pt x="1567" y="1207"/>
                                    <a:pt x="1573" y="1208"/>
                                    <a:pt x="1577" y="1209"/>
                                  </a:cubicBezTo>
                                  <a:cubicBezTo>
                                    <a:pt x="1581" y="1209"/>
                                    <a:pt x="1579" y="1213"/>
                                    <a:pt x="1578" y="1216"/>
                                  </a:cubicBezTo>
                                  <a:cubicBezTo>
                                    <a:pt x="1577" y="1220"/>
                                    <a:pt x="1573" y="1223"/>
                                    <a:pt x="1568" y="1223"/>
                                  </a:cubicBezTo>
                                  <a:cubicBezTo>
                                    <a:pt x="1564" y="1223"/>
                                    <a:pt x="1560" y="1229"/>
                                    <a:pt x="1558" y="1234"/>
                                  </a:cubicBezTo>
                                  <a:cubicBezTo>
                                    <a:pt x="1557" y="1239"/>
                                    <a:pt x="1557" y="1244"/>
                                    <a:pt x="1555" y="1247"/>
                                  </a:cubicBezTo>
                                  <a:cubicBezTo>
                                    <a:pt x="1552" y="1250"/>
                                    <a:pt x="1547" y="1249"/>
                                    <a:pt x="1542" y="1253"/>
                                  </a:cubicBezTo>
                                  <a:cubicBezTo>
                                    <a:pt x="1538" y="1257"/>
                                    <a:pt x="1542" y="1258"/>
                                    <a:pt x="1539" y="1268"/>
                                  </a:cubicBezTo>
                                  <a:cubicBezTo>
                                    <a:pt x="1537" y="1278"/>
                                    <a:pt x="1531" y="1278"/>
                                    <a:pt x="1520" y="1273"/>
                                  </a:cubicBezTo>
                                  <a:cubicBezTo>
                                    <a:pt x="1510" y="1269"/>
                                    <a:pt x="1507" y="1265"/>
                                    <a:pt x="1500" y="1265"/>
                                  </a:cubicBezTo>
                                  <a:cubicBezTo>
                                    <a:pt x="1493" y="1266"/>
                                    <a:pt x="1485" y="1278"/>
                                    <a:pt x="1481" y="1285"/>
                                  </a:cubicBezTo>
                                  <a:close/>
                                  <a:moveTo>
                                    <a:pt x="1364" y="176"/>
                                  </a:moveTo>
                                  <a:cubicBezTo>
                                    <a:pt x="1360" y="176"/>
                                    <a:pt x="1356" y="183"/>
                                    <a:pt x="1353" y="186"/>
                                  </a:cubicBezTo>
                                  <a:cubicBezTo>
                                    <a:pt x="1349" y="190"/>
                                    <a:pt x="1349" y="188"/>
                                    <a:pt x="1341" y="191"/>
                                  </a:cubicBezTo>
                                  <a:cubicBezTo>
                                    <a:pt x="1334" y="195"/>
                                    <a:pt x="1329" y="195"/>
                                    <a:pt x="1321" y="195"/>
                                  </a:cubicBezTo>
                                  <a:cubicBezTo>
                                    <a:pt x="1314" y="195"/>
                                    <a:pt x="1309" y="195"/>
                                    <a:pt x="1303" y="191"/>
                                  </a:cubicBezTo>
                                  <a:cubicBezTo>
                                    <a:pt x="1297" y="188"/>
                                    <a:pt x="1300" y="185"/>
                                    <a:pt x="1288" y="187"/>
                                  </a:cubicBezTo>
                                  <a:cubicBezTo>
                                    <a:pt x="1275" y="190"/>
                                    <a:pt x="1276" y="191"/>
                                    <a:pt x="1270" y="192"/>
                                  </a:cubicBezTo>
                                  <a:cubicBezTo>
                                    <a:pt x="1264" y="193"/>
                                    <a:pt x="1261" y="190"/>
                                    <a:pt x="1261" y="194"/>
                                  </a:cubicBezTo>
                                  <a:cubicBezTo>
                                    <a:pt x="1261" y="197"/>
                                    <a:pt x="1261" y="198"/>
                                    <a:pt x="1266" y="199"/>
                                  </a:cubicBezTo>
                                  <a:cubicBezTo>
                                    <a:pt x="1272" y="199"/>
                                    <a:pt x="1276" y="200"/>
                                    <a:pt x="1279" y="201"/>
                                  </a:cubicBezTo>
                                  <a:cubicBezTo>
                                    <a:pt x="1281" y="202"/>
                                    <a:pt x="1283" y="205"/>
                                    <a:pt x="1283" y="208"/>
                                  </a:cubicBezTo>
                                  <a:cubicBezTo>
                                    <a:pt x="1282" y="210"/>
                                    <a:pt x="1271" y="207"/>
                                    <a:pt x="1267" y="207"/>
                                  </a:cubicBezTo>
                                  <a:cubicBezTo>
                                    <a:pt x="1264" y="207"/>
                                    <a:pt x="1261" y="211"/>
                                    <a:pt x="1265" y="213"/>
                                  </a:cubicBezTo>
                                  <a:cubicBezTo>
                                    <a:pt x="1268" y="215"/>
                                    <a:pt x="1268" y="215"/>
                                    <a:pt x="1273" y="217"/>
                                  </a:cubicBezTo>
                                  <a:cubicBezTo>
                                    <a:pt x="1278" y="219"/>
                                    <a:pt x="1279" y="220"/>
                                    <a:pt x="1278" y="222"/>
                                  </a:cubicBezTo>
                                  <a:cubicBezTo>
                                    <a:pt x="1278" y="224"/>
                                    <a:pt x="1274" y="224"/>
                                    <a:pt x="1272" y="225"/>
                                  </a:cubicBezTo>
                                  <a:cubicBezTo>
                                    <a:pt x="1269" y="225"/>
                                    <a:pt x="1259" y="226"/>
                                    <a:pt x="1256" y="225"/>
                                  </a:cubicBezTo>
                                  <a:cubicBezTo>
                                    <a:pt x="1254" y="225"/>
                                    <a:pt x="1244" y="224"/>
                                    <a:pt x="1239" y="223"/>
                                  </a:cubicBezTo>
                                  <a:cubicBezTo>
                                    <a:pt x="1234" y="221"/>
                                    <a:pt x="1230" y="220"/>
                                    <a:pt x="1226" y="219"/>
                                  </a:cubicBezTo>
                                  <a:cubicBezTo>
                                    <a:pt x="1221" y="217"/>
                                    <a:pt x="1214" y="215"/>
                                    <a:pt x="1211" y="215"/>
                                  </a:cubicBezTo>
                                  <a:cubicBezTo>
                                    <a:pt x="1208" y="215"/>
                                    <a:pt x="1205" y="213"/>
                                    <a:pt x="1201" y="217"/>
                                  </a:cubicBezTo>
                                  <a:cubicBezTo>
                                    <a:pt x="1198" y="221"/>
                                    <a:pt x="1195" y="222"/>
                                    <a:pt x="1192" y="224"/>
                                  </a:cubicBezTo>
                                  <a:cubicBezTo>
                                    <a:pt x="1188" y="226"/>
                                    <a:pt x="1184" y="229"/>
                                    <a:pt x="1184" y="230"/>
                                  </a:cubicBezTo>
                                  <a:cubicBezTo>
                                    <a:pt x="1184" y="231"/>
                                    <a:pt x="1188" y="231"/>
                                    <a:pt x="1191" y="231"/>
                                  </a:cubicBezTo>
                                  <a:cubicBezTo>
                                    <a:pt x="1194" y="231"/>
                                    <a:pt x="1201" y="234"/>
                                    <a:pt x="1205" y="236"/>
                                  </a:cubicBezTo>
                                  <a:cubicBezTo>
                                    <a:pt x="1210" y="239"/>
                                    <a:pt x="1207" y="240"/>
                                    <a:pt x="1214" y="240"/>
                                  </a:cubicBezTo>
                                  <a:cubicBezTo>
                                    <a:pt x="1222" y="241"/>
                                    <a:pt x="1229" y="240"/>
                                    <a:pt x="1234" y="239"/>
                                  </a:cubicBezTo>
                                  <a:cubicBezTo>
                                    <a:pt x="1238" y="237"/>
                                    <a:pt x="1236" y="234"/>
                                    <a:pt x="1247" y="234"/>
                                  </a:cubicBezTo>
                                  <a:cubicBezTo>
                                    <a:pt x="1258" y="234"/>
                                    <a:pt x="1267" y="235"/>
                                    <a:pt x="1269" y="236"/>
                                  </a:cubicBezTo>
                                  <a:cubicBezTo>
                                    <a:pt x="1272" y="237"/>
                                    <a:pt x="1271" y="241"/>
                                    <a:pt x="1268" y="241"/>
                                  </a:cubicBezTo>
                                  <a:cubicBezTo>
                                    <a:pt x="1265" y="242"/>
                                    <a:pt x="1256" y="244"/>
                                    <a:pt x="1256" y="244"/>
                                  </a:cubicBezTo>
                                  <a:cubicBezTo>
                                    <a:pt x="1256" y="244"/>
                                    <a:pt x="1251" y="247"/>
                                    <a:pt x="1252" y="249"/>
                                  </a:cubicBezTo>
                                  <a:cubicBezTo>
                                    <a:pt x="1253" y="251"/>
                                    <a:pt x="1253" y="253"/>
                                    <a:pt x="1262" y="252"/>
                                  </a:cubicBezTo>
                                  <a:cubicBezTo>
                                    <a:pt x="1270" y="250"/>
                                    <a:pt x="1278" y="249"/>
                                    <a:pt x="1284" y="250"/>
                                  </a:cubicBezTo>
                                  <a:cubicBezTo>
                                    <a:pt x="1289" y="251"/>
                                    <a:pt x="1299" y="250"/>
                                    <a:pt x="1305" y="248"/>
                                  </a:cubicBezTo>
                                  <a:cubicBezTo>
                                    <a:pt x="1311" y="246"/>
                                    <a:pt x="1317" y="246"/>
                                    <a:pt x="1323" y="246"/>
                                  </a:cubicBezTo>
                                  <a:cubicBezTo>
                                    <a:pt x="1329" y="246"/>
                                    <a:pt x="1333" y="246"/>
                                    <a:pt x="1334" y="244"/>
                                  </a:cubicBezTo>
                                  <a:cubicBezTo>
                                    <a:pt x="1335" y="241"/>
                                    <a:pt x="1337" y="239"/>
                                    <a:pt x="1333" y="236"/>
                                  </a:cubicBezTo>
                                  <a:cubicBezTo>
                                    <a:pt x="1329" y="232"/>
                                    <a:pt x="1323" y="230"/>
                                    <a:pt x="1323" y="224"/>
                                  </a:cubicBezTo>
                                  <a:cubicBezTo>
                                    <a:pt x="1323" y="219"/>
                                    <a:pt x="1319" y="216"/>
                                    <a:pt x="1321" y="213"/>
                                  </a:cubicBezTo>
                                  <a:cubicBezTo>
                                    <a:pt x="1322" y="209"/>
                                    <a:pt x="1323" y="208"/>
                                    <a:pt x="1331" y="208"/>
                                  </a:cubicBezTo>
                                  <a:cubicBezTo>
                                    <a:pt x="1340" y="208"/>
                                    <a:pt x="1343" y="206"/>
                                    <a:pt x="1351" y="203"/>
                                  </a:cubicBezTo>
                                  <a:cubicBezTo>
                                    <a:pt x="1359" y="201"/>
                                    <a:pt x="1367" y="198"/>
                                    <a:pt x="1372" y="198"/>
                                  </a:cubicBezTo>
                                  <a:cubicBezTo>
                                    <a:pt x="1378" y="199"/>
                                    <a:pt x="1391" y="197"/>
                                    <a:pt x="1397" y="194"/>
                                  </a:cubicBezTo>
                                  <a:cubicBezTo>
                                    <a:pt x="1404" y="190"/>
                                    <a:pt x="1416" y="185"/>
                                    <a:pt x="1429" y="183"/>
                                  </a:cubicBezTo>
                                  <a:cubicBezTo>
                                    <a:pt x="1441" y="180"/>
                                    <a:pt x="1443" y="174"/>
                                    <a:pt x="1457" y="174"/>
                                  </a:cubicBezTo>
                                  <a:cubicBezTo>
                                    <a:pt x="1470" y="174"/>
                                    <a:pt x="1477" y="171"/>
                                    <a:pt x="1488" y="169"/>
                                  </a:cubicBezTo>
                                  <a:cubicBezTo>
                                    <a:pt x="1499" y="167"/>
                                    <a:pt x="1503" y="167"/>
                                    <a:pt x="1502" y="165"/>
                                  </a:cubicBezTo>
                                  <a:cubicBezTo>
                                    <a:pt x="1501" y="164"/>
                                    <a:pt x="1501" y="164"/>
                                    <a:pt x="1492" y="162"/>
                                  </a:cubicBezTo>
                                  <a:cubicBezTo>
                                    <a:pt x="1483" y="161"/>
                                    <a:pt x="1480" y="156"/>
                                    <a:pt x="1477" y="155"/>
                                  </a:cubicBezTo>
                                  <a:cubicBezTo>
                                    <a:pt x="1474" y="155"/>
                                    <a:pt x="1470" y="157"/>
                                    <a:pt x="1467" y="159"/>
                                  </a:cubicBezTo>
                                  <a:cubicBezTo>
                                    <a:pt x="1463" y="162"/>
                                    <a:pt x="1460" y="159"/>
                                    <a:pt x="1458" y="155"/>
                                  </a:cubicBezTo>
                                  <a:cubicBezTo>
                                    <a:pt x="1456" y="151"/>
                                    <a:pt x="1450" y="146"/>
                                    <a:pt x="1448" y="141"/>
                                  </a:cubicBezTo>
                                  <a:cubicBezTo>
                                    <a:pt x="1446" y="136"/>
                                    <a:pt x="1440" y="134"/>
                                    <a:pt x="1437" y="136"/>
                                  </a:cubicBezTo>
                                  <a:cubicBezTo>
                                    <a:pt x="1433" y="139"/>
                                    <a:pt x="1436" y="143"/>
                                    <a:pt x="1431" y="143"/>
                                  </a:cubicBezTo>
                                  <a:cubicBezTo>
                                    <a:pt x="1427" y="143"/>
                                    <a:pt x="1421" y="138"/>
                                    <a:pt x="1414" y="137"/>
                                  </a:cubicBezTo>
                                  <a:cubicBezTo>
                                    <a:pt x="1408" y="136"/>
                                    <a:pt x="1403" y="138"/>
                                    <a:pt x="1397" y="137"/>
                                  </a:cubicBezTo>
                                  <a:cubicBezTo>
                                    <a:pt x="1391" y="137"/>
                                    <a:pt x="1388" y="136"/>
                                    <a:pt x="1384" y="137"/>
                                  </a:cubicBezTo>
                                  <a:cubicBezTo>
                                    <a:pt x="1381" y="139"/>
                                    <a:pt x="1375" y="144"/>
                                    <a:pt x="1371" y="144"/>
                                  </a:cubicBezTo>
                                  <a:cubicBezTo>
                                    <a:pt x="1363" y="149"/>
                                    <a:pt x="1360" y="148"/>
                                    <a:pt x="1353" y="151"/>
                                  </a:cubicBezTo>
                                  <a:cubicBezTo>
                                    <a:pt x="1347" y="154"/>
                                    <a:pt x="1339" y="151"/>
                                    <a:pt x="1338" y="156"/>
                                  </a:cubicBezTo>
                                  <a:cubicBezTo>
                                    <a:pt x="1337" y="162"/>
                                    <a:pt x="1338" y="163"/>
                                    <a:pt x="1345" y="161"/>
                                  </a:cubicBezTo>
                                  <a:cubicBezTo>
                                    <a:pt x="1353" y="162"/>
                                    <a:pt x="1375" y="166"/>
                                    <a:pt x="1377" y="171"/>
                                  </a:cubicBezTo>
                                  <a:cubicBezTo>
                                    <a:pt x="1378" y="176"/>
                                    <a:pt x="1368" y="176"/>
                                    <a:pt x="1364" y="176"/>
                                  </a:cubicBezTo>
                                  <a:close/>
                                  <a:moveTo>
                                    <a:pt x="1589" y="1374"/>
                                  </a:moveTo>
                                  <a:cubicBezTo>
                                    <a:pt x="1585" y="1371"/>
                                    <a:pt x="1584" y="1372"/>
                                    <a:pt x="1575" y="1369"/>
                                  </a:cubicBezTo>
                                  <a:cubicBezTo>
                                    <a:pt x="1566" y="1367"/>
                                    <a:pt x="1567" y="1362"/>
                                    <a:pt x="1561" y="1359"/>
                                  </a:cubicBezTo>
                                  <a:cubicBezTo>
                                    <a:pt x="1556" y="1357"/>
                                    <a:pt x="1557" y="1359"/>
                                    <a:pt x="1549" y="1358"/>
                                  </a:cubicBezTo>
                                  <a:cubicBezTo>
                                    <a:pt x="1540" y="1356"/>
                                    <a:pt x="1533" y="1360"/>
                                    <a:pt x="1536" y="1365"/>
                                  </a:cubicBezTo>
                                  <a:cubicBezTo>
                                    <a:pt x="1539" y="1369"/>
                                    <a:pt x="1538" y="1367"/>
                                    <a:pt x="1546" y="1373"/>
                                  </a:cubicBezTo>
                                  <a:cubicBezTo>
                                    <a:pt x="1553" y="1379"/>
                                    <a:pt x="1560" y="1387"/>
                                    <a:pt x="1562" y="1392"/>
                                  </a:cubicBezTo>
                                  <a:cubicBezTo>
                                    <a:pt x="1564" y="1396"/>
                                    <a:pt x="1565" y="1392"/>
                                    <a:pt x="1572" y="1398"/>
                                  </a:cubicBezTo>
                                  <a:cubicBezTo>
                                    <a:pt x="1579" y="1404"/>
                                    <a:pt x="1587" y="1406"/>
                                    <a:pt x="1585" y="1400"/>
                                  </a:cubicBezTo>
                                  <a:cubicBezTo>
                                    <a:pt x="1584" y="1393"/>
                                    <a:pt x="1579" y="1392"/>
                                    <a:pt x="1584" y="1386"/>
                                  </a:cubicBezTo>
                                  <a:cubicBezTo>
                                    <a:pt x="1588" y="1380"/>
                                    <a:pt x="1593" y="1378"/>
                                    <a:pt x="1589" y="1374"/>
                                  </a:cubicBezTo>
                                  <a:close/>
                                  <a:moveTo>
                                    <a:pt x="1924" y="222"/>
                                  </a:moveTo>
                                  <a:cubicBezTo>
                                    <a:pt x="1932" y="225"/>
                                    <a:pt x="1929" y="220"/>
                                    <a:pt x="1943" y="220"/>
                                  </a:cubicBezTo>
                                  <a:cubicBezTo>
                                    <a:pt x="1957" y="221"/>
                                    <a:pt x="1963" y="222"/>
                                    <a:pt x="1960" y="218"/>
                                  </a:cubicBezTo>
                                  <a:cubicBezTo>
                                    <a:pt x="1957" y="214"/>
                                    <a:pt x="1951" y="215"/>
                                    <a:pt x="1942" y="209"/>
                                  </a:cubicBezTo>
                                  <a:cubicBezTo>
                                    <a:pt x="1932" y="204"/>
                                    <a:pt x="1937" y="198"/>
                                    <a:pt x="1919" y="201"/>
                                  </a:cubicBezTo>
                                  <a:cubicBezTo>
                                    <a:pt x="1900" y="204"/>
                                    <a:pt x="1897" y="204"/>
                                    <a:pt x="1886" y="202"/>
                                  </a:cubicBezTo>
                                  <a:cubicBezTo>
                                    <a:pt x="1874" y="200"/>
                                    <a:pt x="1877" y="196"/>
                                    <a:pt x="1866" y="198"/>
                                  </a:cubicBezTo>
                                  <a:cubicBezTo>
                                    <a:pt x="1854" y="199"/>
                                    <a:pt x="1831" y="195"/>
                                    <a:pt x="1832" y="200"/>
                                  </a:cubicBezTo>
                                  <a:cubicBezTo>
                                    <a:pt x="1834" y="213"/>
                                    <a:pt x="1836" y="211"/>
                                    <a:pt x="1841" y="221"/>
                                  </a:cubicBezTo>
                                  <a:cubicBezTo>
                                    <a:pt x="1845" y="231"/>
                                    <a:pt x="1836" y="226"/>
                                    <a:pt x="1848" y="236"/>
                                  </a:cubicBezTo>
                                  <a:cubicBezTo>
                                    <a:pt x="1860" y="246"/>
                                    <a:pt x="1862" y="248"/>
                                    <a:pt x="1868" y="248"/>
                                  </a:cubicBezTo>
                                  <a:cubicBezTo>
                                    <a:pt x="1875" y="248"/>
                                    <a:pt x="1884" y="242"/>
                                    <a:pt x="1888" y="240"/>
                                  </a:cubicBezTo>
                                  <a:cubicBezTo>
                                    <a:pt x="1893" y="238"/>
                                    <a:pt x="1899" y="236"/>
                                    <a:pt x="1904" y="238"/>
                                  </a:cubicBezTo>
                                  <a:cubicBezTo>
                                    <a:pt x="1910" y="239"/>
                                    <a:pt x="1915" y="241"/>
                                    <a:pt x="1913" y="236"/>
                                  </a:cubicBezTo>
                                  <a:cubicBezTo>
                                    <a:pt x="1911" y="231"/>
                                    <a:pt x="1904" y="230"/>
                                    <a:pt x="1907" y="226"/>
                                  </a:cubicBezTo>
                                  <a:cubicBezTo>
                                    <a:pt x="1909" y="222"/>
                                    <a:pt x="1916" y="220"/>
                                    <a:pt x="1924" y="222"/>
                                  </a:cubicBezTo>
                                  <a:close/>
                                  <a:moveTo>
                                    <a:pt x="2131" y="41"/>
                                  </a:moveTo>
                                  <a:cubicBezTo>
                                    <a:pt x="2138" y="43"/>
                                    <a:pt x="2141" y="45"/>
                                    <a:pt x="2143" y="42"/>
                                  </a:cubicBezTo>
                                  <a:cubicBezTo>
                                    <a:pt x="2146" y="40"/>
                                    <a:pt x="2140" y="39"/>
                                    <a:pt x="2137" y="38"/>
                                  </a:cubicBezTo>
                                  <a:cubicBezTo>
                                    <a:pt x="2133" y="37"/>
                                    <a:pt x="2127" y="25"/>
                                    <a:pt x="2124" y="34"/>
                                  </a:cubicBezTo>
                                  <a:cubicBezTo>
                                    <a:pt x="2125" y="39"/>
                                    <a:pt x="2124" y="40"/>
                                    <a:pt x="2131" y="41"/>
                                  </a:cubicBezTo>
                                  <a:close/>
                                  <a:moveTo>
                                    <a:pt x="2630" y="1164"/>
                                  </a:moveTo>
                                  <a:cubicBezTo>
                                    <a:pt x="2641" y="1161"/>
                                    <a:pt x="2641" y="1156"/>
                                    <a:pt x="2649" y="1156"/>
                                  </a:cubicBezTo>
                                  <a:cubicBezTo>
                                    <a:pt x="2657" y="1156"/>
                                    <a:pt x="2657" y="1158"/>
                                    <a:pt x="2666" y="1159"/>
                                  </a:cubicBezTo>
                                  <a:cubicBezTo>
                                    <a:pt x="2675" y="1161"/>
                                    <a:pt x="2679" y="1156"/>
                                    <a:pt x="2686" y="1153"/>
                                  </a:cubicBezTo>
                                  <a:cubicBezTo>
                                    <a:pt x="2693" y="1149"/>
                                    <a:pt x="2702" y="1147"/>
                                    <a:pt x="2714" y="1150"/>
                                  </a:cubicBezTo>
                                  <a:cubicBezTo>
                                    <a:pt x="2725" y="1153"/>
                                    <a:pt x="2738" y="1149"/>
                                    <a:pt x="2735" y="1141"/>
                                  </a:cubicBezTo>
                                  <a:cubicBezTo>
                                    <a:pt x="2733" y="1134"/>
                                    <a:pt x="2733" y="1128"/>
                                    <a:pt x="2725" y="1129"/>
                                  </a:cubicBezTo>
                                  <a:cubicBezTo>
                                    <a:pt x="2716" y="1131"/>
                                    <a:pt x="2714" y="1137"/>
                                    <a:pt x="2708" y="1131"/>
                                  </a:cubicBezTo>
                                  <a:cubicBezTo>
                                    <a:pt x="2702" y="1125"/>
                                    <a:pt x="2698" y="1118"/>
                                    <a:pt x="2702" y="1115"/>
                                  </a:cubicBezTo>
                                  <a:cubicBezTo>
                                    <a:pt x="2706" y="1111"/>
                                    <a:pt x="2712" y="1108"/>
                                    <a:pt x="2703" y="1106"/>
                                  </a:cubicBezTo>
                                  <a:cubicBezTo>
                                    <a:pt x="2694" y="1103"/>
                                    <a:pt x="2697" y="1105"/>
                                    <a:pt x="2689" y="1103"/>
                                  </a:cubicBezTo>
                                  <a:cubicBezTo>
                                    <a:pt x="2681" y="1101"/>
                                    <a:pt x="2673" y="1104"/>
                                    <a:pt x="2669" y="1111"/>
                                  </a:cubicBezTo>
                                  <a:cubicBezTo>
                                    <a:pt x="2662" y="1116"/>
                                    <a:pt x="2663" y="1116"/>
                                    <a:pt x="2651" y="1118"/>
                                  </a:cubicBezTo>
                                  <a:cubicBezTo>
                                    <a:pt x="2639" y="1120"/>
                                    <a:pt x="2635" y="1115"/>
                                    <a:pt x="2633" y="1125"/>
                                  </a:cubicBezTo>
                                  <a:cubicBezTo>
                                    <a:pt x="2632" y="1135"/>
                                    <a:pt x="2632" y="1132"/>
                                    <a:pt x="2632" y="1141"/>
                                  </a:cubicBezTo>
                                  <a:cubicBezTo>
                                    <a:pt x="2632" y="1150"/>
                                    <a:pt x="2625" y="1147"/>
                                    <a:pt x="2625" y="1154"/>
                                  </a:cubicBezTo>
                                  <a:cubicBezTo>
                                    <a:pt x="2624" y="1161"/>
                                    <a:pt x="2619" y="1167"/>
                                    <a:pt x="2630" y="1164"/>
                                  </a:cubicBezTo>
                                  <a:close/>
                                  <a:moveTo>
                                    <a:pt x="2182" y="33"/>
                                  </a:moveTo>
                                  <a:cubicBezTo>
                                    <a:pt x="2186" y="34"/>
                                    <a:pt x="2202" y="39"/>
                                    <a:pt x="2213" y="38"/>
                                  </a:cubicBezTo>
                                  <a:cubicBezTo>
                                    <a:pt x="2223" y="36"/>
                                    <a:pt x="2230" y="38"/>
                                    <a:pt x="2236" y="37"/>
                                  </a:cubicBezTo>
                                  <a:cubicBezTo>
                                    <a:pt x="2242" y="36"/>
                                    <a:pt x="2241" y="30"/>
                                    <a:pt x="2239" y="27"/>
                                  </a:cubicBezTo>
                                  <a:cubicBezTo>
                                    <a:pt x="2236" y="23"/>
                                    <a:pt x="2231" y="26"/>
                                    <a:pt x="2224" y="26"/>
                                  </a:cubicBezTo>
                                  <a:cubicBezTo>
                                    <a:pt x="2217" y="26"/>
                                    <a:pt x="2211" y="27"/>
                                    <a:pt x="2198" y="25"/>
                                  </a:cubicBezTo>
                                  <a:cubicBezTo>
                                    <a:pt x="2180" y="26"/>
                                    <a:pt x="2162" y="24"/>
                                    <a:pt x="2166" y="28"/>
                                  </a:cubicBezTo>
                                  <a:cubicBezTo>
                                    <a:pt x="2170" y="33"/>
                                    <a:pt x="2178" y="31"/>
                                    <a:pt x="2182" y="33"/>
                                  </a:cubicBezTo>
                                  <a:close/>
                                  <a:moveTo>
                                    <a:pt x="2214" y="126"/>
                                  </a:moveTo>
                                  <a:cubicBezTo>
                                    <a:pt x="2207" y="124"/>
                                    <a:pt x="2200" y="122"/>
                                    <a:pt x="2194" y="135"/>
                                  </a:cubicBezTo>
                                  <a:cubicBezTo>
                                    <a:pt x="2190" y="138"/>
                                    <a:pt x="2189" y="137"/>
                                    <a:pt x="2183" y="140"/>
                                  </a:cubicBezTo>
                                  <a:cubicBezTo>
                                    <a:pt x="2176" y="143"/>
                                    <a:pt x="2172" y="141"/>
                                    <a:pt x="2174" y="146"/>
                                  </a:cubicBezTo>
                                  <a:cubicBezTo>
                                    <a:pt x="2177" y="152"/>
                                    <a:pt x="2176" y="152"/>
                                    <a:pt x="2184" y="154"/>
                                  </a:cubicBezTo>
                                  <a:cubicBezTo>
                                    <a:pt x="2192" y="156"/>
                                    <a:pt x="2194" y="156"/>
                                    <a:pt x="2199" y="161"/>
                                  </a:cubicBezTo>
                                  <a:cubicBezTo>
                                    <a:pt x="2204" y="165"/>
                                    <a:pt x="2205" y="170"/>
                                    <a:pt x="2211" y="167"/>
                                  </a:cubicBezTo>
                                  <a:cubicBezTo>
                                    <a:pt x="2218" y="164"/>
                                    <a:pt x="2224" y="165"/>
                                    <a:pt x="2234" y="161"/>
                                  </a:cubicBezTo>
                                  <a:cubicBezTo>
                                    <a:pt x="2244" y="157"/>
                                    <a:pt x="2243" y="155"/>
                                    <a:pt x="2257" y="154"/>
                                  </a:cubicBezTo>
                                  <a:cubicBezTo>
                                    <a:pt x="2271" y="153"/>
                                    <a:pt x="2277" y="149"/>
                                    <a:pt x="2290" y="147"/>
                                  </a:cubicBezTo>
                                  <a:cubicBezTo>
                                    <a:pt x="2303" y="144"/>
                                    <a:pt x="2309" y="142"/>
                                    <a:pt x="2318" y="139"/>
                                  </a:cubicBezTo>
                                  <a:cubicBezTo>
                                    <a:pt x="2328" y="137"/>
                                    <a:pt x="2347" y="140"/>
                                    <a:pt x="2349" y="135"/>
                                  </a:cubicBezTo>
                                  <a:cubicBezTo>
                                    <a:pt x="2351" y="130"/>
                                    <a:pt x="2346" y="126"/>
                                    <a:pt x="2343" y="120"/>
                                  </a:cubicBezTo>
                                  <a:cubicBezTo>
                                    <a:pt x="2339" y="113"/>
                                    <a:pt x="2343" y="110"/>
                                    <a:pt x="2337" y="105"/>
                                  </a:cubicBezTo>
                                  <a:cubicBezTo>
                                    <a:pt x="2330" y="100"/>
                                    <a:pt x="2321" y="101"/>
                                    <a:pt x="2313" y="99"/>
                                  </a:cubicBezTo>
                                  <a:cubicBezTo>
                                    <a:pt x="2304" y="98"/>
                                    <a:pt x="2302" y="93"/>
                                    <a:pt x="2292" y="95"/>
                                  </a:cubicBezTo>
                                  <a:cubicBezTo>
                                    <a:pt x="2283" y="97"/>
                                    <a:pt x="2273" y="96"/>
                                    <a:pt x="2272" y="104"/>
                                  </a:cubicBezTo>
                                  <a:cubicBezTo>
                                    <a:pt x="2272" y="112"/>
                                    <a:pt x="2272" y="119"/>
                                    <a:pt x="2268" y="122"/>
                                  </a:cubicBezTo>
                                  <a:cubicBezTo>
                                    <a:pt x="2263" y="125"/>
                                    <a:pt x="2262" y="126"/>
                                    <a:pt x="2248" y="125"/>
                                  </a:cubicBezTo>
                                  <a:cubicBezTo>
                                    <a:pt x="2235" y="125"/>
                                    <a:pt x="2221" y="128"/>
                                    <a:pt x="2214" y="126"/>
                                  </a:cubicBezTo>
                                  <a:close/>
                                  <a:moveTo>
                                    <a:pt x="1091" y="181"/>
                                  </a:moveTo>
                                  <a:cubicBezTo>
                                    <a:pt x="1104" y="186"/>
                                    <a:pt x="1108" y="188"/>
                                    <a:pt x="1112" y="190"/>
                                  </a:cubicBezTo>
                                  <a:cubicBezTo>
                                    <a:pt x="1117" y="192"/>
                                    <a:pt x="1119" y="190"/>
                                    <a:pt x="1127" y="187"/>
                                  </a:cubicBezTo>
                                  <a:cubicBezTo>
                                    <a:pt x="1135" y="185"/>
                                    <a:pt x="1146" y="179"/>
                                    <a:pt x="1150" y="184"/>
                                  </a:cubicBezTo>
                                  <a:cubicBezTo>
                                    <a:pt x="1155" y="188"/>
                                    <a:pt x="1154" y="191"/>
                                    <a:pt x="1153" y="195"/>
                                  </a:cubicBezTo>
                                  <a:cubicBezTo>
                                    <a:pt x="1152" y="200"/>
                                    <a:pt x="1152" y="202"/>
                                    <a:pt x="1158" y="202"/>
                                  </a:cubicBezTo>
                                  <a:cubicBezTo>
                                    <a:pt x="1164" y="202"/>
                                    <a:pt x="1169" y="203"/>
                                    <a:pt x="1174" y="199"/>
                                  </a:cubicBezTo>
                                  <a:cubicBezTo>
                                    <a:pt x="1179" y="195"/>
                                    <a:pt x="1177" y="190"/>
                                    <a:pt x="1182" y="188"/>
                                  </a:cubicBezTo>
                                  <a:cubicBezTo>
                                    <a:pt x="1187" y="186"/>
                                    <a:pt x="1196" y="187"/>
                                    <a:pt x="1201" y="186"/>
                                  </a:cubicBezTo>
                                  <a:cubicBezTo>
                                    <a:pt x="1205" y="186"/>
                                    <a:pt x="1207" y="185"/>
                                    <a:pt x="1210" y="181"/>
                                  </a:cubicBezTo>
                                  <a:cubicBezTo>
                                    <a:pt x="1213" y="177"/>
                                    <a:pt x="1216" y="172"/>
                                    <a:pt x="1224" y="176"/>
                                  </a:cubicBezTo>
                                  <a:cubicBezTo>
                                    <a:pt x="1231" y="179"/>
                                    <a:pt x="1231" y="185"/>
                                    <a:pt x="1236" y="181"/>
                                  </a:cubicBezTo>
                                  <a:cubicBezTo>
                                    <a:pt x="1240" y="176"/>
                                    <a:pt x="1240" y="169"/>
                                    <a:pt x="1243" y="166"/>
                                  </a:cubicBezTo>
                                  <a:cubicBezTo>
                                    <a:pt x="1246" y="162"/>
                                    <a:pt x="1245" y="153"/>
                                    <a:pt x="1254" y="158"/>
                                  </a:cubicBezTo>
                                  <a:cubicBezTo>
                                    <a:pt x="1263" y="162"/>
                                    <a:pt x="1266" y="165"/>
                                    <a:pt x="1273" y="169"/>
                                  </a:cubicBezTo>
                                  <a:cubicBezTo>
                                    <a:pt x="1281" y="173"/>
                                    <a:pt x="1279" y="173"/>
                                    <a:pt x="1290" y="173"/>
                                  </a:cubicBezTo>
                                  <a:cubicBezTo>
                                    <a:pt x="1301" y="173"/>
                                    <a:pt x="1309" y="177"/>
                                    <a:pt x="1311" y="173"/>
                                  </a:cubicBezTo>
                                  <a:cubicBezTo>
                                    <a:pt x="1313" y="169"/>
                                    <a:pt x="1314" y="167"/>
                                    <a:pt x="1309" y="162"/>
                                  </a:cubicBezTo>
                                  <a:cubicBezTo>
                                    <a:pt x="1305" y="157"/>
                                    <a:pt x="1312" y="154"/>
                                    <a:pt x="1298" y="153"/>
                                  </a:cubicBezTo>
                                  <a:cubicBezTo>
                                    <a:pt x="1284" y="152"/>
                                    <a:pt x="1275" y="150"/>
                                    <a:pt x="1266" y="148"/>
                                  </a:cubicBezTo>
                                  <a:cubicBezTo>
                                    <a:pt x="1257" y="145"/>
                                    <a:pt x="1255" y="144"/>
                                    <a:pt x="1241" y="143"/>
                                  </a:cubicBezTo>
                                  <a:cubicBezTo>
                                    <a:pt x="1227" y="143"/>
                                    <a:pt x="1224" y="140"/>
                                    <a:pt x="1221" y="143"/>
                                  </a:cubicBezTo>
                                  <a:cubicBezTo>
                                    <a:pt x="1217" y="145"/>
                                    <a:pt x="1200" y="149"/>
                                    <a:pt x="1191" y="151"/>
                                  </a:cubicBezTo>
                                  <a:cubicBezTo>
                                    <a:pt x="1179" y="157"/>
                                    <a:pt x="1165" y="155"/>
                                    <a:pt x="1156" y="159"/>
                                  </a:cubicBezTo>
                                  <a:cubicBezTo>
                                    <a:pt x="1146" y="163"/>
                                    <a:pt x="1138" y="165"/>
                                    <a:pt x="1122" y="169"/>
                                  </a:cubicBezTo>
                                  <a:cubicBezTo>
                                    <a:pt x="1106" y="172"/>
                                    <a:pt x="1097" y="172"/>
                                    <a:pt x="1092" y="174"/>
                                  </a:cubicBezTo>
                                  <a:cubicBezTo>
                                    <a:pt x="1087" y="176"/>
                                    <a:pt x="1078" y="175"/>
                                    <a:pt x="1091" y="181"/>
                                  </a:cubicBezTo>
                                  <a:close/>
                                  <a:moveTo>
                                    <a:pt x="5298" y="993"/>
                                  </a:moveTo>
                                  <a:cubicBezTo>
                                    <a:pt x="5286" y="992"/>
                                    <a:pt x="5285" y="993"/>
                                    <a:pt x="5274" y="992"/>
                                  </a:cubicBezTo>
                                  <a:cubicBezTo>
                                    <a:pt x="5263" y="991"/>
                                    <a:pt x="5267" y="991"/>
                                    <a:pt x="5260" y="987"/>
                                  </a:cubicBezTo>
                                  <a:cubicBezTo>
                                    <a:pt x="5247" y="984"/>
                                    <a:pt x="5246" y="987"/>
                                    <a:pt x="5241" y="987"/>
                                  </a:cubicBezTo>
                                  <a:cubicBezTo>
                                    <a:pt x="5237" y="987"/>
                                    <a:pt x="5232" y="989"/>
                                    <a:pt x="5230" y="991"/>
                                  </a:cubicBezTo>
                                  <a:cubicBezTo>
                                    <a:pt x="5228" y="993"/>
                                    <a:pt x="5228" y="1000"/>
                                    <a:pt x="5227" y="1004"/>
                                  </a:cubicBezTo>
                                  <a:cubicBezTo>
                                    <a:pt x="5225" y="1007"/>
                                    <a:pt x="5220" y="1009"/>
                                    <a:pt x="5215" y="1008"/>
                                  </a:cubicBezTo>
                                  <a:cubicBezTo>
                                    <a:pt x="5210" y="1007"/>
                                    <a:pt x="5205" y="1013"/>
                                    <a:pt x="5208" y="1015"/>
                                  </a:cubicBezTo>
                                  <a:cubicBezTo>
                                    <a:pt x="5212" y="1018"/>
                                    <a:pt x="5218" y="1023"/>
                                    <a:pt x="5223" y="1025"/>
                                  </a:cubicBezTo>
                                  <a:cubicBezTo>
                                    <a:pt x="5227" y="1028"/>
                                    <a:pt x="5236" y="1029"/>
                                    <a:pt x="5243" y="1029"/>
                                  </a:cubicBezTo>
                                  <a:cubicBezTo>
                                    <a:pt x="5250" y="1030"/>
                                    <a:pt x="5257" y="1034"/>
                                    <a:pt x="5263" y="1036"/>
                                  </a:cubicBezTo>
                                  <a:cubicBezTo>
                                    <a:pt x="5268" y="1038"/>
                                    <a:pt x="5277" y="1037"/>
                                    <a:pt x="5278" y="1034"/>
                                  </a:cubicBezTo>
                                  <a:cubicBezTo>
                                    <a:pt x="5279" y="1032"/>
                                    <a:pt x="5281" y="1028"/>
                                    <a:pt x="5283" y="1021"/>
                                  </a:cubicBezTo>
                                  <a:cubicBezTo>
                                    <a:pt x="5285" y="1014"/>
                                    <a:pt x="5299" y="1012"/>
                                    <a:pt x="5310" y="1009"/>
                                  </a:cubicBezTo>
                                  <a:cubicBezTo>
                                    <a:pt x="5322" y="1007"/>
                                    <a:pt x="5320" y="1004"/>
                                    <a:pt x="5318" y="998"/>
                                  </a:cubicBezTo>
                                  <a:cubicBezTo>
                                    <a:pt x="5316" y="993"/>
                                    <a:pt x="5309" y="995"/>
                                    <a:pt x="5298" y="993"/>
                                  </a:cubicBezTo>
                                  <a:close/>
                                  <a:moveTo>
                                    <a:pt x="3620" y="970"/>
                                  </a:moveTo>
                                  <a:cubicBezTo>
                                    <a:pt x="3626" y="970"/>
                                    <a:pt x="3632" y="973"/>
                                    <a:pt x="3638" y="973"/>
                                  </a:cubicBezTo>
                                  <a:cubicBezTo>
                                    <a:pt x="3644" y="974"/>
                                    <a:pt x="3648" y="974"/>
                                    <a:pt x="3652" y="972"/>
                                  </a:cubicBezTo>
                                  <a:cubicBezTo>
                                    <a:pt x="3655" y="969"/>
                                    <a:pt x="3653" y="967"/>
                                    <a:pt x="3652" y="965"/>
                                  </a:cubicBezTo>
                                  <a:cubicBezTo>
                                    <a:pt x="3651" y="962"/>
                                    <a:pt x="3647" y="963"/>
                                    <a:pt x="3640" y="961"/>
                                  </a:cubicBezTo>
                                  <a:cubicBezTo>
                                    <a:pt x="3632" y="959"/>
                                    <a:pt x="3634" y="959"/>
                                    <a:pt x="3628" y="952"/>
                                  </a:cubicBezTo>
                                  <a:cubicBezTo>
                                    <a:pt x="3626" y="949"/>
                                    <a:pt x="3622" y="951"/>
                                    <a:pt x="3622" y="954"/>
                                  </a:cubicBezTo>
                                  <a:cubicBezTo>
                                    <a:pt x="3622" y="956"/>
                                    <a:pt x="3621" y="956"/>
                                    <a:pt x="3616" y="961"/>
                                  </a:cubicBezTo>
                                  <a:cubicBezTo>
                                    <a:pt x="3612" y="966"/>
                                    <a:pt x="3607" y="966"/>
                                    <a:pt x="3609" y="970"/>
                                  </a:cubicBezTo>
                                  <a:cubicBezTo>
                                    <a:pt x="3611" y="974"/>
                                    <a:pt x="3615" y="970"/>
                                    <a:pt x="3620" y="970"/>
                                  </a:cubicBezTo>
                                  <a:close/>
                                  <a:moveTo>
                                    <a:pt x="3577" y="960"/>
                                  </a:moveTo>
                                  <a:cubicBezTo>
                                    <a:pt x="3581" y="960"/>
                                    <a:pt x="3584" y="959"/>
                                    <a:pt x="3590" y="959"/>
                                  </a:cubicBezTo>
                                  <a:cubicBezTo>
                                    <a:pt x="3595" y="959"/>
                                    <a:pt x="3599" y="961"/>
                                    <a:pt x="3599" y="958"/>
                                  </a:cubicBezTo>
                                  <a:cubicBezTo>
                                    <a:pt x="3599" y="955"/>
                                    <a:pt x="3597" y="956"/>
                                    <a:pt x="3594" y="954"/>
                                  </a:cubicBezTo>
                                  <a:cubicBezTo>
                                    <a:pt x="3591" y="951"/>
                                    <a:pt x="3586" y="949"/>
                                    <a:pt x="3582" y="952"/>
                                  </a:cubicBezTo>
                                  <a:cubicBezTo>
                                    <a:pt x="3580" y="953"/>
                                    <a:pt x="3582" y="953"/>
                                    <a:pt x="3578" y="954"/>
                                  </a:cubicBezTo>
                                  <a:cubicBezTo>
                                    <a:pt x="3575" y="956"/>
                                    <a:pt x="3574" y="953"/>
                                    <a:pt x="3573" y="956"/>
                                  </a:cubicBezTo>
                                  <a:cubicBezTo>
                                    <a:pt x="3573" y="960"/>
                                    <a:pt x="3572" y="960"/>
                                    <a:pt x="3577" y="960"/>
                                  </a:cubicBezTo>
                                  <a:close/>
                                  <a:moveTo>
                                    <a:pt x="3884" y="111"/>
                                  </a:moveTo>
                                  <a:cubicBezTo>
                                    <a:pt x="3888" y="110"/>
                                    <a:pt x="3894" y="110"/>
                                    <a:pt x="3901" y="107"/>
                                  </a:cubicBezTo>
                                  <a:cubicBezTo>
                                    <a:pt x="3916" y="105"/>
                                    <a:pt x="3916" y="103"/>
                                    <a:pt x="3924" y="103"/>
                                  </a:cubicBezTo>
                                  <a:cubicBezTo>
                                    <a:pt x="3932" y="103"/>
                                    <a:pt x="3938" y="102"/>
                                    <a:pt x="3947" y="105"/>
                                  </a:cubicBezTo>
                                  <a:cubicBezTo>
                                    <a:pt x="3957" y="107"/>
                                    <a:pt x="3959" y="108"/>
                                    <a:pt x="3959" y="104"/>
                                  </a:cubicBezTo>
                                  <a:cubicBezTo>
                                    <a:pt x="3959" y="99"/>
                                    <a:pt x="3954" y="97"/>
                                    <a:pt x="3946" y="96"/>
                                  </a:cubicBezTo>
                                  <a:cubicBezTo>
                                    <a:pt x="3938" y="94"/>
                                    <a:pt x="3933" y="90"/>
                                    <a:pt x="3922" y="92"/>
                                  </a:cubicBezTo>
                                  <a:cubicBezTo>
                                    <a:pt x="3911" y="95"/>
                                    <a:pt x="3902" y="96"/>
                                    <a:pt x="3895" y="96"/>
                                  </a:cubicBezTo>
                                  <a:cubicBezTo>
                                    <a:pt x="3888" y="96"/>
                                    <a:pt x="3870" y="95"/>
                                    <a:pt x="3870" y="95"/>
                                  </a:cubicBezTo>
                                  <a:cubicBezTo>
                                    <a:pt x="3870" y="95"/>
                                    <a:pt x="3863" y="99"/>
                                    <a:pt x="3867" y="104"/>
                                  </a:cubicBezTo>
                                  <a:cubicBezTo>
                                    <a:pt x="3872" y="108"/>
                                    <a:pt x="3880" y="111"/>
                                    <a:pt x="3884" y="111"/>
                                  </a:cubicBezTo>
                                  <a:close/>
                                  <a:moveTo>
                                    <a:pt x="4463" y="518"/>
                                  </a:moveTo>
                                  <a:cubicBezTo>
                                    <a:pt x="4455" y="524"/>
                                    <a:pt x="4450" y="534"/>
                                    <a:pt x="4458" y="539"/>
                                  </a:cubicBezTo>
                                  <a:cubicBezTo>
                                    <a:pt x="4466" y="545"/>
                                    <a:pt x="4470" y="546"/>
                                    <a:pt x="4481" y="546"/>
                                  </a:cubicBezTo>
                                  <a:cubicBezTo>
                                    <a:pt x="4492" y="546"/>
                                    <a:pt x="4502" y="545"/>
                                    <a:pt x="4517" y="536"/>
                                  </a:cubicBezTo>
                                  <a:cubicBezTo>
                                    <a:pt x="4532" y="527"/>
                                    <a:pt x="4542" y="521"/>
                                    <a:pt x="4553" y="517"/>
                                  </a:cubicBezTo>
                                  <a:cubicBezTo>
                                    <a:pt x="4564" y="512"/>
                                    <a:pt x="4590" y="511"/>
                                    <a:pt x="4599" y="511"/>
                                  </a:cubicBezTo>
                                  <a:cubicBezTo>
                                    <a:pt x="4609" y="511"/>
                                    <a:pt x="4628" y="509"/>
                                    <a:pt x="4633" y="512"/>
                                  </a:cubicBezTo>
                                  <a:cubicBezTo>
                                    <a:pt x="4639" y="514"/>
                                    <a:pt x="4641" y="508"/>
                                    <a:pt x="4647" y="513"/>
                                  </a:cubicBezTo>
                                  <a:cubicBezTo>
                                    <a:pt x="4653" y="518"/>
                                    <a:pt x="4663" y="521"/>
                                    <a:pt x="4667" y="515"/>
                                  </a:cubicBezTo>
                                  <a:cubicBezTo>
                                    <a:pt x="4671" y="510"/>
                                    <a:pt x="4669" y="503"/>
                                    <a:pt x="4679" y="503"/>
                                  </a:cubicBezTo>
                                  <a:cubicBezTo>
                                    <a:pt x="4688" y="503"/>
                                    <a:pt x="4699" y="501"/>
                                    <a:pt x="4715" y="501"/>
                                  </a:cubicBezTo>
                                  <a:cubicBezTo>
                                    <a:pt x="4730" y="501"/>
                                    <a:pt x="4734" y="504"/>
                                    <a:pt x="4743" y="500"/>
                                  </a:cubicBezTo>
                                  <a:cubicBezTo>
                                    <a:pt x="4752" y="497"/>
                                    <a:pt x="4761" y="495"/>
                                    <a:pt x="4770" y="496"/>
                                  </a:cubicBezTo>
                                  <a:cubicBezTo>
                                    <a:pt x="4779" y="497"/>
                                    <a:pt x="4782" y="501"/>
                                    <a:pt x="4792" y="495"/>
                                  </a:cubicBezTo>
                                  <a:cubicBezTo>
                                    <a:pt x="4802" y="489"/>
                                    <a:pt x="4803" y="488"/>
                                    <a:pt x="4812" y="484"/>
                                  </a:cubicBezTo>
                                  <a:cubicBezTo>
                                    <a:pt x="4821" y="479"/>
                                    <a:pt x="4826" y="468"/>
                                    <a:pt x="4827" y="464"/>
                                  </a:cubicBezTo>
                                  <a:cubicBezTo>
                                    <a:pt x="4828" y="460"/>
                                    <a:pt x="4825" y="453"/>
                                    <a:pt x="4822" y="449"/>
                                  </a:cubicBezTo>
                                  <a:cubicBezTo>
                                    <a:pt x="4819" y="445"/>
                                    <a:pt x="4820" y="443"/>
                                    <a:pt x="4817" y="438"/>
                                  </a:cubicBezTo>
                                  <a:cubicBezTo>
                                    <a:pt x="4815" y="433"/>
                                    <a:pt x="4810" y="429"/>
                                    <a:pt x="4806" y="429"/>
                                  </a:cubicBezTo>
                                  <a:cubicBezTo>
                                    <a:pt x="4802" y="429"/>
                                    <a:pt x="4794" y="430"/>
                                    <a:pt x="4788" y="430"/>
                                  </a:cubicBezTo>
                                  <a:cubicBezTo>
                                    <a:pt x="4782" y="431"/>
                                    <a:pt x="4782" y="427"/>
                                    <a:pt x="4774" y="428"/>
                                  </a:cubicBezTo>
                                  <a:cubicBezTo>
                                    <a:pt x="4766" y="429"/>
                                    <a:pt x="4762" y="429"/>
                                    <a:pt x="4762" y="426"/>
                                  </a:cubicBezTo>
                                  <a:cubicBezTo>
                                    <a:pt x="4762" y="423"/>
                                    <a:pt x="4764" y="424"/>
                                    <a:pt x="4768" y="420"/>
                                  </a:cubicBezTo>
                                  <a:cubicBezTo>
                                    <a:pt x="4771" y="416"/>
                                    <a:pt x="4773" y="411"/>
                                    <a:pt x="4766" y="410"/>
                                  </a:cubicBezTo>
                                  <a:cubicBezTo>
                                    <a:pt x="4759" y="409"/>
                                    <a:pt x="4757" y="408"/>
                                    <a:pt x="4747" y="409"/>
                                  </a:cubicBezTo>
                                  <a:cubicBezTo>
                                    <a:pt x="4736" y="410"/>
                                    <a:pt x="4741" y="398"/>
                                    <a:pt x="4739" y="393"/>
                                  </a:cubicBezTo>
                                  <a:cubicBezTo>
                                    <a:pt x="4737" y="387"/>
                                    <a:pt x="4733" y="382"/>
                                    <a:pt x="4727" y="383"/>
                                  </a:cubicBezTo>
                                  <a:cubicBezTo>
                                    <a:pt x="4720" y="384"/>
                                    <a:pt x="4721" y="377"/>
                                    <a:pt x="4713" y="382"/>
                                  </a:cubicBezTo>
                                  <a:cubicBezTo>
                                    <a:pt x="4705" y="387"/>
                                    <a:pt x="4703" y="386"/>
                                    <a:pt x="4698" y="389"/>
                                  </a:cubicBezTo>
                                  <a:cubicBezTo>
                                    <a:pt x="4693" y="393"/>
                                    <a:pt x="4681" y="390"/>
                                    <a:pt x="4676" y="392"/>
                                  </a:cubicBezTo>
                                  <a:cubicBezTo>
                                    <a:pt x="4670" y="395"/>
                                    <a:pt x="4661" y="397"/>
                                    <a:pt x="4652" y="396"/>
                                  </a:cubicBezTo>
                                  <a:cubicBezTo>
                                    <a:pt x="4643" y="396"/>
                                    <a:pt x="4650" y="392"/>
                                    <a:pt x="4655" y="387"/>
                                  </a:cubicBezTo>
                                  <a:cubicBezTo>
                                    <a:pt x="4659" y="382"/>
                                    <a:pt x="4659" y="382"/>
                                    <a:pt x="4662" y="376"/>
                                  </a:cubicBezTo>
                                  <a:cubicBezTo>
                                    <a:pt x="4664" y="370"/>
                                    <a:pt x="4663" y="366"/>
                                    <a:pt x="4670" y="366"/>
                                  </a:cubicBezTo>
                                  <a:cubicBezTo>
                                    <a:pt x="4676" y="365"/>
                                    <a:pt x="4680" y="362"/>
                                    <a:pt x="4677" y="359"/>
                                  </a:cubicBezTo>
                                  <a:cubicBezTo>
                                    <a:pt x="4675" y="356"/>
                                    <a:pt x="4671" y="356"/>
                                    <a:pt x="4662" y="355"/>
                                  </a:cubicBezTo>
                                  <a:cubicBezTo>
                                    <a:pt x="4652" y="354"/>
                                    <a:pt x="4646" y="351"/>
                                    <a:pt x="4643" y="350"/>
                                  </a:cubicBezTo>
                                  <a:cubicBezTo>
                                    <a:pt x="4639" y="349"/>
                                    <a:pt x="4634" y="343"/>
                                    <a:pt x="4631" y="349"/>
                                  </a:cubicBezTo>
                                  <a:cubicBezTo>
                                    <a:pt x="4629" y="355"/>
                                    <a:pt x="4632" y="363"/>
                                    <a:pt x="4627" y="368"/>
                                  </a:cubicBezTo>
                                  <a:cubicBezTo>
                                    <a:pt x="4622" y="373"/>
                                    <a:pt x="4618" y="377"/>
                                    <a:pt x="4612" y="372"/>
                                  </a:cubicBezTo>
                                  <a:cubicBezTo>
                                    <a:pt x="4607" y="368"/>
                                    <a:pt x="4605" y="369"/>
                                    <a:pt x="4604" y="362"/>
                                  </a:cubicBezTo>
                                  <a:cubicBezTo>
                                    <a:pt x="4602" y="356"/>
                                    <a:pt x="4597" y="354"/>
                                    <a:pt x="4589" y="356"/>
                                  </a:cubicBezTo>
                                  <a:cubicBezTo>
                                    <a:pt x="4582" y="359"/>
                                    <a:pt x="4583" y="363"/>
                                    <a:pt x="4576" y="368"/>
                                  </a:cubicBezTo>
                                  <a:cubicBezTo>
                                    <a:pt x="4569" y="373"/>
                                    <a:pt x="4565" y="377"/>
                                    <a:pt x="4566" y="382"/>
                                  </a:cubicBezTo>
                                  <a:cubicBezTo>
                                    <a:pt x="4566" y="388"/>
                                    <a:pt x="4563" y="390"/>
                                    <a:pt x="4564" y="393"/>
                                  </a:cubicBezTo>
                                  <a:cubicBezTo>
                                    <a:pt x="4566" y="396"/>
                                    <a:pt x="4567" y="398"/>
                                    <a:pt x="4575" y="400"/>
                                  </a:cubicBezTo>
                                  <a:cubicBezTo>
                                    <a:pt x="4582" y="402"/>
                                    <a:pt x="4587" y="405"/>
                                    <a:pt x="4587" y="406"/>
                                  </a:cubicBezTo>
                                  <a:cubicBezTo>
                                    <a:pt x="4586" y="408"/>
                                    <a:pt x="4580" y="408"/>
                                    <a:pt x="4578" y="408"/>
                                  </a:cubicBezTo>
                                  <a:cubicBezTo>
                                    <a:pt x="4575" y="407"/>
                                    <a:pt x="4569" y="405"/>
                                    <a:pt x="4562" y="405"/>
                                  </a:cubicBezTo>
                                  <a:cubicBezTo>
                                    <a:pt x="4555" y="405"/>
                                    <a:pt x="4551" y="401"/>
                                    <a:pt x="4550" y="406"/>
                                  </a:cubicBezTo>
                                  <a:cubicBezTo>
                                    <a:pt x="4549" y="412"/>
                                    <a:pt x="4551" y="414"/>
                                    <a:pt x="4549" y="418"/>
                                  </a:cubicBezTo>
                                  <a:cubicBezTo>
                                    <a:pt x="4546" y="423"/>
                                    <a:pt x="4541" y="423"/>
                                    <a:pt x="4542" y="428"/>
                                  </a:cubicBezTo>
                                  <a:cubicBezTo>
                                    <a:pt x="4544" y="432"/>
                                    <a:pt x="4545" y="433"/>
                                    <a:pt x="4552" y="436"/>
                                  </a:cubicBezTo>
                                  <a:cubicBezTo>
                                    <a:pt x="4558" y="439"/>
                                    <a:pt x="4556" y="443"/>
                                    <a:pt x="4554" y="442"/>
                                  </a:cubicBezTo>
                                  <a:cubicBezTo>
                                    <a:pt x="4552" y="442"/>
                                    <a:pt x="4543" y="438"/>
                                    <a:pt x="4537" y="437"/>
                                  </a:cubicBezTo>
                                  <a:cubicBezTo>
                                    <a:pt x="4531" y="435"/>
                                    <a:pt x="4526" y="432"/>
                                    <a:pt x="4520" y="435"/>
                                  </a:cubicBezTo>
                                  <a:cubicBezTo>
                                    <a:pt x="4515" y="439"/>
                                    <a:pt x="4513" y="443"/>
                                    <a:pt x="4512" y="446"/>
                                  </a:cubicBezTo>
                                  <a:cubicBezTo>
                                    <a:pt x="4511" y="449"/>
                                    <a:pt x="4505" y="453"/>
                                    <a:pt x="4503" y="457"/>
                                  </a:cubicBezTo>
                                  <a:cubicBezTo>
                                    <a:pt x="4498" y="466"/>
                                    <a:pt x="4495" y="467"/>
                                    <a:pt x="4493" y="479"/>
                                  </a:cubicBezTo>
                                  <a:cubicBezTo>
                                    <a:pt x="4490" y="490"/>
                                    <a:pt x="4487" y="492"/>
                                    <a:pt x="4483" y="499"/>
                                  </a:cubicBezTo>
                                  <a:cubicBezTo>
                                    <a:pt x="4478" y="506"/>
                                    <a:pt x="4470" y="512"/>
                                    <a:pt x="4463" y="518"/>
                                  </a:cubicBezTo>
                                  <a:close/>
                                  <a:moveTo>
                                    <a:pt x="3966" y="222"/>
                                  </a:moveTo>
                                  <a:cubicBezTo>
                                    <a:pt x="3971" y="226"/>
                                    <a:pt x="3983" y="222"/>
                                    <a:pt x="3995" y="222"/>
                                  </a:cubicBezTo>
                                  <a:cubicBezTo>
                                    <a:pt x="4006" y="222"/>
                                    <a:pt x="4022" y="217"/>
                                    <a:pt x="4028" y="218"/>
                                  </a:cubicBezTo>
                                  <a:cubicBezTo>
                                    <a:pt x="4034" y="219"/>
                                    <a:pt x="4049" y="222"/>
                                    <a:pt x="4061" y="222"/>
                                  </a:cubicBezTo>
                                  <a:cubicBezTo>
                                    <a:pt x="4073" y="221"/>
                                    <a:pt x="4073" y="224"/>
                                    <a:pt x="4073" y="228"/>
                                  </a:cubicBezTo>
                                  <a:cubicBezTo>
                                    <a:pt x="4073" y="232"/>
                                    <a:pt x="4068" y="231"/>
                                    <a:pt x="4058" y="231"/>
                                  </a:cubicBezTo>
                                  <a:cubicBezTo>
                                    <a:pt x="4047" y="231"/>
                                    <a:pt x="4047" y="232"/>
                                    <a:pt x="4041" y="229"/>
                                  </a:cubicBezTo>
                                  <a:cubicBezTo>
                                    <a:pt x="4035" y="226"/>
                                    <a:pt x="4024" y="229"/>
                                    <a:pt x="4022" y="231"/>
                                  </a:cubicBezTo>
                                  <a:cubicBezTo>
                                    <a:pt x="4020" y="232"/>
                                    <a:pt x="4029" y="235"/>
                                    <a:pt x="4034" y="239"/>
                                  </a:cubicBezTo>
                                  <a:cubicBezTo>
                                    <a:pt x="4040" y="243"/>
                                    <a:pt x="4041" y="245"/>
                                    <a:pt x="4053" y="249"/>
                                  </a:cubicBezTo>
                                  <a:cubicBezTo>
                                    <a:pt x="4064" y="254"/>
                                    <a:pt x="4062" y="253"/>
                                    <a:pt x="4074" y="259"/>
                                  </a:cubicBezTo>
                                  <a:cubicBezTo>
                                    <a:pt x="4087" y="266"/>
                                    <a:pt x="4092" y="263"/>
                                    <a:pt x="4100" y="263"/>
                                  </a:cubicBezTo>
                                  <a:cubicBezTo>
                                    <a:pt x="4109" y="264"/>
                                    <a:pt x="4115" y="262"/>
                                    <a:pt x="4125" y="261"/>
                                  </a:cubicBezTo>
                                  <a:cubicBezTo>
                                    <a:pt x="4134" y="259"/>
                                    <a:pt x="4155" y="252"/>
                                    <a:pt x="4164" y="250"/>
                                  </a:cubicBezTo>
                                  <a:cubicBezTo>
                                    <a:pt x="4174" y="248"/>
                                    <a:pt x="4185" y="243"/>
                                    <a:pt x="4196" y="240"/>
                                  </a:cubicBezTo>
                                  <a:cubicBezTo>
                                    <a:pt x="4206" y="236"/>
                                    <a:pt x="4214" y="236"/>
                                    <a:pt x="4229" y="236"/>
                                  </a:cubicBezTo>
                                  <a:cubicBezTo>
                                    <a:pt x="4244" y="237"/>
                                    <a:pt x="4247" y="234"/>
                                    <a:pt x="4256" y="230"/>
                                  </a:cubicBezTo>
                                  <a:cubicBezTo>
                                    <a:pt x="4265" y="227"/>
                                    <a:pt x="4297" y="233"/>
                                    <a:pt x="4302" y="232"/>
                                  </a:cubicBezTo>
                                  <a:cubicBezTo>
                                    <a:pt x="4308" y="230"/>
                                    <a:pt x="4307" y="226"/>
                                    <a:pt x="4308" y="221"/>
                                  </a:cubicBezTo>
                                  <a:cubicBezTo>
                                    <a:pt x="4310" y="215"/>
                                    <a:pt x="4314" y="208"/>
                                    <a:pt x="4312" y="203"/>
                                  </a:cubicBezTo>
                                  <a:cubicBezTo>
                                    <a:pt x="4310" y="198"/>
                                    <a:pt x="4307" y="195"/>
                                    <a:pt x="4304" y="191"/>
                                  </a:cubicBezTo>
                                  <a:cubicBezTo>
                                    <a:pt x="4302" y="187"/>
                                    <a:pt x="4304" y="183"/>
                                    <a:pt x="4308" y="177"/>
                                  </a:cubicBezTo>
                                  <a:cubicBezTo>
                                    <a:pt x="4311" y="170"/>
                                    <a:pt x="4330" y="173"/>
                                    <a:pt x="4337" y="173"/>
                                  </a:cubicBezTo>
                                  <a:cubicBezTo>
                                    <a:pt x="4345" y="174"/>
                                    <a:pt x="4354" y="172"/>
                                    <a:pt x="4355" y="170"/>
                                  </a:cubicBezTo>
                                  <a:cubicBezTo>
                                    <a:pt x="4357" y="168"/>
                                    <a:pt x="4352" y="162"/>
                                    <a:pt x="4345" y="156"/>
                                  </a:cubicBezTo>
                                  <a:cubicBezTo>
                                    <a:pt x="4337" y="151"/>
                                    <a:pt x="4336" y="150"/>
                                    <a:pt x="4321" y="139"/>
                                  </a:cubicBezTo>
                                  <a:cubicBezTo>
                                    <a:pt x="4306" y="129"/>
                                    <a:pt x="4307" y="135"/>
                                    <a:pt x="4294" y="127"/>
                                  </a:cubicBezTo>
                                  <a:cubicBezTo>
                                    <a:pt x="4281" y="119"/>
                                    <a:pt x="4277" y="114"/>
                                    <a:pt x="4272" y="104"/>
                                  </a:cubicBezTo>
                                  <a:cubicBezTo>
                                    <a:pt x="4270" y="99"/>
                                    <a:pt x="4260" y="101"/>
                                    <a:pt x="4253" y="95"/>
                                  </a:cubicBezTo>
                                  <a:cubicBezTo>
                                    <a:pt x="4246" y="90"/>
                                    <a:pt x="4234" y="81"/>
                                    <a:pt x="4225" y="82"/>
                                  </a:cubicBezTo>
                                  <a:cubicBezTo>
                                    <a:pt x="4217" y="82"/>
                                    <a:pt x="4214" y="86"/>
                                    <a:pt x="4205" y="83"/>
                                  </a:cubicBezTo>
                                  <a:cubicBezTo>
                                    <a:pt x="4195" y="80"/>
                                    <a:pt x="4187" y="83"/>
                                    <a:pt x="4183" y="87"/>
                                  </a:cubicBezTo>
                                  <a:cubicBezTo>
                                    <a:pt x="4179" y="90"/>
                                    <a:pt x="4182" y="90"/>
                                    <a:pt x="4179" y="95"/>
                                  </a:cubicBezTo>
                                  <a:cubicBezTo>
                                    <a:pt x="4175" y="100"/>
                                    <a:pt x="4172" y="100"/>
                                    <a:pt x="4167" y="104"/>
                                  </a:cubicBezTo>
                                  <a:cubicBezTo>
                                    <a:pt x="4161" y="108"/>
                                    <a:pt x="4154" y="111"/>
                                    <a:pt x="4141" y="113"/>
                                  </a:cubicBezTo>
                                  <a:cubicBezTo>
                                    <a:pt x="4128" y="114"/>
                                    <a:pt x="4124" y="114"/>
                                    <a:pt x="4111" y="117"/>
                                  </a:cubicBezTo>
                                  <a:cubicBezTo>
                                    <a:pt x="4098" y="121"/>
                                    <a:pt x="4091" y="122"/>
                                    <a:pt x="4085" y="122"/>
                                  </a:cubicBezTo>
                                  <a:cubicBezTo>
                                    <a:pt x="4079" y="122"/>
                                    <a:pt x="4076" y="122"/>
                                    <a:pt x="4066" y="129"/>
                                  </a:cubicBezTo>
                                  <a:cubicBezTo>
                                    <a:pt x="4057" y="136"/>
                                    <a:pt x="4062" y="136"/>
                                    <a:pt x="4054" y="137"/>
                                  </a:cubicBezTo>
                                  <a:cubicBezTo>
                                    <a:pt x="4045" y="137"/>
                                    <a:pt x="4043" y="138"/>
                                    <a:pt x="4034" y="143"/>
                                  </a:cubicBezTo>
                                  <a:cubicBezTo>
                                    <a:pt x="4025" y="147"/>
                                    <a:pt x="4024" y="150"/>
                                    <a:pt x="4024" y="155"/>
                                  </a:cubicBezTo>
                                  <a:cubicBezTo>
                                    <a:pt x="4024" y="160"/>
                                    <a:pt x="4035" y="164"/>
                                    <a:pt x="4040" y="172"/>
                                  </a:cubicBezTo>
                                  <a:cubicBezTo>
                                    <a:pt x="4045" y="180"/>
                                    <a:pt x="4042" y="187"/>
                                    <a:pt x="4035" y="195"/>
                                  </a:cubicBezTo>
                                  <a:cubicBezTo>
                                    <a:pt x="4028" y="203"/>
                                    <a:pt x="4019" y="198"/>
                                    <a:pt x="4011" y="198"/>
                                  </a:cubicBezTo>
                                  <a:cubicBezTo>
                                    <a:pt x="4002" y="198"/>
                                    <a:pt x="3996" y="199"/>
                                    <a:pt x="3994" y="203"/>
                                  </a:cubicBezTo>
                                  <a:cubicBezTo>
                                    <a:pt x="3992" y="207"/>
                                    <a:pt x="3997" y="211"/>
                                    <a:pt x="3989" y="211"/>
                                  </a:cubicBezTo>
                                  <a:cubicBezTo>
                                    <a:pt x="3980" y="211"/>
                                    <a:pt x="3977" y="212"/>
                                    <a:pt x="3972" y="214"/>
                                  </a:cubicBezTo>
                                  <a:cubicBezTo>
                                    <a:pt x="3966" y="216"/>
                                    <a:pt x="3961" y="219"/>
                                    <a:pt x="3966" y="222"/>
                                  </a:cubicBezTo>
                                  <a:close/>
                                  <a:moveTo>
                                    <a:pt x="4346" y="251"/>
                                  </a:moveTo>
                                  <a:cubicBezTo>
                                    <a:pt x="4343" y="247"/>
                                    <a:pt x="4332" y="245"/>
                                    <a:pt x="4328" y="244"/>
                                  </a:cubicBezTo>
                                  <a:cubicBezTo>
                                    <a:pt x="4323" y="243"/>
                                    <a:pt x="4312" y="246"/>
                                    <a:pt x="4303" y="248"/>
                                  </a:cubicBezTo>
                                  <a:cubicBezTo>
                                    <a:pt x="4295" y="250"/>
                                    <a:pt x="4284" y="252"/>
                                    <a:pt x="4274" y="253"/>
                                  </a:cubicBezTo>
                                  <a:cubicBezTo>
                                    <a:pt x="4264" y="255"/>
                                    <a:pt x="4262" y="255"/>
                                    <a:pt x="4255" y="256"/>
                                  </a:cubicBezTo>
                                  <a:cubicBezTo>
                                    <a:pt x="4249" y="257"/>
                                    <a:pt x="4241" y="258"/>
                                    <a:pt x="4233" y="257"/>
                                  </a:cubicBezTo>
                                  <a:cubicBezTo>
                                    <a:pt x="4225" y="255"/>
                                    <a:pt x="4218" y="255"/>
                                    <a:pt x="4209" y="257"/>
                                  </a:cubicBezTo>
                                  <a:cubicBezTo>
                                    <a:pt x="4200" y="259"/>
                                    <a:pt x="4199" y="263"/>
                                    <a:pt x="4195" y="263"/>
                                  </a:cubicBezTo>
                                  <a:cubicBezTo>
                                    <a:pt x="4190" y="264"/>
                                    <a:pt x="4188" y="263"/>
                                    <a:pt x="4182" y="260"/>
                                  </a:cubicBezTo>
                                  <a:cubicBezTo>
                                    <a:pt x="4177" y="258"/>
                                    <a:pt x="4176" y="261"/>
                                    <a:pt x="4170" y="263"/>
                                  </a:cubicBezTo>
                                  <a:cubicBezTo>
                                    <a:pt x="4164" y="266"/>
                                    <a:pt x="4165" y="267"/>
                                    <a:pt x="4160" y="270"/>
                                  </a:cubicBezTo>
                                  <a:cubicBezTo>
                                    <a:pt x="4154" y="273"/>
                                    <a:pt x="4152" y="271"/>
                                    <a:pt x="4145" y="270"/>
                                  </a:cubicBezTo>
                                  <a:cubicBezTo>
                                    <a:pt x="4137" y="269"/>
                                    <a:pt x="4136" y="274"/>
                                    <a:pt x="4133" y="278"/>
                                  </a:cubicBezTo>
                                  <a:cubicBezTo>
                                    <a:pt x="4130" y="282"/>
                                    <a:pt x="4135" y="283"/>
                                    <a:pt x="4139" y="288"/>
                                  </a:cubicBezTo>
                                  <a:cubicBezTo>
                                    <a:pt x="4142" y="292"/>
                                    <a:pt x="4146" y="294"/>
                                    <a:pt x="4143" y="298"/>
                                  </a:cubicBezTo>
                                  <a:cubicBezTo>
                                    <a:pt x="4140" y="302"/>
                                    <a:pt x="4136" y="298"/>
                                    <a:pt x="4129" y="298"/>
                                  </a:cubicBezTo>
                                  <a:cubicBezTo>
                                    <a:pt x="4123" y="298"/>
                                    <a:pt x="4112" y="305"/>
                                    <a:pt x="4102" y="310"/>
                                  </a:cubicBezTo>
                                  <a:cubicBezTo>
                                    <a:pt x="4093" y="315"/>
                                    <a:pt x="4088" y="320"/>
                                    <a:pt x="4080" y="326"/>
                                  </a:cubicBezTo>
                                  <a:cubicBezTo>
                                    <a:pt x="4072" y="332"/>
                                    <a:pt x="4067" y="331"/>
                                    <a:pt x="4064" y="331"/>
                                  </a:cubicBezTo>
                                  <a:cubicBezTo>
                                    <a:pt x="4061" y="332"/>
                                    <a:pt x="4048" y="327"/>
                                    <a:pt x="4049" y="331"/>
                                  </a:cubicBezTo>
                                  <a:cubicBezTo>
                                    <a:pt x="4051" y="336"/>
                                    <a:pt x="4057" y="338"/>
                                    <a:pt x="4060" y="341"/>
                                  </a:cubicBezTo>
                                  <a:cubicBezTo>
                                    <a:pt x="4064" y="344"/>
                                    <a:pt x="4068" y="344"/>
                                    <a:pt x="4072" y="341"/>
                                  </a:cubicBezTo>
                                  <a:cubicBezTo>
                                    <a:pt x="4076" y="338"/>
                                    <a:pt x="4085" y="334"/>
                                    <a:pt x="4089" y="330"/>
                                  </a:cubicBezTo>
                                  <a:cubicBezTo>
                                    <a:pt x="4094" y="327"/>
                                    <a:pt x="4100" y="327"/>
                                    <a:pt x="4104" y="327"/>
                                  </a:cubicBezTo>
                                  <a:cubicBezTo>
                                    <a:pt x="4108" y="327"/>
                                    <a:pt x="4111" y="332"/>
                                    <a:pt x="4111" y="336"/>
                                  </a:cubicBezTo>
                                  <a:cubicBezTo>
                                    <a:pt x="4110" y="339"/>
                                    <a:pt x="4104" y="340"/>
                                    <a:pt x="4107" y="343"/>
                                  </a:cubicBezTo>
                                  <a:cubicBezTo>
                                    <a:pt x="4110" y="345"/>
                                    <a:pt x="4120" y="346"/>
                                    <a:pt x="4126" y="344"/>
                                  </a:cubicBezTo>
                                  <a:cubicBezTo>
                                    <a:pt x="4133" y="343"/>
                                    <a:pt x="4137" y="347"/>
                                    <a:pt x="4137" y="350"/>
                                  </a:cubicBezTo>
                                  <a:cubicBezTo>
                                    <a:pt x="4137" y="354"/>
                                    <a:pt x="4135" y="363"/>
                                    <a:pt x="4135" y="366"/>
                                  </a:cubicBezTo>
                                  <a:cubicBezTo>
                                    <a:pt x="4135" y="369"/>
                                    <a:pt x="4139" y="373"/>
                                    <a:pt x="4143" y="374"/>
                                  </a:cubicBezTo>
                                  <a:cubicBezTo>
                                    <a:pt x="4147" y="375"/>
                                    <a:pt x="4154" y="380"/>
                                    <a:pt x="4158" y="385"/>
                                  </a:cubicBezTo>
                                  <a:cubicBezTo>
                                    <a:pt x="4161" y="389"/>
                                    <a:pt x="4160" y="391"/>
                                    <a:pt x="4166" y="394"/>
                                  </a:cubicBezTo>
                                  <a:cubicBezTo>
                                    <a:pt x="4173" y="398"/>
                                    <a:pt x="4181" y="398"/>
                                    <a:pt x="4187" y="398"/>
                                  </a:cubicBezTo>
                                  <a:cubicBezTo>
                                    <a:pt x="4193" y="398"/>
                                    <a:pt x="4203" y="394"/>
                                    <a:pt x="4212" y="395"/>
                                  </a:cubicBezTo>
                                  <a:cubicBezTo>
                                    <a:pt x="4222" y="396"/>
                                    <a:pt x="4219" y="402"/>
                                    <a:pt x="4223" y="404"/>
                                  </a:cubicBezTo>
                                  <a:cubicBezTo>
                                    <a:pt x="4226" y="407"/>
                                    <a:pt x="4232" y="408"/>
                                    <a:pt x="4240" y="407"/>
                                  </a:cubicBezTo>
                                  <a:cubicBezTo>
                                    <a:pt x="4248" y="407"/>
                                    <a:pt x="4265" y="405"/>
                                    <a:pt x="4278" y="407"/>
                                  </a:cubicBezTo>
                                  <a:cubicBezTo>
                                    <a:pt x="4290" y="408"/>
                                    <a:pt x="4291" y="410"/>
                                    <a:pt x="4301" y="416"/>
                                  </a:cubicBezTo>
                                  <a:cubicBezTo>
                                    <a:pt x="4310" y="421"/>
                                    <a:pt x="4313" y="423"/>
                                    <a:pt x="4320" y="427"/>
                                  </a:cubicBezTo>
                                  <a:cubicBezTo>
                                    <a:pt x="4327" y="431"/>
                                    <a:pt x="4340" y="431"/>
                                    <a:pt x="4349" y="433"/>
                                  </a:cubicBezTo>
                                  <a:cubicBezTo>
                                    <a:pt x="4358" y="435"/>
                                    <a:pt x="4371" y="434"/>
                                    <a:pt x="4380" y="434"/>
                                  </a:cubicBezTo>
                                  <a:cubicBezTo>
                                    <a:pt x="4388" y="433"/>
                                    <a:pt x="4411" y="434"/>
                                    <a:pt x="4428" y="433"/>
                                  </a:cubicBezTo>
                                  <a:cubicBezTo>
                                    <a:pt x="4445" y="432"/>
                                    <a:pt x="4446" y="432"/>
                                    <a:pt x="4451" y="425"/>
                                  </a:cubicBezTo>
                                  <a:cubicBezTo>
                                    <a:pt x="4456" y="419"/>
                                    <a:pt x="4467" y="420"/>
                                    <a:pt x="4474" y="417"/>
                                  </a:cubicBezTo>
                                  <a:cubicBezTo>
                                    <a:pt x="4481" y="415"/>
                                    <a:pt x="4480" y="411"/>
                                    <a:pt x="4479" y="406"/>
                                  </a:cubicBezTo>
                                  <a:cubicBezTo>
                                    <a:pt x="4478" y="401"/>
                                    <a:pt x="4476" y="397"/>
                                    <a:pt x="4469" y="391"/>
                                  </a:cubicBezTo>
                                  <a:cubicBezTo>
                                    <a:pt x="4463" y="385"/>
                                    <a:pt x="4463" y="388"/>
                                    <a:pt x="4452" y="382"/>
                                  </a:cubicBezTo>
                                  <a:cubicBezTo>
                                    <a:pt x="4443" y="376"/>
                                    <a:pt x="4431" y="367"/>
                                    <a:pt x="4435" y="365"/>
                                  </a:cubicBezTo>
                                  <a:cubicBezTo>
                                    <a:pt x="4439" y="363"/>
                                    <a:pt x="4452" y="368"/>
                                    <a:pt x="4457" y="367"/>
                                  </a:cubicBezTo>
                                  <a:cubicBezTo>
                                    <a:pt x="4461" y="367"/>
                                    <a:pt x="4468" y="362"/>
                                    <a:pt x="4468" y="351"/>
                                  </a:cubicBezTo>
                                  <a:cubicBezTo>
                                    <a:pt x="4468" y="339"/>
                                    <a:pt x="4473" y="336"/>
                                    <a:pt x="4472" y="326"/>
                                  </a:cubicBezTo>
                                  <a:cubicBezTo>
                                    <a:pt x="4472" y="316"/>
                                    <a:pt x="4473" y="313"/>
                                    <a:pt x="4479" y="308"/>
                                  </a:cubicBezTo>
                                  <a:cubicBezTo>
                                    <a:pt x="4485" y="303"/>
                                    <a:pt x="4489" y="297"/>
                                    <a:pt x="4487" y="293"/>
                                  </a:cubicBezTo>
                                  <a:cubicBezTo>
                                    <a:pt x="4486" y="288"/>
                                    <a:pt x="4481" y="290"/>
                                    <a:pt x="4472" y="285"/>
                                  </a:cubicBezTo>
                                  <a:cubicBezTo>
                                    <a:pt x="4463" y="279"/>
                                    <a:pt x="4462" y="278"/>
                                    <a:pt x="4449" y="270"/>
                                  </a:cubicBezTo>
                                  <a:cubicBezTo>
                                    <a:pt x="4436" y="261"/>
                                    <a:pt x="4434" y="261"/>
                                    <a:pt x="4428" y="260"/>
                                  </a:cubicBezTo>
                                  <a:cubicBezTo>
                                    <a:pt x="4422" y="259"/>
                                    <a:pt x="4417" y="261"/>
                                    <a:pt x="4408" y="266"/>
                                  </a:cubicBezTo>
                                  <a:cubicBezTo>
                                    <a:pt x="4399" y="271"/>
                                    <a:pt x="4391" y="273"/>
                                    <a:pt x="4383" y="275"/>
                                  </a:cubicBezTo>
                                  <a:cubicBezTo>
                                    <a:pt x="4376" y="277"/>
                                    <a:pt x="4373" y="276"/>
                                    <a:pt x="4363" y="284"/>
                                  </a:cubicBezTo>
                                  <a:cubicBezTo>
                                    <a:pt x="4352" y="291"/>
                                    <a:pt x="4356" y="300"/>
                                    <a:pt x="4352" y="301"/>
                                  </a:cubicBezTo>
                                  <a:cubicBezTo>
                                    <a:pt x="4347" y="303"/>
                                    <a:pt x="4343" y="302"/>
                                    <a:pt x="4331" y="304"/>
                                  </a:cubicBezTo>
                                  <a:cubicBezTo>
                                    <a:pt x="4319" y="306"/>
                                    <a:pt x="4320" y="312"/>
                                    <a:pt x="4315" y="310"/>
                                  </a:cubicBezTo>
                                  <a:cubicBezTo>
                                    <a:pt x="4309" y="308"/>
                                    <a:pt x="4316" y="304"/>
                                    <a:pt x="4321" y="299"/>
                                  </a:cubicBezTo>
                                  <a:cubicBezTo>
                                    <a:pt x="4326" y="293"/>
                                    <a:pt x="4326" y="292"/>
                                    <a:pt x="4329" y="287"/>
                                  </a:cubicBezTo>
                                  <a:cubicBezTo>
                                    <a:pt x="4331" y="281"/>
                                    <a:pt x="4341" y="276"/>
                                    <a:pt x="4348" y="272"/>
                                  </a:cubicBezTo>
                                  <a:cubicBezTo>
                                    <a:pt x="4354" y="269"/>
                                    <a:pt x="4357" y="266"/>
                                    <a:pt x="4360" y="263"/>
                                  </a:cubicBezTo>
                                  <a:cubicBezTo>
                                    <a:pt x="4363" y="260"/>
                                    <a:pt x="4361" y="261"/>
                                    <a:pt x="4356" y="257"/>
                                  </a:cubicBezTo>
                                  <a:cubicBezTo>
                                    <a:pt x="4350" y="253"/>
                                    <a:pt x="4349" y="255"/>
                                    <a:pt x="4346" y="251"/>
                                  </a:cubicBezTo>
                                  <a:close/>
                                  <a:moveTo>
                                    <a:pt x="3996" y="313"/>
                                  </a:moveTo>
                                  <a:cubicBezTo>
                                    <a:pt x="3999" y="316"/>
                                    <a:pt x="4008" y="313"/>
                                    <a:pt x="4012" y="310"/>
                                  </a:cubicBezTo>
                                  <a:cubicBezTo>
                                    <a:pt x="4016" y="306"/>
                                    <a:pt x="4024" y="309"/>
                                    <a:pt x="4032" y="309"/>
                                  </a:cubicBezTo>
                                  <a:cubicBezTo>
                                    <a:pt x="4041" y="309"/>
                                    <a:pt x="4047" y="308"/>
                                    <a:pt x="4051" y="305"/>
                                  </a:cubicBezTo>
                                  <a:cubicBezTo>
                                    <a:pt x="4055" y="302"/>
                                    <a:pt x="4064" y="298"/>
                                    <a:pt x="4070" y="293"/>
                                  </a:cubicBezTo>
                                  <a:cubicBezTo>
                                    <a:pt x="4075" y="288"/>
                                    <a:pt x="4080" y="290"/>
                                    <a:pt x="4086" y="289"/>
                                  </a:cubicBezTo>
                                  <a:cubicBezTo>
                                    <a:pt x="4092" y="287"/>
                                    <a:pt x="4095" y="281"/>
                                    <a:pt x="4094" y="279"/>
                                  </a:cubicBezTo>
                                  <a:cubicBezTo>
                                    <a:pt x="4093" y="277"/>
                                    <a:pt x="4089" y="277"/>
                                    <a:pt x="4081" y="273"/>
                                  </a:cubicBezTo>
                                  <a:cubicBezTo>
                                    <a:pt x="4073" y="269"/>
                                    <a:pt x="4071" y="268"/>
                                    <a:pt x="4059" y="265"/>
                                  </a:cubicBezTo>
                                  <a:cubicBezTo>
                                    <a:pt x="4047" y="262"/>
                                    <a:pt x="4040" y="264"/>
                                    <a:pt x="4030" y="264"/>
                                  </a:cubicBezTo>
                                  <a:cubicBezTo>
                                    <a:pt x="4019" y="264"/>
                                    <a:pt x="4010" y="264"/>
                                    <a:pt x="4001" y="264"/>
                                  </a:cubicBezTo>
                                  <a:cubicBezTo>
                                    <a:pt x="3992" y="264"/>
                                    <a:pt x="3991" y="264"/>
                                    <a:pt x="3977" y="261"/>
                                  </a:cubicBezTo>
                                  <a:cubicBezTo>
                                    <a:pt x="3968" y="258"/>
                                    <a:pt x="3947" y="262"/>
                                    <a:pt x="3939" y="259"/>
                                  </a:cubicBezTo>
                                  <a:cubicBezTo>
                                    <a:pt x="3931" y="256"/>
                                    <a:pt x="3922" y="257"/>
                                    <a:pt x="3923" y="262"/>
                                  </a:cubicBezTo>
                                  <a:cubicBezTo>
                                    <a:pt x="3924" y="268"/>
                                    <a:pt x="3932" y="268"/>
                                    <a:pt x="3932" y="273"/>
                                  </a:cubicBezTo>
                                  <a:cubicBezTo>
                                    <a:pt x="3933" y="277"/>
                                    <a:pt x="3937" y="284"/>
                                    <a:pt x="3942" y="286"/>
                                  </a:cubicBezTo>
                                  <a:cubicBezTo>
                                    <a:pt x="3948" y="288"/>
                                    <a:pt x="3953" y="288"/>
                                    <a:pt x="3958" y="290"/>
                                  </a:cubicBezTo>
                                  <a:cubicBezTo>
                                    <a:pt x="3962" y="292"/>
                                    <a:pt x="3971" y="294"/>
                                    <a:pt x="3977" y="293"/>
                                  </a:cubicBezTo>
                                  <a:cubicBezTo>
                                    <a:pt x="3983" y="292"/>
                                    <a:pt x="3996" y="295"/>
                                    <a:pt x="3993" y="298"/>
                                  </a:cubicBezTo>
                                  <a:cubicBezTo>
                                    <a:pt x="3991" y="301"/>
                                    <a:pt x="3994" y="309"/>
                                    <a:pt x="3996" y="313"/>
                                  </a:cubicBezTo>
                                  <a:close/>
                                  <a:moveTo>
                                    <a:pt x="8461" y="2634"/>
                                  </a:moveTo>
                                  <a:cubicBezTo>
                                    <a:pt x="8462" y="2631"/>
                                    <a:pt x="8461" y="2630"/>
                                    <a:pt x="8470" y="2628"/>
                                  </a:cubicBezTo>
                                  <a:cubicBezTo>
                                    <a:pt x="8479" y="2626"/>
                                    <a:pt x="8487" y="2622"/>
                                    <a:pt x="8487" y="2616"/>
                                  </a:cubicBezTo>
                                  <a:cubicBezTo>
                                    <a:pt x="8487" y="2610"/>
                                    <a:pt x="8486" y="2609"/>
                                    <a:pt x="8485" y="2603"/>
                                  </a:cubicBezTo>
                                  <a:cubicBezTo>
                                    <a:pt x="8484" y="2597"/>
                                    <a:pt x="8488" y="2596"/>
                                    <a:pt x="8483" y="2593"/>
                                  </a:cubicBezTo>
                                  <a:cubicBezTo>
                                    <a:pt x="8477" y="2589"/>
                                    <a:pt x="8467" y="2591"/>
                                    <a:pt x="8458" y="2596"/>
                                  </a:cubicBezTo>
                                  <a:cubicBezTo>
                                    <a:pt x="8450" y="2602"/>
                                    <a:pt x="8452" y="2602"/>
                                    <a:pt x="8442" y="2604"/>
                                  </a:cubicBezTo>
                                  <a:cubicBezTo>
                                    <a:pt x="8432" y="2605"/>
                                    <a:pt x="8429" y="2604"/>
                                    <a:pt x="8430" y="2608"/>
                                  </a:cubicBezTo>
                                  <a:cubicBezTo>
                                    <a:pt x="8431" y="2611"/>
                                    <a:pt x="8435" y="2610"/>
                                    <a:pt x="8438" y="2613"/>
                                  </a:cubicBezTo>
                                  <a:cubicBezTo>
                                    <a:pt x="8441" y="2615"/>
                                    <a:pt x="8446" y="2616"/>
                                    <a:pt x="8440" y="2620"/>
                                  </a:cubicBezTo>
                                  <a:cubicBezTo>
                                    <a:pt x="8435" y="2623"/>
                                    <a:pt x="8431" y="2622"/>
                                    <a:pt x="8430" y="2627"/>
                                  </a:cubicBezTo>
                                  <a:cubicBezTo>
                                    <a:pt x="8429" y="2633"/>
                                    <a:pt x="8431" y="2636"/>
                                    <a:pt x="8426" y="2640"/>
                                  </a:cubicBezTo>
                                  <a:cubicBezTo>
                                    <a:pt x="8421" y="2644"/>
                                    <a:pt x="8418" y="2643"/>
                                    <a:pt x="8414" y="2646"/>
                                  </a:cubicBezTo>
                                  <a:cubicBezTo>
                                    <a:pt x="8411" y="2650"/>
                                    <a:pt x="8405" y="2654"/>
                                    <a:pt x="8411" y="2657"/>
                                  </a:cubicBezTo>
                                  <a:cubicBezTo>
                                    <a:pt x="8417" y="2659"/>
                                    <a:pt x="8425" y="2658"/>
                                    <a:pt x="8429" y="2652"/>
                                  </a:cubicBezTo>
                                  <a:cubicBezTo>
                                    <a:pt x="8434" y="2645"/>
                                    <a:pt x="8430" y="2639"/>
                                    <a:pt x="8443" y="2638"/>
                                  </a:cubicBezTo>
                                  <a:cubicBezTo>
                                    <a:pt x="8455" y="2637"/>
                                    <a:pt x="8459" y="2637"/>
                                    <a:pt x="8461" y="2634"/>
                                  </a:cubicBezTo>
                                  <a:close/>
                                  <a:moveTo>
                                    <a:pt x="6789" y="912"/>
                                  </a:moveTo>
                                  <a:cubicBezTo>
                                    <a:pt x="6798" y="918"/>
                                    <a:pt x="6804" y="926"/>
                                    <a:pt x="6811" y="932"/>
                                  </a:cubicBezTo>
                                  <a:cubicBezTo>
                                    <a:pt x="6817" y="939"/>
                                    <a:pt x="6828" y="944"/>
                                    <a:pt x="6834" y="946"/>
                                  </a:cubicBezTo>
                                  <a:cubicBezTo>
                                    <a:pt x="6841" y="947"/>
                                    <a:pt x="6856" y="951"/>
                                    <a:pt x="6864" y="954"/>
                                  </a:cubicBezTo>
                                  <a:cubicBezTo>
                                    <a:pt x="6871" y="957"/>
                                    <a:pt x="6884" y="964"/>
                                    <a:pt x="6892" y="967"/>
                                  </a:cubicBezTo>
                                  <a:cubicBezTo>
                                    <a:pt x="6900" y="969"/>
                                    <a:pt x="6908" y="964"/>
                                    <a:pt x="6917" y="961"/>
                                  </a:cubicBezTo>
                                  <a:cubicBezTo>
                                    <a:pt x="6926" y="958"/>
                                    <a:pt x="6933" y="953"/>
                                    <a:pt x="6935" y="950"/>
                                  </a:cubicBezTo>
                                  <a:cubicBezTo>
                                    <a:pt x="6936" y="946"/>
                                    <a:pt x="6928" y="938"/>
                                    <a:pt x="6929" y="934"/>
                                  </a:cubicBezTo>
                                  <a:cubicBezTo>
                                    <a:pt x="6930" y="929"/>
                                    <a:pt x="6943" y="931"/>
                                    <a:pt x="6950" y="931"/>
                                  </a:cubicBezTo>
                                  <a:cubicBezTo>
                                    <a:pt x="6957" y="931"/>
                                    <a:pt x="6959" y="938"/>
                                    <a:pt x="6963" y="942"/>
                                  </a:cubicBezTo>
                                  <a:cubicBezTo>
                                    <a:pt x="6967" y="946"/>
                                    <a:pt x="6972" y="947"/>
                                    <a:pt x="6976" y="946"/>
                                  </a:cubicBezTo>
                                  <a:cubicBezTo>
                                    <a:pt x="6981" y="944"/>
                                    <a:pt x="6995" y="945"/>
                                    <a:pt x="7005" y="940"/>
                                  </a:cubicBezTo>
                                  <a:cubicBezTo>
                                    <a:pt x="7014" y="934"/>
                                    <a:pt x="7024" y="938"/>
                                    <a:pt x="7035" y="934"/>
                                  </a:cubicBezTo>
                                  <a:cubicBezTo>
                                    <a:pt x="7047" y="929"/>
                                    <a:pt x="7054" y="932"/>
                                    <a:pt x="7063" y="929"/>
                                  </a:cubicBezTo>
                                  <a:cubicBezTo>
                                    <a:pt x="7073" y="926"/>
                                    <a:pt x="7074" y="925"/>
                                    <a:pt x="7081" y="922"/>
                                  </a:cubicBezTo>
                                  <a:cubicBezTo>
                                    <a:pt x="7088" y="919"/>
                                    <a:pt x="7098" y="923"/>
                                    <a:pt x="7101" y="928"/>
                                  </a:cubicBezTo>
                                  <a:cubicBezTo>
                                    <a:pt x="7103" y="932"/>
                                    <a:pt x="7094" y="931"/>
                                    <a:pt x="7094" y="937"/>
                                  </a:cubicBezTo>
                                  <a:cubicBezTo>
                                    <a:pt x="7094" y="943"/>
                                    <a:pt x="7105" y="946"/>
                                    <a:pt x="7112" y="950"/>
                                  </a:cubicBezTo>
                                  <a:cubicBezTo>
                                    <a:pt x="7119" y="954"/>
                                    <a:pt x="7122" y="950"/>
                                    <a:pt x="7127" y="947"/>
                                  </a:cubicBezTo>
                                  <a:cubicBezTo>
                                    <a:pt x="7132" y="943"/>
                                    <a:pt x="7132" y="939"/>
                                    <a:pt x="7136" y="937"/>
                                  </a:cubicBezTo>
                                  <a:cubicBezTo>
                                    <a:pt x="7140" y="934"/>
                                    <a:pt x="7155" y="937"/>
                                    <a:pt x="7165" y="937"/>
                                  </a:cubicBezTo>
                                  <a:cubicBezTo>
                                    <a:pt x="7176" y="938"/>
                                    <a:pt x="7184" y="938"/>
                                    <a:pt x="7184" y="933"/>
                                  </a:cubicBezTo>
                                  <a:cubicBezTo>
                                    <a:pt x="7184" y="929"/>
                                    <a:pt x="7174" y="928"/>
                                    <a:pt x="7167" y="927"/>
                                  </a:cubicBezTo>
                                  <a:cubicBezTo>
                                    <a:pt x="7159" y="925"/>
                                    <a:pt x="7152" y="922"/>
                                    <a:pt x="7143" y="917"/>
                                  </a:cubicBezTo>
                                  <a:cubicBezTo>
                                    <a:pt x="7134" y="913"/>
                                    <a:pt x="7131" y="912"/>
                                    <a:pt x="7123" y="907"/>
                                  </a:cubicBezTo>
                                  <a:cubicBezTo>
                                    <a:pt x="7115" y="902"/>
                                    <a:pt x="7110" y="901"/>
                                    <a:pt x="7106" y="894"/>
                                  </a:cubicBezTo>
                                  <a:cubicBezTo>
                                    <a:pt x="7102" y="887"/>
                                    <a:pt x="7103" y="882"/>
                                    <a:pt x="7096" y="874"/>
                                  </a:cubicBezTo>
                                  <a:cubicBezTo>
                                    <a:pt x="7089" y="865"/>
                                    <a:pt x="7092" y="859"/>
                                    <a:pt x="7095" y="854"/>
                                  </a:cubicBezTo>
                                  <a:cubicBezTo>
                                    <a:pt x="7098" y="848"/>
                                    <a:pt x="7102" y="848"/>
                                    <a:pt x="7107" y="843"/>
                                  </a:cubicBezTo>
                                  <a:cubicBezTo>
                                    <a:pt x="7111" y="838"/>
                                    <a:pt x="7115" y="840"/>
                                    <a:pt x="7124" y="840"/>
                                  </a:cubicBezTo>
                                  <a:cubicBezTo>
                                    <a:pt x="7134" y="840"/>
                                    <a:pt x="7135" y="840"/>
                                    <a:pt x="7142" y="840"/>
                                  </a:cubicBezTo>
                                  <a:cubicBezTo>
                                    <a:pt x="7149" y="840"/>
                                    <a:pt x="7150" y="857"/>
                                    <a:pt x="7149" y="860"/>
                                  </a:cubicBezTo>
                                  <a:cubicBezTo>
                                    <a:pt x="7147" y="863"/>
                                    <a:pt x="7143" y="863"/>
                                    <a:pt x="7133" y="864"/>
                                  </a:cubicBezTo>
                                  <a:cubicBezTo>
                                    <a:pt x="7123" y="865"/>
                                    <a:pt x="7121" y="868"/>
                                    <a:pt x="7120" y="871"/>
                                  </a:cubicBezTo>
                                  <a:cubicBezTo>
                                    <a:pt x="7119" y="874"/>
                                    <a:pt x="7124" y="882"/>
                                    <a:pt x="7128" y="887"/>
                                  </a:cubicBezTo>
                                  <a:cubicBezTo>
                                    <a:pt x="7133" y="892"/>
                                    <a:pt x="7140" y="902"/>
                                    <a:pt x="7143" y="907"/>
                                  </a:cubicBezTo>
                                  <a:cubicBezTo>
                                    <a:pt x="7147" y="912"/>
                                    <a:pt x="7157" y="913"/>
                                    <a:pt x="7166" y="914"/>
                                  </a:cubicBezTo>
                                  <a:cubicBezTo>
                                    <a:pt x="7176" y="915"/>
                                    <a:pt x="7183" y="916"/>
                                    <a:pt x="7190" y="918"/>
                                  </a:cubicBezTo>
                                  <a:cubicBezTo>
                                    <a:pt x="7197" y="920"/>
                                    <a:pt x="7199" y="921"/>
                                    <a:pt x="7210" y="921"/>
                                  </a:cubicBezTo>
                                  <a:cubicBezTo>
                                    <a:pt x="7221" y="921"/>
                                    <a:pt x="7221" y="921"/>
                                    <a:pt x="7229" y="918"/>
                                  </a:cubicBezTo>
                                  <a:cubicBezTo>
                                    <a:pt x="7238" y="914"/>
                                    <a:pt x="7237" y="917"/>
                                    <a:pt x="7243" y="913"/>
                                  </a:cubicBezTo>
                                  <a:cubicBezTo>
                                    <a:pt x="7248" y="910"/>
                                    <a:pt x="7248" y="908"/>
                                    <a:pt x="7249" y="902"/>
                                  </a:cubicBezTo>
                                  <a:cubicBezTo>
                                    <a:pt x="7251" y="897"/>
                                    <a:pt x="7253" y="896"/>
                                    <a:pt x="7257" y="896"/>
                                  </a:cubicBezTo>
                                  <a:cubicBezTo>
                                    <a:pt x="7261" y="896"/>
                                    <a:pt x="7265" y="890"/>
                                    <a:pt x="7262" y="886"/>
                                  </a:cubicBezTo>
                                  <a:cubicBezTo>
                                    <a:pt x="7259" y="881"/>
                                    <a:pt x="7255" y="878"/>
                                    <a:pt x="7255" y="872"/>
                                  </a:cubicBezTo>
                                  <a:cubicBezTo>
                                    <a:pt x="7256" y="866"/>
                                    <a:pt x="7260" y="869"/>
                                    <a:pt x="7271" y="869"/>
                                  </a:cubicBezTo>
                                  <a:cubicBezTo>
                                    <a:pt x="7282" y="869"/>
                                    <a:pt x="7291" y="864"/>
                                    <a:pt x="7288" y="859"/>
                                  </a:cubicBezTo>
                                  <a:cubicBezTo>
                                    <a:pt x="7285" y="853"/>
                                    <a:pt x="7266" y="847"/>
                                    <a:pt x="7258" y="842"/>
                                  </a:cubicBezTo>
                                  <a:cubicBezTo>
                                    <a:pt x="7249" y="837"/>
                                    <a:pt x="7227" y="835"/>
                                    <a:pt x="7217" y="832"/>
                                  </a:cubicBezTo>
                                  <a:cubicBezTo>
                                    <a:pt x="7207" y="829"/>
                                    <a:pt x="7200" y="826"/>
                                    <a:pt x="7182" y="818"/>
                                  </a:cubicBezTo>
                                  <a:cubicBezTo>
                                    <a:pt x="7163" y="809"/>
                                    <a:pt x="7150" y="811"/>
                                    <a:pt x="7138" y="808"/>
                                  </a:cubicBezTo>
                                  <a:cubicBezTo>
                                    <a:pt x="7125" y="805"/>
                                    <a:pt x="7117" y="807"/>
                                    <a:pt x="7099" y="802"/>
                                  </a:cubicBezTo>
                                  <a:cubicBezTo>
                                    <a:pt x="7081" y="797"/>
                                    <a:pt x="7079" y="796"/>
                                    <a:pt x="7068" y="790"/>
                                  </a:cubicBezTo>
                                  <a:cubicBezTo>
                                    <a:pt x="7058" y="784"/>
                                    <a:pt x="7049" y="780"/>
                                    <a:pt x="7050" y="786"/>
                                  </a:cubicBezTo>
                                  <a:cubicBezTo>
                                    <a:pt x="7050" y="791"/>
                                    <a:pt x="7056" y="799"/>
                                    <a:pt x="7054" y="803"/>
                                  </a:cubicBezTo>
                                  <a:cubicBezTo>
                                    <a:pt x="7051" y="808"/>
                                    <a:pt x="7047" y="808"/>
                                    <a:pt x="7038" y="803"/>
                                  </a:cubicBezTo>
                                  <a:cubicBezTo>
                                    <a:pt x="7030" y="799"/>
                                    <a:pt x="7023" y="802"/>
                                    <a:pt x="7020" y="806"/>
                                  </a:cubicBezTo>
                                  <a:cubicBezTo>
                                    <a:pt x="7016" y="810"/>
                                    <a:pt x="7019" y="813"/>
                                    <a:pt x="7016" y="820"/>
                                  </a:cubicBezTo>
                                  <a:cubicBezTo>
                                    <a:pt x="7013" y="826"/>
                                    <a:pt x="7016" y="827"/>
                                    <a:pt x="7017" y="833"/>
                                  </a:cubicBezTo>
                                  <a:cubicBezTo>
                                    <a:pt x="7018" y="839"/>
                                    <a:pt x="7021" y="838"/>
                                    <a:pt x="7024" y="844"/>
                                  </a:cubicBezTo>
                                  <a:cubicBezTo>
                                    <a:pt x="7027" y="849"/>
                                    <a:pt x="7024" y="847"/>
                                    <a:pt x="7019" y="847"/>
                                  </a:cubicBezTo>
                                  <a:cubicBezTo>
                                    <a:pt x="7015" y="848"/>
                                    <a:pt x="7013" y="847"/>
                                    <a:pt x="7006" y="845"/>
                                  </a:cubicBezTo>
                                  <a:cubicBezTo>
                                    <a:pt x="6999" y="844"/>
                                    <a:pt x="7002" y="841"/>
                                    <a:pt x="6999" y="836"/>
                                  </a:cubicBezTo>
                                  <a:cubicBezTo>
                                    <a:pt x="6997" y="830"/>
                                    <a:pt x="6991" y="829"/>
                                    <a:pt x="6987" y="828"/>
                                  </a:cubicBezTo>
                                  <a:cubicBezTo>
                                    <a:pt x="6984" y="827"/>
                                    <a:pt x="6976" y="826"/>
                                    <a:pt x="6966" y="826"/>
                                  </a:cubicBezTo>
                                  <a:cubicBezTo>
                                    <a:pt x="6956" y="826"/>
                                    <a:pt x="6957" y="825"/>
                                    <a:pt x="6946" y="818"/>
                                  </a:cubicBezTo>
                                  <a:cubicBezTo>
                                    <a:pt x="6934" y="812"/>
                                    <a:pt x="6936" y="808"/>
                                    <a:pt x="6923" y="797"/>
                                  </a:cubicBezTo>
                                  <a:cubicBezTo>
                                    <a:pt x="6916" y="791"/>
                                    <a:pt x="6910" y="785"/>
                                    <a:pt x="6906" y="783"/>
                                  </a:cubicBezTo>
                                  <a:cubicBezTo>
                                    <a:pt x="6902" y="780"/>
                                    <a:pt x="6900" y="784"/>
                                    <a:pt x="6891" y="786"/>
                                  </a:cubicBezTo>
                                  <a:cubicBezTo>
                                    <a:pt x="6881" y="788"/>
                                    <a:pt x="6881" y="793"/>
                                    <a:pt x="6874" y="796"/>
                                  </a:cubicBezTo>
                                  <a:cubicBezTo>
                                    <a:pt x="6868" y="800"/>
                                    <a:pt x="6867" y="796"/>
                                    <a:pt x="6865" y="790"/>
                                  </a:cubicBezTo>
                                  <a:cubicBezTo>
                                    <a:pt x="6863" y="784"/>
                                    <a:pt x="6860" y="785"/>
                                    <a:pt x="6855" y="787"/>
                                  </a:cubicBezTo>
                                  <a:cubicBezTo>
                                    <a:pt x="6851" y="789"/>
                                    <a:pt x="6846" y="796"/>
                                    <a:pt x="6839" y="800"/>
                                  </a:cubicBezTo>
                                  <a:cubicBezTo>
                                    <a:pt x="6832" y="803"/>
                                    <a:pt x="6828" y="805"/>
                                    <a:pt x="6820" y="805"/>
                                  </a:cubicBezTo>
                                  <a:cubicBezTo>
                                    <a:pt x="6811" y="805"/>
                                    <a:pt x="6810" y="809"/>
                                    <a:pt x="6807" y="815"/>
                                  </a:cubicBezTo>
                                  <a:cubicBezTo>
                                    <a:pt x="6804" y="822"/>
                                    <a:pt x="6806" y="823"/>
                                    <a:pt x="6805" y="830"/>
                                  </a:cubicBezTo>
                                  <a:cubicBezTo>
                                    <a:pt x="6803" y="838"/>
                                    <a:pt x="6800" y="831"/>
                                    <a:pt x="6795" y="831"/>
                                  </a:cubicBezTo>
                                  <a:cubicBezTo>
                                    <a:pt x="6790" y="831"/>
                                    <a:pt x="6787" y="835"/>
                                    <a:pt x="6781" y="839"/>
                                  </a:cubicBezTo>
                                  <a:cubicBezTo>
                                    <a:pt x="6775" y="843"/>
                                    <a:pt x="6779" y="844"/>
                                    <a:pt x="6780" y="847"/>
                                  </a:cubicBezTo>
                                  <a:cubicBezTo>
                                    <a:pt x="6780" y="851"/>
                                    <a:pt x="6786" y="849"/>
                                    <a:pt x="6792" y="854"/>
                                  </a:cubicBezTo>
                                  <a:cubicBezTo>
                                    <a:pt x="6798" y="859"/>
                                    <a:pt x="6793" y="862"/>
                                    <a:pt x="6790" y="865"/>
                                  </a:cubicBezTo>
                                  <a:cubicBezTo>
                                    <a:pt x="6788" y="869"/>
                                    <a:pt x="6788" y="871"/>
                                    <a:pt x="6791" y="874"/>
                                  </a:cubicBezTo>
                                  <a:cubicBezTo>
                                    <a:pt x="6795" y="878"/>
                                    <a:pt x="6798" y="877"/>
                                    <a:pt x="6799" y="881"/>
                                  </a:cubicBezTo>
                                  <a:cubicBezTo>
                                    <a:pt x="6800" y="886"/>
                                    <a:pt x="6795" y="886"/>
                                    <a:pt x="6788" y="886"/>
                                  </a:cubicBezTo>
                                  <a:cubicBezTo>
                                    <a:pt x="6781" y="886"/>
                                    <a:pt x="6780" y="886"/>
                                    <a:pt x="6773" y="882"/>
                                  </a:cubicBezTo>
                                  <a:cubicBezTo>
                                    <a:pt x="6766" y="878"/>
                                    <a:pt x="6768" y="889"/>
                                    <a:pt x="6770" y="893"/>
                                  </a:cubicBezTo>
                                  <a:cubicBezTo>
                                    <a:pt x="6772" y="898"/>
                                    <a:pt x="6780" y="906"/>
                                    <a:pt x="6789" y="912"/>
                                  </a:cubicBezTo>
                                  <a:close/>
                                  <a:moveTo>
                                    <a:pt x="7340" y="904"/>
                                  </a:moveTo>
                                  <a:cubicBezTo>
                                    <a:pt x="7344" y="908"/>
                                    <a:pt x="7351" y="906"/>
                                    <a:pt x="7359" y="908"/>
                                  </a:cubicBezTo>
                                  <a:cubicBezTo>
                                    <a:pt x="7367" y="911"/>
                                    <a:pt x="7374" y="913"/>
                                    <a:pt x="7384" y="919"/>
                                  </a:cubicBezTo>
                                  <a:cubicBezTo>
                                    <a:pt x="7393" y="925"/>
                                    <a:pt x="7407" y="926"/>
                                    <a:pt x="7420" y="930"/>
                                  </a:cubicBezTo>
                                  <a:cubicBezTo>
                                    <a:pt x="7433" y="935"/>
                                    <a:pt x="7440" y="939"/>
                                    <a:pt x="7450" y="943"/>
                                  </a:cubicBezTo>
                                  <a:cubicBezTo>
                                    <a:pt x="7460" y="947"/>
                                    <a:pt x="7471" y="952"/>
                                    <a:pt x="7483" y="954"/>
                                  </a:cubicBezTo>
                                  <a:cubicBezTo>
                                    <a:pt x="7495" y="956"/>
                                    <a:pt x="7497" y="956"/>
                                    <a:pt x="7503" y="953"/>
                                  </a:cubicBezTo>
                                  <a:cubicBezTo>
                                    <a:pt x="7509" y="950"/>
                                    <a:pt x="7521" y="954"/>
                                    <a:pt x="7531" y="955"/>
                                  </a:cubicBezTo>
                                  <a:cubicBezTo>
                                    <a:pt x="7541" y="956"/>
                                    <a:pt x="7562" y="957"/>
                                    <a:pt x="7570" y="954"/>
                                  </a:cubicBezTo>
                                  <a:cubicBezTo>
                                    <a:pt x="7578" y="951"/>
                                    <a:pt x="7578" y="949"/>
                                    <a:pt x="7591" y="944"/>
                                  </a:cubicBezTo>
                                  <a:cubicBezTo>
                                    <a:pt x="7604" y="940"/>
                                    <a:pt x="7616" y="942"/>
                                    <a:pt x="7617" y="935"/>
                                  </a:cubicBezTo>
                                  <a:cubicBezTo>
                                    <a:pt x="7619" y="929"/>
                                    <a:pt x="7622" y="926"/>
                                    <a:pt x="7629" y="920"/>
                                  </a:cubicBezTo>
                                  <a:cubicBezTo>
                                    <a:pt x="7635" y="914"/>
                                    <a:pt x="7632" y="909"/>
                                    <a:pt x="7621" y="909"/>
                                  </a:cubicBezTo>
                                  <a:cubicBezTo>
                                    <a:pt x="7610" y="909"/>
                                    <a:pt x="7602" y="910"/>
                                    <a:pt x="7594" y="908"/>
                                  </a:cubicBezTo>
                                  <a:cubicBezTo>
                                    <a:pt x="7585" y="906"/>
                                    <a:pt x="7592" y="902"/>
                                    <a:pt x="7584" y="897"/>
                                  </a:cubicBezTo>
                                  <a:cubicBezTo>
                                    <a:pt x="7576" y="892"/>
                                    <a:pt x="7574" y="897"/>
                                    <a:pt x="7567" y="896"/>
                                  </a:cubicBezTo>
                                  <a:cubicBezTo>
                                    <a:pt x="7561" y="896"/>
                                    <a:pt x="7558" y="896"/>
                                    <a:pt x="7551" y="894"/>
                                  </a:cubicBezTo>
                                  <a:cubicBezTo>
                                    <a:pt x="7543" y="891"/>
                                    <a:pt x="7539" y="891"/>
                                    <a:pt x="7529" y="891"/>
                                  </a:cubicBezTo>
                                  <a:cubicBezTo>
                                    <a:pt x="7518" y="891"/>
                                    <a:pt x="7519" y="894"/>
                                    <a:pt x="7509" y="899"/>
                                  </a:cubicBezTo>
                                  <a:cubicBezTo>
                                    <a:pt x="7499" y="903"/>
                                    <a:pt x="7496" y="901"/>
                                    <a:pt x="7488" y="898"/>
                                  </a:cubicBezTo>
                                  <a:cubicBezTo>
                                    <a:pt x="7481" y="895"/>
                                    <a:pt x="7479" y="890"/>
                                    <a:pt x="7482" y="885"/>
                                  </a:cubicBezTo>
                                  <a:cubicBezTo>
                                    <a:pt x="7484" y="881"/>
                                    <a:pt x="7484" y="874"/>
                                    <a:pt x="7475" y="875"/>
                                  </a:cubicBezTo>
                                  <a:cubicBezTo>
                                    <a:pt x="7466" y="875"/>
                                    <a:pt x="7454" y="878"/>
                                    <a:pt x="7443" y="874"/>
                                  </a:cubicBezTo>
                                  <a:cubicBezTo>
                                    <a:pt x="7433" y="871"/>
                                    <a:pt x="7430" y="873"/>
                                    <a:pt x="7423" y="873"/>
                                  </a:cubicBezTo>
                                  <a:cubicBezTo>
                                    <a:pt x="7415" y="873"/>
                                    <a:pt x="7416" y="875"/>
                                    <a:pt x="7407" y="880"/>
                                  </a:cubicBezTo>
                                  <a:cubicBezTo>
                                    <a:pt x="7403" y="883"/>
                                    <a:pt x="7401" y="887"/>
                                    <a:pt x="7396" y="886"/>
                                  </a:cubicBezTo>
                                  <a:cubicBezTo>
                                    <a:pt x="7391" y="886"/>
                                    <a:pt x="7390" y="884"/>
                                    <a:pt x="7381" y="881"/>
                                  </a:cubicBezTo>
                                  <a:cubicBezTo>
                                    <a:pt x="7371" y="878"/>
                                    <a:pt x="7374" y="877"/>
                                    <a:pt x="7374" y="873"/>
                                  </a:cubicBezTo>
                                  <a:cubicBezTo>
                                    <a:pt x="7374" y="869"/>
                                    <a:pt x="7376" y="865"/>
                                    <a:pt x="7371" y="861"/>
                                  </a:cubicBezTo>
                                  <a:cubicBezTo>
                                    <a:pt x="7365" y="858"/>
                                    <a:pt x="7362" y="855"/>
                                    <a:pt x="7357" y="857"/>
                                  </a:cubicBezTo>
                                  <a:cubicBezTo>
                                    <a:pt x="7352" y="858"/>
                                    <a:pt x="7350" y="864"/>
                                    <a:pt x="7347" y="870"/>
                                  </a:cubicBezTo>
                                  <a:cubicBezTo>
                                    <a:pt x="7344" y="875"/>
                                    <a:pt x="7345" y="884"/>
                                    <a:pt x="7345" y="884"/>
                                  </a:cubicBezTo>
                                  <a:cubicBezTo>
                                    <a:pt x="7345" y="884"/>
                                    <a:pt x="7337" y="900"/>
                                    <a:pt x="7340" y="904"/>
                                  </a:cubicBezTo>
                                  <a:close/>
                                  <a:moveTo>
                                    <a:pt x="7352" y="1271"/>
                                  </a:moveTo>
                                  <a:cubicBezTo>
                                    <a:pt x="7348" y="1275"/>
                                    <a:pt x="7346" y="1274"/>
                                    <a:pt x="7341" y="1277"/>
                                  </a:cubicBezTo>
                                  <a:cubicBezTo>
                                    <a:pt x="7337" y="1279"/>
                                    <a:pt x="7334" y="1279"/>
                                    <a:pt x="7334" y="1284"/>
                                  </a:cubicBezTo>
                                  <a:cubicBezTo>
                                    <a:pt x="7334" y="1290"/>
                                    <a:pt x="7330" y="1292"/>
                                    <a:pt x="7334" y="1293"/>
                                  </a:cubicBezTo>
                                  <a:cubicBezTo>
                                    <a:pt x="7338" y="1294"/>
                                    <a:pt x="7342" y="1295"/>
                                    <a:pt x="7344" y="1291"/>
                                  </a:cubicBezTo>
                                  <a:cubicBezTo>
                                    <a:pt x="7346" y="1287"/>
                                    <a:pt x="7345" y="1286"/>
                                    <a:pt x="7348" y="1283"/>
                                  </a:cubicBezTo>
                                  <a:cubicBezTo>
                                    <a:pt x="7351" y="1280"/>
                                    <a:pt x="7352" y="1278"/>
                                    <a:pt x="7356" y="1275"/>
                                  </a:cubicBezTo>
                                  <a:cubicBezTo>
                                    <a:pt x="7361" y="1273"/>
                                    <a:pt x="7363" y="1272"/>
                                    <a:pt x="7365" y="1267"/>
                                  </a:cubicBezTo>
                                  <a:cubicBezTo>
                                    <a:pt x="7368" y="1262"/>
                                    <a:pt x="7366" y="1259"/>
                                    <a:pt x="7372" y="1258"/>
                                  </a:cubicBezTo>
                                  <a:cubicBezTo>
                                    <a:pt x="7378" y="1257"/>
                                    <a:pt x="7382" y="1258"/>
                                    <a:pt x="7382" y="1253"/>
                                  </a:cubicBezTo>
                                  <a:cubicBezTo>
                                    <a:pt x="7383" y="1249"/>
                                    <a:pt x="7376" y="1249"/>
                                    <a:pt x="7371" y="1250"/>
                                  </a:cubicBezTo>
                                  <a:cubicBezTo>
                                    <a:pt x="7366" y="1250"/>
                                    <a:pt x="7363" y="1248"/>
                                    <a:pt x="7356" y="1249"/>
                                  </a:cubicBezTo>
                                  <a:cubicBezTo>
                                    <a:pt x="7349" y="1250"/>
                                    <a:pt x="7351" y="1250"/>
                                    <a:pt x="7344" y="1250"/>
                                  </a:cubicBezTo>
                                  <a:cubicBezTo>
                                    <a:pt x="7337" y="1249"/>
                                    <a:pt x="7331" y="1247"/>
                                    <a:pt x="7328" y="1250"/>
                                  </a:cubicBezTo>
                                  <a:cubicBezTo>
                                    <a:pt x="7325" y="1253"/>
                                    <a:pt x="7325" y="1255"/>
                                    <a:pt x="7328" y="1259"/>
                                  </a:cubicBezTo>
                                  <a:cubicBezTo>
                                    <a:pt x="7332" y="1262"/>
                                    <a:pt x="7328" y="1263"/>
                                    <a:pt x="7333" y="1266"/>
                                  </a:cubicBezTo>
                                  <a:cubicBezTo>
                                    <a:pt x="7338" y="1270"/>
                                    <a:pt x="7341" y="1270"/>
                                    <a:pt x="7343" y="1267"/>
                                  </a:cubicBezTo>
                                  <a:cubicBezTo>
                                    <a:pt x="7345" y="1265"/>
                                    <a:pt x="7348" y="1262"/>
                                    <a:pt x="7351" y="1265"/>
                                  </a:cubicBezTo>
                                  <a:cubicBezTo>
                                    <a:pt x="7353" y="1268"/>
                                    <a:pt x="7356" y="1267"/>
                                    <a:pt x="7352" y="1271"/>
                                  </a:cubicBezTo>
                                  <a:close/>
                                  <a:moveTo>
                                    <a:pt x="6986" y="1056"/>
                                  </a:moveTo>
                                  <a:cubicBezTo>
                                    <a:pt x="6992" y="1057"/>
                                    <a:pt x="6995" y="1058"/>
                                    <a:pt x="7001" y="1055"/>
                                  </a:cubicBezTo>
                                  <a:cubicBezTo>
                                    <a:pt x="7007" y="1053"/>
                                    <a:pt x="7006" y="1048"/>
                                    <a:pt x="7015" y="1048"/>
                                  </a:cubicBezTo>
                                  <a:cubicBezTo>
                                    <a:pt x="7024" y="1047"/>
                                    <a:pt x="7028" y="1047"/>
                                    <a:pt x="7028" y="1041"/>
                                  </a:cubicBezTo>
                                  <a:cubicBezTo>
                                    <a:pt x="7028" y="1036"/>
                                    <a:pt x="7029" y="1032"/>
                                    <a:pt x="7026" y="1028"/>
                                  </a:cubicBezTo>
                                  <a:cubicBezTo>
                                    <a:pt x="7023" y="1023"/>
                                    <a:pt x="7022" y="1023"/>
                                    <a:pt x="7016" y="1020"/>
                                  </a:cubicBezTo>
                                  <a:cubicBezTo>
                                    <a:pt x="7009" y="1016"/>
                                    <a:pt x="6992" y="1013"/>
                                    <a:pt x="6984" y="1016"/>
                                  </a:cubicBezTo>
                                  <a:cubicBezTo>
                                    <a:pt x="6973" y="1021"/>
                                    <a:pt x="6971" y="1023"/>
                                    <a:pt x="6971" y="1029"/>
                                  </a:cubicBezTo>
                                  <a:cubicBezTo>
                                    <a:pt x="6971" y="1035"/>
                                    <a:pt x="6973" y="1041"/>
                                    <a:pt x="6977" y="1046"/>
                                  </a:cubicBezTo>
                                  <a:cubicBezTo>
                                    <a:pt x="6980" y="1050"/>
                                    <a:pt x="6980" y="1056"/>
                                    <a:pt x="6986" y="1056"/>
                                  </a:cubicBezTo>
                                  <a:close/>
                                  <a:moveTo>
                                    <a:pt x="6942" y="1115"/>
                                  </a:moveTo>
                                  <a:cubicBezTo>
                                    <a:pt x="6943" y="1122"/>
                                    <a:pt x="6950" y="1127"/>
                                    <a:pt x="6963" y="1126"/>
                                  </a:cubicBezTo>
                                  <a:cubicBezTo>
                                    <a:pt x="6977" y="1125"/>
                                    <a:pt x="6981" y="1121"/>
                                    <a:pt x="6992" y="1119"/>
                                  </a:cubicBezTo>
                                  <a:cubicBezTo>
                                    <a:pt x="7003" y="1116"/>
                                    <a:pt x="7012" y="1110"/>
                                    <a:pt x="7023" y="1115"/>
                                  </a:cubicBezTo>
                                  <a:cubicBezTo>
                                    <a:pt x="7034" y="1120"/>
                                    <a:pt x="7036" y="1119"/>
                                    <a:pt x="7049" y="1125"/>
                                  </a:cubicBezTo>
                                  <a:cubicBezTo>
                                    <a:pt x="7061" y="1131"/>
                                    <a:pt x="7068" y="1131"/>
                                    <a:pt x="7079" y="1131"/>
                                  </a:cubicBezTo>
                                  <a:cubicBezTo>
                                    <a:pt x="7091" y="1131"/>
                                    <a:pt x="7107" y="1132"/>
                                    <a:pt x="7119" y="1136"/>
                                  </a:cubicBezTo>
                                  <a:cubicBezTo>
                                    <a:pt x="7130" y="1139"/>
                                    <a:pt x="7136" y="1140"/>
                                    <a:pt x="7149" y="1142"/>
                                  </a:cubicBezTo>
                                  <a:cubicBezTo>
                                    <a:pt x="7162" y="1143"/>
                                    <a:pt x="7168" y="1145"/>
                                    <a:pt x="7172" y="1137"/>
                                  </a:cubicBezTo>
                                  <a:cubicBezTo>
                                    <a:pt x="7175" y="1129"/>
                                    <a:pt x="7180" y="1125"/>
                                    <a:pt x="7173" y="1118"/>
                                  </a:cubicBezTo>
                                  <a:cubicBezTo>
                                    <a:pt x="7166" y="1110"/>
                                    <a:pt x="7163" y="1104"/>
                                    <a:pt x="7153" y="1098"/>
                                  </a:cubicBezTo>
                                  <a:cubicBezTo>
                                    <a:pt x="7143" y="1091"/>
                                    <a:pt x="7135" y="1088"/>
                                    <a:pt x="7126" y="1080"/>
                                  </a:cubicBezTo>
                                  <a:cubicBezTo>
                                    <a:pt x="7117" y="1073"/>
                                    <a:pt x="7111" y="1065"/>
                                    <a:pt x="7101" y="1063"/>
                                  </a:cubicBezTo>
                                  <a:cubicBezTo>
                                    <a:pt x="7091" y="1061"/>
                                    <a:pt x="7072" y="1059"/>
                                    <a:pt x="7064" y="1060"/>
                                  </a:cubicBezTo>
                                  <a:cubicBezTo>
                                    <a:pt x="7053" y="1060"/>
                                    <a:pt x="7043" y="1062"/>
                                    <a:pt x="7032" y="1066"/>
                                  </a:cubicBezTo>
                                  <a:cubicBezTo>
                                    <a:pt x="7022" y="1071"/>
                                    <a:pt x="7013" y="1071"/>
                                    <a:pt x="7009" y="1083"/>
                                  </a:cubicBezTo>
                                  <a:cubicBezTo>
                                    <a:pt x="7005" y="1094"/>
                                    <a:pt x="7000" y="1096"/>
                                    <a:pt x="6993" y="1102"/>
                                  </a:cubicBezTo>
                                  <a:cubicBezTo>
                                    <a:pt x="6986" y="1109"/>
                                    <a:pt x="6974" y="1108"/>
                                    <a:pt x="6965" y="1110"/>
                                  </a:cubicBezTo>
                                  <a:cubicBezTo>
                                    <a:pt x="6955" y="1112"/>
                                    <a:pt x="6941" y="1109"/>
                                    <a:pt x="6942" y="1115"/>
                                  </a:cubicBezTo>
                                  <a:close/>
                                  <a:moveTo>
                                    <a:pt x="9366" y="1413"/>
                                  </a:moveTo>
                                  <a:cubicBezTo>
                                    <a:pt x="9374" y="1414"/>
                                    <a:pt x="9378" y="1416"/>
                                    <a:pt x="9397" y="1411"/>
                                  </a:cubicBezTo>
                                  <a:cubicBezTo>
                                    <a:pt x="9416" y="1407"/>
                                    <a:pt x="9414" y="1402"/>
                                    <a:pt x="9431" y="1401"/>
                                  </a:cubicBezTo>
                                  <a:cubicBezTo>
                                    <a:pt x="9448" y="1400"/>
                                    <a:pt x="9456" y="1405"/>
                                    <a:pt x="9467" y="1405"/>
                                  </a:cubicBezTo>
                                  <a:cubicBezTo>
                                    <a:pt x="9478" y="1406"/>
                                    <a:pt x="9483" y="1408"/>
                                    <a:pt x="9499" y="1406"/>
                                  </a:cubicBezTo>
                                  <a:cubicBezTo>
                                    <a:pt x="9516" y="1404"/>
                                    <a:pt x="9513" y="1400"/>
                                    <a:pt x="9529" y="1399"/>
                                  </a:cubicBezTo>
                                  <a:cubicBezTo>
                                    <a:pt x="9546" y="1399"/>
                                    <a:pt x="9569" y="1396"/>
                                    <a:pt x="9575" y="1387"/>
                                  </a:cubicBezTo>
                                  <a:cubicBezTo>
                                    <a:pt x="9581" y="1378"/>
                                    <a:pt x="9590" y="1374"/>
                                    <a:pt x="9588" y="1370"/>
                                  </a:cubicBezTo>
                                  <a:cubicBezTo>
                                    <a:pt x="9586" y="1365"/>
                                    <a:pt x="9585" y="1367"/>
                                    <a:pt x="9576" y="1364"/>
                                  </a:cubicBezTo>
                                  <a:cubicBezTo>
                                    <a:pt x="9566" y="1361"/>
                                    <a:pt x="9557" y="1358"/>
                                    <a:pt x="9555" y="1350"/>
                                  </a:cubicBezTo>
                                  <a:cubicBezTo>
                                    <a:pt x="9553" y="1341"/>
                                    <a:pt x="9550" y="1338"/>
                                    <a:pt x="9539" y="1339"/>
                                  </a:cubicBezTo>
                                  <a:cubicBezTo>
                                    <a:pt x="9528" y="1340"/>
                                    <a:pt x="9517" y="1341"/>
                                    <a:pt x="9512" y="1338"/>
                                  </a:cubicBezTo>
                                  <a:cubicBezTo>
                                    <a:pt x="9507" y="1335"/>
                                    <a:pt x="9492" y="1330"/>
                                    <a:pt x="9483" y="1336"/>
                                  </a:cubicBezTo>
                                  <a:cubicBezTo>
                                    <a:pt x="9466" y="1343"/>
                                    <a:pt x="9460" y="1340"/>
                                    <a:pt x="9445" y="1340"/>
                                  </a:cubicBezTo>
                                  <a:cubicBezTo>
                                    <a:pt x="9430" y="1340"/>
                                    <a:pt x="9429" y="1339"/>
                                    <a:pt x="9415" y="1348"/>
                                  </a:cubicBezTo>
                                  <a:cubicBezTo>
                                    <a:pt x="9402" y="1358"/>
                                    <a:pt x="9416" y="1360"/>
                                    <a:pt x="9393" y="1363"/>
                                  </a:cubicBezTo>
                                  <a:cubicBezTo>
                                    <a:pt x="9369" y="1366"/>
                                    <a:pt x="9368" y="1365"/>
                                    <a:pt x="9365" y="1377"/>
                                  </a:cubicBezTo>
                                  <a:cubicBezTo>
                                    <a:pt x="9362" y="1389"/>
                                    <a:pt x="9354" y="1381"/>
                                    <a:pt x="9354" y="1394"/>
                                  </a:cubicBezTo>
                                  <a:cubicBezTo>
                                    <a:pt x="9353" y="1407"/>
                                    <a:pt x="9357" y="1411"/>
                                    <a:pt x="9366" y="1413"/>
                                  </a:cubicBezTo>
                                  <a:close/>
                                  <a:moveTo>
                                    <a:pt x="7490" y="723"/>
                                  </a:moveTo>
                                  <a:cubicBezTo>
                                    <a:pt x="7496" y="723"/>
                                    <a:pt x="7500" y="720"/>
                                    <a:pt x="7505" y="717"/>
                                  </a:cubicBezTo>
                                  <a:cubicBezTo>
                                    <a:pt x="7510" y="713"/>
                                    <a:pt x="7510" y="711"/>
                                    <a:pt x="7519" y="710"/>
                                  </a:cubicBezTo>
                                  <a:cubicBezTo>
                                    <a:pt x="7527" y="709"/>
                                    <a:pt x="7534" y="708"/>
                                    <a:pt x="7537" y="706"/>
                                  </a:cubicBezTo>
                                  <a:cubicBezTo>
                                    <a:pt x="7540" y="703"/>
                                    <a:pt x="7533" y="704"/>
                                    <a:pt x="7525" y="704"/>
                                  </a:cubicBezTo>
                                  <a:cubicBezTo>
                                    <a:pt x="7518" y="704"/>
                                    <a:pt x="7505" y="702"/>
                                    <a:pt x="7503" y="705"/>
                                  </a:cubicBezTo>
                                  <a:cubicBezTo>
                                    <a:pt x="7500" y="707"/>
                                    <a:pt x="7501" y="712"/>
                                    <a:pt x="7495" y="715"/>
                                  </a:cubicBezTo>
                                  <a:cubicBezTo>
                                    <a:pt x="7488" y="718"/>
                                    <a:pt x="7484" y="723"/>
                                    <a:pt x="7490" y="723"/>
                                  </a:cubicBezTo>
                                  <a:close/>
                                  <a:moveTo>
                                    <a:pt x="8694" y="1539"/>
                                  </a:moveTo>
                                  <a:cubicBezTo>
                                    <a:pt x="8701" y="1542"/>
                                    <a:pt x="8703" y="1541"/>
                                    <a:pt x="8716" y="1544"/>
                                  </a:cubicBezTo>
                                  <a:cubicBezTo>
                                    <a:pt x="8729" y="1547"/>
                                    <a:pt x="8722" y="1546"/>
                                    <a:pt x="8729" y="1550"/>
                                  </a:cubicBezTo>
                                  <a:cubicBezTo>
                                    <a:pt x="8735" y="1555"/>
                                    <a:pt x="8738" y="1556"/>
                                    <a:pt x="8746" y="1558"/>
                                  </a:cubicBezTo>
                                  <a:cubicBezTo>
                                    <a:pt x="8755" y="1559"/>
                                    <a:pt x="8760" y="1557"/>
                                    <a:pt x="8767" y="1554"/>
                                  </a:cubicBezTo>
                                  <a:cubicBezTo>
                                    <a:pt x="8773" y="1551"/>
                                    <a:pt x="8768" y="1548"/>
                                    <a:pt x="8773" y="1542"/>
                                  </a:cubicBezTo>
                                  <a:cubicBezTo>
                                    <a:pt x="8778" y="1536"/>
                                    <a:pt x="8785" y="1524"/>
                                    <a:pt x="8775" y="1522"/>
                                  </a:cubicBezTo>
                                  <a:cubicBezTo>
                                    <a:pt x="8764" y="1519"/>
                                    <a:pt x="8755" y="1523"/>
                                    <a:pt x="8742" y="1514"/>
                                  </a:cubicBezTo>
                                  <a:cubicBezTo>
                                    <a:pt x="8735" y="1507"/>
                                    <a:pt x="8723" y="1513"/>
                                    <a:pt x="8718" y="1512"/>
                                  </a:cubicBezTo>
                                  <a:cubicBezTo>
                                    <a:pt x="8713" y="1510"/>
                                    <a:pt x="8710" y="1513"/>
                                    <a:pt x="8706" y="1514"/>
                                  </a:cubicBezTo>
                                  <a:cubicBezTo>
                                    <a:pt x="8701" y="1516"/>
                                    <a:pt x="8701" y="1518"/>
                                    <a:pt x="8698" y="1520"/>
                                  </a:cubicBezTo>
                                  <a:cubicBezTo>
                                    <a:pt x="8695" y="1522"/>
                                    <a:pt x="8686" y="1525"/>
                                    <a:pt x="8686" y="1529"/>
                                  </a:cubicBezTo>
                                  <a:cubicBezTo>
                                    <a:pt x="8685" y="1533"/>
                                    <a:pt x="8688" y="1535"/>
                                    <a:pt x="8694" y="1539"/>
                                  </a:cubicBezTo>
                                  <a:close/>
                                  <a:moveTo>
                                    <a:pt x="6814" y="1341"/>
                                  </a:moveTo>
                                  <a:cubicBezTo>
                                    <a:pt x="6807" y="1341"/>
                                    <a:pt x="6801" y="1339"/>
                                    <a:pt x="6794" y="1341"/>
                                  </a:cubicBezTo>
                                  <a:cubicBezTo>
                                    <a:pt x="6791" y="1342"/>
                                    <a:pt x="6789" y="1343"/>
                                    <a:pt x="6797" y="1345"/>
                                  </a:cubicBezTo>
                                  <a:cubicBezTo>
                                    <a:pt x="6804" y="1347"/>
                                    <a:pt x="6806" y="1346"/>
                                    <a:pt x="6809" y="1350"/>
                                  </a:cubicBezTo>
                                  <a:cubicBezTo>
                                    <a:pt x="6811" y="1353"/>
                                    <a:pt x="6813" y="1355"/>
                                    <a:pt x="6816" y="1352"/>
                                  </a:cubicBezTo>
                                  <a:cubicBezTo>
                                    <a:pt x="6819" y="1350"/>
                                    <a:pt x="6818" y="1349"/>
                                    <a:pt x="6820" y="1346"/>
                                  </a:cubicBezTo>
                                  <a:cubicBezTo>
                                    <a:pt x="6822" y="1343"/>
                                    <a:pt x="6826" y="1343"/>
                                    <a:pt x="6824" y="1341"/>
                                  </a:cubicBezTo>
                                  <a:cubicBezTo>
                                    <a:pt x="6822" y="1339"/>
                                    <a:pt x="6820" y="1340"/>
                                    <a:pt x="6814" y="1341"/>
                                  </a:cubicBezTo>
                                  <a:close/>
                                  <a:moveTo>
                                    <a:pt x="8229" y="1419"/>
                                  </a:moveTo>
                                  <a:cubicBezTo>
                                    <a:pt x="8232" y="1421"/>
                                    <a:pt x="8232" y="1420"/>
                                    <a:pt x="8236" y="1420"/>
                                  </a:cubicBezTo>
                                  <a:cubicBezTo>
                                    <a:pt x="8240" y="1420"/>
                                    <a:pt x="8243" y="1419"/>
                                    <a:pt x="8242" y="1419"/>
                                  </a:cubicBezTo>
                                  <a:cubicBezTo>
                                    <a:pt x="8241" y="1418"/>
                                    <a:pt x="8239" y="1419"/>
                                    <a:pt x="8236" y="1416"/>
                                  </a:cubicBezTo>
                                  <a:cubicBezTo>
                                    <a:pt x="8234" y="1413"/>
                                    <a:pt x="8227" y="1408"/>
                                    <a:pt x="8226" y="1412"/>
                                  </a:cubicBezTo>
                                  <a:cubicBezTo>
                                    <a:pt x="8228" y="1416"/>
                                    <a:pt x="8226" y="1418"/>
                                    <a:pt x="8229" y="1419"/>
                                  </a:cubicBezTo>
                                  <a:close/>
                                  <a:moveTo>
                                    <a:pt x="8293" y="1426"/>
                                  </a:moveTo>
                                  <a:cubicBezTo>
                                    <a:pt x="8298" y="1428"/>
                                    <a:pt x="8301" y="1427"/>
                                    <a:pt x="8302" y="1430"/>
                                  </a:cubicBezTo>
                                  <a:cubicBezTo>
                                    <a:pt x="8304" y="1432"/>
                                    <a:pt x="8308" y="1430"/>
                                    <a:pt x="8306" y="1428"/>
                                  </a:cubicBezTo>
                                  <a:cubicBezTo>
                                    <a:pt x="8304" y="1426"/>
                                    <a:pt x="8301" y="1425"/>
                                    <a:pt x="8299" y="1423"/>
                                  </a:cubicBezTo>
                                  <a:cubicBezTo>
                                    <a:pt x="8298" y="1421"/>
                                    <a:pt x="8294" y="1420"/>
                                    <a:pt x="8292" y="1422"/>
                                  </a:cubicBezTo>
                                  <a:cubicBezTo>
                                    <a:pt x="8291" y="1424"/>
                                    <a:pt x="8289" y="1424"/>
                                    <a:pt x="8293" y="1426"/>
                                  </a:cubicBezTo>
                                  <a:close/>
                                  <a:moveTo>
                                    <a:pt x="8338" y="1438"/>
                                  </a:moveTo>
                                  <a:cubicBezTo>
                                    <a:pt x="8340" y="1439"/>
                                    <a:pt x="8341" y="1437"/>
                                    <a:pt x="8344" y="1439"/>
                                  </a:cubicBezTo>
                                  <a:cubicBezTo>
                                    <a:pt x="8347" y="1441"/>
                                    <a:pt x="8351" y="1443"/>
                                    <a:pt x="8351" y="1441"/>
                                  </a:cubicBezTo>
                                  <a:cubicBezTo>
                                    <a:pt x="8351" y="1439"/>
                                    <a:pt x="8346" y="1434"/>
                                    <a:pt x="8340" y="1435"/>
                                  </a:cubicBezTo>
                                  <a:cubicBezTo>
                                    <a:pt x="8338" y="1436"/>
                                    <a:pt x="8336" y="1437"/>
                                    <a:pt x="8338" y="1438"/>
                                  </a:cubicBezTo>
                                  <a:close/>
                                  <a:moveTo>
                                    <a:pt x="6692" y="1025"/>
                                  </a:moveTo>
                                  <a:cubicBezTo>
                                    <a:pt x="6678" y="1016"/>
                                    <a:pt x="6689" y="1029"/>
                                    <a:pt x="6692" y="1032"/>
                                  </a:cubicBezTo>
                                  <a:cubicBezTo>
                                    <a:pt x="6694" y="1036"/>
                                    <a:pt x="6698" y="1036"/>
                                    <a:pt x="6703" y="1044"/>
                                  </a:cubicBezTo>
                                  <a:cubicBezTo>
                                    <a:pt x="6709" y="1053"/>
                                    <a:pt x="6716" y="1056"/>
                                    <a:pt x="6722" y="1056"/>
                                  </a:cubicBezTo>
                                  <a:cubicBezTo>
                                    <a:pt x="6727" y="1057"/>
                                    <a:pt x="6730" y="1051"/>
                                    <a:pt x="6726" y="1046"/>
                                  </a:cubicBezTo>
                                  <a:cubicBezTo>
                                    <a:pt x="6721" y="1040"/>
                                    <a:pt x="6715" y="1036"/>
                                    <a:pt x="6709" y="1033"/>
                                  </a:cubicBezTo>
                                  <a:cubicBezTo>
                                    <a:pt x="6703" y="1030"/>
                                    <a:pt x="6698" y="1029"/>
                                    <a:pt x="6692" y="1025"/>
                                  </a:cubicBezTo>
                                  <a:close/>
                                  <a:moveTo>
                                    <a:pt x="6708" y="874"/>
                                  </a:moveTo>
                                  <a:cubicBezTo>
                                    <a:pt x="6715" y="871"/>
                                    <a:pt x="6717" y="865"/>
                                    <a:pt x="6716" y="861"/>
                                  </a:cubicBezTo>
                                  <a:cubicBezTo>
                                    <a:pt x="6716" y="856"/>
                                    <a:pt x="6719" y="852"/>
                                    <a:pt x="6717" y="847"/>
                                  </a:cubicBezTo>
                                  <a:cubicBezTo>
                                    <a:pt x="6714" y="842"/>
                                    <a:pt x="6703" y="835"/>
                                    <a:pt x="6703" y="832"/>
                                  </a:cubicBezTo>
                                  <a:cubicBezTo>
                                    <a:pt x="6703" y="828"/>
                                    <a:pt x="6701" y="817"/>
                                    <a:pt x="6695" y="814"/>
                                  </a:cubicBezTo>
                                  <a:cubicBezTo>
                                    <a:pt x="6689" y="810"/>
                                    <a:pt x="6691" y="839"/>
                                    <a:pt x="6684" y="846"/>
                                  </a:cubicBezTo>
                                  <a:cubicBezTo>
                                    <a:pt x="6681" y="852"/>
                                    <a:pt x="6682" y="856"/>
                                    <a:pt x="6682" y="861"/>
                                  </a:cubicBezTo>
                                  <a:cubicBezTo>
                                    <a:pt x="6682" y="866"/>
                                    <a:pt x="6678" y="868"/>
                                    <a:pt x="6678" y="877"/>
                                  </a:cubicBezTo>
                                  <a:cubicBezTo>
                                    <a:pt x="6678" y="882"/>
                                    <a:pt x="6702" y="876"/>
                                    <a:pt x="6708" y="874"/>
                                  </a:cubicBezTo>
                                  <a:close/>
                                  <a:moveTo>
                                    <a:pt x="10126" y="2201"/>
                                  </a:moveTo>
                                  <a:cubicBezTo>
                                    <a:pt x="10120" y="2197"/>
                                    <a:pt x="10119" y="2197"/>
                                    <a:pt x="10114" y="2192"/>
                                  </a:cubicBezTo>
                                  <a:cubicBezTo>
                                    <a:pt x="10109" y="2186"/>
                                    <a:pt x="10104" y="2189"/>
                                    <a:pt x="10089" y="2188"/>
                                  </a:cubicBezTo>
                                  <a:cubicBezTo>
                                    <a:pt x="10073" y="2186"/>
                                    <a:pt x="10068" y="2185"/>
                                    <a:pt x="10063" y="2180"/>
                                  </a:cubicBezTo>
                                  <a:cubicBezTo>
                                    <a:pt x="10059" y="2176"/>
                                    <a:pt x="10050" y="2170"/>
                                    <a:pt x="10039" y="2168"/>
                                  </a:cubicBezTo>
                                  <a:cubicBezTo>
                                    <a:pt x="10028" y="2165"/>
                                    <a:pt x="10029" y="2170"/>
                                    <a:pt x="10012" y="2176"/>
                                  </a:cubicBezTo>
                                  <a:cubicBezTo>
                                    <a:pt x="10006" y="2177"/>
                                    <a:pt x="10005" y="2176"/>
                                    <a:pt x="10001" y="2176"/>
                                  </a:cubicBezTo>
                                  <a:cubicBezTo>
                                    <a:pt x="9996" y="2176"/>
                                    <a:pt x="9988" y="2176"/>
                                    <a:pt x="9977" y="2174"/>
                                  </a:cubicBezTo>
                                  <a:cubicBezTo>
                                    <a:pt x="9966" y="2172"/>
                                    <a:pt x="9967" y="2173"/>
                                    <a:pt x="9964" y="2165"/>
                                  </a:cubicBezTo>
                                  <a:cubicBezTo>
                                    <a:pt x="9961" y="2158"/>
                                    <a:pt x="9955" y="2157"/>
                                    <a:pt x="9948" y="2158"/>
                                  </a:cubicBezTo>
                                  <a:cubicBezTo>
                                    <a:pt x="9942" y="2158"/>
                                    <a:pt x="9947" y="2167"/>
                                    <a:pt x="9945" y="2173"/>
                                  </a:cubicBezTo>
                                  <a:cubicBezTo>
                                    <a:pt x="9943" y="2180"/>
                                    <a:pt x="9945" y="2180"/>
                                    <a:pt x="9946" y="2186"/>
                                  </a:cubicBezTo>
                                  <a:cubicBezTo>
                                    <a:pt x="9947" y="2192"/>
                                    <a:pt x="9953" y="2196"/>
                                    <a:pt x="9958" y="2199"/>
                                  </a:cubicBezTo>
                                  <a:cubicBezTo>
                                    <a:pt x="9963" y="2201"/>
                                    <a:pt x="9967" y="2200"/>
                                    <a:pt x="9973" y="2197"/>
                                  </a:cubicBezTo>
                                  <a:cubicBezTo>
                                    <a:pt x="9979" y="2193"/>
                                    <a:pt x="9984" y="2190"/>
                                    <a:pt x="9993" y="2189"/>
                                  </a:cubicBezTo>
                                  <a:cubicBezTo>
                                    <a:pt x="10003" y="2188"/>
                                    <a:pt x="10006" y="2191"/>
                                    <a:pt x="10011" y="2195"/>
                                  </a:cubicBezTo>
                                  <a:cubicBezTo>
                                    <a:pt x="10015" y="2200"/>
                                    <a:pt x="10020" y="2201"/>
                                    <a:pt x="10029" y="2201"/>
                                  </a:cubicBezTo>
                                  <a:cubicBezTo>
                                    <a:pt x="10038" y="2201"/>
                                    <a:pt x="10037" y="2204"/>
                                    <a:pt x="10039" y="2208"/>
                                  </a:cubicBezTo>
                                  <a:cubicBezTo>
                                    <a:pt x="10041" y="2212"/>
                                    <a:pt x="10040" y="2216"/>
                                    <a:pt x="10048" y="2216"/>
                                  </a:cubicBezTo>
                                  <a:cubicBezTo>
                                    <a:pt x="10057" y="2216"/>
                                    <a:pt x="10057" y="2219"/>
                                    <a:pt x="10062" y="2225"/>
                                  </a:cubicBezTo>
                                  <a:cubicBezTo>
                                    <a:pt x="10066" y="2231"/>
                                    <a:pt x="10066" y="2236"/>
                                    <a:pt x="10076" y="2235"/>
                                  </a:cubicBezTo>
                                  <a:cubicBezTo>
                                    <a:pt x="10087" y="2234"/>
                                    <a:pt x="10080" y="2227"/>
                                    <a:pt x="10084" y="2220"/>
                                  </a:cubicBezTo>
                                  <a:cubicBezTo>
                                    <a:pt x="10089" y="2212"/>
                                    <a:pt x="10095" y="2215"/>
                                    <a:pt x="10107" y="2217"/>
                                  </a:cubicBezTo>
                                  <a:cubicBezTo>
                                    <a:pt x="10119" y="2219"/>
                                    <a:pt x="10122" y="2217"/>
                                    <a:pt x="10129" y="2215"/>
                                  </a:cubicBezTo>
                                  <a:cubicBezTo>
                                    <a:pt x="10137" y="2213"/>
                                    <a:pt x="10132" y="2206"/>
                                    <a:pt x="10126" y="2201"/>
                                  </a:cubicBezTo>
                                  <a:close/>
                                  <a:moveTo>
                                    <a:pt x="7068" y="3227"/>
                                  </a:moveTo>
                                  <a:cubicBezTo>
                                    <a:pt x="7070" y="3234"/>
                                    <a:pt x="7073" y="3241"/>
                                    <a:pt x="7082" y="3251"/>
                                  </a:cubicBezTo>
                                  <a:cubicBezTo>
                                    <a:pt x="7090" y="3261"/>
                                    <a:pt x="7090" y="3266"/>
                                    <a:pt x="7094" y="3274"/>
                                  </a:cubicBezTo>
                                  <a:cubicBezTo>
                                    <a:pt x="7099" y="3281"/>
                                    <a:pt x="7100" y="3279"/>
                                    <a:pt x="7100" y="3288"/>
                                  </a:cubicBezTo>
                                  <a:cubicBezTo>
                                    <a:pt x="7099" y="3297"/>
                                    <a:pt x="7094" y="3297"/>
                                    <a:pt x="7091" y="3305"/>
                                  </a:cubicBezTo>
                                  <a:cubicBezTo>
                                    <a:pt x="7088" y="3312"/>
                                    <a:pt x="7088" y="3313"/>
                                    <a:pt x="7091" y="3323"/>
                                  </a:cubicBezTo>
                                  <a:cubicBezTo>
                                    <a:pt x="7095" y="3333"/>
                                    <a:pt x="7093" y="3338"/>
                                    <a:pt x="7093" y="3349"/>
                                  </a:cubicBezTo>
                                  <a:cubicBezTo>
                                    <a:pt x="7093" y="3360"/>
                                    <a:pt x="7093" y="3366"/>
                                    <a:pt x="7096" y="3377"/>
                                  </a:cubicBezTo>
                                  <a:cubicBezTo>
                                    <a:pt x="7099" y="3388"/>
                                    <a:pt x="7093" y="3401"/>
                                    <a:pt x="7092" y="3407"/>
                                  </a:cubicBezTo>
                                  <a:cubicBezTo>
                                    <a:pt x="7091" y="3414"/>
                                    <a:pt x="7089" y="3419"/>
                                    <a:pt x="7089" y="3429"/>
                                  </a:cubicBezTo>
                                  <a:cubicBezTo>
                                    <a:pt x="7088" y="3439"/>
                                    <a:pt x="7087" y="3439"/>
                                    <a:pt x="7083" y="3449"/>
                                  </a:cubicBezTo>
                                  <a:cubicBezTo>
                                    <a:pt x="7079" y="3460"/>
                                    <a:pt x="7079" y="3464"/>
                                    <a:pt x="7078" y="3475"/>
                                  </a:cubicBezTo>
                                  <a:cubicBezTo>
                                    <a:pt x="7077" y="3486"/>
                                    <a:pt x="7077" y="3491"/>
                                    <a:pt x="7084" y="3499"/>
                                  </a:cubicBezTo>
                                  <a:cubicBezTo>
                                    <a:pt x="7090" y="3507"/>
                                    <a:pt x="7092" y="3513"/>
                                    <a:pt x="7092" y="3522"/>
                                  </a:cubicBezTo>
                                  <a:cubicBezTo>
                                    <a:pt x="7092" y="3531"/>
                                    <a:pt x="7093" y="3532"/>
                                    <a:pt x="7095" y="3539"/>
                                  </a:cubicBezTo>
                                  <a:cubicBezTo>
                                    <a:pt x="7097" y="3545"/>
                                    <a:pt x="7088" y="3552"/>
                                    <a:pt x="7085" y="3558"/>
                                  </a:cubicBezTo>
                                  <a:cubicBezTo>
                                    <a:pt x="7083" y="3564"/>
                                    <a:pt x="7078" y="3563"/>
                                    <a:pt x="7082" y="3573"/>
                                  </a:cubicBezTo>
                                  <a:cubicBezTo>
                                    <a:pt x="7086" y="3584"/>
                                    <a:pt x="7088" y="3598"/>
                                    <a:pt x="7088" y="3602"/>
                                  </a:cubicBezTo>
                                  <a:cubicBezTo>
                                    <a:pt x="7088" y="3605"/>
                                    <a:pt x="7090" y="3602"/>
                                    <a:pt x="7086" y="3614"/>
                                  </a:cubicBezTo>
                                  <a:cubicBezTo>
                                    <a:pt x="7082" y="3626"/>
                                    <a:pt x="7081" y="3627"/>
                                    <a:pt x="7077" y="3633"/>
                                  </a:cubicBezTo>
                                  <a:cubicBezTo>
                                    <a:pt x="7073" y="3640"/>
                                    <a:pt x="7072" y="3652"/>
                                    <a:pt x="7073" y="3657"/>
                                  </a:cubicBezTo>
                                  <a:cubicBezTo>
                                    <a:pt x="7073" y="3663"/>
                                    <a:pt x="7073" y="3664"/>
                                    <a:pt x="7076" y="3672"/>
                                  </a:cubicBezTo>
                                  <a:cubicBezTo>
                                    <a:pt x="7079" y="3680"/>
                                    <a:pt x="7082" y="3693"/>
                                    <a:pt x="7087" y="3699"/>
                                  </a:cubicBezTo>
                                  <a:cubicBezTo>
                                    <a:pt x="7091" y="3705"/>
                                    <a:pt x="7097" y="3702"/>
                                    <a:pt x="7098" y="3693"/>
                                  </a:cubicBezTo>
                                  <a:cubicBezTo>
                                    <a:pt x="7098" y="3685"/>
                                    <a:pt x="7098" y="3679"/>
                                    <a:pt x="7102" y="3669"/>
                                  </a:cubicBezTo>
                                  <a:cubicBezTo>
                                    <a:pt x="7106" y="3659"/>
                                    <a:pt x="7109" y="3652"/>
                                    <a:pt x="7115" y="3647"/>
                                  </a:cubicBezTo>
                                  <a:cubicBezTo>
                                    <a:pt x="7120" y="3642"/>
                                    <a:pt x="7124" y="3639"/>
                                    <a:pt x="7127" y="3641"/>
                                  </a:cubicBezTo>
                                  <a:cubicBezTo>
                                    <a:pt x="7130" y="3642"/>
                                    <a:pt x="7129" y="3648"/>
                                    <a:pt x="7131" y="3651"/>
                                  </a:cubicBezTo>
                                  <a:cubicBezTo>
                                    <a:pt x="7134" y="3654"/>
                                    <a:pt x="7134" y="3654"/>
                                    <a:pt x="7142" y="3653"/>
                                  </a:cubicBezTo>
                                  <a:cubicBezTo>
                                    <a:pt x="7150" y="3652"/>
                                    <a:pt x="7154" y="3649"/>
                                    <a:pt x="7160" y="3652"/>
                                  </a:cubicBezTo>
                                  <a:cubicBezTo>
                                    <a:pt x="7166" y="3655"/>
                                    <a:pt x="7171" y="3654"/>
                                    <a:pt x="7172" y="3663"/>
                                  </a:cubicBezTo>
                                  <a:cubicBezTo>
                                    <a:pt x="7174" y="3672"/>
                                    <a:pt x="7166" y="3681"/>
                                    <a:pt x="7172" y="3686"/>
                                  </a:cubicBezTo>
                                  <a:cubicBezTo>
                                    <a:pt x="7178" y="3690"/>
                                    <a:pt x="7178" y="3680"/>
                                    <a:pt x="7181" y="3672"/>
                                  </a:cubicBezTo>
                                  <a:cubicBezTo>
                                    <a:pt x="7183" y="3665"/>
                                    <a:pt x="7184" y="3666"/>
                                    <a:pt x="7182" y="3654"/>
                                  </a:cubicBezTo>
                                  <a:cubicBezTo>
                                    <a:pt x="7180" y="3642"/>
                                    <a:pt x="7183" y="3636"/>
                                    <a:pt x="7178" y="3636"/>
                                  </a:cubicBezTo>
                                  <a:cubicBezTo>
                                    <a:pt x="7174" y="3636"/>
                                    <a:pt x="7169" y="3641"/>
                                    <a:pt x="7165" y="3641"/>
                                  </a:cubicBezTo>
                                  <a:cubicBezTo>
                                    <a:pt x="7161" y="3642"/>
                                    <a:pt x="7157" y="3642"/>
                                    <a:pt x="7157" y="3636"/>
                                  </a:cubicBezTo>
                                  <a:cubicBezTo>
                                    <a:pt x="7157" y="3630"/>
                                    <a:pt x="7160" y="3627"/>
                                    <a:pt x="7156" y="3618"/>
                                  </a:cubicBezTo>
                                  <a:cubicBezTo>
                                    <a:pt x="7153" y="3609"/>
                                    <a:pt x="7157" y="3611"/>
                                    <a:pt x="7148" y="3603"/>
                                  </a:cubicBezTo>
                                  <a:cubicBezTo>
                                    <a:pt x="7140" y="3595"/>
                                    <a:pt x="7131" y="3589"/>
                                    <a:pt x="7128" y="3584"/>
                                  </a:cubicBezTo>
                                  <a:cubicBezTo>
                                    <a:pt x="7125" y="3579"/>
                                    <a:pt x="7119" y="3573"/>
                                    <a:pt x="7118" y="3561"/>
                                  </a:cubicBezTo>
                                  <a:cubicBezTo>
                                    <a:pt x="7118" y="3549"/>
                                    <a:pt x="7118" y="3541"/>
                                    <a:pt x="7123" y="3531"/>
                                  </a:cubicBezTo>
                                  <a:cubicBezTo>
                                    <a:pt x="7129" y="3522"/>
                                    <a:pt x="7133" y="3506"/>
                                    <a:pt x="7136" y="3497"/>
                                  </a:cubicBezTo>
                                  <a:cubicBezTo>
                                    <a:pt x="7138" y="3489"/>
                                    <a:pt x="7144" y="3484"/>
                                    <a:pt x="7145" y="3468"/>
                                  </a:cubicBezTo>
                                  <a:cubicBezTo>
                                    <a:pt x="7146" y="3453"/>
                                    <a:pt x="7152" y="3445"/>
                                    <a:pt x="7156" y="3443"/>
                                  </a:cubicBezTo>
                                  <a:cubicBezTo>
                                    <a:pt x="7161" y="3441"/>
                                    <a:pt x="7162" y="3440"/>
                                    <a:pt x="7168" y="3438"/>
                                  </a:cubicBezTo>
                                  <a:cubicBezTo>
                                    <a:pt x="7175" y="3436"/>
                                    <a:pt x="7171" y="3436"/>
                                    <a:pt x="7176" y="3432"/>
                                  </a:cubicBezTo>
                                  <a:cubicBezTo>
                                    <a:pt x="7180" y="3429"/>
                                    <a:pt x="7185" y="3428"/>
                                    <a:pt x="7192" y="3431"/>
                                  </a:cubicBezTo>
                                  <a:cubicBezTo>
                                    <a:pt x="7199" y="3435"/>
                                    <a:pt x="7198" y="3440"/>
                                    <a:pt x="7209" y="3441"/>
                                  </a:cubicBezTo>
                                  <a:cubicBezTo>
                                    <a:pt x="7219" y="3442"/>
                                    <a:pt x="7220" y="3438"/>
                                    <a:pt x="7225" y="3445"/>
                                  </a:cubicBezTo>
                                  <a:cubicBezTo>
                                    <a:pt x="7230" y="3452"/>
                                    <a:pt x="7226" y="3447"/>
                                    <a:pt x="7232" y="3460"/>
                                  </a:cubicBezTo>
                                  <a:cubicBezTo>
                                    <a:pt x="7239" y="3474"/>
                                    <a:pt x="7251" y="3494"/>
                                    <a:pt x="7253" y="3488"/>
                                  </a:cubicBezTo>
                                  <a:cubicBezTo>
                                    <a:pt x="7255" y="3482"/>
                                    <a:pt x="7255" y="3479"/>
                                    <a:pt x="7250" y="3470"/>
                                  </a:cubicBezTo>
                                  <a:cubicBezTo>
                                    <a:pt x="7245" y="3461"/>
                                    <a:pt x="7246" y="3463"/>
                                    <a:pt x="7241" y="3452"/>
                                  </a:cubicBezTo>
                                  <a:cubicBezTo>
                                    <a:pt x="7236" y="3442"/>
                                    <a:pt x="7234" y="3441"/>
                                    <a:pt x="7233" y="3432"/>
                                  </a:cubicBezTo>
                                  <a:cubicBezTo>
                                    <a:pt x="7233" y="3423"/>
                                    <a:pt x="7227" y="3422"/>
                                    <a:pt x="7223" y="3412"/>
                                  </a:cubicBezTo>
                                  <a:cubicBezTo>
                                    <a:pt x="7219" y="3403"/>
                                    <a:pt x="7214" y="3391"/>
                                    <a:pt x="7212" y="3378"/>
                                  </a:cubicBezTo>
                                  <a:cubicBezTo>
                                    <a:pt x="7210" y="3365"/>
                                    <a:pt x="7200" y="3347"/>
                                    <a:pt x="7196" y="3331"/>
                                  </a:cubicBezTo>
                                  <a:cubicBezTo>
                                    <a:pt x="7192" y="3316"/>
                                    <a:pt x="7189" y="3307"/>
                                    <a:pt x="7187" y="3297"/>
                                  </a:cubicBezTo>
                                  <a:cubicBezTo>
                                    <a:pt x="7185" y="3288"/>
                                    <a:pt x="7182" y="3282"/>
                                    <a:pt x="7176" y="3277"/>
                                  </a:cubicBezTo>
                                  <a:cubicBezTo>
                                    <a:pt x="7170" y="3272"/>
                                    <a:pt x="7175" y="3248"/>
                                    <a:pt x="7171" y="3247"/>
                                  </a:cubicBezTo>
                                  <a:cubicBezTo>
                                    <a:pt x="7168" y="3246"/>
                                    <a:pt x="7172" y="3253"/>
                                    <a:pt x="7164" y="3254"/>
                                  </a:cubicBezTo>
                                  <a:cubicBezTo>
                                    <a:pt x="7156" y="3256"/>
                                    <a:pt x="7156" y="3254"/>
                                    <a:pt x="7156" y="3241"/>
                                  </a:cubicBezTo>
                                  <a:cubicBezTo>
                                    <a:pt x="7157" y="3228"/>
                                    <a:pt x="7159" y="3223"/>
                                    <a:pt x="7155" y="3214"/>
                                  </a:cubicBezTo>
                                  <a:cubicBezTo>
                                    <a:pt x="7152" y="3205"/>
                                    <a:pt x="7150" y="3201"/>
                                    <a:pt x="7156" y="3190"/>
                                  </a:cubicBezTo>
                                  <a:cubicBezTo>
                                    <a:pt x="7162" y="3179"/>
                                    <a:pt x="7165" y="3175"/>
                                    <a:pt x="7165" y="3166"/>
                                  </a:cubicBezTo>
                                  <a:cubicBezTo>
                                    <a:pt x="7165" y="3156"/>
                                    <a:pt x="7166" y="3156"/>
                                    <a:pt x="7159" y="3147"/>
                                  </a:cubicBezTo>
                                  <a:cubicBezTo>
                                    <a:pt x="7152" y="3137"/>
                                    <a:pt x="7151" y="3119"/>
                                    <a:pt x="7150" y="3115"/>
                                  </a:cubicBezTo>
                                  <a:cubicBezTo>
                                    <a:pt x="7149" y="3112"/>
                                    <a:pt x="7153" y="3107"/>
                                    <a:pt x="7154" y="3109"/>
                                  </a:cubicBezTo>
                                  <a:cubicBezTo>
                                    <a:pt x="7156" y="3111"/>
                                    <a:pt x="7158" y="3114"/>
                                    <a:pt x="7157" y="3119"/>
                                  </a:cubicBezTo>
                                  <a:cubicBezTo>
                                    <a:pt x="7157" y="3123"/>
                                    <a:pt x="7161" y="3132"/>
                                    <a:pt x="7163" y="3132"/>
                                  </a:cubicBezTo>
                                  <a:cubicBezTo>
                                    <a:pt x="7164" y="3132"/>
                                    <a:pt x="7167" y="3129"/>
                                    <a:pt x="7165" y="3125"/>
                                  </a:cubicBezTo>
                                  <a:cubicBezTo>
                                    <a:pt x="7163" y="3120"/>
                                    <a:pt x="7164" y="3120"/>
                                    <a:pt x="7162" y="3115"/>
                                  </a:cubicBezTo>
                                  <a:cubicBezTo>
                                    <a:pt x="7160" y="3109"/>
                                    <a:pt x="7161" y="3108"/>
                                    <a:pt x="7160" y="3104"/>
                                  </a:cubicBezTo>
                                  <a:cubicBezTo>
                                    <a:pt x="7160" y="3100"/>
                                    <a:pt x="7158" y="3099"/>
                                    <a:pt x="7156" y="3096"/>
                                  </a:cubicBezTo>
                                  <a:cubicBezTo>
                                    <a:pt x="7153" y="3092"/>
                                    <a:pt x="7150" y="3084"/>
                                    <a:pt x="7147" y="3078"/>
                                  </a:cubicBezTo>
                                  <a:cubicBezTo>
                                    <a:pt x="7144" y="3073"/>
                                    <a:pt x="7144" y="3074"/>
                                    <a:pt x="7140" y="3068"/>
                                  </a:cubicBezTo>
                                  <a:cubicBezTo>
                                    <a:pt x="7136" y="3062"/>
                                    <a:pt x="7134" y="3058"/>
                                    <a:pt x="7138" y="3054"/>
                                  </a:cubicBezTo>
                                  <a:cubicBezTo>
                                    <a:pt x="7142" y="3049"/>
                                    <a:pt x="7147" y="3047"/>
                                    <a:pt x="7147" y="3041"/>
                                  </a:cubicBezTo>
                                  <a:cubicBezTo>
                                    <a:pt x="7146" y="3036"/>
                                    <a:pt x="7142" y="3031"/>
                                    <a:pt x="7139" y="3029"/>
                                  </a:cubicBezTo>
                                  <a:cubicBezTo>
                                    <a:pt x="7136" y="3026"/>
                                    <a:pt x="7135" y="3018"/>
                                    <a:pt x="7130" y="3020"/>
                                  </a:cubicBezTo>
                                  <a:cubicBezTo>
                                    <a:pt x="7126" y="3023"/>
                                    <a:pt x="7130" y="3027"/>
                                    <a:pt x="7128" y="3029"/>
                                  </a:cubicBezTo>
                                  <a:cubicBezTo>
                                    <a:pt x="7126" y="3031"/>
                                    <a:pt x="7128" y="3032"/>
                                    <a:pt x="7121" y="3031"/>
                                  </a:cubicBezTo>
                                  <a:cubicBezTo>
                                    <a:pt x="7114" y="3029"/>
                                    <a:pt x="7110" y="3027"/>
                                    <a:pt x="7106" y="3027"/>
                                  </a:cubicBezTo>
                                  <a:cubicBezTo>
                                    <a:pt x="7101" y="3027"/>
                                    <a:pt x="7098" y="3028"/>
                                    <a:pt x="7102" y="3032"/>
                                  </a:cubicBezTo>
                                  <a:cubicBezTo>
                                    <a:pt x="7105" y="3036"/>
                                    <a:pt x="7104" y="3037"/>
                                    <a:pt x="7112" y="3041"/>
                                  </a:cubicBezTo>
                                  <a:cubicBezTo>
                                    <a:pt x="7120" y="3045"/>
                                    <a:pt x="7125" y="3043"/>
                                    <a:pt x="7126" y="3048"/>
                                  </a:cubicBezTo>
                                  <a:cubicBezTo>
                                    <a:pt x="7127" y="3054"/>
                                    <a:pt x="7127" y="3055"/>
                                    <a:pt x="7125" y="3059"/>
                                  </a:cubicBezTo>
                                  <a:cubicBezTo>
                                    <a:pt x="7122" y="3063"/>
                                    <a:pt x="7120" y="3064"/>
                                    <a:pt x="7123" y="3069"/>
                                  </a:cubicBezTo>
                                  <a:cubicBezTo>
                                    <a:pt x="7125" y="3073"/>
                                    <a:pt x="7127" y="3072"/>
                                    <a:pt x="7129" y="3075"/>
                                  </a:cubicBezTo>
                                  <a:cubicBezTo>
                                    <a:pt x="7132" y="3078"/>
                                    <a:pt x="7134" y="3078"/>
                                    <a:pt x="7132" y="3080"/>
                                  </a:cubicBezTo>
                                  <a:cubicBezTo>
                                    <a:pt x="7129" y="3081"/>
                                    <a:pt x="7126" y="3077"/>
                                    <a:pt x="7124" y="3081"/>
                                  </a:cubicBezTo>
                                  <a:cubicBezTo>
                                    <a:pt x="7121" y="3085"/>
                                    <a:pt x="7120" y="3084"/>
                                    <a:pt x="7123" y="3088"/>
                                  </a:cubicBezTo>
                                  <a:cubicBezTo>
                                    <a:pt x="7126" y="3092"/>
                                    <a:pt x="7131" y="3091"/>
                                    <a:pt x="7127" y="3095"/>
                                  </a:cubicBezTo>
                                  <a:cubicBezTo>
                                    <a:pt x="7122" y="3098"/>
                                    <a:pt x="7123" y="3098"/>
                                    <a:pt x="7117" y="3101"/>
                                  </a:cubicBezTo>
                                  <a:cubicBezTo>
                                    <a:pt x="7111" y="3104"/>
                                    <a:pt x="7111" y="3106"/>
                                    <a:pt x="7105" y="3103"/>
                                  </a:cubicBezTo>
                                  <a:cubicBezTo>
                                    <a:pt x="7100" y="3100"/>
                                    <a:pt x="7101" y="3094"/>
                                    <a:pt x="7097" y="3093"/>
                                  </a:cubicBezTo>
                                  <a:cubicBezTo>
                                    <a:pt x="7094" y="3092"/>
                                    <a:pt x="7091" y="3086"/>
                                    <a:pt x="7087" y="3093"/>
                                  </a:cubicBezTo>
                                  <a:cubicBezTo>
                                    <a:pt x="7083" y="3100"/>
                                    <a:pt x="7082" y="3100"/>
                                    <a:pt x="7078" y="3102"/>
                                  </a:cubicBezTo>
                                  <a:cubicBezTo>
                                    <a:pt x="7075" y="3103"/>
                                    <a:pt x="7067" y="3099"/>
                                    <a:pt x="7070" y="3107"/>
                                  </a:cubicBezTo>
                                  <a:cubicBezTo>
                                    <a:pt x="7072" y="3114"/>
                                    <a:pt x="7069" y="3114"/>
                                    <a:pt x="7073" y="3118"/>
                                  </a:cubicBezTo>
                                  <a:cubicBezTo>
                                    <a:pt x="7077" y="3122"/>
                                    <a:pt x="7080" y="3128"/>
                                    <a:pt x="7080" y="3134"/>
                                  </a:cubicBezTo>
                                  <a:cubicBezTo>
                                    <a:pt x="7080" y="3143"/>
                                    <a:pt x="7080" y="3146"/>
                                    <a:pt x="7076" y="3155"/>
                                  </a:cubicBezTo>
                                  <a:cubicBezTo>
                                    <a:pt x="7072" y="3164"/>
                                    <a:pt x="7070" y="3166"/>
                                    <a:pt x="7071" y="3178"/>
                                  </a:cubicBezTo>
                                  <a:cubicBezTo>
                                    <a:pt x="7072" y="3191"/>
                                    <a:pt x="7073" y="3192"/>
                                    <a:pt x="7070" y="3204"/>
                                  </a:cubicBezTo>
                                  <a:cubicBezTo>
                                    <a:pt x="7067" y="3216"/>
                                    <a:pt x="7065" y="3219"/>
                                    <a:pt x="7068" y="3227"/>
                                  </a:cubicBezTo>
                                  <a:close/>
                                  <a:moveTo>
                                    <a:pt x="7840" y="3473"/>
                                  </a:moveTo>
                                  <a:cubicBezTo>
                                    <a:pt x="7843" y="3470"/>
                                    <a:pt x="7838" y="3465"/>
                                    <a:pt x="7835" y="3469"/>
                                  </a:cubicBezTo>
                                  <a:cubicBezTo>
                                    <a:pt x="7834" y="3473"/>
                                    <a:pt x="7832" y="3474"/>
                                    <a:pt x="7830" y="3476"/>
                                  </a:cubicBezTo>
                                  <a:cubicBezTo>
                                    <a:pt x="7828" y="3479"/>
                                    <a:pt x="7825" y="3482"/>
                                    <a:pt x="7827" y="3482"/>
                                  </a:cubicBezTo>
                                  <a:cubicBezTo>
                                    <a:pt x="7829" y="3483"/>
                                    <a:pt x="7831" y="3483"/>
                                    <a:pt x="7833" y="3480"/>
                                  </a:cubicBezTo>
                                  <a:cubicBezTo>
                                    <a:pt x="7834" y="3477"/>
                                    <a:pt x="7838" y="3475"/>
                                    <a:pt x="7840" y="3473"/>
                                  </a:cubicBezTo>
                                  <a:close/>
                                  <a:moveTo>
                                    <a:pt x="7955" y="3319"/>
                                  </a:moveTo>
                                  <a:cubicBezTo>
                                    <a:pt x="7944" y="3321"/>
                                    <a:pt x="7932" y="3332"/>
                                    <a:pt x="7931" y="3344"/>
                                  </a:cubicBezTo>
                                  <a:cubicBezTo>
                                    <a:pt x="7925" y="3351"/>
                                    <a:pt x="7931" y="3350"/>
                                    <a:pt x="7919" y="3352"/>
                                  </a:cubicBezTo>
                                  <a:cubicBezTo>
                                    <a:pt x="7907" y="3354"/>
                                    <a:pt x="7901" y="3351"/>
                                    <a:pt x="7898" y="3356"/>
                                  </a:cubicBezTo>
                                  <a:cubicBezTo>
                                    <a:pt x="7894" y="3361"/>
                                    <a:pt x="7896" y="3371"/>
                                    <a:pt x="7901" y="3379"/>
                                  </a:cubicBezTo>
                                  <a:cubicBezTo>
                                    <a:pt x="7905" y="3381"/>
                                    <a:pt x="7918" y="3370"/>
                                    <a:pt x="7921" y="3367"/>
                                  </a:cubicBezTo>
                                  <a:cubicBezTo>
                                    <a:pt x="7924" y="3364"/>
                                    <a:pt x="7933" y="3356"/>
                                    <a:pt x="7937" y="3355"/>
                                  </a:cubicBezTo>
                                  <a:cubicBezTo>
                                    <a:pt x="7942" y="3354"/>
                                    <a:pt x="7941" y="3351"/>
                                    <a:pt x="7950" y="3348"/>
                                  </a:cubicBezTo>
                                  <a:cubicBezTo>
                                    <a:pt x="7959" y="3345"/>
                                    <a:pt x="7960" y="3341"/>
                                    <a:pt x="7960" y="3333"/>
                                  </a:cubicBezTo>
                                  <a:cubicBezTo>
                                    <a:pt x="7960" y="3325"/>
                                    <a:pt x="7966" y="3317"/>
                                    <a:pt x="7955" y="3319"/>
                                  </a:cubicBezTo>
                                  <a:close/>
                                  <a:moveTo>
                                    <a:pt x="7868" y="3437"/>
                                  </a:moveTo>
                                  <a:cubicBezTo>
                                    <a:pt x="7876" y="3437"/>
                                    <a:pt x="7878" y="3436"/>
                                    <a:pt x="7880" y="3430"/>
                                  </a:cubicBezTo>
                                  <a:cubicBezTo>
                                    <a:pt x="7881" y="3424"/>
                                    <a:pt x="7875" y="3409"/>
                                    <a:pt x="7875" y="3416"/>
                                  </a:cubicBezTo>
                                  <a:cubicBezTo>
                                    <a:pt x="7873" y="3424"/>
                                    <a:pt x="7866" y="3426"/>
                                    <a:pt x="7865" y="3429"/>
                                  </a:cubicBezTo>
                                  <a:cubicBezTo>
                                    <a:pt x="7864" y="3432"/>
                                    <a:pt x="7859" y="3437"/>
                                    <a:pt x="7868" y="3437"/>
                                  </a:cubicBezTo>
                                  <a:close/>
                                  <a:moveTo>
                                    <a:pt x="7733" y="3591"/>
                                  </a:moveTo>
                                  <a:cubicBezTo>
                                    <a:pt x="7731" y="3592"/>
                                    <a:pt x="7731" y="3597"/>
                                    <a:pt x="7733" y="3597"/>
                                  </a:cubicBezTo>
                                  <a:cubicBezTo>
                                    <a:pt x="7735" y="3597"/>
                                    <a:pt x="7737" y="3595"/>
                                    <a:pt x="7738" y="3593"/>
                                  </a:cubicBezTo>
                                  <a:cubicBezTo>
                                    <a:pt x="7740" y="3590"/>
                                    <a:pt x="7737" y="3590"/>
                                    <a:pt x="7733" y="3591"/>
                                  </a:cubicBezTo>
                                  <a:close/>
                                  <a:moveTo>
                                    <a:pt x="7716" y="3616"/>
                                  </a:moveTo>
                                  <a:cubicBezTo>
                                    <a:pt x="7718" y="3613"/>
                                    <a:pt x="7720" y="3610"/>
                                    <a:pt x="7716" y="3610"/>
                                  </a:cubicBezTo>
                                  <a:cubicBezTo>
                                    <a:pt x="7713" y="3610"/>
                                    <a:pt x="7710" y="3612"/>
                                    <a:pt x="7705" y="3618"/>
                                  </a:cubicBezTo>
                                  <a:cubicBezTo>
                                    <a:pt x="7703" y="3622"/>
                                    <a:pt x="7703" y="3620"/>
                                    <a:pt x="7699" y="3623"/>
                                  </a:cubicBezTo>
                                  <a:cubicBezTo>
                                    <a:pt x="7695" y="3625"/>
                                    <a:pt x="7691" y="3626"/>
                                    <a:pt x="7689" y="3629"/>
                                  </a:cubicBezTo>
                                  <a:cubicBezTo>
                                    <a:pt x="7687" y="3632"/>
                                    <a:pt x="7684" y="3634"/>
                                    <a:pt x="7687" y="3634"/>
                                  </a:cubicBezTo>
                                  <a:cubicBezTo>
                                    <a:pt x="7690" y="3634"/>
                                    <a:pt x="7692" y="3634"/>
                                    <a:pt x="7694" y="3632"/>
                                  </a:cubicBezTo>
                                  <a:cubicBezTo>
                                    <a:pt x="7696" y="3629"/>
                                    <a:pt x="7697" y="3627"/>
                                    <a:pt x="7701" y="3626"/>
                                  </a:cubicBezTo>
                                  <a:cubicBezTo>
                                    <a:pt x="7705" y="3626"/>
                                    <a:pt x="7708" y="3624"/>
                                    <a:pt x="7710" y="3623"/>
                                  </a:cubicBezTo>
                                  <a:cubicBezTo>
                                    <a:pt x="7713" y="3621"/>
                                    <a:pt x="7713" y="3619"/>
                                    <a:pt x="7716" y="3616"/>
                                  </a:cubicBezTo>
                                  <a:close/>
                                  <a:moveTo>
                                    <a:pt x="7615" y="3681"/>
                                  </a:moveTo>
                                  <a:cubicBezTo>
                                    <a:pt x="7615" y="3674"/>
                                    <a:pt x="7605" y="3684"/>
                                    <a:pt x="7598" y="3684"/>
                                  </a:cubicBezTo>
                                  <a:cubicBezTo>
                                    <a:pt x="7591" y="3685"/>
                                    <a:pt x="7583" y="3687"/>
                                    <a:pt x="7579" y="3695"/>
                                  </a:cubicBezTo>
                                  <a:cubicBezTo>
                                    <a:pt x="7574" y="3703"/>
                                    <a:pt x="7575" y="3703"/>
                                    <a:pt x="7568" y="3707"/>
                                  </a:cubicBezTo>
                                  <a:cubicBezTo>
                                    <a:pt x="7561" y="3711"/>
                                    <a:pt x="7556" y="3716"/>
                                    <a:pt x="7554" y="3720"/>
                                  </a:cubicBezTo>
                                  <a:cubicBezTo>
                                    <a:pt x="7551" y="3724"/>
                                    <a:pt x="7546" y="3726"/>
                                    <a:pt x="7552" y="3725"/>
                                  </a:cubicBezTo>
                                  <a:cubicBezTo>
                                    <a:pt x="7557" y="3725"/>
                                    <a:pt x="7560" y="3719"/>
                                    <a:pt x="7566" y="3715"/>
                                  </a:cubicBezTo>
                                  <a:cubicBezTo>
                                    <a:pt x="7572" y="3712"/>
                                    <a:pt x="7575" y="3710"/>
                                    <a:pt x="7582" y="3707"/>
                                  </a:cubicBezTo>
                                  <a:cubicBezTo>
                                    <a:pt x="7588" y="3704"/>
                                    <a:pt x="7589" y="3697"/>
                                    <a:pt x="7599" y="3694"/>
                                  </a:cubicBezTo>
                                  <a:cubicBezTo>
                                    <a:pt x="7608" y="3690"/>
                                    <a:pt x="7614" y="3689"/>
                                    <a:pt x="7615" y="3681"/>
                                  </a:cubicBezTo>
                                  <a:close/>
                                  <a:moveTo>
                                    <a:pt x="7786" y="3539"/>
                                  </a:moveTo>
                                  <a:cubicBezTo>
                                    <a:pt x="7788" y="3537"/>
                                    <a:pt x="7788" y="3536"/>
                                    <a:pt x="7786" y="3533"/>
                                  </a:cubicBezTo>
                                  <a:cubicBezTo>
                                    <a:pt x="7785" y="3531"/>
                                    <a:pt x="7778" y="3529"/>
                                    <a:pt x="7777" y="3533"/>
                                  </a:cubicBezTo>
                                  <a:cubicBezTo>
                                    <a:pt x="7775" y="3535"/>
                                    <a:pt x="7776" y="3537"/>
                                    <a:pt x="7779" y="3539"/>
                                  </a:cubicBezTo>
                                  <a:cubicBezTo>
                                    <a:pt x="7783" y="3540"/>
                                    <a:pt x="7784" y="3541"/>
                                    <a:pt x="7786" y="3539"/>
                                  </a:cubicBezTo>
                                  <a:close/>
                                  <a:moveTo>
                                    <a:pt x="7767" y="3555"/>
                                  </a:moveTo>
                                  <a:cubicBezTo>
                                    <a:pt x="7766" y="3559"/>
                                    <a:pt x="7763" y="3558"/>
                                    <a:pt x="7763" y="3561"/>
                                  </a:cubicBezTo>
                                  <a:cubicBezTo>
                                    <a:pt x="7763" y="3564"/>
                                    <a:pt x="7763" y="3565"/>
                                    <a:pt x="7766" y="3563"/>
                                  </a:cubicBezTo>
                                  <a:cubicBezTo>
                                    <a:pt x="7769" y="3562"/>
                                    <a:pt x="7769" y="3560"/>
                                    <a:pt x="7772" y="3557"/>
                                  </a:cubicBezTo>
                                  <a:cubicBezTo>
                                    <a:pt x="7774" y="3554"/>
                                    <a:pt x="7768" y="3551"/>
                                    <a:pt x="7767" y="3555"/>
                                  </a:cubicBezTo>
                                  <a:close/>
                                  <a:moveTo>
                                    <a:pt x="7491" y="3751"/>
                                  </a:moveTo>
                                  <a:cubicBezTo>
                                    <a:pt x="7496" y="3749"/>
                                    <a:pt x="7499" y="3747"/>
                                    <a:pt x="7504" y="3747"/>
                                  </a:cubicBezTo>
                                  <a:cubicBezTo>
                                    <a:pt x="7509" y="3746"/>
                                    <a:pt x="7511" y="3745"/>
                                    <a:pt x="7510" y="3739"/>
                                  </a:cubicBezTo>
                                  <a:cubicBezTo>
                                    <a:pt x="7509" y="3733"/>
                                    <a:pt x="7500" y="3731"/>
                                    <a:pt x="7496" y="3737"/>
                                  </a:cubicBezTo>
                                  <a:cubicBezTo>
                                    <a:pt x="7491" y="3742"/>
                                    <a:pt x="7489" y="3744"/>
                                    <a:pt x="7486" y="3746"/>
                                  </a:cubicBezTo>
                                  <a:cubicBezTo>
                                    <a:pt x="7482" y="3748"/>
                                    <a:pt x="7477" y="3749"/>
                                    <a:pt x="7482" y="3751"/>
                                  </a:cubicBezTo>
                                  <a:cubicBezTo>
                                    <a:pt x="7486" y="3752"/>
                                    <a:pt x="7486" y="3752"/>
                                    <a:pt x="7491" y="3751"/>
                                  </a:cubicBezTo>
                                  <a:close/>
                                  <a:moveTo>
                                    <a:pt x="7466" y="3755"/>
                                  </a:moveTo>
                                  <a:cubicBezTo>
                                    <a:pt x="7461" y="3753"/>
                                    <a:pt x="7458" y="3755"/>
                                    <a:pt x="7456" y="3751"/>
                                  </a:cubicBezTo>
                                  <a:cubicBezTo>
                                    <a:pt x="7454" y="3747"/>
                                    <a:pt x="7450" y="3743"/>
                                    <a:pt x="7445" y="3749"/>
                                  </a:cubicBezTo>
                                  <a:cubicBezTo>
                                    <a:pt x="7442" y="3754"/>
                                    <a:pt x="7438" y="3756"/>
                                    <a:pt x="7434" y="3761"/>
                                  </a:cubicBezTo>
                                  <a:cubicBezTo>
                                    <a:pt x="7429" y="3765"/>
                                    <a:pt x="7425" y="3765"/>
                                    <a:pt x="7427" y="3769"/>
                                  </a:cubicBezTo>
                                  <a:cubicBezTo>
                                    <a:pt x="7429" y="3774"/>
                                    <a:pt x="7428" y="3775"/>
                                    <a:pt x="7436" y="3774"/>
                                  </a:cubicBezTo>
                                  <a:cubicBezTo>
                                    <a:pt x="7444" y="3774"/>
                                    <a:pt x="7445" y="3773"/>
                                    <a:pt x="7452" y="3767"/>
                                  </a:cubicBezTo>
                                  <a:cubicBezTo>
                                    <a:pt x="7458" y="3762"/>
                                    <a:pt x="7462" y="3763"/>
                                    <a:pt x="7466" y="3760"/>
                                  </a:cubicBezTo>
                                  <a:cubicBezTo>
                                    <a:pt x="7470" y="3758"/>
                                    <a:pt x="7471" y="3756"/>
                                    <a:pt x="7466" y="3755"/>
                                  </a:cubicBezTo>
                                  <a:close/>
                                  <a:moveTo>
                                    <a:pt x="7395" y="3812"/>
                                  </a:moveTo>
                                  <a:cubicBezTo>
                                    <a:pt x="7402" y="3807"/>
                                    <a:pt x="7402" y="3804"/>
                                    <a:pt x="7409" y="3801"/>
                                  </a:cubicBezTo>
                                  <a:cubicBezTo>
                                    <a:pt x="7417" y="3797"/>
                                    <a:pt x="7419" y="3793"/>
                                    <a:pt x="7422" y="3788"/>
                                  </a:cubicBezTo>
                                  <a:cubicBezTo>
                                    <a:pt x="7424" y="3784"/>
                                    <a:pt x="7425" y="3785"/>
                                    <a:pt x="7425" y="3780"/>
                                  </a:cubicBezTo>
                                  <a:cubicBezTo>
                                    <a:pt x="7425" y="3775"/>
                                    <a:pt x="7423" y="3776"/>
                                    <a:pt x="7419" y="3778"/>
                                  </a:cubicBezTo>
                                  <a:cubicBezTo>
                                    <a:pt x="7416" y="3780"/>
                                    <a:pt x="7413" y="3782"/>
                                    <a:pt x="7410" y="3784"/>
                                  </a:cubicBezTo>
                                  <a:cubicBezTo>
                                    <a:pt x="7407" y="3785"/>
                                    <a:pt x="7404" y="3785"/>
                                    <a:pt x="7399" y="3790"/>
                                  </a:cubicBezTo>
                                  <a:cubicBezTo>
                                    <a:pt x="7397" y="3794"/>
                                    <a:pt x="7393" y="3794"/>
                                    <a:pt x="7391" y="3800"/>
                                  </a:cubicBezTo>
                                  <a:cubicBezTo>
                                    <a:pt x="7389" y="3806"/>
                                    <a:pt x="7386" y="3813"/>
                                    <a:pt x="7388" y="3815"/>
                                  </a:cubicBezTo>
                                  <a:cubicBezTo>
                                    <a:pt x="7390" y="3816"/>
                                    <a:pt x="7387" y="3816"/>
                                    <a:pt x="7395" y="3812"/>
                                  </a:cubicBezTo>
                                  <a:close/>
                                  <a:moveTo>
                                    <a:pt x="7353" y="3816"/>
                                  </a:moveTo>
                                  <a:cubicBezTo>
                                    <a:pt x="7347" y="3816"/>
                                    <a:pt x="7347" y="3815"/>
                                    <a:pt x="7344" y="3813"/>
                                  </a:cubicBezTo>
                                  <a:cubicBezTo>
                                    <a:pt x="7341" y="3812"/>
                                    <a:pt x="7337" y="3811"/>
                                    <a:pt x="7334" y="3814"/>
                                  </a:cubicBezTo>
                                  <a:cubicBezTo>
                                    <a:pt x="7331" y="3816"/>
                                    <a:pt x="7333" y="3821"/>
                                    <a:pt x="7327" y="3827"/>
                                  </a:cubicBezTo>
                                  <a:cubicBezTo>
                                    <a:pt x="7321" y="3834"/>
                                    <a:pt x="7317" y="3836"/>
                                    <a:pt x="7311" y="3840"/>
                                  </a:cubicBezTo>
                                  <a:cubicBezTo>
                                    <a:pt x="7306" y="3844"/>
                                    <a:pt x="7301" y="3854"/>
                                    <a:pt x="7301" y="3857"/>
                                  </a:cubicBezTo>
                                  <a:cubicBezTo>
                                    <a:pt x="7301" y="3860"/>
                                    <a:pt x="7301" y="3866"/>
                                    <a:pt x="7304" y="3863"/>
                                  </a:cubicBezTo>
                                  <a:cubicBezTo>
                                    <a:pt x="7307" y="3860"/>
                                    <a:pt x="7305" y="3856"/>
                                    <a:pt x="7311" y="3853"/>
                                  </a:cubicBezTo>
                                  <a:cubicBezTo>
                                    <a:pt x="7316" y="3849"/>
                                    <a:pt x="7318" y="3847"/>
                                    <a:pt x="7325" y="3843"/>
                                  </a:cubicBezTo>
                                  <a:cubicBezTo>
                                    <a:pt x="7333" y="3838"/>
                                    <a:pt x="7336" y="3836"/>
                                    <a:pt x="7340" y="3832"/>
                                  </a:cubicBezTo>
                                  <a:cubicBezTo>
                                    <a:pt x="7344" y="3828"/>
                                    <a:pt x="7345" y="3825"/>
                                    <a:pt x="7352" y="3824"/>
                                  </a:cubicBezTo>
                                  <a:cubicBezTo>
                                    <a:pt x="7358" y="3822"/>
                                    <a:pt x="7366" y="3821"/>
                                    <a:pt x="7364" y="3818"/>
                                  </a:cubicBezTo>
                                  <a:cubicBezTo>
                                    <a:pt x="7362" y="3815"/>
                                    <a:pt x="7358" y="3816"/>
                                    <a:pt x="7353" y="3816"/>
                                  </a:cubicBezTo>
                                  <a:close/>
                                  <a:moveTo>
                                    <a:pt x="332" y="2469"/>
                                  </a:moveTo>
                                  <a:cubicBezTo>
                                    <a:pt x="332" y="2469"/>
                                    <a:pt x="332" y="2469"/>
                                    <a:pt x="332" y="2469"/>
                                  </a:cubicBezTo>
                                  <a:cubicBezTo>
                                    <a:pt x="327" y="2479"/>
                                    <a:pt x="322" y="2470"/>
                                    <a:pt x="319" y="2475"/>
                                  </a:cubicBezTo>
                                  <a:cubicBezTo>
                                    <a:pt x="315" y="2479"/>
                                    <a:pt x="322" y="2488"/>
                                    <a:pt x="319" y="2497"/>
                                  </a:cubicBezTo>
                                  <a:cubicBezTo>
                                    <a:pt x="316" y="2507"/>
                                    <a:pt x="301" y="2504"/>
                                    <a:pt x="293" y="2498"/>
                                  </a:cubicBezTo>
                                  <a:cubicBezTo>
                                    <a:pt x="285" y="2492"/>
                                    <a:pt x="269" y="2489"/>
                                    <a:pt x="262" y="2493"/>
                                  </a:cubicBezTo>
                                  <a:cubicBezTo>
                                    <a:pt x="255" y="2497"/>
                                    <a:pt x="254" y="2508"/>
                                    <a:pt x="254" y="2518"/>
                                  </a:cubicBezTo>
                                  <a:cubicBezTo>
                                    <a:pt x="254" y="2528"/>
                                    <a:pt x="245" y="2529"/>
                                    <a:pt x="235" y="2528"/>
                                  </a:cubicBezTo>
                                  <a:cubicBezTo>
                                    <a:pt x="225" y="2527"/>
                                    <a:pt x="226" y="2518"/>
                                    <a:pt x="225" y="2510"/>
                                  </a:cubicBezTo>
                                  <a:cubicBezTo>
                                    <a:pt x="224" y="2502"/>
                                    <a:pt x="223" y="2492"/>
                                    <a:pt x="213" y="2483"/>
                                  </a:cubicBezTo>
                                  <a:cubicBezTo>
                                    <a:pt x="202" y="2473"/>
                                    <a:pt x="200" y="2466"/>
                                    <a:pt x="194" y="2452"/>
                                  </a:cubicBezTo>
                                  <a:cubicBezTo>
                                    <a:pt x="189" y="2437"/>
                                    <a:pt x="183" y="2430"/>
                                    <a:pt x="174" y="2427"/>
                                  </a:cubicBezTo>
                                  <a:cubicBezTo>
                                    <a:pt x="166" y="2424"/>
                                    <a:pt x="157" y="2421"/>
                                    <a:pt x="153" y="2415"/>
                                  </a:cubicBezTo>
                                  <a:cubicBezTo>
                                    <a:pt x="149" y="2409"/>
                                    <a:pt x="153" y="2405"/>
                                    <a:pt x="157" y="2405"/>
                                  </a:cubicBezTo>
                                  <a:cubicBezTo>
                                    <a:pt x="161" y="2405"/>
                                    <a:pt x="168" y="2395"/>
                                    <a:pt x="169" y="2385"/>
                                  </a:cubicBezTo>
                                  <a:cubicBezTo>
                                    <a:pt x="169" y="2375"/>
                                    <a:pt x="175" y="2377"/>
                                    <a:pt x="184" y="2377"/>
                                  </a:cubicBezTo>
                                  <a:cubicBezTo>
                                    <a:pt x="192" y="2377"/>
                                    <a:pt x="196" y="2376"/>
                                    <a:pt x="200" y="2366"/>
                                  </a:cubicBezTo>
                                  <a:cubicBezTo>
                                    <a:pt x="207" y="2357"/>
                                    <a:pt x="220" y="2355"/>
                                    <a:pt x="227" y="2363"/>
                                  </a:cubicBezTo>
                                  <a:cubicBezTo>
                                    <a:pt x="235" y="2371"/>
                                    <a:pt x="252" y="2370"/>
                                    <a:pt x="259" y="2382"/>
                                  </a:cubicBezTo>
                                  <a:cubicBezTo>
                                    <a:pt x="266" y="2394"/>
                                    <a:pt x="276" y="2395"/>
                                    <a:pt x="288" y="2401"/>
                                  </a:cubicBezTo>
                                  <a:cubicBezTo>
                                    <a:pt x="300" y="2407"/>
                                    <a:pt x="312" y="2410"/>
                                    <a:pt x="316" y="2422"/>
                                  </a:cubicBezTo>
                                  <a:cubicBezTo>
                                    <a:pt x="320" y="2434"/>
                                    <a:pt x="322" y="2438"/>
                                    <a:pt x="330" y="2447"/>
                                  </a:cubicBezTo>
                                  <a:cubicBezTo>
                                    <a:pt x="339" y="2455"/>
                                    <a:pt x="337" y="2459"/>
                                    <a:pt x="332" y="2469"/>
                                  </a:cubicBezTo>
                                  <a:close/>
                                  <a:moveTo>
                                    <a:pt x="552" y="2402"/>
                                  </a:moveTo>
                                  <a:cubicBezTo>
                                    <a:pt x="552" y="2402"/>
                                    <a:pt x="552" y="2402"/>
                                    <a:pt x="552" y="2402"/>
                                  </a:cubicBezTo>
                                  <a:cubicBezTo>
                                    <a:pt x="555" y="2411"/>
                                    <a:pt x="555" y="2418"/>
                                    <a:pt x="545" y="2422"/>
                                  </a:cubicBezTo>
                                  <a:cubicBezTo>
                                    <a:pt x="535" y="2425"/>
                                    <a:pt x="542" y="2430"/>
                                    <a:pt x="524" y="2430"/>
                                  </a:cubicBezTo>
                                  <a:cubicBezTo>
                                    <a:pt x="507" y="2431"/>
                                    <a:pt x="495" y="2433"/>
                                    <a:pt x="496" y="2427"/>
                                  </a:cubicBezTo>
                                  <a:cubicBezTo>
                                    <a:pt x="496" y="2420"/>
                                    <a:pt x="503" y="2421"/>
                                    <a:pt x="504" y="2414"/>
                                  </a:cubicBezTo>
                                  <a:cubicBezTo>
                                    <a:pt x="505" y="2407"/>
                                    <a:pt x="509" y="2401"/>
                                    <a:pt x="490" y="2395"/>
                                  </a:cubicBezTo>
                                  <a:cubicBezTo>
                                    <a:pt x="471" y="2390"/>
                                    <a:pt x="470" y="2390"/>
                                    <a:pt x="464" y="2379"/>
                                  </a:cubicBezTo>
                                  <a:cubicBezTo>
                                    <a:pt x="457" y="2369"/>
                                    <a:pt x="441" y="2358"/>
                                    <a:pt x="430" y="2352"/>
                                  </a:cubicBezTo>
                                  <a:cubicBezTo>
                                    <a:pt x="418" y="2346"/>
                                    <a:pt x="436" y="2347"/>
                                    <a:pt x="435" y="2340"/>
                                  </a:cubicBezTo>
                                  <a:cubicBezTo>
                                    <a:pt x="434" y="2333"/>
                                    <a:pt x="431" y="2331"/>
                                    <a:pt x="426" y="2324"/>
                                  </a:cubicBezTo>
                                  <a:cubicBezTo>
                                    <a:pt x="420" y="2316"/>
                                    <a:pt x="418" y="2314"/>
                                    <a:pt x="418" y="2307"/>
                                  </a:cubicBezTo>
                                  <a:cubicBezTo>
                                    <a:pt x="418" y="2301"/>
                                    <a:pt x="410" y="2299"/>
                                    <a:pt x="409" y="2294"/>
                                  </a:cubicBezTo>
                                  <a:cubicBezTo>
                                    <a:pt x="409" y="2289"/>
                                    <a:pt x="414" y="2290"/>
                                    <a:pt x="419" y="2296"/>
                                  </a:cubicBezTo>
                                  <a:cubicBezTo>
                                    <a:pt x="424" y="2302"/>
                                    <a:pt x="426" y="2301"/>
                                    <a:pt x="429" y="2310"/>
                                  </a:cubicBezTo>
                                  <a:cubicBezTo>
                                    <a:pt x="432" y="2319"/>
                                    <a:pt x="433" y="2321"/>
                                    <a:pt x="440" y="2322"/>
                                  </a:cubicBezTo>
                                  <a:cubicBezTo>
                                    <a:pt x="447" y="2322"/>
                                    <a:pt x="448" y="2318"/>
                                    <a:pt x="445" y="2310"/>
                                  </a:cubicBezTo>
                                  <a:cubicBezTo>
                                    <a:pt x="442" y="2302"/>
                                    <a:pt x="436" y="2302"/>
                                    <a:pt x="439" y="2296"/>
                                  </a:cubicBezTo>
                                  <a:cubicBezTo>
                                    <a:pt x="441" y="2290"/>
                                    <a:pt x="438" y="2288"/>
                                    <a:pt x="439" y="2284"/>
                                  </a:cubicBezTo>
                                  <a:cubicBezTo>
                                    <a:pt x="439" y="2279"/>
                                    <a:pt x="442" y="2279"/>
                                    <a:pt x="446" y="2286"/>
                                  </a:cubicBezTo>
                                  <a:cubicBezTo>
                                    <a:pt x="450" y="2294"/>
                                    <a:pt x="452" y="2295"/>
                                    <a:pt x="457" y="2304"/>
                                  </a:cubicBezTo>
                                  <a:cubicBezTo>
                                    <a:pt x="463" y="2314"/>
                                    <a:pt x="465" y="2323"/>
                                    <a:pt x="469" y="2321"/>
                                  </a:cubicBezTo>
                                  <a:cubicBezTo>
                                    <a:pt x="474" y="2319"/>
                                    <a:pt x="470" y="2313"/>
                                    <a:pt x="474" y="2313"/>
                                  </a:cubicBezTo>
                                  <a:cubicBezTo>
                                    <a:pt x="477" y="2312"/>
                                    <a:pt x="481" y="2316"/>
                                    <a:pt x="485" y="2312"/>
                                  </a:cubicBezTo>
                                  <a:cubicBezTo>
                                    <a:pt x="490" y="2309"/>
                                    <a:pt x="491" y="2309"/>
                                    <a:pt x="492" y="2300"/>
                                  </a:cubicBezTo>
                                  <a:cubicBezTo>
                                    <a:pt x="493" y="2290"/>
                                    <a:pt x="488" y="2278"/>
                                    <a:pt x="481" y="2283"/>
                                  </a:cubicBezTo>
                                  <a:cubicBezTo>
                                    <a:pt x="475" y="2287"/>
                                    <a:pt x="469" y="2291"/>
                                    <a:pt x="464" y="2286"/>
                                  </a:cubicBezTo>
                                  <a:cubicBezTo>
                                    <a:pt x="460" y="2282"/>
                                    <a:pt x="460" y="2279"/>
                                    <a:pt x="456" y="2273"/>
                                  </a:cubicBezTo>
                                  <a:cubicBezTo>
                                    <a:pt x="452" y="2268"/>
                                    <a:pt x="440" y="2262"/>
                                    <a:pt x="438" y="2255"/>
                                  </a:cubicBezTo>
                                  <a:cubicBezTo>
                                    <a:pt x="436" y="2249"/>
                                    <a:pt x="435" y="2245"/>
                                    <a:pt x="437" y="2243"/>
                                  </a:cubicBezTo>
                                  <a:cubicBezTo>
                                    <a:pt x="439" y="2240"/>
                                    <a:pt x="434" y="2241"/>
                                    <a:pt x="450" y="2252"/>
                                  </a:cubicBezTo>
                                  <a:cubicBezTo>
                                    <a:pt x="466" y="2263"/>
                                    <a:pt x="460" y="2261"/>
                                    <a:pt x="474" y="2265"/>
                                  </a:cubicBezTo>
                                  <a:cubicBezTo>
                                    <a:pt x="488" y="2269"/>
                                    <a:pt x="501" y="2271"/>
                                    <a:pt x="507" y="2276"/>
                                  </a:cubicBezTo>
                                  <a:cubicBezTo>
                                    <a:pt x="512" y="2281"/>
                                    <a:pt x="516" y="2279"/>
                                    <a:pt x="516" y="2291"/>
                                  </a:cubicBezTo>
                                  <a:cubicBezTo>
                                    <a:pt x="515" y="2304"/>
                                    <a:pt x="514" y="2311"/>
                                    <a:pt x="511" y="2316"/>
                                  </a:cubicBezTo>
                                  <a:cubicBezTo>
                                    <a:pt x="507" y="2321"/>
                                    <a:pt x="500" y="2317"/>
                                    <a:pt x="508" y="2327"/>
                                  </a:cubicBezTo>
                                  <a:cubicBezTo>
                                    <a:pt x="515" y="2337"/>
                                    <a:pt x="524" y="2338"/>
                                    <a:pt x="524" y="2347"/>
                                  </a:cubicBezTo>
                                  <a:cubicBezTo>
                                    <a:pt x="526" y="2358"/>
                                    <a:pt x="523" y="2357"/>
                                    <a:pt x="536" y="2366"/>
                                  </a:cubicBezTo>
                                  <a:cubicBezTo>
                                    <a:pt x="548" y="2376"/>
                                    <a:pt x="555" y="2372"/>
                                    <a:pt x="555" y="2383"/>
                                  </a:cubicBezTo>
                                  <a:cubicBezTo>
                                    <a:pt x="555" y="2394"/>
                                    <a:pt x="549" y="2394"/>
                                    <a:pt x="552" y="2402"/>
                                  </a:cubicBezTo>
                                  <a:close/>
                                  <a:moveTo>
                                    <a:pt x="5090" y="2964"/>
                                  </a:moveTo>
                                  <a:cubicBezTo>
                                    <a:pt x="5090" y="2964"/>
                                    <a:pt x="5090" y="2964"/>
                                    <a:pt x="5090" y="2964"/>
                                  </a:cubicBezTo>
                                  <a:cubicBezTo>
                                    <a:pt x="5083" y="2988"/>
                                    <a:pt x="5086" y="2982"/>
                                    <a:pt x="5074" y="3000"/>
                                  </a:cubicBezTo>
                                  <a:cubicBezTo>
                                    <a:pt x="5063" y="3017"/>
                                    <a:pt x="5072" y="3028"/>
                                    <a:pt x="5072" y="3039"/>
                                  </a:cubicBezTo>
                                  <a:cubicBezTo>
                                    <a:pt x="5072" y="3049"/>
                                    <a:pt x="5067" y="3066"/>
                                    <a:pt x="5061" y="3075"/>
                                  </a:cubicBezTo>
                                  <a:cubicBezTo>
                                    <a:pt x="5054" y="3084"/>
                                    <a:pt x="5047" y="3069"/>
                                    <a:pt x="5037" y="3066"/>
                                  </a:cubicBezTo>
                                  <a:cubicBezTo>
                                    <a:pt x="5027" y="3063"/>
                                    <a:pt x="5026" y="3070"/>
                                    <a:pt x="5023" y="3084"/>
                                  </a:cubicBezTo>
                                  <a:cubicBezTo>
                                    <a:pt x="5021" y="3097"/>
                                    <a:pt x="5028" y="3089"/>
                                    <a:pt x="5037" y="3091"/>
                                  </a:cubicBezTo>
                                  <a:cubicBezTo>
                                    <a:pt x="5046" y="3093"/>
                                    <a:pt x="5039" y="3100"/>
                                    <a:pt x="5028" y="3105"/>
                                  </a:cubicBezTo>
                                  <a:cubicBezTo>
                                    <a:pt x="5017" y="3109"/>
                                    <a:pt x="5010" y="3118"/>
                                    <a:pt x="5002" y="3133"/>
                                  </a:cubicBezTo>
                                  <a:cubicBezTo>
                                    <a:pt x="4994" y="3147"/>
                                    <a:pt x="4987" y="3148"/>
                                    <a:pt x="4972" y="3151"/>
                                  </a:cubicBezTo>
                                  <a:cubicBezTo>
                                    <a:pt x="4958" y="3155"/>
                                    <a:pt x="4951" y="3157"/>
                                    <a:pt x="4942" y="3166"/>
                                  </a:cubicBezTo>
                                  <a:cubicBezTo>
                                    <a:pt x="4933" y="3175"/>
                                    <a:pt x="4920" y="3181"/>
                                    <a:pt x="4911" y="3185"/>
                                  </a:cubicBezTo>
                                  <a:cubicBezTo>
                                    <a:pt x="4901" y="3188"/>
                                    <a:pt x="4884" y="3187"/>
                                    <a:pt x="4881" y="3195"/>
                                  </a:cubicBezTo>
                                  <a:cubicBezTo>
                                    <a:pt x="4878" y="3203"/>
                                    <a:pt x="4869" y="3224"/>
                                    <a:pt x="4860" y="3231"/>
                                  </a:cubicBezTo>
                                  <a:cubicBezTo>
                                    <a:pt x="4852" y="3239"/>
                                    <a:pt x="4815" y="3251"/>
                                    <a:pt x="4787" y="3256"/>
                                  </a:cubicBezTo>
                                  <a:cubicBezTo>
                                    <a:pt x="4758" y="3262"/>
                                    <a:pt x="4738" y="3256"/>
                                    <a:pt x="4724" y="3252"/>
                                  </a:cubicBezTo>
                                  <a:cubicBezTo>
                                    <a:pt x="4710" y="3248"/>
                                    <a:pt x="4723" y="3237"/>
                                    <a:pt x="4735" y="3233"/>
                                  </a:cubicBezTo>
                                  <a:cubicBezTo>
                                    <a:pt x="4746" y="3228"/>
                                    <a:pt x="4774" y="3225"/>
                                    <a:pt x="4794" y="3221"/>
                                  </a:cubicBezTo>
                                  <a:cubicBezTo>
                                    <a:pt x="4814" y="3216"/>
                                    <a:pt x="4826" y="3212"/>
                                    <a:pt x="4838" y="3197"/>
                                  </a:cubicBezTo>
                                  <a:cubicBezTo>
                                    <a:pt x="4850" y="3183"/>
                                    <a:pt x="4847" y="3177"/>
                                    <a:pt x="4860" y="3171"/>
                                  </a:cubicBezTo>
                                  <a:cubicBezTo>
                                    <a:pt x="4873" y="3165"/>
                                    <a:pt x="4882" y="3163"/>
                                    <a:pt x="4890" y="3156"/>
                                  </a:cubicBezTo>
                                  <a:cubicBezTo>
                                    <a:pt x="4898" y="3148"/>
                                    <a:pt x="4900" y="3150"/>
                                    <a:pt x="4900" y="3139"/>
                                  </a:cubicBezTo>
                                  <a:cubicBezTo>
                                    <a:pt x="4901" y="3127"/>
                                    <a:pt x="4903" y="3127"/>
                                    <a:pt x="4914" y="3120"/>
                                  </a:cubicBezTo>
                                  <a:cubicBezTo>
                                    <a:pt x="4925" y="3113"/>
                                    <a:pt x="4947" y="3101"/>
                                    <a:pt x="4965" y="3082"/>
                                  </a:cubicBezTo>
                                  <a:cubicBezTo>
                                    <a:pt x="4990" y="3059"/>
                                    <a:pt x="5021" y="3014"/>
                                    <a:pt x="5033" y="2997"/>
                                  </a:cubicBezTo>
                                  <a:cubicBezTo>
                                    <a:pt x="5046" y="2979"/>
                                    <a:pt x="5042" y="2973"/>
                                    <a:pt x="5052" y="2940"/>
                                  </a:cubicBezTo>
                                  <a:cubicBezTo>
                                    <a:pt x="5063" y="2906"/>
                                    <a:pt x="5069" y="2912"/>
                                    <a:pt x="5079" y="2902"/>
                                  </a:cubicBezTo>
                                  <a:cubicBezTo>
                                    <a:pt x="5088" y="2892"/>
                                    <a:pt x="5098" y="2895"/>
                                    <a:pt x="5099" y="2907"/>
                                  </a:cubicBezTo>
                                  <a:cubicBezTo>
                                    <a:pt x="5100" y="2919"/>
                                    <a:pt x="5096" y="2940"/>
                                    <a:pt x="5090" y="2964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6" name="Freeform 416"/>
                            <p:cNvSpPr>
                              <a:spLocks noEditPoints="1"/>
                            </p:cNvSpPr>
                            <p:nvPr/>
                          </p:nvSpPr>
                          <p:spPr bwMode="auto">
                            <a:xfrm>
                              <a:off x="4223260" y="3367775"/>
                              <a:ext cx="170259" cy="310753"/>
                            </a:xfrm>
                            <a:custGeom>
                              <a:avLst/>
                              <a:gdLst>
                                <a:gd name="T0" fmla="*/ 178 w 594"/>
                                <a:gd name="T1" fmla="*/ 520 h 1081"/>
                                <a:gd name="T2" fmla="*/ 142 w 594"/>
                                <a:gd name="T3" fmla="*/ 574 h 1081"/>
                                <a:gd name="T4" fmla="*/ 149 w 594"/>
                                <a:gd name="T5" fmla="*/ 613 h 1081"/>
                                <a:gd name="T6" fmla="*/ 163 w 594"/>
                                <a:gd name="T7" fmla="*/ 566 h 1081"/>
                                <a:gd name="T8" fmla="*/ 197 w 594"/>
                                <a:gd name="T9" fmla="*/ 575 h 1081"/>
                                <a:gd name="T10" fmla="*/ 174 w 594"/>
                                <a:gd name="T11" fmla="*/ 670 h 1081"/>
                                <a:gd name="T12" fmla="*/ 217 w 594"/>
                                <a:gd name="T13" fmla="*/ 673 h 1081"/>
                                <a:gd name="T14" fmla="*/ 282 w 594"/>
                                <a:gd name="T15" fmla="*/ 675 h 1081"/>
                                <a:gd name="T16" fmla="*/ 309 w 594"/>
                                <a:gd name="T17" fmla="*/ 750 h 1081"/>
                                <a:gd name="T18" fmla="*/ 301 w 594"/>
                                <a:gd name="T19" fmla="*/ 805 h 1081"/>
                                <a:gd name="T20" fmla="*/ 210 w 594"/>
                                <a:gd name="T21" fmla="*/ 848 h 1081"/>
                                <a:gd name="T22" fmla="*/ 190 w 594"/>
                                <a:gd name="T23" fmla="*/ 918 h 1081"/>
                                <a:gd name="T24" fmla="*/ 251 w 594"/>
                                <a:gd name="T25" fmla="*/ 955 h 1081"/>
                                <a:gd name="T26" fmla="*/ 284 w 594"/>
                                <a:gd name="T27" fmla="*/ 986 h 1081"/>
                                <a:gd name="T28" fmla="*/ 183 w 594"/>
                                <a:gd name="T29" fmla="*/ 1044 h 1081"/>
                                <a:gd name="T30" fmla="*/ 179 w 594"/>
                                <a:gd name="T31" fmla="*/ 1062 h 1081"/>
                                <a:gd name="T32" fmla="*/ 292 w 594"/>
                                <a:gd name="T33" fmla="*/ 1021 h 1081"/>
                                <a:gd name="T34" fmla="*/ 405 w 594"/>
                                <a:gd name="T35" fmla="*/ 1008 h 1081"/>
                                <a:gd name="T36" fmla="*/ 565 w 594"/>
                                <a:gd name="T37" fmla="*/ 971 h 1081"/>
                                <a:gd name="T38" fmla="*/ 529 w 594"/>
                                <a:gd name="T39" fmla="*/ 947 h 1081"/>
                                <a:gd name="T40" fmla="*/ 588 w 594"/>
                                <a:gd name="T41" fmla="*/ 898 h 1081"/>
                                <a:gd name="T42" fmla="*/ 504 w 594"/>
                                <a:gd name="T43" fmla="*/ 828 h 1081"/>
                                <a:gd name="T44" fmla="*/ 490 w 594"/>
                                <a:gd name="T45" fmla="*/ 785 h 1081"/>
                                <a:gd name="T46" fmla="*/ 376 w 594"/>
                                <a:gd name="T47" fmla="*/ 608 h 1081"/>
                                <a:gd name="T48" fmla="*/ 318 w 594"/>
                                <a:gd name="T49" fmla="*/ 560 h 1081"/>
                                <a:gd name="T50" fmla="*/ 358 w 594"/>
                                <a:gd name="T51" fmla="*/ 472 h 1081"/>
                                <a:gd name="T52" fmla="*/ 217 w 594"/>
                                <a:gd name="T53" fmla="*/ 443 h 1081"/>
                                <a:gd name="T54" fmla="*/ 234 w 594"/>
                                <a:gd name="T55" fmla="*/ 408 h 1081"/>
                                <a:gd name="T56" fmla="*/ 265 w 594"/>
                                <a:gd name="T57" fmla="*/ 351 h 1081"/>
                                <a:gd name="T58" fmla="*/ 199 w 594"/>
                                <a:gd name="T59" fmla="*/ 361 h 1081"/>
                                <a:gd name="T60" fmla="*/ 181 w 594"/>
                                <a:gd name="T61" fmla="*/ 379 h 1081"/>
                                <a:gd name="T62" fmla="*/ 176 w 594"/>
                                <a:gd name="T63" fmla="*/ 419 h 1081"/>
                                <a:gd name="T64" fmla="*/ 135 w 594"/>
                                <a:gd name="T65" fmla="*/ 445 h 1081"/>
                                <a:gd name="T66" fmla="*/ 141 w 594"/>
                                <a:gd name="T67" fmla="*/ 490 h 1081"/>
                                <a:gd name="T68" fmla="*/ 419 w 594"/>
                                <a:gd name="T69" fmla="*/ 1026 h 1081"/>
                                <a:gd name="T70" fmla="*/ 67 w 594"/>
                                <a:gd name="T71" fmla="*/ 47 h 1081"/>
                                <a:gd name="T72" fmla="*/ 55 w 594"/>
                                <a:gd name="T73" fmla="*/ 16 h 1081"/>
                                <a:gd name="T74" fmla="*/ 36 w 594"/>
                                <a:gd name="T75" fmla="*/ 469 h 1081"/>
                                <a:gd name="T76" fmla="*/ 31 w 594"/>
                                <a:gd name="T77" fmla="*/ 440 h 1081"/>
                                <a:gd name="T78" fmla="*/ 92 w 594"/>
                                <a:gd name="T79" fmla="*/ 444 h 1081"/>
                                <a:gd name="T80" fmla="*/ 105 w 594"/>
                                <a:gd name="T81" fmla="*/ 451 h 1081"/>
                                <a:gd name="T82" fmla="*/ 48 w 594"/>
                                <a:gd name="T83" fmla="*/ 391 h 1081"/>
                                <a:gd name="T84" fmla="*/ 97 w 594"/>
                                <a:gd name="T85" fmla="*/ 366 h 1081"/>
                                <a:gd name="T86" fmla="*/ 29 w 594"/>
                                <a:gd name="T87" fmla="*/ 492 h 1081"/>
                                <a:gd name="T88" fmla="*/ 204 w 594"/>
                                <a:gd name="T89" fmla="*/ 727 h 1081"/>
                                <a:gd name="T90" fmla="*/ 283 w 594"/>
                                <a:gd name="T91" fmla="*/ 326 h 1081"/>
                                <a:gd name="T92" fmla="*/ 317 w 594"/>
                                <a:gd name="T93" fmla="*/ 320 h 1081"/>
                                <a:gd name="T94" fmla="*/ 119 w 594"/>
                                <a:gd name="T95" fmla="*/ 473 h 1081"/>
                                <a:gd name="T96" fmla="*/ 408 w 594"/>
                                <a:gd name="T97" fmla="*/ 202 h 1081"/>
                                <a:gd name="T98" fmla="*/ 419 w 594"/>
                                <a:gd name="T99" fmla="*/ 190 h 1081"/>
                                <a:gd name="T100" fmla="*/ 393 w 594"/>
                                <a:gd name="T101" fmla="*/ 192 h 1081"/>
                                <a:gd name="T102" fmla="*/ 116 w 594"/>
                                <a:gd name="T103" fmla="*/ 585 h 1081"/>
                                <a:gd name="T104" fmla="*/ 117 w 594"/>
                                <a:gd name="T105" fmla="*/ 538 h 1081"/>
                                <a:gd name="T106" fmla="*/ 109 w 594"/>
                                <a:gd name="T107" fmla="*/ 750 h 1081"/>
                                <a:gd name="T108" fmla="*/ 125 w 594"/>
                                <a:gd name="T109" fmla="*/ 673 h 1081"/>
                                <a:gd name="T110" fmla="*/ 16 w 594"/>
                                <a:gd name="T111" fmla="*/ 695 h 1081"/>
                                <a:gd name="T112" fmla="*/ 59 w 594"/>
                                <a:gd name="T113" fmla="*/ 724 h 1081"/>
                                <a:gd name="T114" fmla="*/ 99 w 594"/>
                                <a:gd name="T115" fmla="*/ 554 h 1081"/>
                                <a:gd name="T116" fmla="*/ 66 w 594"/>
                                <a:gd name="T117" fmla="*/ 535 h 1081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  <a:cxn ang="0">
                                  <a:pos x="T100" y="T101"/>
                                </a:cxn>
                                <a:cxn ang="0">
                                  <a:pos x="T102" y="T103"/>
                                </a:cxn>
                                <a:cxn ang="0">
                                  <a:pos x="T104" y="T105"/>
                                </a:cxn>
                                <a:cxn ang="0">
                                  <a:pos x="T106" y="T107"/>
                                </a:cxn>
                                <a:cxn ang="0">
                                  <a:pos x="T108" y="T109"/>
                                </a:cxn>
                                <a:cxn ang="0">
                                  <a:pos x="T110" y="T111"/>
                                </a:cxn>
                                <a:cxn ang="0">
                                  <a:pos x="T112" y="T113"/>
                                </a:cxn>
                                <a:cxn ang="0">
                                  <a:pos x="T114" y="T115"/>
                                </a:cxn>
                                <a:cxn ang="0">
                                  <a:pos x="T116" y="T117"/>
                                </a:cxn>
                              </a:cxnLst>
                              <a:rect l="0" t="0" r="r" b="b"/>
                              <a:pathLst>
                                <a:path w="594" h="1081">
                                  <a:moveTo>
                                    <a:pt x="119" y="525"/>
                                  </a:moveTo>
                                  <a:cubicBezTo>
                                    <a:pt x="123" y="527"/>
                                    <a:pt x="124" y="526"/>
                                    <a:pt x="127" y="527"/>
                                  </a:cubicBezTo>
                                  <a:cubicBezTo>
                                    <a:pt x="130" y="529"/>
                                    <a:pt x="130" y="530"/>
                                    <a:pt x="132" y="531"/>
                                  </a:cubicBezTo>
                                  <a:cubicBezTo>
                                    <a:pt x="135" y="532"/>
                                    <a:pt x="137" y="532"/>
                                    <a:pt x="139" y="530"/>
                                  </a:cubicBezTo>
                                  <a:cubicBezTo>
                                    <a:pt x="142" y="528"/>
                                    <a:pt x="144" y="528"/>
                                    <a:pt x="146" y="525"/>
                                  </a:cubicBezTo>
                                  <a:cubicBezTo>
                                    <a:pt x="147" y="523"/>
                                    <a:pt x="148" y="521"/>
                                    <a:pt x="152" y="519"/>
                                  </a:cubicBezTo>
                                  <a:cubicBezTo>
                                    <a:pt x="157" y="517"/>
                                    <a:pt x="159" y="515"/>
                                    <a:pt x="160" y="512"/>
                                  </a:cubicBezTo>
                                  <a:cubicBezTo>
                                    <a:pt x="161" y="508"/>
                                    <a:pt x="166" y="507"/>
                                    <a:pt x="170" y="507"/>
                                  </a:cubicBezTo>
                                  <a:cubicBezTo>
                                    <a:pt x="174" y="507"/>
                                    <a:pt x="171" y="509"/>
                                    <a:pt x="172" y="512"/>
                                  </a:cubicBezTo>
                                  <a:cubicBezTo>
                                    <a:pt x="172" y="514"/>
                                    <a:pt x="174" y="514"/>
                                    <a:pt x="177" y="515"/>
                                  </a:cubicBezTo>
                                  <a:cubicBezTo>
                                    <a:pt x="179" y="517"/>
                                    <a:pt x="179" y="518"/>
                                    <a:pt x="178" y="520"/>
                                  </a:cubicBezTo>
                                  <a:cubicBezTo>
                                    <a:pt x="176" y="521"/>
                                    <a:pt x="173" y="522"/>
                                    <a:pt x="170" y="522"/>
                                  </a:cubicBezTo>
                                  <a:cubicBezTo>
                                    <a:pt x="167" y="523"/>
                                    <a:pt x="167" y="524"/>
                                    <a:pt x="164" y="527"/>
                                  </a:cubicBezTo>
                                  <a:cubicBezTo>
                                    <a:pt x="162" y="530"/>
                                    <a:pt x="162" y="530"/>
                                    <a:pt x="163" y="532"/>
                                  </a:cubicBezTo>
                                  <a:cubicBezTo>
                                    <a:pt x="163" y="534"/>
                                    <a:pt x="166" y="535"/>
                                    <a:pt x="169" y="534"/>
                                  </a:cubicBezTo>
                                  <a:cubicBezTo>
                                    <a:pt x="172" y="533"/>
                                    <a:pt x="173" y="532"/>
                                    <a:pt x="174" y="534"/>
                                  </a:cubicBezTo>
                                  <a:cubicBezTo>
                                    <a:pt x="175" y="535"/>
                                    <a:pt x="174" y="536"/>
                                    <a:pt x="173" y="537"/>
                                  </a:cubicBezTo>
                                  <a:cubicBezTo>
                                    <a:pt x="173" y="538"/>
                                    <a:pt x="166" y="544"/>
                                    <a:pt x="162" y="544"/>
                                  </a:cubicBezTo>
                                  <a:cubicBezTo>
                                    <a:pt x="159" y="545"/>
                                    <a:pt x="158" y="544"/>
                                    <a:pt x="154" y="545"/>
                                  </a:cubicBezTo>
                                  <a:cubicBezTo>
                                    <a:pt x="150" y="545"/>
                                    <a:pt x="147" y="548"/>
                                    <a:pt x="146" y="551"/>
                                  </a:cubicBezTo>
                                  <a:cubicBezTo>
                                    <a:pt x="144" y="553"/>
                                    <a:pt x="143" y="556"/>
                                    <a:pt x="142" y="561"/>
                                  </a:cubicBezTo>
                                  <a:cubicBezTo>
                                    <a:pt x="141" y="566"/>
                                    <a:pt x="144" y="569"/>
                                    <a:pt x="142" y="574"/>
                                  </a:cubicBezTo>
                                  <a:cubicBezTo>
                                    <a:pt x="141" y="579"/>
                                    <a:pt x="141" y="578"/>
                                    <a:pt x="139" y="584"/>
                                  </a:cubicBezTo>
                                  <a:cubicBezTo>
                                    <a:pt x="137" y="591"/>
                                    <a:pt x="139" y="590"/>
                                    <a:pt x="142" y="591"/>
                                  </a:cubicBezTo>
                                  <a:cubicBezTo>
                                    <a:pt x="144" y="592"/>
                                    <a:pt x="145" y="593"/>
                                    <a:pt x="145" y="596"/>
                                  </a:cubicBezTo>
                                  <a:cubicBezTo>
                                    <a:pt x="145" y="598"/>
                                    <a:pt x="144" y="599"/>
                                    <a:pt x="139" y="603"/>
                                  </a:cubicBezTo>
                                  <a:cubicBezTo>
                                    <a:pt x="135" y="607"/>
                                    <a:pt x="135" y="609"/>
                                    <a:pt x="136" y="612"/>
                                  </a:cubicBezTo>
                                  <a:cubicBezTo>
                                    <a:pt x="136" y="615"/>
                                    <a:pt x="135" y="620"/>
                                    <a:pt x="133" y="623"/>
                                  </a:cubicBezTo>
                                  <a:cubicBezTo>
                                    <a:pt x="131" y="626"/>
                                    <a:pt x="129" y="632"/>
                                    <a:pt x="130" y="635"/>
                                  </a:cubicBezTo>
                                  <a:cubicBezTo>
                                    <a:pt x="131" y="637"/>
                                    <a:pt x="139" y="635"/>
                                    <a:pt x="142" y="635"/>
                                  </a:cubicBezTo>
                                  <a:cubicBezTo>
                                    <a:pt x="145" y="635"/>
                                    <a:pt x="148" y="634"/>
                                    <a:pt x="148" y="634"/>
                                  </a:cubicBezTo>
                                  <a:cubicBezTo>
                                    <a:pt x="148" y="634"/>
                                    <a:pt x="151" y="627"/>
                                    <a:pt x="150" y="624"/>
                                  </a:cubicBezTo>
                                  <a:cubicBezTo>
                                    <a:pt x="150" y="620"/>
                                    <a:pt x="149" y="617"/>
                                    <a:pt x="149" y="613"/>
                                  </a:cubicBezTo>
                                  <a:cubicBezTo>
                                    <a:pt x="149" y="610"/>
                                    <a:pt x="150" y="608"/>
                                    <a:pt x="152" y="606"/>
                                  </a:cubicBezTo>
                                  <a:cubicBezTo>
                                    <a:pt x="154" y="605"/>
                                    <a:pt x="156" y="607"/>
                                    <a:pt x="157" y="611"/>
                                  </a:cubicBezTo>
                                  <a:cubicBezTo>
                                    <a:pt x="159" y="614"/>
                                    <a:pt x="160" y="619"/>
                                    <a:pt x="160" y="622"/>
                                  </a:cubicBezTo>
                                  <a:cubicBezTo>
                                    <a:pt x="160" y="625"/>
                                    <a:pt x="165" y="626"/>
                                    <a:pt x="167" y="625"/>
                                  </a:cubicBezTo>
                                  <a:cubicBezTo>
                                    <a:pt x="170" y="623"/>
                                    <a:pt x="171" y="622"/>
                                    <a:pt x="173" y="621"/>
                                  </a:cubicBezTo>
                                  <a:cubicBezTo>
                                    <a:pt x="176" y="620"/>
                                    <a:pt x="173" y="616"/>
                                    <a:pt x="171" y="614"/>
                                  </a:cubicBezTo>
                                  <a:cubicBezTo>
                                    <a:pt x="168" y="613"/>
                                    <a:pt x="164" y="608"/>
                                    <a:pt x="160" y="602"/>
                                  </a:cubicBezTo>
                                  <a:cubicBezTo>
                                    <a:pt x="157" y="596"/>
                                    <a:pt x="158" y="598"/>
                                    <a:pt x="155" y="593"/>
                                  </a:cubicBezTo>
                                  <a:cubicBezTo>
                                    <a:pt x="153" y="589"/>
                                    <a:pt x="153" y="587"/>
                                    <a:pt x="151" y="583"/>
                                  </a:cubicBezTo>
                                  <a:cubicBezTo>
                                    <a:pt x="150" y="579"/>
                                    <a:pt x="151" y="578"/>
                                    <a:pt x="151" y="575"/>
                                  </a:cubicBezTo>
                                  <a:cubicBezTo>
                                    <a:pt x="152" y="572"/>
                                    <a:pt x="156" y="569"/>
                                    <a:pt x="163" y="566"/>
                                  </a:cubicBezTo>
                                  <a:cubicBezTo>
                                    <a:pt x="169" y="564"/>
                                    <a:pt x="168" y="565"/>
                                    <a:pt x="170" y="562"/>
                                  </a:cubicBezTo>
                                  <a:cubicBezTo>
                                    <a:pt x="172" y="559"/>
                                    <a:pt x="174" y="557"/>
                                    <a:pt x="179" y="556"/>
                                  </a:cubicBezTo>
                                  <a:cubicBezTo>
                                    <a:pt x="184" y="554"/>
                                    <a:pt x="182" y="556"/>
                                    <a:pt x="181" y="558"/>
                                  </a:cubicBezTo>
                                  <a:cubicBezTo>
                                    <a:pt x="181" y="559"/>
                                    <a:pt x="179" y="563"/>
                                    <a:pt x="177" y="567"/>
                                  </a:cubicBezTo>
                                  <a:cubicBezTo>
                                    <a:pt x="175" y="570"/>
                                    <a:pt x="173" y="571"/>
                                    <a:pt x="169" y="574"/>
                                  </a:cubicBezTo>
                                  <a:cubicBezTo>
                                    <a:pt x="165" y="576"/>
                                    <a:pt x="165" y="579"/>
                                    <a:pt x="167" y="581"/>
                                  </a:cubicBezTo>
                                  <a:cubicBezTo>
                                    <a:pt x="168" y="584"/>
                                    <a:pt x="172" y="582"/>
                                    <a:pt x="176" y="581"/>
                                  </a:cubicBezTo>
                                  <a:cubicBezTo>
                                    <a:pt x="179" y="580"/>
                                    <a:pt x="181" y="577"/>
                                    <a:pt x="181" y="574"/>
                                  </a:cubicBezTo>
                                  <a:cubicBezTo>
                                    <a:pt x="182" y="572"/>
                                    <a:pt x="184" y="570"/>
                                    <a:pt x="186" y="565"/>
                                  </a:cubicBezTo>
                                  <a:cubicBezTo>
                                    <a:pt x="187" y="560"/>
                                    <a:pt x="191" y="562"/>
                                    <a:pt x="194" y="563"/>
                                  </a:cubicBezTo>
                                  <a:cubicBezTo>
                                    <a:pt x="196" y="563"/>
                                    <a:pt x="197" y="569"/>
                                    <a:pt x="197" y="575"/>
                                  </a:cubicBezTo>
                                  <a:cubicBezTo>
                                    <a:pt x="198" y="581"/>
                                    <a:pt x="201" y="580"/>
                                    <a:pt x="206" y="582"/>
                                  </a:cubicBezTo>
                                  <a:cubicBezTo>
                                    <a:pt x="210" y="583"/>
                                    <a:pt x="212" y="584"/>
                                    <a:pt x="213" y="586"/>
                                  </a:cubicBezTo>
                                  <a:cubicBezTo>
                                    <a:pt x="213" y="587"/>
                                    <a:pt x="209" y="590"/>
                                    <a:pt x="204" y="588"/>
                                  </a:cubicBezTo>
                                  <a:cubicBezTo>
                                    <a:pt x="199" y="586"/>
                                    <a:pt x="196" y="587"/>
                                    <a:pt x="192" y="589"/>
                                  </a:cubicBezTo>
                                  <a:cubicBezTo>
                                    <a:pt x="188" y="591"/>
                                    <a:pt x="189" y="592"/>
                                    <a:pt x="191" y="597"/>
                                  </a:cubicBezTo>
                                  <a:cubicBezTo>
                                    <a:pt x="193" y="603"/>
                                    <a:pt x="192" y="604"/>
                                    <a:pt x="192" y="610"/>
                                  </a:cubicBezTo>
                                  <a:cubicBezTo>
                                    <a:pt x="192" y="615"/>
                                    <a:pt x="193" y="614"/>
                                    <a:pt x="197" y="618"/>
                                  </a:cubicBezTo>
                                  <a:cubicBezTo>
                                    <a:pt x="200" y="623"/>
                                    <a:pt x="202" y="623"/>
                                    <a:pt x="202" y="627"/>
                                  </a:cubicBezTo>
                                  <a:cubicBezTo>
                                    <a:pt x="203" y="631"/>
                                    <a:pt x="199" y="633"/>
                                    <a:pt x="193" y="638"/>
                                  </a:cubicBezTo>
                                  <a:cubicBezTo>
                                    <a:pt x="187" y="643"/>
                                    <a:pt x="189" y="649"/>
                                    <a:pt x="185" y="659"/>
                                  </a:cubicBezTo>
                                  <a:cubicBezTo>
                                    <a:pt x="181" y="668"/>
                                    <a:pt x="177" y="666"/>
                                    <a:pt x="174" y="670"/>
                                  </a:cubicBezTo>
                                  <a:cubicBezTo>
                                    <a:pt x="171" y="673"/>
                                    <a:pt x="169" y="675"/>
                                    <a:pt x="172" y="678"/>
                                  </a:cubicBezTo>
                                  <a:cubicBezTo>
                                    <a:pt x="175" y="681"/>
                                    <a:pt x="178" y="682"/>
                                    <a:pt x="178" y="685"/>
                                  </a:cubicBezTo>
                                  <a:cubicBezTo>
                                    <a:pt x="179" y="688"/>
                                    <a:pt x="179" y="689"/>
                                    <a:pt x="182" y="690"/>
                                  </a:cubicBezTo>
                                  <a:cubicBezTo>
                                    <a:pt x="184" y="690"/>
                                    <a:pt x="182" y="687"/>
                                    <a:pt x="182" y="683"/>
                                  </a:cubicBezTo>
                                  <a:cubicBezTo>
                                    <a:pt x="181" y="680"/>
                                    <a:pt x="180" y="681"/>
                                    <a:pt x="184" y="680"/>
                                  </a:cubicBezTo>
                                  <a:cubicBezTo>
                                    <a:pt x="187" y="678"/>
                                    <a:pt x="186" y="674"/>
                                    <a:pt x="189" y="674"/>
                                  </a:cubicBezTo>
                                  <a:cubicBezTo>
                                    <a:pt x="192" y="674"/>
                                    <a:pt x="197" y="677"/>
                                    <a:pt x="198" y="681"/>
                                  </a:cubicBezTo>
                                  <a:cubicBezTo>
                                    <a:pt x="199" y="686"/>
                                    <a:pt x="205" y="686"/>
                                    <a:pt x="209" y="689"/>
                                  </a:cubicBezTo>
                                  <a:cubicBezTo>
                                    <a:pt x="213" y="692"/>
                                    <a:pt x="213" y="691"/>
                                    <a:pt x="214" y="687"/>
                                  </a:cubicBezTo>
                                  <a:cubicBezTo>
                                    <a:pt x="214" y="683"/>
                                    <a:pt x="213" y="681"/>
                                    <a:pt x="212" y="678"/>
                                  </a:cubicBezTo>
                                  <a:cubicBezTo>
                                    <a:pt x="212" y="674"/>
                                    <a:pt x="212" y="674"/>
                                    <a:pt x="217" y="673"/>
                                  </a:cubicBezTo>
                                  <a:cubicBezTo>
                                    <a:pt x="222" y="673"/>
                                    <a:pt x="220" y="676"/>
                                    <a:pt x="224" y="677"/>
                                  </a:cubicBezTo>
                                  <a:cubicBezTo>
                                    <a:pt x="228" y="678"/>
                                    <a:pt x="234" y="680"/>
                                    <a:pt x="235" y="682"/>
                                  </a:cubicBezTo>
                                  <a:cubicBezTo>
                                    <a:pt x="236" y="685"/>
                                    <a:pt x="237" y="685"/>
                                    <a:pt x="243" y="686"/>
                                  </a:cubicBezTo>
                                  <a:cubicBezTo>
                                    <a:pt x="250" y="687"/>
                                    <a:pt x="246" y="683"/>
                                    <a:pt x="250" y="680"/>
                                  </a:cubicBezTo>
                                  <a:cubicBezTo>
                                    <a:pt x="255" y="678"/>
                                    <a:pt x="255" y="678"/>
                                    <a:pt x="256" y="675"/>
                                  </a:cubicBezTo>
                                  <a:cubicBezTo>
                                    <a:pt x="258" y="672"/>
                                    <a:pt x="261" y="669"/>
                                    <a:pt x="265" y="667"/>
                                  </a:cubicBezTo>
                                  <a:cubicBezTo>
                                    <a:pt x="269" y="665"/>
                                    <a:pt x="273" y="667"/>
                                    <a:pt x="276" y="668"/>
                                  </a:cubicBezTo>
                                  <a:cubicBezTo>
                                    <a:pt x="280" y="669"/>
                                    <a:pt x="283" y="668"/>
                                    <a:pt x="288" y="666"/>
                                  </a:cubicBezTo>
                                  <a:cubicBezTo>
                                    <a:pt x="293" y="665"/>
                                    <a:pt x="294" y="667"/>
                                    <a:pt x="295" y="669"/>
                                  </a:cubicBezTo>
                                  <a:cubicBezTo>
                                    <a:pt x="296" y="670"/>
                                    <a:pt x="294" y="671"/>
                                    <a:pt x="291" y="672"/>
                                  </a:cubicBezTo>
                                  <a:cubicBezTo>
                                    <a:pt x="289" y="672"/>
                                    <a:pt x="286" y="675"/>
                                    <a:pt x="282" y="675"/>
                                  </a:cubicBezTo>
                                  <a:cubicBezTo>
                                    <a:pt x="278" y="676"/>
                                    <a:pt x="278" y="678"/>
                                    <a:pt x="275" y="681"/>
                                  </a:cubicBezTo>
                                  <a:cubicBezTo>
                                    <a:pt x="272" y="684"/>
                                    <a:pt x="273" y="687"/>
                                    <a:pt x="272" y="691"/>
                                  </a:cubicBezTo>
                                  <a:cubicBezTo>
                                    <a:pt x="271" y="695"/>
                                    <a:pt x="269" y="695"/>
                                    <a:pt x="266" y="700"/>
                                  </a:cubicBezTo>
                                  <a:cubicBezTo>
                                    <a:pt x="264" y="705"/>
                                    <a:pt x="265" y="709"/>
                                    <a:pt x="268" y="712"/>
                                  </a:cubicBezTo>
                                  <a:cubicBezTo>
                                    <a:pt x="272" y="716"/>
                                    <a:pt x="271" y="716"/>
                                    <a:pt x="275" y="720"/>
                                  </a:cubicBezTo>
                                  <a:cubicBezTo>
                                    <a:pt x="279" y="725"/>
                                    <a:pt x="279" y="726"/>
                                    <a:pt x="284" y="729"/>
                                  </a:cubicBezTo>
                                  <a:cubicBezTo>
                                    <a:pt x="289" y="732"/>
                                    <a:pt x="287" y="732"/>
                                    <a:pt x="289" y="736"/>
                                  </a:cubicBezTo>
                                  <a:cubicBezTo>
                                    <a:pt x="291" y="740"/>
                                    <a:pt x="291" y="740"/>
                                    <a:pt x="296" y="740"/>
                                  </a:cubicBezTo>
                                  <a:cubicBezTo>
                                    <a:pt x="301" y="739"/>
                                    <a:pt x="299" y="735"/>
                                    <a:pt x="303" y="734"/>
                                  </a:cubicBezTo>
                                  <a:cubicBezTo>
                                    <a:pt x="307" y="732"/>
                                    <a:pt x="310" y="734"/>
                                    <a:pt x="312" y="736"/>
                                  </a:cubicBezTo>
                                  <a:cubicBezTo>
                                    <a:pt x="314" y="739"/>
                                    <a:pt x="312" y="748"/>
                                    <a:pt x="309" y="750"/>
                                  </a:cubicBezTo>
                                  <a:cubicBezTo>
                                    <a:pt x="306" y="752"/>
                                    <a:pt x="303" y="758"/>
                                    <a:pt x="303" y="760"/>
                                  </a:cubicBezTo>
                                  <a:cubicBezTo>
                                    <a:pt x="302" y="762"/>
                                    <a:pt x="303" y="766"/>
                                    <a:pt x="303" y="768"/>
                                  </a:cubicBezTo>
                                  <a:cubicBezTo>
                                    <a:pt x="303" y="770"/>
                                    <a:pt x="307" y="774"/>
                                    <a:pt x="309" y="776"/>
                                  </a:cubicBezTo>
                                  <a:cubicBezTo>
                                    <a:pt x="310" y="778"/>
                                    <a:pt x="309" y="780"/>
                                    <a:pt x="307" y="782"/>
                                  </a:cubicBezTo>
                                  <a:cubicBezTo>
                                    <a:pt x="304" y="784"/>
                                    <a:pt x="299" y="783"/>
                                    <a:pt x="297" y="788"/>
                                  </a:cubicBezTo>
                                  <a:cubicBezTo>
                                    <a:pt x="295" y="793"/>
                                    <a:pt x="299" y="791"/>
                                    <a:pt x="303" y="792"/>
                                  </a:cubicBezTo>
                                  <a:cubicBezTo>
                                    <a:pt x="307" y="793"/>
                                    <a:pt x="305" y="796"/>
                                    <a:pt x="308" y="800"/>
                                  </a:cubicBezTo>
                                  <a:cubicBezTo>
                                    <a:pt x="311" y="805"/>
                                    <a:pt x="314" y="803"/>
                                    <a:pt x="316" y="805"/>
                                  </a:cubicBezTo>
                                  <a:cubicBezTo>
                                    <a:pt x="318" y="807"/>
                                    <a:pt x="317" y="812"/>
                                    <a:pt x="315" y="813"/>
                                  </a:cubicBezTo>
                                  <a:cubicBezTo>
                                    <a:pt x="312" y="815"/>
                                    <a:pt x="306" y="813"/>
                                    <a:pt x="304" y="811"/>
                                  </a:cubicBezTo>
                                  <a:cubicBezTo>
                                    <a:pt x="301" y="809"/>
                                    <a:pt x="302" y="806"/>
                                    <a:pt x="301" y="805"/>
                                  </a:cubicBezTo>
                                  <a:cubicBezTo>
                                    <a:pt x="299" y="804"/>
                                    <a:pt x="295" y="808"/>
                                    <a:pt x="297" y="811"/>
                                  </a:cubicBezTo>
                                  <a:cubicBezTo>
                                    <a:pt x="300" y="814"/>
                                    <a:pt x="300" y="815"/>
                                    <a:pt x="299" y="818"/>
                                  </a:cubicBezTo>
                                  <a:cubicBezTo>
                                    <a:pt x="298" y="822"/>
                                    <a:pt x="293" y="819"/>
                                    <a:pt x="289" y="818"/>
                                  </a:cubicBezTo>
                                  <a:cubicBezTo>
                                    <a:pt x="284" y="816"/>
                                    <a:pt x="282" y="816"/>
                                    <a:pt x="277" y="817"/>
                                  </a:cubicBezTo>
                                  <a:cubicBezTo>
                                    <a:pt x="272" y="817"/>
                                    <a:pt x="271" y="817"/>
                                    <a:pt x="264" y="816"/>
                                  </a:cubicBezTo>
                                  <a:cubicBezTo>
                                    <a:pt x="257" y="815"/>
                                    <a:pt x="257" y="813"/>
                                    <a:pt x="250" y="812"/>
                                  </a:cubicBezTo>
                                  <a:cubicBezTo>
                                    <a:pt x="244" y="811"/>
                                    <a:pt x="243" y="814"/>
                                    <a:pt x="239" y="818"/>
                                  </a:cubicBezTo>
                                  <a:cubicBezTo>
                                    <a:pt x="236" y="821"/>
                                    <a:pt x="231" y="822"/>
                                    <a:pt x="226" y="825"/>
                                  </a:cubicBezTo>
                                  <a:cubicBezTo>
                                    <a:pt x="221" y="827"/>
                                    <a:pt x="222" y="828"/>
                                    <a:pt x="219" y="834"/>
                                  </a:cubicBezTo>
                                  <a:cubicBezTo>
                                    <a:pt x="216" y="839"/>
                                    <a:pt x="215" y="838"/>
                                    <a:pt x="210" y="842"/>
                                  </a:cubicBezTo>
                                  <a:cubicBezTo>
                                    <a:pt x="205" y="845"/>
                                    <a:pt x="207" y="846"/>
                                    <a:pt x="210" y="848"/>
                                  </a:cubicBezTo>
                                  <a:cubicBezTo>
                                    <a:pt x="214" y="849"/>
                                    <a:pt x="215" y="847"/>
                                    <a:pt x="220" y="844"/>
                                  </a:cubicBezTo>
                                  <a:cubicBezTo>
                                    <a:pt x="225" y="841"/>
                                    <a:pt x="227" y="843"/>
                                    <a:pt x="232" y="843"/>
                                  </a:cubicBezTo>
                                  <a:cubicBezTo>
                                    <a:pt x="236" y="843"/>
                                    <a:pt x="236" y="844"/>
                                    <a:pt x="237" y="848"/>
                                  </a:cubicBezTo>
                                  <a:cubicBezTo>
                                    <a:pt x="237" y="852"/>
                                    <a:pt x="237" y="857"/>
                                    <a:pt x="237" y="861"/>
                                  </a:cubicBezTo>
                                  <a:cubicBezTo>
                                    <a:pt x="237" y="864"/>
                                    <a:pt x="235" y="865"/>
                                    <a:pt x="240" y="869"/>
                                  </a:cubicBezTo>
                                  <a:cubicBezTo>
                                    <a:pt x="245" y="873"/>
                                    <a:pt x="248" y="871"/>
                                    <a:pt x="249" y="874"/>
                                  </a:cubicBezTo>
                                  <a:cubicBezTo>
                                    <a:pt x="250" y="876"/>
                                    <a:pt x="248" y="879"/>
                                    <a:pt x="245" y="880"/>
                                  </a:cubicBezTo>
                                  <a:cubicBezTo>
                                    <a:pt x="242" y="882"/>
                                    <a:pt x="241" y="886"/>
                                    <a:pt x="237" y="889"/>
                                  </a:cubicBezTo>
                                  <a:cubicBezTo>
                                    <a:pt x="233" y="892"/>
                                    <a:pt x="232" y="894"/>
                                    <a:pt x="229" y="896"/>
                                  </a:cubicBezTo>
                                  <a:cubicBezTo>
                                    <a:pt x="226" y="899"/>
                                    <a:pt x="221" y="904"/>
                                    <a:pt x="215" y="908"/>
                                  </a:cubicBezTo>
                                  <a:cubicBezTo>
                                    <a:pt x="209" y="911"/>
                                    <a:pt x="199" y="917"/>
                                    <a:pt x="190" y="918"/>
                                  </a:cubicBezTo>
                                  <a:cubicBezTo>
                                    <a:pt x="181" y="919"/>
                                    <a:pt x="174" y="921"/>
                                    <a:pt x="172" y="922"/>
                                  </a:cubicBezTo>
                                  <a:cubicBezTo>
                                    <a:pt x="169" y="923"/>
                                    <a:pt x="160" y="926"/>
                                    <a:pt x="165" y="929"/>
                                  </a:cubicBezTo>
                                  <a:cubicBezTo>
                                    <a:pt x="169" y="932"/>
                                    <a:pt x="168" y="934"/>
                                    <a:pt x="171" y="936"/>
                                  </a:cubicBezTo>
                                  <a:cubicBezTo>
                                    <a:pt x="174" y="939"/>
                                    <a:pt x="177" y="936"/>
                                    <a:pt x="180" y="935"/>
                                  </a:cubicBezTo>
                                  <a:cubicBezTo>
                                    <a:pt x="183" y="934"/>
                                    <a:pt x="186" y="936"/>
                                    <a:pt x="186" y="938"/>
                                  </a:cubicBezTo>
                                  <a:cubicBezTo>
                                    <a:pt x="186" y="940"/>
                                    <a:pt x="190" y="944"/>
                                    <a:pt x="196" y="941"/>
                                  </a:cubicBezTo>
                                  <a:cubicBezTo>
                                    <a:pt x="202" y="939"/>
                                    <a:pt x="210" y="936"/>
                                    <a:pt x="216" y="936"/>
                                  </a:cubicBezTo>
                                  <a:cubicBezTo>
                                    <a:pt x="222" y="936"/>
                                    <a:pt x="220" y="940"/>
                                    <a:pt x="225" y="941"/>
                                  </a:cubicBezTo>
                                  <a:cubicBezTo>
                                    <a:pt x="230" y="942"/>
                                    <a:pt x="238" y="944"/>
                                    <a:pt x="238" y="948"/>
                                  </a:cubicBezTo>
                                  <a:cubicBezTo>
                                    <a:pt x="237" y="951"/>
                                    <a:pt x="234" y="954"/>
                                    <a:pt x="236" y="955"/>
                                  </a:cubicBezTo>
                                  <a:cubicBezTo>
                                    <a:pt x="238" y="957"/>
                                    <a:pt x="241" y="955"/>
                                    <a:pt x="251" y="955"/>
                                  </a:cubicBezTo>
                                  <a:cubicBezTo>
                                    <a:pt x="261" y="955"/>
                                    <a:pt x="259" y="956"/>
                                    <a:pt x="262" y="960"/>
                                  </a:cubicBezTo>
                                  <a:cubicBezTo>
                                    <a:pt x="265" y="965"/>
                                    <a:pt x="271" y="965"/>
                                    <a:pt x="276" y="964"/>
                                  </a:cubicBezTo>
                                  <a:cubicBezTo>
                                    <a:pt x="280" y="963"/>
                                    <a:pt x="283" y="963"/>
                                    <a:pt x="290" y="960"/>
                                  </a:cubicBezTo>
                                  <a:cubicBezTo>
                                    <a:pt x="297" y="958"/>
                                    <a:pt x="301" y="960"/>
                                    <a:pt x="304" y="959"/>
                                  </a:cubicBezTo>
                                  <a:cubicBezTo>
                                    <a:pt x="307" y="958"/>
                                    <a:pt x="322" y="950"/>
                                    <a:pt x="326" y="947"/>
                                  </a:cubicBezTo>
                                  <a:cubicBezTo>
                                    <a:pt x="330" y="944"/>
                                    <a:pt x="332" y="947"/>
                                    <a:pt x="332" y="949"/>
                                  </a:cubicBezTo>
                                  <a:cubicBezTo>
                                    <a:pt x="331" y="952"/>
                                    <a:pt x="327" y="956"/>
                                    <a:pt x="322" y="960"/>
                                  </a:cubicBezTo>
                                  <a:cubicBezTo>
                                    <a:pt x="316" y="964"/>
                                    <a:pt x="315" y="967"/>
                                    <a:pt x="310" y="971"/>
                                  </a:cubicBezTo>
                                  <a:cubicBezTo>
                                    <a:pt x="305" y="974"/>
                                    <a:pt x="306" y="975"/>
                                    <a:pt x="304" y="980"/>
                                  </a:cubicBezTo>
                                  <a:cubicBezTo>
                                    <a:pt x="303" y="984"/>
                                    <a:pt x="306" y="989"/>
                                    <a:pt x="298" y="989"/>
                                  </a:cubicBezTo>
                                  <a:cubicBezTo>
                                    <a:pt x="290" y="988"/>
                                    <a:pt x="288" y="986"/>
                                    <a:pt x="284" y="986"/>
                                  </a:cubicBezTo>
                                  <a:cubicBezTo>
                                    <a:pt x="279" y="986"/>
                                    <a:pt x="278" y="987"/>
                                    <a:pt x="274" y="988"/>
                                  </a:cubicBezTo>
                                  <a:cubicBezTo>
                                    <a:pt x="270" y="989"/>
                                    <a:pt x="266" y="989"/>
                                    <a:pt x="259" y="990"/>
                                  </a:cubicBezTo>
                                  <a:cubicBezTo>
                                    <a:pt x="251" y="990"/>
                                    <a:pt x="250" y="989"/>
                                    <a:pt x="248" y="988"/>
                                  </a:cubicBezTo>
                                  <a:cubicBezTo>
                                    <a:pt x="245" y="987"/>
                                    <a:pt x="242" y="987"/>
                                    <a:pt x="236" y="987"/>
                                  </a:cubicBezTo>
                                  <a:cubicBezTo>
                                    <a:pt x="230" y="987"/>
                                    <a:pt x="230" y="988"/>
                                    <a:pt x="226" y="989"/>
                                  </a:cubicBezTo>
                                  <a:cubicBezTo>
                                    <a:pt x="222" y="991"/>
                                    <a:pt x="216" y="997"/>
                                    <a:pt x="214" y="1000"/>
                                  </a:cubicBezTo>
                                  <a:cubicBezTo>
                                    <a:pt x="212" y="1002"/>
                                    <a:pt x="212" y="1004"/>
                                    <a:pt x="208" y="1007"/>
                                  </a:cubicBezTo>
                                  <a:cubicBezTo>
                                    <a:pt x="205" y="1011"/>
                                    <a:pt x="205" y="1013"/>
                                    <a:pt x="204" y="1018"/>
                                  </a:cubicBezTo>
                                  <a:cubicBezTo>
                                    <a:pt x="203" y="1023"/>
                                    <a:pt x="202" y="1024"/>
                                    <a:pt x="198" y="1027"/>
                                  </a:cubicBezTo>
                                  <a:cubicBezTo>
                                    <a:pt x="194" y="1030"/>
                                    <a:pt x="195" y="1034"/>
                                    <a:pt x="193" y="1038"/>
                                  </a:cubicBezTo>
                                  <a:cubicBezTo>
                                    <a:pt x="192" y="1043"/>
                                    <a:pt x="188" y="1042"/>
                                    <a:pt x="183" y="1044"/>
                                  </a:cubicBezTo>
                                  <a:cubicBezTo>
                                    <a:pt x="177" y="1045"/>
                                    <a:pt x="175" y="1046"/>
                                    <a:pt x="171" y="1049"/>
                                  </a:cubicBezTo>
                                  <a:cubicBezTo>
                                    <a:pt x="168" y="1052"/>
                                    <a:pt x="166" y="1054"/>
                                    <a:pt x="161" y="1057"/>
                                  </a:cubicBezTo>
                                  <a:cubicBezTo>
                                    <a:pt x="156" y="1059"/>
                                    <a:pt x="155" y="1059"/>
                                    <a:pt x="152" y="1064"/>
                                  </a:cubicBezTo>
                                  <a:cubicBezTo>
                                    <a:pt x="149" y="1069"/>
                                    <a:pt x="148" y="1069"/>
                                    <a:pt x="144" y="1070"/>
                                  </a:cubicBezTo>
                                  <a:cubicBezTo>
                                    <a:pt x="141" y="1072"/>
                                    <a:pt x="138" y="1073"/>
                                    <a:pt x="138" y="1075"/>
                                  </a:cubicBezTo>
                                  <a:cubicBezTo>
                                    <a:pt x="139" y="1077"/>
                                    <a:pt x="142" y="1077"/>
                                    <a:pt x="147" y="1076"/>
                                  </a:cubicBezTo>
                                  <a:cubicBezTo>
                                    <a:pt x="151" y="1075"/>
                                    <a:pt x="151" y="1075"/>
                                    <a:pt x="156" y="1075"/>
                                  </a:cubicBezTo>
                                  <a:cubicBezTo>
                                    <a:pt x="160" y="1075"/>
                                    <a:pt x="159" y="1077"/>
                                    <a:pt x="160" y="1079"/>
                                  </a:cubicBezTo>
                                  <a:cubicBezTo>
                                    <a:pt x="161" y="1081"/>
                                    <a:pt x="164" y="1081"/>
                                    <a:pt x="167" y="1079"/>
                                  </a:cubicBezTo>
                                  <a:cubicBezTo>
                                    <a:pt x="170" y="1078"/>
                                    <a:pt x="168" y="1073"/>
                                    <a:pt x="168" y="1070"/>
                                  </a:cubicBezTo>
                                  <a:cubicBezTo>
                                    <a:pt x="168" y="1067"/>
                                    <a:pt x="174" y="1064"/>
                                    <a:pt x="179" y="1062"/>
                                  </a:cubicBezTo>
                                  <a:cubicBezTo>
                                    <a:pt x="184" y="1061"/>
                                    <a:pt x="189" y="1062"/>
                                    <a:pt x="192" y="1061"/>
                                  </a:cubicBezTo>
                                  <a:cubicBezTo>
                                    <a:pt x="194" y="1059"/>
                                    <a:pt x="203" y="1058"/>
                                    <a:pt x="209" y="1057"/>
                                  </a:cubicBezTo>
                                  <a:cubicBezTo>
                                    <a:pt x="215" y="1056"/>
                                    <a:pt x="217" y="1056"/>
                                    <a:pt x="220" y="1055"/>
                                  </a:cubicBezTo>
                                  <a:cubicBezTo>
                                    <a:pt x="223" y="1053"/>
                                    <a:pt x="222" y="1051"/>
                                    <a:pt x="222" y="1047"/>
                                  </a:cubicBezTo>
                                  <a:cubicBezTo>
                                    <a:pt x="223" y="1044"/>
                                    <a:pt x="227" y="1044"/>
                                    <a:pt x="230" y="1045"/>
                                  </a:cubicBezTo>
                                  <a:cubicBezTo>
                                    <a:pt x="233" y="1046"/>
                                    <a:pt x="233" y="1051"/>
                                    <a:pt x="234" y="1054"/>
                                  </a:cubicBezTo>
                                  <a:cubicBezTo>
                                    <a:pt x="235" y="1057"/>
                                    <a:pt x="247" y="1064"/>
                                    <a:pt x="252" y="1063"/>
                                  </a:cubicBezTo>
                                  <a:cubicBezTo>
                                    <a:pt x="257" y="1063"/>
                                    <a:pt x="255" y="1056"/>
                                    <a:pt x="258" y="1052"/>
                                  </a:cubicBezTo>
                                  <a:cubicBezTo>
                                    <a:pt x="261" y="1047"/>
                                    <a:pt x="263" y="1040"/>
                                    <a:pt x="264" y="1034"/>
                                  </a:cubicBezTo>
                                  <a:cubicBezTo>
                                    <a:pt x="264" y="1028"/>
                                    <a:pt x="271" y="1025"/>
                                    <a:pt x="275" y="1023"/>
                                  </a:cubicBezTo>
                                  <a:cubicBezTo>
                                    <a:pt x="280" y="1020"/>
                                    <a:pt x="286" y="1021"/>
                                    <a:pt x="292" y="1021"/>
                                  </a:cubicBezTo>
                                  <a:cubicBezTo>
                                    <a:pt x="298" y="1020"/>
                                    <a:pt x="300" y="1019"/>
                                    <a:pt x="304" y="1019"/>
                                  </a:cubicBezTo>
                                  <a:cubicBezTo>
                                    <a:pt x="309" y="1019"/>
                                    <a:pt x="309" y="1022"/>
                                    <a:pt x="313" y="1024"/>
                                  </a:cubicBezTo>
                                  <a:cubicBezTo>
                                    <a:pt x="316" y="1027"/>
                                    <a:pt x="320" y="1027"/>
                                    <a:pt x="322" y="1029"/>
                                  </a:cubicBezTo>
                                  <a:cubicBezTo>
                                    <a:pt x="325" y="1031"/>
                                    <a:pt x="331" y="1037"/>
                                    <a:pt x="335" y="1037"/>
                                  </a:cubicBezTo>
                                  <a:cubicBezTo>
                                    <a:pt x="340" y="1037"/>
                                    <a:pt x="342" y="1034"/>
                                    <a:pt x="346" y="1033"/>
                                  </a:cubicBezTo>
                                  <a:cubicBezTo>
                                    <a:pt x="350" y="1032"/>
                                    <a:pt x="357" y="1035"/>
                                    <a:pt x="358" y="1031"/>
                                  </a:cubicBezTo>
                                  <a:cubicBezTo>
                                    <a:pt x="358" y="1027"/>
                                    <a:pt x="357" y="1027"/>
                                    <a:pt x="358" y="1024"/>
                                  </a:cubicBezTo>
                                  <a:cubicBezTo>
                                    <a:pt x="359" y="1021"/>
                                    <a:pt x="365" y="1021"/>
                                    <a:pt x="369" y="1022"/>
                                  </a:cubicBezTo>
                                  <a:cubicBezTo>
                                    <a:pt x="373" y="1023"/>
                                    <a:pt x="378" y="1022"/>
                                    <a:pt x="383" y="1021"/>
                                  </a:cubicBezTo>
                                  <a:cubicBezTo>
                                    <a:pt x="388" y="1020"/>
                                    <a:pt x="390" y="1015"/>
                                    <a:pt x="392" y="1011"/>
                                  </a:cubicBezTo>
                                  <a:cubicBezTo>
                                    <a:pt x="394" y="1007"/>
                                    <a:pt x="402" y="1007"/>
                                    <a:pt x="405" y="1008"/>
                                  </a:cubicBezTo>
                                  <a:cubicBezTo>
                                    <a:pt x="407" y="1009"/>
                                    <a:pt x="413" y="1011"/>
                                    <a:pt x="420" y="1011"/>
                                  </a:cubicBezTo>
                                  <a:cubicBezTo>
                                    <a:pt x="426" y="1010"/>
                                    <a:pt x="429" y="1014"/>
                                    <a:pt x="436" y="1017"/>
                                  </a:cubicBezTo>
                                  <a:cubicBezTo>
                                    <a:pt x="443" y="1020"/>
                                    <a:pt x="444" y="1020"/>
                                    <a:pt x="444" y="1020"/>
                                  </a:cubicBezTo>
                                  <a:cubicBezTo>
                                    <a:pt x="444" y="1020"/>
                                    <a:pt x="459" y="1017"/>
                                    <a:pt x="465" y="1017"/>
                                  </a:cubicBezTo>
                                  <a:cubicBezTo>
                                    <a:pt x="472" y="1017"/>
                                    <a:pt x="481" y="1021"/>
                                    <a:pt x="489" y="1021"/>
                                  </a:cubicBezTo>
                                  <a:cubicBezTo>
                                    <a:pt x="496" y="1021"/>
                                    <a:pt x="506" y="1021"/>
                                    <a:pt x="511" y="1020"/>
                                  </a:cubicBezTo>
                                  <a:cubicBezTo>
                                    <a:pt x="516" y="1019"/>
                                    <a:pt x="531" y="1011"/>
                                    <a:pt x="537" y="1007"/>
                                  </a:cubicBezTo>
                                  <a:cubicBezTo>
                                    <a:pt x="544" y="1002"/>
                                    <a:pt x="552" y="1000"/>
                                    <a:pt x="558" y="997"/>
                                  </a:cubicBezTo>
                                  <a:cubicBezTo>
                                    <a:pt x="564" y="994"/>
                                    <a:pt x="570" y="992"/>
                                    <a:pt x="573" y="988"/>
                                  </a:cubicBezTo>
                                  <a:cubicBezTo>
                                    <a:pt x="576" y="984"/>
                                    <a:pt x="576" y="978"/>
                                    <a:pt x="575" y="975"/>
                                  </a:cubicBezTo>
                                  <a:cubicBezTo>
                                    <a:pt x="573" y="971"/>
                                    <a:pt x="568" y="972"/>
                                    <a:pt x="565" y="971"/>
                                  </a:cubicBezTo>
                                  <a:cubicBezTo>
                                    <a:pt x="562" y="969"/>
                                    <a:pt x="553" y="970"/>
                                    <a:pt x="551" y="971"/>
                                  </a:cubicBezTo>
                                  <a:cubicBezTo>
                                    <a:pt x="548" y="971"/>
                                    <a:pt x="546" y="973"/>
                                    <a:pt x="545" y="974"/>
                                  </a:cubicBezTo>
                                  <a:cubicBezTo>
                                    <a:pt x="543" y="975"/>
                                    <a:pt x="540" y="974"/>
                                    <a:pt x="538" y="973"/>
                                  </a:cubicBezTo>
                                  <a:cubicBezTo>
                                    <a:pt x="537" y="971"/>
                                    <a:pt x="534" y="971"/>
                                    <a:pt x="528" y="969"/>
                                  </a:cubicBezTo>
                                  <a:cubicBezTo>
                                    <a:pt x="522" y="967"/>
                                    <a:pt x="521" y="969"/>
                                    <a:pt x="517" y="969"/>
                                  </a:cubicBezTo>
                                  <a:cubicBezTo>
                                    <a:pt x="513" y="970"/>
                                    <a:pt x="508" y="967"/>
                                    <a:pt x="508" y="964"/>
                                  </a:cubicBezTo>
                                  <a:cubicBezTo>
                                    <a:pt x="508" y="961"/>
                                    <a:pt x="514" y="961"/>
                                    <a:pt x="519" y="958"/>
                                  </a:cubicBezTo>
                                  <a:cubicBezTo>
                                    <a:pt x="524" y="955"/>
                                    <a:pt x="527" y="957"/>
                                    <a:pt x="531" y="956"/>
                                  </a:cubicBezTo>
                                  <a:cubicBezTo>
                                    <a:pt x="536" y="956"/>
                                    <a:pt x="539" y="956"/>
                                    <a:pt x="541" y="955"/>
                                  </a:cubicBezTo>
                                  <a:cubicBezTo>
                                    <a:pt x="543" y="953"/>
                                    <a:pt x="543" y="951"/>
                                    <a:pt x="540" y="948"/>
                                  </a:cubicBezTo>
                                  <a:cubicBezTo>
                                    <a:pt x="538" y="945"/>
                                    <a:pt x="534" y="948"/>
                                    <a:pt x="529" y="947"/>
                                  </a:cubicBezTo>
                                  <a:cubicBezTo>
                                    <a:pt x="523" y="946"/>
                                    <a:pt x="527" y="943"/>
                                    <a:pt x="530" y="941"/>
                                  </a:cubicBezTo>
                                  <a:cubicBezTo>
                                    <a:pt x="533" y="939"/>
                                    <a:pt x="539" y="941"/>
                                    <a:pt x="544" y="939"/>
                                  </a:cubicBezTo>
                                  <a:cubicBezTo>
                                    <a:pt x="549" y="936"/>
                                    <a:pt x="550" y="938"/>
                                    <a:pt x="555" y="938"/>
                                  </a:cubicBezTo>
                                  <a:cubicBezTo>
                                    <a:pt x="560" y="937"/>
                                    <a:pt x="565" y="936"/>
                                    <a:pt x="565" y="935"/>
                                  </a:cubicBezTo>
                                  <a:cubicBezTo>
                                    <a:pt x="565" y="933"/>
                                    <a:pt x="560" y="931"/>
                                    <a:pt x="556" y="929"/>
                                  </a:cubicBezTo>
                                  <a:cubicBezTo>
                                    <a:pt x="551" y="927"/>
                                    <a:pt x="551" y="926"/>
                                    <a:pt x="551" y="923"/>
                                  </a:cubicBezTo>
                                  <a:cubicBezTo>
                                    <a:pt x="551" y="921"/>
                                    <a:pt x="555" y="920"/>
                                    <a:pt x="557" y="919"/>
                                  </a:cubicBezTo>
                                  <a:cubicBezTo>
                                    <a:pt x="559" y="918"/>
                                    <a:pt x="562" y="919"/>
                                    <a:pt x="564" y="921"/>
                                  </a:cubicBezTo>
                                  <a:cubicBezTo>
                                    <a:pt x="566" y="923"/>
                                    <a:pt x="568" y="925"/>
                                    <a:pt x="572" y="922"/>
                                  </a:cubicBezTo>
                                  <a:cubicBezTo>
                                    <a:pt x="576" y="919"/>
                                    <a:pt x="585" y="917"/>
                                    <a:pt x="586" y="913"/>
                                  </a:cubicBezTo>
                                  <a:cubicBezTo>
                                    <a:pt x="588" y="909"/>
                                    <a:pt x="587" y="902"/>
                                    <a:pt x="588" y="898"/>
                                  </a:cubicBezTo>
                                  <a:cubicBezTo>
                                    <a:pt x="588" y="893"/>
                                    <a:pt x="592" y="887"/>
                                    <a:pt x="593" y="881"/>
                                  </a:cubicBezTo>
                                  <a:cubicBezTo>
                                    <a:pt x="594" y="876"/>
                                    <a:pt x="593" y="872"/>
                                    <a:pt x="591" y="866"/>
                                  </a:cubicBezTo>
                                  <a:cubicBezTo>
                                    <a:pt x="588" y="859"/>
                                    <a:pt x="583" y="855"/>
                                    <a:pt x="580" y="851"/>
                                  </a:cubicBezTo>
                                  <a:cubicBezTo>
                                    <a:pt x="576" y="848"/>
                                    <a:pt x="569" y="846"/>
                                    <a:pt x="565" y="844"/>
                                  </a:cubicBezTo>
                                  <a:cubicBezTo>
                                    <a:pt x="561" y="843"/>
                                    <a:pt x="553" y="844"/>
                                    <a:pt x="546" y="841"/>
                                  </a:cubicBezTo>
                                  <a:cubicBezTo>
                                    <a:pt x="538" y="839"/>
                                    <a:pt x="538" y="840"/>
                                    <a:pt x="534" y="840"/>
                                  </a:cubicBezTo>
                                  <a:cubicBezTo>
                                    <a:pt x="530" y="840"/>
                                    <a:pt x="523" y="842"/>
                                    <a:pt x="518" y="845"/>
                                  </a:cubicBezTo>
                                  <a:cubicBezTo>
                                    <a:pt x="513" y="847"/>
                                    <a:pt x="512" y="850"/>
                                    <a:pt x="508" y="851"/>
                                  </a:cubicBezTo>
                                  <a:cubicBezTo>
                                    <a:pt x="503" y="852"/>
                                    <a:pt x="495" y="851"/>
                                    <a:pt x="491" y="848"/>
                                  </a:cubicBezTo>
                                  <a:cubicBezTo>
                                    <a:pt x="488" y="845"/>
                                    <a:pt x="490" y="841"/>
                                    <a:pt x="491" y="837"/>
                                  </a:cubicBezTo>
                                  <a:cubicBezTo>
                                    <a:pt x="492" y="833"/>
                                    <a:pt x="499" y="832"/>
                                    <a:pt x="504" y="828"/>
                                  </a:cubicBezTo>
                                  <a:cubicBezTo>
                                    <a:pt x="509" y="824"/>
                                    <a:pt x="508" y="823"/>
                                    <a:pt x="507" y="821"/>
                                  </a:cubicBezTo>
                                  <a:cubicBezTo>
                                    <a:pt x="507" y="818"/>
                                    <a:pt x="503" y="810"/>
                                    <a:pt x="499" y="806"/>
                                  </a:cubicBezTo>
                                  <a:cubicBezTo>
                                    <a:pt x="496" y="802"/>
                                    <a:pt x="484" y="796"/>
                                    <a:pt x="483" y="793"/>
                                  </a:cubicBezTo>
                                  <a:cubicBezTo>
                                    <a:pt x="482" y="790"/>
                                    <a:pt x="476" y="785"/>
                                    <a:pt x="473" y="782"/>
                                  </a:cubicBezTo>
                                  <a:cubicBezTo>
                                    <a:pt x="470" y="779"/>
                                    <a:pt x="466" y="781"/>
                                    <a:pt x="461" y="781"/>
                                  </a:cubicBezTo>
                                  <a:cubicBezTo>
                                    <a:pt x="457" y="781"/>
                                    <a:pt x="451" y="783"/>
                                    <a:pt x="446" y="783"/>
                                  </a:cubicBezTo>
                                  <a:cubicBezTo>
                                    <a:pt x="440" y="783"/>
                                    <a:pt x="445" y="777"/>
                                    <a:pt x="447" y="777"/>
                                  </a:cubicBezTo>
                                  <a:cubicBezTo>
                                    <a:pt x="450" y="776"/>
                                    <a:pt x="454" y="775"/>
                                    <a:pt x="457" y="774"/>
                                  </a:cubicBezTo>
                                  <a:cubicBezTo>
                                    <a:pt x="459" y="773"/>
                                    <a:pt x="466" y="774"/>
                                    <a:pt x="470" y="774"/>
                                  </a:cubicBezTo>
                                  <a:cubicBezTo>
                                    <a:pt x="474" y="774"/>
                                    <a:pt x="478" y="778"/>
                                    <a:pt x="482" y="782"/>
                                  </a:cubicBezTo>
                                  <a:cubicBezTo>
                                    <a:pt x="486" y="787"/>
                                    <a:pt x="488" y="786"/>
                                    <a:pt x="490" y="785"/>
                                  </a:cubicBezTo>
                                  <a:cubicBezTo>
                                    <a:pt x="493" y="785"/>
                                    <a:pt x="489" y="778"/>
                                    <a:pt x="487" y="774"/>
                                  </a:cubicBezTo>
                                  <a:cubicBezTo>
                                    <a:pt x="485" y="769"/>
                                    <a:pt x="486" y="765"/>
                                    <a:pt x="483" y="757"/>
                                  </a:cubicBezTo>
                                  <a:cubicBezTo>
                                    <a:pt x="480" y="749"/>
                                    <a:pt x="474" y="740"/>
                                    <a:pt x="470" y="735"/>
                                  </a:cubicBezTo>
                                  <a:cubicBezTo>
                                    <a:pt x="466" y="729"/>
                                    <a:pt x="457" y="726"/>
                                    <a:pt x="454" y="721"/>
                                  </a:cubicBezTo>
                                  <a:cubicBezTo>
                                    <a:pt x="451" y="716"/>
                                    <a:pt x="443" y="709"/>
                                    <a:pt x="439" y="704"/>
                                  </a:cubicBezTo>
                                  <a:cubicBezTo>
                                    <a:pt x="434" y="699"/>
                                    <a:pt x="428" y="701"/>
                                    <a:pt x="421" y="696"/>
                                  </a:cubicBezTo>
                                  <a:cubicBezTo>
                                    <a:pt x="415" y="691"/>
                                    <a:pt x="410" y="691"/>
                                    <a:pt x="407" y="683"/>
                                  </a:cubicBezTo>
                                  <a:cubicBezTo>
                                    <a:pt x="404" y="675"/>
                                    <a:pt x="404" y="674"/>
                                    <a:pt x="399" y="668"/>
                                  </a:cubicBezTo>
                                  <a:cubicBezTo>
                                    <a:pt x="395" y="662"/>
                                    <a:pt x="394" y="659"/>
                                    <a:pt x="392" y="651"/>
                                  </a:cubicBezTo>
                                  <a:cubicBezTo>
                                    <a:pt x="391" y="643"/>
                                    <a:pt x="388" y="637"/>
                                    <a:pt x="388" y="627"/>
                                  </a:cubicBezTo>
                                  <a:cubicBezTo>
                                    <a:pt x="387" y="617"/>
                                    <a:pt x="383" y="615"/>
                                    <a:pt x="376" y="608"/>
                                  </a:cubicBezTo>
                                  <a:cubicBezTo>
                                    <a:pt x="369" y="602"/>
                                    <a:pt x="355" y="591"/>
                                    <a:pt x="349" y="588"/>
                                  </a:cubicBezTo>
                                  <a:cubicBezTo>
                                    <a:pt x="343" y="586"/>
                                    <a:pt x="335" y="584"/>
                                    <a:pt x="325" y="583"/>
                                  </a:cubicBezTo>
                                  <a:cubicBezTo>
                                    <a:pt x="316" y="583"/>
                                    <a:pt x="315" y="583"/>
                                    <a:pt x="308" y="583"/>
                                  </a:cubicBezTo>
                                  <a:cubicBezTo>
                                    <a:pt x="300" y="583"/>
                                    <a:pt x="296" y="585"/>
                                    <a:pt x="286" y="585"/>
                                  </a:cubicBezTo>
                                  <a:cubicBezTo>
                                    <a:pt x="276" y="585"/>
                                    <a:pt x="269" y="584"/>
                                    <a:pt x="262" y="583"/>
                                  </a:cubicBezTo>
                                  <a:cubicBezTo>
                                    <a:pt x="255" y="582"/>
                                    <a:pt x="256" y="578"/>
                                    <a:pt x="256" y="574"/>
                                  </a:cubicBezTo>
                                  <a:cubicBezTo>
                                    <a:pt x="257" y="570"/>
                                    <a:pt x="261" y="573"/>
                                    <a:pt x="267" y="576"/>
                                  </a:cubicBezTo>
                                  <a:cubicBezTo>
                                    <a:pt x="273" y="579"/>
                                    <a:pt x="277" y="576"/>
                                    <a:pt x="282" y="576"/>
                                  </a:cubicBezTo>
                                  <a:cubicBezTo>
                                    <a:pt x="286" y="575"/>
                                    <a:pt x="291" y="571"/>
                                    <a:pt x="294" y="569"/>
                                  </a:cubicBezTo>
                                  <a:cubicBezTo>
                                    <a:pt x="297" y="566"/>
                                    <a:pt x="300" y="564"/>
                                    <a:pt x="305" y="564"/>
                                  </a:cubicBezTo>
                                  <a:cubicBezTo>
                                    <a:pt x="311" y="564"/>
                                    <a:pt x="318" y="564"/>
                                    <a:pt x="318" y="560"/>
                                  </a:cubicBezTo>
                                  <a:cubicBezTo>
                                    <a:pt x="318" y="556"/>
                                    <a:pt x="315" y="553"/>
                                    <a:pt x="315" y="551"/>
                                  </a:cubicBezTo>
                                  <a:cubicBezTo>
                                    <a:pt x="315" y="548"/>
                                    <a:pt x="314" y="545"/>
                                    <a:pt x="311" y="544"/>
                                  </a:cubicBezTo>
                                  <a:cubicBezTo>
                                    <a:pt x="307" y="543"/>
                                    <a:pt x="303" y="545"/>
                                    <a:pt x="296" y="547"/>
                                  </a:cubicBezTo>
                                  <a:cubicBezTo>
                                    <a:pt x="290" y="548"/>
                                    <a:pt x="288" y="548"/>
                                    <a:pt x="285" y="548"/>
                                  </a:cubicBezTo>
                                  <a:cubicBezTo>
                                    <a:pt x="282" y="547"/>
                                    <a:pt x="289" y="544"/>
                                    <a:pt x="291" y="542"/>
                                  </a:cubicBezTo>
                                  <a:cubicBezTo>
                                    <a:pt x="293" y="539"/>
                                    <a:pt x="303" y="538"/>
                                    <a:pt x="310" y="538"/>
                                  </a:cubicBezTo>
                                  <a:cubicBezTo>
                                    <a:pt x="316" y="538"/>
                                    <a:pt x="315" y="538"/>
                                    <a:pt x="320" y="534"/>
                                  </a:cubicBezTo>
                                  <a:cubicBezTo>
                                    <a:pt x="325" y="530"/>
                                    <a:pt x="328" y="526"/>
                                    <a:pt x="331" y="518"/>
                                  </a:cubicBezTo>
                                  <a:cubicBezTo>
                                    <a:pt x="334" y="509"/>
                                    <a:pt x="336" y="510"/>
                                    <a:pt x="345" y="506"/>
                                  </a:cubicBezTo>
                                  <a:cubicBezTo>
                                    <a:pt x="353" y="501"/>
                                    <a:pt x="353" y="501"/>
                                    <a:pt x="353" y="494"/>
                                  </a:cubicBezTo>
                                  <a:cubicBezTo>
                                    <a:pt x="354" y="487"/>
                                    <a:pt x="354" y="481"/>
                                    <a:pt x="358" y="472"/>
                                  </a:cubicBezTo>
                                  <a:cubicBezTo>
                                    <a:pt x="361" y="464"/>
                                    <a:pt x="366" y="464"/>
                                    <a:pt x="373" y="459"/>
                                  </a:cubicBezTo>
                                  <a:cubicBezTo>
                                    <a:pt x="380" y="455"/>
                                    <a:pt x="377" y="448"/>
                                    <a:pt x="374" y="441"/>
                                  </a:cubicBezTo>
                                  <a:cubicBezTo>
                                    <a:pt x="371" y="435"/>
                                    <a:pt x="360" y="437"/>
                                    <a:pt x="355" y="435"/>
                                  </a:cubicBezTo>
                                  <a:cubicBezTo>
                                    <a:pt x="349" y="434"/>
                                    <a:pt x="335" y="435"/>
                                    <a:pt x="328" y="435"/>
                                  </a:cubicBezTo>
                                  <a:cubicBezTo>
                                    <a:pt x="320" y="435"/>
                                    <a:pt x="310" y="435"/>
                                    <a:pt x="301" y="430"/>
                                  </a:cubicBezTo>
                                  <a:cubicBezTo>
                                    <a:pt x="292" y="423"/>
                                    <a:pt x="281" y="430"/>
                                    <a:pt x="277" y="432"/>
                                  </a:cubicBezTo>
                                  <a:cubicBezTo>
                                    <a:pt x="272" y="433"/>
                                    <a:pt x="267" y="435"/>
                                    <a:pt x="260" y="437"/>
                                  </a:cubicBezTo>
                                  <a:cubicBezTo>
                                    <a:pt x="254" y="438"/>
                                    <a:pt x="247" y="441"/>
                                    <a:pt x="244" y="444"/>
                                  </a:cubicBezTo>
                                  <a:cubicBezTo>
                                    <a:pt x="241" y="446"/>
                                    <a:pt x="235" y="448"/>
                                    <a:pt x="232" y="449"/>
                                  </a:cubicBezTo>
                                  <a:cubicBezTo>
                                    <a:pt x="229" y="449"/>
                                    <a:pt x="227" y="447"/>
                                    <a:pt x="225" y="443"/>
                                  </a:cubicBezTo>
                                  <a:cubicBezTo>
                                    <a:pt x="224" y="441"/>
                                    <a:pt x="221" y="443"/>
                                    <a:pt x="217" y="443"/>
                                  </a:cubicBezTo>
                                  <a:cubicBezTo>
                                    <a:pt x="213" y="443"/>
                                    <a:pt x="210" y="442"/>
                                    <a:pt x="210" y="441"/>
                                  </a:cubicBezTo>
                                  <a:cubicBezTo>
                                    <a:pt x="210" y="439"/>
                                    <a:pt x="216" y="438"/>
                                    <a:pt x="219" y="436"/>
                                  </a:cubicBezTo>
                                  <a:cubicBezTo>
                                    <a:pt x="222" y="435"/>
                                    <a:pt x="224" y="435"/>
                                    <a:pt x="229" y="431"/>
                                  </a:cubicBezTo>
                                  <a:cubicBezTo>
                                    <a:pt x="233" y="426"/>
                                    <a:pt x="232" y="430"/>
                                    <a:pt x="236" y="429"/>
                                  </a:cubicBezTo>
                                  <a:cubicBezTo>
                                    <a:pt x="240" y="428"/>
                                    <a:pt x="242" y="424"/>
                                    <a:pt x="238" y="421"/>
                                  </a:cubicBezTo>
                                  <a:cubicBezTo>
                                    <a:pt x="234" y="419"/>
                                    <a:pt x="234" y="421"/>
                                    <a:pt x="230" y="419"/>
                                  </a:cubicBezTo>
                                  <a:cubicBezTo>
                                    <a:pt x="227" y="416"/>
                                    <a:pt x="224" y="417"/>
                                    <a:pt x="219" y="416"/>
                                  </a:cubicBezTo>
                                  <a:cubicBezTo>
                                    <a:pt x="215" y="416"/>
                                    <a:pt x="215" y="415"/>
                                    <a:pt x="215" y="412"/>
                                  </a:cubicBezTo>
                                  <a:cubicBezTo>
                                    <a:pt x="215" y="410"/>
                                    <a:pt x="218" y="411"/>
                                    <a:pt x="221" y="411"/>
                                  </a:cubicBezTo>
                                  <a:cubicBezTo>
                                    <a:pt x="224" y="411"/>
                                    <a:pt x="226" y="414"/>
                                    <a:pt x="230" y="414"/>
                                  </a:cubicBezTo>
                                  <a:cubicBezTo>
                                    <a:pt x="235" y="414"/>
                                    <a:pt x="232" y="412"/>
                                    <a:pt x="234" y="408"/>
                                  </a:cubicBezTo>
                                  <a:cubicBezTo>
                                    <a:pt x="237" y="404"/>
                                    <a:pt x="244" y="404"/>
                                    <a:pt x="246" y="402"/>
                                  </a:cubicBezTo>
                                  <a:cubicBezTo>
                                    <a:pt x="248" y="401"/>
                                    <a:pt x="252" y="398"/>
                                    <a:pt x="256" y="396"/>
                                  </a:cubicBezTo>
                                  <a:cubicBezTo>
                                    <a:pt x="261" y="394"/>
                                    <a:pt x="264" y="393"/>
                                    <a:pt x="268" y="390"/>
                                  </a:cubicBezTo>
                                  <a:cubicBezTo>
                                    <a:pt x="272" y="388"/>
                                    <a:pt x="274" y="385"/>
                                    <a:pt x="277" y="381"/>
                                  </a:cubicBezTo>
                                  <a:cubicBezTo>
                                    <a:pt x="280" y="377"/>
                                    <a:pt x="288" y="379"/>
                                    <a:pt x="290" y="375"/>
                                  </a:cubicBezTo>
                                  <a:cubicBezTo>
                                    <a:pt x="292" y="372"/>
                                    <a:pt x="292" y="371"/>
                                    <a:pt x="292" y="367"/>
                                  </a:cubicBezTo>
                                  <a:cubicBezTo>
                                    <a:pt x="293" y="363"/>
                                    <a:pt x="294" y="362"/>
                                    <a:pt x="296" y="359"/>
                                  </a:cubicBezTo>
                                  <a:cubicBezTo>
                                    <a:pt x="297" y="356"/>
                                    <a:pt x="300" y="352"/>
                                    <a:pt x="300" y="349"/>
                                  </a:cubicBezTo>
                                  <a:cubicBezTo>
                                    <a:pt x="300" y="347"/>
                                    <a:pt x="298" y="346"/>
                                    <a:pt x="293" y="347"/>
                                  </a:cubicBezTo>
                                  <a:cubicBezTo>
                                    <a:pt x="288" y="348"/>
                                    <a:pt x="285" y="348"/>
                                    <a:pt x="279" y="348"/>
                                  </a:cubicBezTo>
                                  <a:cubicBezTo>
                                    <a:pt x="273" y="348"/>
                                    <a:pt x="268" y="351"/>
                                    <a:pt x="265" y="351"/>
                                  </a:cubicBezTo>
                                  <a:cubicBezTo>
                                    <a:pt x="262" y="351"/>
                                    <a:pt x="257" y="351"/>
                                    <a:pt x="254" y="350"/>
                                  </a:cubicBezTo>
                                  <a:cubicBezTo>
                                    <a:pt x="250" y="349"/>
                                    <a:pt x="246" y="350"/>
                                    <a:pt x="243" y="350"/>
                                  </a:cubicBezTo>
                                  <a:cubicBezTo>
                                    <a:pt x="240" y="350"/>
                                    <a:pt x="237" y="351"/>
                                    <a:pt x="233" y="353"/>
                                  </a:cubicBezTo>
                                  <a:cubicBezTo>
                                    <a:pt x="229" y="355"/>
                                    <a:pt x="228" y="358"/>
                                    <a:pt x="226" y="359"/>
                                  </a:cubicBezTo>
                                  <a:cubicBezTo>
                                    <a:pt x="224" y="360"/>
                                    <a:pt x="222" y="361"/>
                                    <a:pt x="221" y="363"/>
                                  </a:cubicBezTo>
                                  <a:cubicBezTo>
                                    <a:pt x="219" y="365"/>
                                    <a:pt x="216" y="366"/>
                                    <a:pt x="213" y="367"/>
                                  </a:cubicBezTo>
                                  <a:cubicBezTo>
                                    <a:pt x="210" y="367"/>
                                    <a:pt x="210" y="366"/>
                                    <a:pt x="210" y="365"/>
                                  </a:cubicBezTo>
                                  <a:cubicBezTo>
                                    <a:pt x="210" y="363"/>
                                    <a:pt x="212" y="362"/>
                                    <a:pt x="213" y="359"/>
                                  </a:cubicBezTo>
                                  <a:cubicBezTo>
                                    <a:pt x="214" y="355"/>
                                    <a:pt x="212" y="356"/>
                                    <a:pt x="209" y="355"/>
                                  </a:cubicBezTo>
                                  <a:cubicBezTo>
                                    <a:pt x="206" y="354"/>
                                    <a:pt x="204" y="356"/>
                                    <a:pt x="202" y="357"/>
                                  </a:cubicBezTo>
                                  <a:cubicBezTo>
                                    <a:pt x="200" y="357"/>
                                    <a:pt x="200" y="359"/>
                                    <a:pt x="199" y="361"/>
                                  </a:cubicBezTo>
                                  <a:cubicBezTo>
                                    <a:pt x="198" y="364"/>
                                    <a:pt x="196" y="364"/>
                                    <a:pt x="194" y="365"/>
                                  </a:cubicBezTo>
                                  <a:cubicBezTo>
                                    <a:pt x="192" y="367"/>
                                    <a:pt x="191" y="366"/>
                                    <a:pt x="189" y="365"/>
                                  </a:cubicBezTo>
                                  <a:cubicBezTo>
                                    <a:pt x="188" y="364"/>
                                    <a:pt x="189" y="361"/>
                                    <a:pt x="191" y="360"/>
                                  </a:cubicBezTo>
                                  <a:cubicBezTo>
                                    <a:pt x="192" y="358"/>
                                    <a:pt x="192" y="357"/>
                                    <a:pt x="192" y="354"/>
                                  </a:cubicBezTo>
                                  <a:cubicBezTo>
                                    <a:pt x="192" y="351"/>
                                    <a:pt x="191" y="352"/>
                                    <a:pt x="188" y="351"/>
                                  </a:cubicBezTo>
                                  <a:cubicBezTo>
                                    <a:pt x="186" y="350"/>
                                    <a:pt x="184" y="351"/>
                                    <a:pt x="181" y="351"/>
                                  </a:cubicBezTo>
                                  <a:cubicBezTo>
                                    <a:pt x="179" y="352"/>
                                    <a:pt x="178" y="352"/>
                                    <a:pt x="177" y="355"/>
                                  </a:cubicBezTo>
                                  <a:cubicBezTo>
                                    <a:pt x="177" y="357"/>
                                    <a:pt x="176" y="358"/>
                                    <a:pt x="174" y="361"/>
                                  </a:cubicBezTo>
                                  <a:cubicBezTo>
                                    <a:pt x="173" y="364"/>
                                    <a:pt x="172" y="366"/>
                                    <a:pt x="171" y="369"/>
                                  </a:cubicBezTo>
                                  <a:cubicBezTo>
                                    <a:pt x="170" y="373"/>
                                    <a:pt x="174" y="374"/>
                                    <a:pt x="176" y="376"/>
                                  </a:cubicBezTo>
                                  <a:cubicBezTo>
                                    <a:pt x="178" y="377"/>
                                    <a:pt x="180" y="377"/>
                                    <a:pt x="181" y="379"/>
                                  </a:cubicBezTo>
                                  <a:cubicBezTo>
                                    <a:pt x="182" y="380"/>
                                    <a:pt x="181" y="381"/>
                                    <a:pt x="181" y="382"/>
                                  </a:cubicBezTo>
                                  <a:cubicBezTo>
                                    <a:pt x="181" y="382"/>
                                    <a:pt x="180" y="383"/>
                                    <a:pt x="179" y="383"/>
                                  </a:cubicBezTo>
                                  <a:cubicBezTo>
                                    <a:pt x="178" y="384"/>
                                    <a:pt x="175" y="383"/>
                                    <a:pt x="173" y="383"/>
                                  </a:cubicBezTo>
                                  <a:cubicBezTo>
                                    <a:pt x="171" y="382"/>
                                    <a:pt x="169" y="383"/>
                                    <a:pt x="167" y="383"/>
                                  </a:cubicBezTo>
                                  <a:cubicBezTo>
                                    <a:pt x="166" y="383"/>
                                    <a:pt x="164" y="386"/>
                                    <a:pt x="163" y="388"/>
                                  </a:cubicBezTo>
                                  <a:cubicBezTo>
                                    <a:pt x="163" y="390"/>
                                    <a:pt x="163" y="391"/>
                                    <a:pt x="162" y="393"/>
                                  </a:cubicBezTo>
                                  <a:cubicBezTo>
                                    <a:pt x="162" y="394"/>
                                    <a:pt x="158" y="395"/>
                                    <a:pt x="157" y="397"/>
                                  </a:cubicBezTo>
                                  <a:cubicBezTo>
                                    <a:pt x="157" y="400"/>
                                    <a:pt x="158" y="401"/>
                                    <a:pt x="162" y="403"/>
                                  </a:cubicBezTo>
                                  <a:cubicBezTo>
                                    <a:pt x="166" y="404"/>
                                    <a:pt x="163" y="405"/>
                                    <a:pt x="166" y="409"/>
                                  </a:cubicBezTo>
                                  <a:cubicBezTo>
                                    <a:pt x="168" y="413"/>
                                    <a:pt x="169" y="411"/>
                                    <a:pt x="174" y="415"/>
                                  </a:cubicBezTo>
                                  <a:cubicBezTo>
                                    <a:pt x="178" y="418"/>
                                    <a:pt x="176" y="417"/>
                                    <a:pt x="176" y="419"/>
                                  </a:cubicBezTo>
                                  <a:cubicBezTo>
                                    <a:pt x="176" y="420"/>
                                    <a:pt x="174" y="420"/>
                                    <a:pt x="172" y="420"/>
                                  </a:cubicBezTo>
                                  <a:cubicBezTo>
                                    <a:pt x="169" y="420"/>
                                    <a:pt x="168" y="420"/>
                                    <a:pt x="165" y="420"/>
                                  </a:cubicBezTo>
                                  <a:cubicBezTo>
                                    <a:pt x="161" y="420"/>
                                    <a:pt x="161" y="420"/>
                                    <a:pt x="156" y="420"/>
                                  </a:cubicBezTo>
                                  <a:cubicBezTo>
                                    <a:pt x="151" y="419"/>
                                    <a:pt x="154" y="419"/>
                                    <a:pt x="151" y="416"/>
                                  </a:cubicBezTo>
                                  <a:cubicBezTo>
                                    <a:pt x="149" y="413"/>
                                    <a:pt x="146" y="414"/>
                                    <a:pt x="143" y="415"/>
                                  </a:cubicBezTo>
                                  <a:cubicBezTo>
                                    <a:pt x="140" y="415"/>
                                    <a:pt x="142" y="416"/>
                                    <a:pt x="140" y="419"/>
                                  </a:cubicBezTo>
                                  <a:cubicBezTo>
                                    <a:pt x="138" y="422"/>
                                    <a:pt x="137" y="420"/>
                                    <a:pt x="136" y="424"/>
                                  </a:cubicBezTo>
                                  <a:cubicBezTo>
                                    <a:pt x="134" y="427"/>
                                    <a:pt x="139" y="431"/>
                                    <a:pt x="140" y="434"/>
                                  </a:cubicBezTo>
                                  <a:cubicBezTo>
                                    <a:pt x="142" y="437"/>
                                    <a:pt x="146" y="438"/>
                                    <a:pt x="147" y="442"/>
                                  </a:cubicBezTo>
                                  <a:cubicBezTo>
                                    <a:pt x="148" y="445"/>
                                    <a:pt x="147" y="445"/>
                                    <a:pt x="145" y="447"/>
                                  </a:cubicBezTo>
                                  <a:cubicBezTo>
                                    <a:pt x="143" y="450"/>
                                    <a:pt x="139" y="447"/>
                                    <a:pt x="135" y="445"/>
                                  </a:cubicBezTo>
                                  <a:cubicBezTo>
                                    <a:pt x="132" y="443"/>
                                    <a:pt x="132" y="444"/>
                                    <a:pt x="129" y="446"/>
                                  </a:cubicBezTo>
                                  <a:cubicBezTo>
                                    <a:pt x="126" y="447"/>
                                    <a:pt x="129" y="448"/>
                                    <a:pt x="130" y="450"/>
                                  </a:cubicBezTo>
                                  <a:cubicBezTo>
                                    <a:pt x="131" y="453"/>
                                    <a:pt x="134" y="453"/>
                                    <a:pt x="136" y="455"/>
                                  </a:cubicBezTo>
                                  <a:cubicBezTo>
                                    <a:pt x="139" y="457"/>
                                    <a:pt x="141" y="456"/>
                                    <a:pt x="145" y="455"/>
                                  </a:cubicBezTo>
                                  <a:cubicBezTo>
                                    <a:pt x="149" y="454"/>
                                    <a:pt x="150" y="456"/>
                                    <a:pt x="151" y="458"/>
                                  </a:cubicBezTo>
                                  <a:cubicBezTo>
                                    <a:pt x="153" y="461"/>
                                    <a:pt x="151" y="462"/>
                                    <a:pt x="151" y="467"/>
                                  </a:cubicBezTo>
                                  <a:cubicBezTo>
                                    <a:pt x="150" y="472"/>
                                    <a:pt x="148" y="470"/>
                                    <a:pt x="146" y="472"/>
                                  </a:cubicBezTo>
                                  <a:cubicBezTo>
                                    <a:pt x="144" y="474"/>
                                    <a:pt x="144" y="476"/>
                                    <a:pt x="146" y="477"/>
                                  </a:cubicBezTo>
                                  <a:cubicBezTo>
                                    <a:pt x="148" y="478"/>
                                    <a:pt x="152" y="479"/>
                                    <a:pt x="153" y="481"/>
                                  </a:cubicBezTo>
                                  <a:cubicBezTo>
                                    <a:pt x="154" y="482"/>
                                    <a:pt x="150" y="486"/>
                                    <a:pt x="147" y="486"/>
                                  </a:cubicBezTo>
                                  <a:cubicBezTo>
                                    <a:pt x="144" y="485"/>
                                    <a:pt x="141" y="488"/>
                                    <a:pt x="141" y="490"/>
                                  </a:cubicBezTo>
                                  <a:cubicBezTo>
                                    <a:pt x="142" y="492"/>
                                    <a:pt x="145" y="491"/>
                                    <a:pt x="145" y="493"/>
                                  </a:cubicBezTo>
                                  <a:cubicBezTo>
                                    <a:pt x="146" y="495"/>
                                    <a:pt x="147" y="496"/>
                                    <a:pt x="143" y="497"/>
                                  </a:cubicBezTo>
                                  <a:cubicBezTo>
                                    <a:pt x="138" y="497"/>
                                    <a:pt x="135" y="497"/>
                                    <a:pt x="132" y="497"/>
                                  </a:cubicBezTo>
                                  <a:cubicBezTo>
                                    <a:pt x="129" y="498"/>
                                    <a:pt x="127" y="501"/>
                                    <a:pt x="126" y="504"/>
                                  </a:cubicBezTo>
                                  <a:cubicBezTo>
                                    <a:pt x="124" y="506"/>
                                    <a:pt x="127" y="508"/>
                                    <a:pt x="128" y="512"/>
                                  </a:cubicBezTo>
                                  <a:cubicBezTo>
                                    <a:pt x="128" y="516"/>
                                    <a:pt x="126" y="517"/>
                                    <a:pt x="122" y="517"/>
                                  </a:cubicBezTo>
                                  <a:cubicBezTo>
                                    <a:pt x="119" y="517"/>
                                    <a:pt x="114" y="517"/>
                                    <a:pt x="113" y="520"/>
                                  </a:cubicBezTo>
                                  <a:cubicBezTo>
                                    <a:pt x="111" y="523"/>
                                    <a:pt x="115" y="523"/>
                                    <a:pt x="119" y="525"/>
                                  </a:cubicBezTo>
                                  <a:close/>
                                  <a:moveTo>
                                    <a:pt x="399" y="1036"/>
                                  </a:moveTo>
                                  <a:cubicBezTo>
                                    <a:pt x="405" y="1036"/>
                                    <a:pt x="407" y="1038"/>
                                    <a:pt x="411" y="1033"/>
                                  </a:cubicBezTo>
                                  <a:cubicBezTo>
                                    <a:pt x="415" y="1029"/>
                                    <a:pt x="420" y="1030"/>
                                    <a:pt x="419" y="1026"/>
                                  </a:cubicBezTo>
                                  <a:cubicBezTo>
                                    <a:pt x="418" y="1023"/>
                                    <a:pt x="418" y="1022"/>
                                    <a:pt x="414" y="1022"/>
                                  </a:cubicBezTo>
                                  <a:cubicBezTo>
                                    <a:pt x="410" y="1022"/>
                                    <a:pt x="403" y="1016"/>
                                    <a:pt x="400" y="1023"/>
                                  </a:cubicBezTo>
                                  <a:cubicBezTo>
                                    <a:pt x="400" y="1023"/>
                                    <a:pt x="401" y="1025"/>
                                    <a:pt x="398" y="1029"/>
                                  </a:cubicBezTo>
                                  <a:cubicBezTo>
                                    <a:pt x="395" y="1034"/>
                                    <a:pt x="393" y="1036"/>
                                    <a:pt x="399" y="1036"/>
                                  </a:cubicBezTo>
                                  <a:close/>
                                  <a:moveTo>
                                    <a:pt x="37" y="26"/>
                                  </a:moveTo>
                                  <a:cubicBezTo>
                                    <a:pt x="40" y="29"/>
                                    <a:pt x="37" y="30"/>
                                    <a:pt x="40" y="31"/>
                                  </a:cubicBezTo>
                                  <a:cubicBezTo>
                                    <a:pt x="43" y="31"/>
                                    <a:pt x="45" y="32"/>
                                    <a:pt x="46" y="30"/>
                                  </a:cubicBezTo>
                                  <a:cubicBezTo>
                                    <a:pt x="47" y="27"/>
                                    <a:pt x="44" y="26"/>
                                    <a:pt x="42" y="24"/>
                                  </a:cubicBezTo>
                                  <a:cubicBezTo>
                                    <a:pt x="40" y="22"/>
                                    <a:pt x="37" y="18"/>
                                    <a:pt x="34" y="21"/>
                                  </a:cubicBezTo>
                                  <a:cubicBezTo>
                                    <a:pt x="33" y="25"/>
                                    <a:pt x="34" y="24"/>
                                    <a:pt x="37" y="26"/>
                                  </a:cubicBezTo>
                                  <a:close/>
                                  <a:moveTo>
                                    <a:pt x="67" y="47"/>
                                  </a:moveTo>
                                  <a:cubicBezTo>
                                    <a:pt x="66" y="50"/>
                                    <a:pt x="66" y="51"/>
                                    <a:pt x="68" y="53"/>
                                  </a:cubicBezTo>
                                  <a:cubicBezTo>
                                    <a:pt x="70" y="55"/>
                                    <a:pt x="69" y="57"/>
                                    <a:pt x="72" y="56"/>
                                  </a:cubicBezTo>
                                  <a:cubicBezTo>
                                    <a:pt x="76" y="55"/>
                                    <a:pt x="77" y="51"/>
                                    <a:pt x="76" y="48"/>
                                  </a:cubicBezTo>
                                  <a:cubicBezTo>
                                    <a:pt x="74" y="46"/>
                                    <a:pt x="69" y="46"/>
                                    <a:pt x="67" y="47"/>
                                  </a:cubicBezTo>
                                  <a:close/>
                                  <a:moveTo>
                                    <a:pt x="49" y="21"/>
                                  </a:moveTo>
                                  <a:cubicBezTo>
                                    <a:pt x="54" y="24"/>
                                    <a:pt x="57" y="23"/>
                                    <a:pt x="58" y="27"/>
                                  </a:cubicBezTo>
                                  <a:cubicBezTo>
                                    <a:pt x="59" y="31"/>
                                    <a:pt x="59" y="31"/>
                                    <a:pt x="60" y="33"/>
                                  </a:cubicBezTo>
                                  <a:cubicBezTo>
                                    <a:pt x="61" y="35"/>
                                    <a:pt x="66" y="42"/>
                                    <a:pt x="68" y="39"/>
                                  </a:cubicBezTo>
                                  <a:cubicBezTo>
                                    <a:pt x="70" y="37"/>
                                    <a:pt x="67" y="31"/>
                                    <a:pt x="67" y="27"/>
                                  </a:cubicBezTo>
                                  <a:cubicBezTo>
                                    <a:pt x="66" y="24"/>
                                    <a:pt x="69" y="23"/>
                                    <a:pt x="63" y="20"/>
                                  </a:cubicBezTo>
                                  <a:cubicBezTo>
                                    <a:pt x="57" y="18"/>
                                    <a:pt x="57" y="19"/>
                                    <a:pt x="55" y="16"/>
                                  </a:cubicBezTo>
                                  <a:cubicBezTo>
                                    <a:pt x="54" y="14"/>
                                    <a:pt x="48" y="10"/>
                                    <a:pt x="47" y="14"/>
                                  </a:cubicBezTo>
                                  <a:cubicBezTo>
                                    <a:pt x="46" y="18"/>
                                    <a:pt x="43" y="18"/>
                                    <a:pt x="49" y="21"/>
                                  </a:cubicBezTo>
                                  <a:close/>
                                  <a:moveTo>
                                    <a:pt x="58" y="9"/>
                                  </a:moveTo>
                                  <a:cubicBezTo>
                                    <a:pt x="61" y="11"/>
                                    <a:pt x="61" y="11"/>
                                    <a:pt x="63" y="14"/>
                                  </a:cubicBezTo>
                                  <a:cubicBezTo>
                                    <a:pt x="65" y="17"/>
                                    <a:pt x="68" y="19"/>
                                    <a:pt x="72" y="18"/>
                                  </a:cubicBezTo>
                                  <a:cubicBezTo>
                                    <a:pt x="75" y="16"/>
                                    <a:pt x="75" y="13"/>
                                    <a:pt x="72" y="12"/>
                                  </a:cubicBezTo>
                                  <a:cubicBezTo>
                                    <a:pt x="69" y="10"/>
                                    <a:pt x="69" y="10"/>
                                    <a:pt x="68" y="7"/>
                                  </a:cubicBezTo>
                                  <a:cubicBezTo>
                                    <a:pt x="66" y="4"/>
                                    <a:pt x="62" y="1"/>
                                    <a:pt x="59" y="3"/>
                                  </a:cubicBezTo>
                                  <a:cubicBezTo>
                                    <a:pt x="57" y="5"/>
                                    <a:pt x="55" y="6"/>
                                    <a:pt x="58" y="9"/>
                                  </a:cubicBezTo>
                                  <a:close/>
                                  <a:moveTo>
                                    <a:pt x="29" y="468"/>
                                  </a:moveTo>
                                  <a:cubicBezTo>
                                    <a:pt x="32" y="470"/>
                                    <a:pt x="34" y="471"/>
                                    <a:pt x="36" y="469"/>
                                  </a:cubicBezTo>
                                  <a:cubicBezTo>
                                    <a:pt x="38" y="467"/>
                                    <a:pt x="40" y="467"/>
                                    <a:pt x="40" y="464"/>
                                  </a:cubicBezTo>
                                  <a:cubicBezTo>
                                    <a:pt x="40" y="461"/>
                                    <a:pt x="38" y="459"/>
                                    <a:pt x="32" y="460"/>
                                  </a:cubicBezTo>
                                  <a:cubicBezTo>
                                    <a:pt x="29" y="461"/>
                                    <a:pt x="28" y="461"/>
                                    <a:pt x="28" y="464"/>
                                  </a:cubicBezTo>
                                  <a:cubicBezTo>
                                    <a:pt x="28" y="466"/>
                                    <a:pt x="27" y="467"/>
                                    <a:pt x="29" y="468"/>
                                  </a:cubicBezTo>
                                  <a:close/>
                                  <a:moveTo>
                                    <a:pt x="31" y="440"/>
                                  </a:moveTo>
                                  <a:cubicBezTo>
                                    <a:pt x="34" y="442"/>
                                    <a:pt x="35" y="444"/>
                                    <a:pt x="37" y="445"/>
                                  </a:cubicBezTo>
                                  <a:cubicBezTo>
                                    <a:pt x="39" y="447"/>
                                    <a:pt x="40" y="447"/>
                                    <a:pt x="42" y="445"/>
                                  </a:cubicBezTo>
                                  <a:cubicBezTo>
                                    <a:pt x="45" y="443"/>
                                    <a:pt x="46" y="442"/>
                                    <a:pt x="46" y="439"/>
                                  </a:cubicBezTo>
                                  <a:cubicBezTo>
                                    <a:pt x="47" y="436"/>
                                    <a:pt x="44" y="438"/>
                                    <a:pt x="40" y="437"/>
                                  </a:cubicBezTo>
                                  <a:cubicBezTo>
                                    <a:pt x="37" y="436"/>
                                    <a:pt x="35" y="434"/>
                                    <a:pt x="31" y="436"/>
                                  </a:cubicBezTo>
                                  <a:cubicBezTo>
                                    <a:pt x="29" y="437"/>
                                    <a:pt x="28" y="438"/>
                                    <a:pt x="31" y="440"/>
                                  </a:cubicBezTo>
                                  <a:close/>
                                  <a:moveTo>
                                    <a:pt x="70" y="88"/>
                                  </a:moveTo>
                                  <a:cubicBezTo>
                                    <a:pt x="72" y="92"/>
                                    <a:pt x="75" y="87"/>
                                    <a:pt x="74" y="83"/>
                                  </a:cubicBezTo>
                                  <a:cubicBezTo>
                                    <a:pt x="74" y="78"/>
                                    <a:pt x="68" y="71"/>
                                    <a:pt x="64" y="75"/>
                                  </a:cubicBezTo>
                                  <a:cubicBezTo>
                                    <a:pt x="61" y="77"/>
                                    <a:pt x="58" y="75"/>
                                    <a:pt x="63" y="79"/>
                                  </a:cubicBezTo>
                                  <a:cubicBezTo>
                                    <a:pt x="68" y="83"/>
                                    <a:pt x="67" y="84"/>
                                    <a:pt x="70" y="88"/>
                                  </a:cubicBezTo>
                                  <a:close/>
                                  <a:moveTo>
                                    <a:pt x="103" y="533"/>
                                  </a:moveTo>
                                  <a:cubicBezTo>
                                    <a:pt x="105" y="533"/>
                                    <a:pt x="106" y="535"/>
                                    <a:pt x="111" y="534"/>
                                  </a:cubicBezTo>
                                  <a:cubicBezTo>
                                    <a:pt x="113" y="534"/>
                                    <a:pt x="106" y="528"/>
                                    <a:pt x="101" y="528"/>
                                  </a:cubicBezTo>
                                  <a:cubicBezTo>
                                    <a:pt x="100" y="530"/>
                                    <a:pt x="100" y="533"/>
                                    <a:pt x="103" y="533"/>
                                  </a:cubicBezTo>
                                  <a:close/>
                                  <a:moveTo>
                                    <a:pt x="97" y="436"/>
                                  </a:moveTo>
                                  <a:cubicBezTo>
                                    <a:pt x="93" y="439"/>
                                    <a:pt x="92" y="440"/>
                                    <a:pt x="92" y="444"/>
                                  </a:cubicBezTo>
                                  <a:cubicBezTo>
                                    <a:pt x="92" y="447"/>
                                    <a:pt x="93" y="449"/>
                                    <a:pt x="90" y="450"/>
                                  </a:cubicBezTo>
                                  <a:cubicBezTo>
                                    <a:pt x="87" y="450"/>
                                    <a:pt x="86" y="450"/>
                                    <a:pt x="84" y="449"/>
                                  </a:cubicBezTo>
                                  <a:cubicBezTo>
                                    <a:pt x="83" y="448"/>
                                    <a:pt x="80" y="447"/>
                                    <a:pt x="79" y="448"/>
                                  </a:cubicBezTo>
                                  <a:cubicBezTo>
                                    <a:pt x="77" y="449"/>
                                    <a:pt x="75" y="450"/>
                                    <a:pt x="77" y="453"/>
                                  </a:cubicBezTo>
                                  <a:cubicBezTo>
                                    <a:pt x="79" y="455"/>
                                    <a:pt x="81" y="457"/>
                                    <a:pt x="83" y="457"/>
                                  </a:cubicBezTo>
                                  <a:cubicBezTo>
                                    <a:pt x="85" y="457"/>
                                    <a:pt x="86" y="455"/>
                                    <a:pt x="89" y="459"/>
                                  </a:cubicBezTo>
                                  <a:cubicBezTo>
                                    <a:pt x="91" y="463"/>
                                    <a:pt x="91" y="462"/>
                                    <a:pt x="92" y="464"/>
                                  </a:cubicBezTo>
                                  <a:cubicBezTo>
                                    <a:pt x="93" y="467"/>
                                    <a:pt x="93" y="468"/>
                                    <a:pt x="96" y="470"/>
                                  </a:cubicBezTo>
                                  <a:cubicBezTo>
                                    <a:pt x="99" y="471"/>
                                    <a:pt x="100" y="472"/>
                                    <a:pt x="104" y="471"/>
                                  </a:cubicBezTo>
                                  <a:cubicBezTo>
                                    <a:pt x="107" y="470"/>
                                    <a:pt x="109" y="467"/>
                                    <a:pt x="107" y="462"/>
                                  </a:cubicBezTo>
                                  <a:cubicBezTo>
                                    <a:pt x="106" y="457"/>
                                    <a:pt x="104" y="457"/>
                                    <a:pt x="105" y="451"/>
                                  </a:cubicBezTo>
                                  <a:cubicBezTo>
                                    <a:pt x="106" y="445"/>
                                    <a:pt x="108" y="445"/>
                                    <a:pt x="107" y="442"/>
                                  </a:cubicBezTo>
                                  <a:cubicBezTo>
                                    <a:pt x="106" y="440"/>
                                    <a:pt x="106" y="439"/>
                                    <a:pt x="105" y="438"/>
                                  </a:cubicBezTo>
                                  <a:cubicBezTo>
                                    <a:pt x="104" y="436"/>
                                    <a:pt x="100" y="435"/>
                                    <a:pt x="97" y="436"/>
                                  </a:cubicBezTo>
                                  <a:close/>
                                  <a:moveTo>
                                    <a:pt x="83" y="407"/>
                                  </a:moveTo>
                                  <a:cubicBezTo>
                                    <a:pt x="85" y="404"/>
                                    <a:pt x="90" y="406"/>
                                    <a:pt x="90" y="402"/>
                                  </a:cubicBezTo>
                                  <a:cubicBezTo>
                                    <a:pt x="90" y="398"/>
                                    <a:pt x="85" y="398"/>
                                    <a:pt x="80" y="400"/>
                                  </a:cubicBezTo>
                                  <a:cubicBezTo>
                                    <a:pt x="77" y="401"/>
                                    <a:pt x="76" y="401"/>
                                    <a:pt x="78" y="404"/>
                                  </a:cubicBezTo>
                                  <a:cubicBezTo>
                                    <a:pt x="79" y="407"/>
                                    <a:pt x="81" y="409"/>
                                    <a:pt x="83" y="407"/>
                                  </a:cubicBezTo>
                                  <a:close/>
                                  <a:moveTo>
                                    <a:pt x="68" y="381"/>
                                  </a:moveTo>
                                  <a:cubicBezTo>
                                    <a:pt x="61" y="384"/>
                                    <a:pt x="59" y="383"/>
                                    <a:pt x="55" y="385"/>
                                  </a:cubicBezTo>
                                  <a:cubicBezTo>
                                    <a:pt x="51" y="388"/>
                                    <a:pt x="48" y="385"/>
                                    <a:pt x="48" y="391"/>
                                  </a:cubicBezTo>
                                  <a:cubicBezTo>
                                    <a:pt x="48" y="396"/>
                                    <a:pt x="46" y="397"/>
                                    <a:pt x="50" y="400"/>
                                  </a:cubicBezTo>
                                  <a:cubicBezTo>
                                    <a:pt x="53" y="403"/>
                                    <a:pt x="55" y="403"/>
                                    <a:pt x="57" y="404"/>
                                  </a:cubicBezTo>
                                  <a:cubicBezTo>
                                    <a:pt x="60" y="406"/>
                                    <a:pt x="60" y="406"/>
                                    <a:pt x="62" y="409"/>
                                  </a:cubicBezTo>
                                  <a:cubicBezTo>
                                    <a:pt x="63" y="413"/>
                                    <a:pt x="71" y="413"/>
                                    <a:pt x="71" y="409"/>
                                  </a:cubicBezTo>
                                  <a:cubicBezTo>
                                    <a:pt x="71" y="404"/>
                                    <a:pt x="70" y="400"/>
                                    <a:pt x="72" y="397"/>
                                  </a:cubicBezTo>
                                  <a:cubicBezTo>
                                    <a:pt x="75" y="394"/>
                                    <a:pt x="80" y="392"/>
                                    <a:pt x="83" y="391"/>
                                  </a:cubicBezTo>
                                  <a:cubicBezTo>
                                    <a:pt x="86" y="389"/>
                                    <a:pt x="88" y="385"/>
                                    <a:pt x="89" y="384"/>
                                  </a:cubicBezTo>
                                  <a:cubicBezTo>
                                    <a:pt x="91" y="382"/>
                                    <a:pt x="93" y="381"/>
                                    <a:pt x="96" y="381"/>
                                  </a:cubicBezTo>
                                  <a:cubicBezTo>
                                    <a:pt x="99" y="381"/>
                                    <a:pt x="103" y="378"/>
                                    <a:pt x="104" y="374"/>
                                  </a:cubicBezTo>
                                  <a:cubicBezTo>
                                    <a:pt x="104" y="370"/>
                                    <a:pt x="105" y="366"/>
                                    <a:pt x="103" y="364"/>
                                  </a:cubicBezTo>
                                  <a:cubicBezTo>
                                    <a:pt x="102" y="361"/>
                                    <a:pt x="98" y="365"/>
                                    <a:pt x="97" y="366"/>
                                  </a:cubicBezTo>
                                  <a:cubicBezTo>
                                    <a:pt x="95" y="366"/>
                                    <a:pt x="92" y="364"/>
                                    <a:pt x="89" y="366"/>
                                  </a:cubicBezTo>
                                  <a:cubicBezTo>
                                    <a:pt x="84" y="367"/>
                                    <a:pt x="79" y="371"/>
                                    <a:pt x="77" y="374"/>
                                  </a:cubicBezTo>
                                  <a:cubicBezTo>
                                    <a:pt x="75" y="378"/>
                                    <a:pt x="75" y="378"/>
                                    <a:pt x="68" y="381"/>
                                  </a:cubicBezTo>
                                  <a:close/>
                                  <a:moveTo>
                                    <a:pt x="85" y="11"/>
                                  </a:moveTo>
                                  <a:cubicBezTo>
                                    <a:pt x="86" y="12"/>
                                    <a:pt x="88" y="12"/>
                                    <a:pt x="89" y="11"/>
                                  </a:cubicBezTo>
                                  <a:cubicBezTo>
                                    <a:pt x="90" y="9"/>
                                    <a:pt x="89" y="8"/>
                                    <a:pt x="89" y="5"/>
                                  </a:cubicBezTo>
                                  <a:cubicBezTo>
                                    <a:pt x="89" y="3"/>
                                    <a:pt x="84" y="0"/>
                                    <a:pt x="84" y="4"/>
                                  </a:cubicBezTo>
                                  <a:cubicBezTo>
                                    <a:pt x="85" y="7"/>
                                    <a:pt x="83" y="11"/>
                                    <a:pt x="85" y="11"/>
                                  </a:cubicBezTo>
                                  <a:close/>
                                  <a:moveTo>
                                    <a:pt x="29" y="496"/>
                                  </a:moveTo>
                                  <a:cubicBezTo>
                                    <a:pt x="33" y="494"/>
                                    <a:pt x="35" y="493"/>
                                    <a:pt x="35" y="492"/>
                                  </a:cubicBezTo>
                                  <a:cubicBezTo>
                                    <a:pt x="35" y="490"/>
                                    <a:pt x="31" y="488"/>
                                    <a:pt x="29" y="492"/>
                                  </a:cubicBezTo>
                                  <a:cubicBezTo>
                                    <a:pt x="27" y="493"/>
                                    <a:pt x="25" y="497"/>
                                    <a:pt x="29" y="496"/>
                                  </a:cubicBezTo>
                                  <a:close/>
                                  <a:moveTo>
                                    <a:pt x="209" y="805"/>
                                  </a:moveTo>
                                  <a:cubicBezTo>
                                    <a:pt x="208" y="808"/>
                                    <a:pt x="207" y="806"/>
                                    <a:pt x="210" y="810"/>
                                  </a:cubicBezTo>
                                  <a:cubicBezTo>
                                    <a:pt x="213" y="814"/>
                                    <a:pt x="213" y="815"/>
                                    <a:pt x="216" y="817"/>
                                  </a:cubicBezTo>
                                  <a:cubicBezTo>
                                    <a:pt x="218" y="819"/>
                                    <a:pt x="219" y="820"/>
                                    <a:pt x="222" y="818"/>
                                  </a:cubicBezTo>
                                  <a:cubicBezTo>
                                    <a:pt x="224" y="816"/>
                                    <a:pt x="223" y="813"/>
                                    <a:pt x="226" y="812"/>
                                  </a:cubicBezTo>
                                  <a:cubicBezTo>
                                    <a:pt x="229" y="812"/>
                                    <a:pt x="233" y="811"/>
                                    <a:pt x="232" y="808"/>
                                  </a:cubicBezTo>
                                  <a:cubicBezTo>
                                    <a:pt x="230" y="805"/>
                                    <a:pt x="227" y="805"/>
                                    <a:pt x="223" y="805"/>
                                  </a:cubicBezTo>
                                  <a:cubicBezTo>
                                    <a:pt x="219" y="804"/>
                                    <a:pt x="213" y="800"/>
                                    <a:pt x="209" y="805"/>
                                  </a:cubicBezTo>
                                  <a:close/>
                                  <a:moveTo>
                                    <a:pt x="219" y="720"/>
                                  </a:moveTo>
                                  <a:cubicBezTo>
                                    <a:pt x="215" y="720"/>
                                    <a:pt x="208" y="720"/>
                                    <a:pt x="204" y="727"/>
                                  </a:cubicBezTo>
                                  <a:cubicBezTo>
                                    <a:pt x="202" y="732"/>
                                    <a:pt x="203" y="733"/>
                                    <a:pt x="200" y="736"/>
                                  </a:cubicBezTo>
                                  <a:cubicBezTo>
                                    <a:pt x="196" y="738"/>
                                    <a:pt x="194" y="739"/>
                                    <a:pt x="193" y="744"/>
                                  </a:cubicBezTo>
                                  <a:cubicBezTo>
                                    <a:pt x="192" y="749"/>
                                    <a:pt x="192" y="751"/>
                                    <a:pt x="195" y="750"/>
                                  </a:cubicBezTo>
                                  <a:cubicBezTo>
                                    <a:pt x="199" y="749"/>
                                    <a:pt x="202" y="747"/>
                                    <a:pt x="204" y="745"/>
                                  </a:cubicBezTo>
                                  <a:cubicBezTo>
                                    <a:pt x="206" y="742"/>
                                    <a:pt x="206" y="740"/>
                                    <a:pt x="210" y="738"/>
                                  </a:cubicBezTo>
                                  <a:cubicBezTo>
                                    <a:pt x="215" y="735"/>
                                    <a:pt x="217" y="735"/>
                                    <a:pt x="219" y="729"/>
                                  </a:cubicBezTo>
                                  <a:cubicBezTo>
                                    <a:pt x="222" y="723"/>
                                    <a:pt x="223" y="720"/>
                                    <a:pt x="219" y="720"/>
                                  </a:cubicBezTo>
                                  <a:close/>
                                  <a:moveTo>
                                    <a:pt x="283" y="326"/>
                                  </a:moveTo>
                                  <a:cubicBezTo>
                                    <a:pt x="281" y="327"/>
                                    <a:pt x="282" y="331"/>
                                    <a:pt x="284" y="331"/>
                                  </a:cubicBezTo>
                                  <a:cubicBezTo>
                                    <a:pt x="285" y="332"/>
                                    <a:pt x="287" y="332"/>
                                    <a:pt x="288" y="330"/>
                                  </a:cubicBezTo>
                                  <a:cubicBezTo>
                                    <a:pt x="289" y="327"/>
                                    <a:pt x="286" y="324"/>
                                    <a:pt x="283" y="326"/>
                                  </a:cubicBezTo>
                                  <a:close/>
                                  <a:moveTo>
                                    <a:pt x="280" y="317"/>
                                  </a:moveTo>
                                  <a:cubicBezTo>
                                    <a:pt x="283" y="319"/>
                                    <a:pt x="287" y="321"/>
                                    <a:pt x="289" y="319"/>
                                  </a:cubicBezTo>
                                  <a:cubicBezTo>
                                    <a:pt x="292" y="318"/>
                                    <a:pt x="294" y="320"/>
                                    <a:pt x="295" y="317"/>
                                  </a:cubicBezTo>
                                  <a:cubicBezTo>
                                    <a:pt x="296" y="313"/>
                                    <a:pt x="296" y="311"/>
                                    <a:pt x="298" y="309"/>
                                  </a:cubicBezTo>
                                  <a:cubicBezTo>
                                    <a:pt x="300" y="308"/>
                                    <a:pt x="302" y="309"/>
                                    <a:pt x="302" y="305"/>
                                  </a:cubicBezTo>
                                  <a:cubicBezTo>
                                    <a:pt x="302" y="301"/>
                                    <a:pt x="299" y="300"/>
                                    <a:pt x="294" y="301"/>
                                  </a:cubicBezTo>
                                  <a:cubicBezTo>
                                    <a:pt x="289" y="302"/>
                                    <a:pt x="283" y="298"/>
                                    <a:pt x="282" y="303"/>
                                  </a:cubicBezTo>
                                  <a:cubicBezTo>
                                    <a:pt x="282" y="305"/>
                                    <a:pt x="282" y="308"/>
                                    <a:pt x="280" y="311"/>
                                  </a:cubicBezTo>
                                  <a:cubicBezTo>
                                    <a:pt x="279" y="314"/>
                                    <a:pt x="277" y="315"/>
                                    <a:pt x="280" y="317"/>
                                  </a:cubicBezTo>
                                  <a:close/>
                                  <a:moveTo>
                                    <a:pt x="311" y="323"/>
                                  </a:moveTo>
                                  <a:cubicBezTo>
                                    <a:pt x="314" y="323"/>
                                    <a:pt x="314" y="321"/>
                                    <a:pt x="317" y="320"/>
                                  </a:cubicBezTo>
                                  <a:cubicBezTo>
                                    <a:pt x="319" y="320"/>
                                    <a:pt x="315" y="316"/>
                                    <a:pt x="310" y="317"/>
                                  </a:cubicBezTo>
                                  <a:cubicBezTo>
                                    <a:pt x="307" y="317"/>
                                    <a:pt x="305" y="319"/>
                                    <a:pt x="306" y="320"/>
                                  </a:cubicBezTo>
                                  <a:cubicBezTo>
                                    <a:pt x="307" y="322"/>
                                    <a:pt x="308" y="324"/>
                                    <a:pt x="311" y="323"/>
                                  </a:cubicBezTo>
                                  <a:close/>
                                  <a:moveTo>
                                    <a:pt x="119" y="473"/>
                                  </a:moveTo>
                                  <a:cubicBezTo>
                                    <a:pt x="122" y="473"/>
                                    <a:pt x="124" y="474"/>
                                    <a:pt x="124" y="476"/>
                                  </a:cubicBezTo>
                                  <a:cubicBezTo>
                                    <a:pt x="125" y="478"/>
                                    <a:pt x="126" y="478"/>
                                    <a:pt x="128" y="478"/>
                                  </a:cubicBezTo>
                                  <a:cubicBezTo>
                                    <a:pt x="130" y="478"/>
                                    <a:pt x="132" y="478"/>
                                    <a:pt x="131" y="475"/>
                                  </a:cubicBezTo>
                                  <a:cubicBezTo>
                                    <a:pt x="131" y="473"/>
                                    <a:pt x="131" y="472"/>
                                    <a:pt x="128" y="471"/>
                                  </a:cubicBezTo>
                                  <a:cubicBezTo>
                                    <a:pt x="125" y="471"/>
                                    <a:pt x="121" y="467"/>
                                    <a:pt x="117" y="469"/>
                                  </a:cubicBezTo>
                                  <a:cubicBezTo>
                                    <a:pt x="114" y="469"/>
                                    <a:pt x="111" y="469"/>
                                    <a:pt x="113" y="471"/>
                                  </a:cubicBezTo>
                                  <a:cubicBezTo>
                                    <a:pt x="115" y="472"/>
                                    <a:pt x="116" y="472"/>
                                    <a:pt x="119" y="473"/>
                                  </a:cubicBezTo>
                                  <a:close/>
                                  <a:moveTo>
                                    <a:pt x="429" y="162"/>
                                  </a:moveTo>
                                  <a:cubicBezTo>
                                    <a:pt x="431" y="162"/>
                                    <a:pt x="433" y="161"/>
                                    <a:pt x="435" y="157"/>
                                  </a:cubicBezTo>
                                  <a:cubicBezTo>
                                    <a:pt x="437" y="154"/>
                                    <a:pt x="440" y="153"/>
                                    <a:pt x="440" y="151"/>
                                  </a:cubicBezTo>
                                  <a:cubicBezTo>
                                    <a:pt x="440" y="149"/>
                                    <a:pt x="435" y="146"/>
                                    <a:pt x="433" y="147"/>
                                  </a:cubicBezTo>
                                  <a:cubicBezTo>
                                    <a:pt x="430" y="151"/>
                                    <a:pt x="432" y="151"/>
                                    <a:pt x="430" y="155"/>
                                  </a:cubicBezTo>
                                  <a:cubicBezTo>
                                    <a:pt x="428" y="159"/>
                                    <a:pt x="426" y="162"/>
                                    <a:pt x="429" y="162"/>
                                  </a:cubicBezTo>
                                  <a:close/>
                                  <a:moveTo>
                                    <a:pt x="390" y="202"/>
                                  </a:moveTo>
                                  <a:cubicBezTo>
                                    <a:pt x="392" y="204"/>
                                    <a:pt x="391" y="206"/>
                                    <a:pt x="394" y="205"/>
                                  </a:cubicBezTo>
                                  <a:cubicBezTo>
                                    <a:pt x="397" y="205"/>
                                    <a:pt x="399" y="204"/>
                                    <a:pt x="399" y="202"/>
                                  </a:cubicBezTo>
                                  <a:cubicBezTo>
                                    <a:pt x="400" y="200"/>
                                    <a:pt x="401" y="199"/>
                                    <a:pt x="403" y="199"/>
                                  </a:cubicBezTo>
                                  <a:cubicBezTo>
                                    <a:pt x="405" y="200"/>
                                    <a:pt x="407" y="199"/>
                                    <a:pt x="408" y="202"/>
                                  </a:cubicBezTo>
                                  <a:cubicBezTo>
                                    <a:pt x="408" y="205"/>
                                    <a:pt x="408" y="206"/>
                                    <a:pt x="406" y="208"/>
                                  </a:cubicBezTo>
                                  <a:cubicBezTo>
                                    <a:pt x="405" y="210"/>
                                    <a:pt x="403" y="212"/>
                                    <a:pt x="404" y="215"/>
                                  </a:cubicBezTo>
                                  <a:cubicBezTo>
                                    <a:pt x="405" y="218"/>
                                    <a:pt x="405" y="217"/>
                                    <a:pt x="405" y="220"/>
                                  </a:cubicBezTo>
                                  <a:cubicBezTo>
                                    <a:pt x="405" y="224"/>
                                    <a:pt x="403" y="225"/>
                                    <a:pt x="404" y="228"/>
                                  </a:cubicBezTo>
                                  <a:cubicBezTo>
                                    <a:pt x="405" y="230"/>
                                    <a:pt x="403" y="233"/>
                                    <a:pt x="406" y="232"/>
                                  </a:cubicBezTo>
                                  <a:cubicBezTo>
                                    <a:pt x="408" y="232"/>
                                    <a:pt x="410" y="230"/>
                                    <a:pt x="410" y="227"/>
                                  </a:cubicBezTo>
                                  <a:cubicBezTo>
                                    <a:pt x="411" y="224"/>
                                    <a:pt x="411" y="222"/>
                                    <a:pt x="411" y="220"/>
                                  </a:cubicBezTo>
                                  <a:cubicBezTo>
                                    <a:pt x="411" y="217"/>
                                    <a:pt x="410" y="215"/>
                                    <a:pt x="412" y="213"/>
                                  </a:cubicBezTo>
                                  <a:cubicBezTo>
                                    <a:pt x="414" y="211"/>
                                    <a:pt x="415" y="206"/>
                                    <a:pt x="415" y="203"/>
                                  </a:cubicBezTo>
                                  <a:cubicBezTo>
                                    <a:pt x="415" y="201"/>
                                    <a:pt x="412" y="199"/>
                                    <a:pt x="415" y="197"/>
                                  </a:cubicBezTo>
                                  <a:cubicBezTo>
                                    <a:pt x="418" y="194"/>
                                    <a:pt x="420" y="193"/>
                                    <a:pt x="419" y="190"/>
                                  </a:cubicBezTo>
                                  <a:cubicBezTo>
                                    <a:pt x="419" y="186"/>
                                    <a:pt x="418" y="187"/>
                                    <a:pt x="416" y="184"/>
                                  </a:cubicBezTo>
                                  <a:cubicBezTo>
                                    <a:pt x="413" y="181"/>
                                    <a:pt x="412" y="181"/>
                                    <a:pt x="411" y="177"/>
                                  </a:cubicBezTo>
                                  <a:cubicBezTo>
                                    <a:pt x="411" y="174"/>
                                    <a:pt x="408" y="177"/>
                                    <a:pt x="407" y="172"/>
                                  </a:cubicBezTo>
                                  <a:cubicBezTo>
                                    <a:pt x="407" y="167"/>
                                    <a:pt x="402" y="166"/>
                                    <a:pt x="400" y="168"/>
                                  </a:cubicBezTo>
                                  <a:cubicBezTo>
                                    <a:pt x="398" y="171"/>
                                    <a:pt x="398" y="170"/>
                                    <a:pt x="395" y="172"/>
                                  </a:cubicBezTo>
                                  <a:cubicBezTo>
                                    <a:pt x="393" y="174"/>
                                    <a:pt x="390" y="176"/>
                                    <a:pt x="395" y="178"/>
                                  </a:cubicBezTo>
                                  <a:cubicBezTo>
                                    <a:pt x="399" y="181"/>
                                    <a:pt x="400" y="180"/>
                                    <a:pt x="403" y="183"/>
                                  </a:cubicBezTo>
                                  <a:cubicBezTo>
                                    <a:pt x="405" y="186"/>
                                    <a:pt x="407" y="187"/>
                                    <a:pt x="407" y="189"/>
                                  </a:cubicBezTo>
                                  <a:cubicBezTo>
                                    <a:pt x="407" y="191"/>
                                    <a:pt x="407" y="192"/>
                                    <a:pt x="405" y="192"/>
                                  </a:cubicBezTo>
                                  <a:cubicBezTo>
                                    <a:pt x="403" y="192"/>
                                    <a:pt x="404" y="192"/>
                                    <a:pt x="400" y="192"/>
                                  </a:cubicBezTo>
                                  <a:cubicBezTo>
                                    <a:pt x="396" y="192"/>
                                    <a:pt x="397" y="189"/>
                                    <a:pt x="393" y="192"/>
                                  </a:cubicBezTo>
                                  <a:cubicBezTo>
                                    <a:pt x="389" y="194"/>
                                    <a:pt x="387" y="192"/>
                                    <a:pt x="388" y="195"/>
                                  </a:cubicBezTo>
                                  <a:cubicBezTo>
                                    <a:pt x="389" y="198"/>
                                    <a:pt x="388" y="199"/>
                                    <a:pt x="390" y="202"/>
                                  </a:cubicBezTo>
                                  <a:close/>
                                  <a:moveTo>
                                    <a:pt x="102" y="615"/>
                                  </a:moveTo>
                                  <a:cubicBezTo>
                                    <a:pt x="106" y="612"/>
                                    <a:pt x="106" y="610"/>
                                    <a:pt x="107" y="607"/>
                                  </a:cubicBezTo>
                                  <a:cubicBezTo>
                                    <a:pt x="108" y="604"/>
                                    <a:pt x="108" y="603"/>
                                    <a:pt x="108" y="599"/>
                                  </a:cubicBezTo>
                                  <a:cubicBezTo>
                                    <a:pt x="108" y="595"/>
                                    <a:pt x="108" y="592"/>
                                    <a:pt x="106" y="591"/>
                                  </a:cubicBezTo>
                                  <a:cubicBezTo>
                                    <a:pt x="105" y="590"/>
                                    <a:pt x="95" y="590"/>
                                    <a:pt x="94" y="596"/>
                                  </a:cubicBezTo>
                                  <a:cubicBezTo>
                                    <a:pt x="93" y="599"/>
                                    <a:pt x="96" y="598"/>
                                    <a:pt x="99" y="601"/>
                                  </a:cubicBezTo>
                                  <a:cubicBezTo>
                                    <a:pt x="101" y="603"/>
                                    <a:pt x="101" y="605"/>
                                    <a:pt x="100" y="609"/>
                                  </a:cubicBezTo>
                                  <a:cubicBezTo>
                                    <a:pt x="100" y="613"/>
                                    <a:pt x="99" y="617"/>
                                    <a:pt x="102" y="615"/>
                                  </a:cubicBezTo>
                                  <a:close/>
                                  <a:moveTo>
                                    <a:pt x="116" y="585"/>
                                  </a:moveTo>
                                  <a:cubicBezTo>
                                    <a:pt x="115" y="586"/>
                                    <a:pt x="115" y="587"/>
                                    <a:pt x="116" y="591"/>
                                  </a:cubicBezTo>
                                  <a:cubicBezTo>
                                    <a:pt x="117" y="595"/>
                                    <a:pt x="121" y="597"/>
                                    <a:pt x="122" y="594"/>
                                  </a:cubicBezTo>
                                  <a:cubicBezTo>
                                    <a:pt x="122" y="590"/>
                                    <a:pt x="123" y="588"/>
                                    <a:pt x="124" y="585"/>
                                  </a:cubicBezTo>
                                  <a:cubicBezTo>
                                    <a:pt x="125" y="582"/>
                                    <a:pt x="128" y="580"/>
                                    <a:pt x="125" y="579"/>
                                  </a:cubicBezTo>
                                  <a:cubicBezTo>
                                    <a:pt x="122" y="579"/>
                                    <a:pt x="120" y="579"/>
                                    <a:pt x="116" y="585"/>
                                  </a:cubicBezTo>
                                  <a:close/>
                                  <a:moveTo>
                                    <a:pt x="93" y="490"/>
                                  </a:moveTo>
                                  <a:cubicBezTo>
                                    <a:pt x="91" y="491"/>
                                    <a:pt x="90" y="493"/>
                                    <a:pt x="92" y="494"/>
                                  </a:cubicBezTo>
                                  <a:cubicBezTo>
                                    <a:pt x="95" y="496"/>
                                    <a:pt x="98" y="496"/>
                                    <a:pt x="99" y="494"/>
                                  </a:cubicBezTo>
                                  <a:cubicBezTo>
                                    <a:pt x="100" y="491"/>
                                    <a:pt x="97" y="488"/>
                                    <a:pt x="93" y="490"/>
                                  </a:cubicBezTo>
                                  <a:close/>
                                  <a:moveTo>
                                    <a:pt x="133" y="540"/>
                                  </a:moveTo>
                                  <a:cubicBezTo>
                                    <a:pt x="130" y="538"/>
                                    <a:pt x="123" y="537"/>
                                    <a:pt x="117" y="538"/>
                                  </a:cubicBezTo>
                                  <a:cubicBezTo>
                                    <a:pt x="114" y="540"/>
                                    <a:pt x="113" y="541"/>
                                    <a:pt x="113" y="544"/>
                                  </a:cubicBezTo>
                                  <a:cubicBezTo>
                                    <a:pt x="113" y="548"/>
                                    <a:pt x="112" y="548"/>
                                    <a:pt x="111" y="551"/>
                                  </a:cubicBezTo>
                                  <a:cubicBezTo>
                                    <a:pt x="110" y="553"/>
                                    <a:pt x="114" y="555"/>
                                    <a:pt x="117" y="554"/>
                                  </a:cubicBezTo>
                                  <a:cubicBezTo>
                                    <a:pt x="120" y="552"/>
                                    <a:pt x="120" y="550"/>
                                    <a:pt x="123" y="548"/>
                                  </a:cubicBezTo>
                                  <a:cubicBezTo>
                                    <a:pt x="125" y="547"/>
                                    <a:pt x="127" y="548"/>
                                    <a:pt x="130" y="545"/>
                                  </a:cubicBezTo>
                                  <a:cubicBezTo>
                                    <a:pt x="133" y="542"/>
                                    <a:pt x="136" y="542"/>
                                    <a:pt x="133" y="540"/>
                                  </a:cubicBezTo>
                                  <a:close/>
                                  <a:moveTo>
                                    <a:pt x="59" y="724"/>
                                  </a:moveTo>
                                  <a:cubicBezTo>
                                    <a:pt x="66" y="724"/>
                                    <a:pt x="73" y="725"/>
                                    <a:pt x="77" y="735"/>
                                  </a:cubicBezTo>
                                  <a:cubicBezTo>
                                    <a:pt x="79" y="740"/>
                                    <a:pt x="80" y="740"/>
                                    <a:pt x="84" y="740"/>
                                  </a:cubicBezTo>
                                  <a:cubicBezTo>
                                    <a:pt x="86" y="740"/>
                                    <a:pt x="89" y="740"/>
                                    <a:pt x="93" y="740"/>
                                  </a:cubicBezTo>
                                  <a:cubicBezTo>
                                    <a:pt x="99" y="741"/>
                                    <a:pt x="105" y="745"/>
                                    <a:pt x="109" y="750"/>
                                  </a:cubicBezTo>
                                  <a:cubicBezTo>
                                    <a:pt x="115" y="748"/>
                                    <a:pt x="116" y="748"/>
                                    <a:pt x="117" y="743"/>
                                  </a:cubicBezTo>
                                  <a:cubicBezTo>
                                    <a:pt x="119" y="737"/>
                                    <a:pt x="122" y="738"/>
                                    <a:pt x="127" y="736"/>
                                  </a:cubicBezTo>
                                  <a:cubicBezTo>
                                    <a:pt x="132" y="733"/>
                                    <a:pt x="134" y="734"/>
                                    <a:pt x="137" y="727"/>
                                  </a:cubicBezTo>
                                  <a:cubicBezTo>
                                    <a:pt x="140" y="720"/>
                                    <a:pt x="137" y="724"/>
                                    <a:pt x="137" y="718"/>
                                  </a:cubicBezTo>
                                  <a:cubicBezTo>
                                    <a:pt x="138" y="712"/>
                                    <a:pt x="139" y="716"/>
                                    <a:pt x="142" y="714"/>
                                  </a:cubicBezTo>
                                  <a:cubicBezTo>
                                    <a:pt x="145" y="713"/>
                                    <a:pt x="143" y="711"/>
                                    <a:pt x="142" y="702"/>
                                  </a:cubicBezTo>
                                  <a:cubicBezTo>
                                    <a:pt x="140" y="694"/>
                                    <a:pt x="138" y="698"/>
                                    <a:pt x="133" y="698"/>
                                  </a:cubicBezTo>
                                  <a:cubicBezTo>
                                    <a:pt x="128" y="698"/>
                                    <a:pt x="128" y="698"/>
                                    <a:pt x="124" y="696"/>
                                  </a:cubicBezTo>
                                  <a:cubicBezTo>
                                    <a:pt x="121" y="694"/>
                                    <a:pt x="125" y="693"/>
                                    <a:pt x="128" y="690"/>
                                  </a:cubicBezTo>
                                  <a:cubicBezTo>
                                    <a:pt x="132" y="688"/>
                                    <a:pt x="134" y="689"/>
                                    <a:pt x="135" y="684"/>
                                  </a:cubicBezTo>
                                  <a:cubicBezTo>
                                    <a:pt x="137" y="678"/>
                                    <a:pt x="133" y="679"/>
                                    <a:pt x="125" y="673"/>
                                  </a:cubicBezTo>
                                  <a:cubicBezTo>
                                    <a:pt x="117" y="667"/>
                                    <a:pt x="118" y="668"/>
                                    <a:pt x="114" y="661"/>
                                  </a:cubicBezTo>
                                  <a:cubicBezTo>
                                    <a:pt x="110" y="653"/>
                                    <a:pt x="111" y="651"/>
                                    <a:pt x="104" y="650"/>
                                  </a:cubicBezTo>
                                  <a:cubicBezTo>
                                    <a:pt x="96" y="649"/>
                                    <a:pt x="92" y="650"/>
                                    <a:pt x="83" y="648"/>
                                  </a:cubicBezTo>
                                  <a:cubicBezTo>
                                    <a:pt x="77" y="648"/>
                                    <a:pt x="73" y="654"/>
                                    <a:pt x="69" y="655"/>
                                  </a:cubicBezTo>
                                  <a:cubicBezTo>
                                    <a:pt x="65" y="656"/>
                                    <a:pt x="62" y="656"/>
                                    <a:pt x="56" y="658"/>
                                  </a:cubicBezTo>
                                  <a:cubicBezTo>
                                    <a:pt x="50" y="661"/>
                                    <a:pt x="52" y="662"/>
                                    <a:pt x="49" y="665"/>
                                  </a:cubicBezTo>
                                  <a:cubicBezTo>
                                    <a:pt x="47" y="667"/>
                                    <a:pt x="45" y="667"/>
                                    <a:pt x="44" y="666"/>
                                  </a:cubicBezTo>
                                  <a:cubicBezTo>
                                    <a:pt x="43" y="667"/>
                                    <a:pt x="42" y="667"/>
                                    <a:pt x="41" y="668"/>
                                  </a:cubicBezTo>
                                  <a:cubicBezTo>
                                    <a:pt x="39" y="669"/>
                                    <a:pt x="39" y="669"/>
                                    <a:pt x="39" y="670"/>
                                  </a:cubicBezTo>
                                  <a:cubicBezTo>
                                    <a:pt x="32" y="674"/>
                                    <a:pt x="29" y="676"/>
                                    <a:pt x="27" y="683"/>
                                  </a:cubicBezTo>
                                  <a:cubicBezTo>
                                    <a:pt x="25" y="692"/>
                                    <a:pt x="21" y="693"/>
                                    <a:pt x="16" y="695"/>
                                  </a:cubicBezTo>
                                  <a:cubicBezTo>
                                    <a:pt x="15" y="695"/>
                                    <a:pt x="14" y="696"/>
                                    <a:pt x="13" y="696"/>
                                  </a:cubicBezTo>
                                  <a:cubicBezTo>
                                    <a:pt x="10" y="698"/>
                                    <a:pt x="6" y="701"/>
                                    <a:pt x="3" y="706"/>
                                  </a:cubicBezTo>
                                  <a:cubicBezTo>
                                    <a:pt x="1" y="709"/>
                                    <a:pt x="0" y="712"/>
                                    <a:pt x="1" y="716"/>
                                  </a:cubicBezTo>
                                  <a:cubicBezTo>
                                    <a:pt x="2" y="720"/>
                                    <a:pt x="3" y="723"/>
                                    <a:pt x="6" y="726"/>
                                  </a:cubicBezTo>
                                  <a:cubicBezTo>
                                    <a:pt x="9" y="728"/>
                                    <a:pt x="13" y="730"/>
                                    <a:pt x="19" y="731"/>
                                  </a:cubicBezTo>
                                  <a:cubicBezTo>
                                    <a:pt x="24" y="732"/>
                                    <a:pt x="28" y="732"/>
                                    <a:pt x="31" y="732"/>
                                  </a:cubicBezTo>
                                  <a:cubicBezTo>
                                    <a:pt x="33" y="732"/>
                                    <a:pt x="35" y="731"/>
                                    <a:pt x="37" y="729"/>
                                  </a:cubicBezTo>
                                  <a:cubicBezTo>
                                    <a:pt x="38" y="728"/>
                                    <a:pt x="39" y="727"/>
                                    <a:pt x="39" y="726"/>
                                  </a:cubicBezTo>
                                  <a:cubicBezTo>
                                    <a:pt x="43" y="722"/>
                                    <a:pt x="45" y="720"/>
                                    <a:pt x="53" y="723"/>
                                  </a:cubicBezTo>
                                  <a:cubicBezTo>
                                    <a:pt x="53" y="723"/>
                                    <a:pt x="53" y="723"/>
                                    <a:pt x="53" y="723"/>
                                  </a:cubicBezTo>
                                  <a:cubicBezTo>
                                    <a:pt x="55" y="723"/>
                                    <a:pt x="57" y="723"/>
                                    <a:pt x="59" y="724"/>
                                  </a:cubicBezTo>
                                  <a:close/>
                                  <a:moveTo>
                                    <a:pt x="63" y="415"/>
                                  </a:moveTo>
                                  <a:cubicBezTo>
                                    <a:pt x="62" y="415"/>
                                    <a:pt x="60" y="415"/>
                                    <a:pt x="57" y="416"/>
                                  </a:cubicBezTo>
                                  <a:cubicBezTo>
                                    <a:pt x="55" y="417"/>
                                    <a:pt x="50" y="416"/>
                                    <a:pt x="50" y="420"/>
                                  </a:cubicBezTo>
                                  <a:cubicBezTo>
                                    <a:pt x="50" y="423"/>
                                    <a:pt x="49" y="424"/>
                                    <a:pt x="52" y="426"/>
                                  </a:cubicBezTo>
                                  <a:cubicBezTo>
                                    <a:pt x="55" y="428"/>
                                    <a:pt x="58" y="433"/>
                                    <a:pt x="59" y="428"/>
                                  </a:cubicBezTo>
                                  <a:cubicBezTo>
                                    <a:pt x="60" y="423"/>
                                    <a:pt x="59" y="421"/>
                                    <a:pt x="61" y="420"/>
                                  </a:cubicBezTo>
                                  <a:cubicBezTo>
                                    <a:pt x="63" y="418"/>
                                    <a:pt x="65" y="415"/>
                                    <a:pt x="63" y="415"/>
                                  </a:cubicBezTo>
                                  <a:close/>
                                  <a:moveTo>
                                    <a:pt x="99" y="554"/>
                                  </a:moveTo>
                                  <a:cubicBezTo>
                                    <a:pt x="99" y="556"/>
                                    <a:pt x="98" y="559"/>
                                    <a:pt x="101" y="558"/>
                                  </a:cubicBezTo>
                                  <a:cubicBezTo>
                                    <a:pt x="105" y="556"/>
                                    <a:pt x="105" y="555"/>
                                    <a:pt x="105" y="554"/>
                                  </a:cubicBezTo>
                                  <a:cubicBezTo>
                                    <a:pt x="105" y="552"/>
                                    <a:pt x="101" y="549"/>
                                    <a:pt x="99" y="554"/>
                                  </a:cubicBezTo>
                                  <a:close/>
                                  <a:moveTo>
                                    <a:pt x="104" y="573"/>
                                  </a:moveTo>
                                  <a:cubicBezTo>
                                    <a:pt x="102" y="577"/>
                                    <a:pt x="102" y="580"/>
                                    <a:pt x="104" y="580"/>
                                  </a:cubicBezTo>
                                  <a:cubicBezTo>
                                    <a:pt x="107" y="580"/>
                                    <a:pt x="108" y="580"/>
                                    <a:pt x="109" y="578"/>
                                  </a:cubicBezTo>
                                  <a:cubicBezTo>
                                    <a:pt x="111" y="575"/>
                                    <a:pt x="106" y="570"/>
                                    <a:pt x="104" y="573"/>
                                  </a:cubicBezTo>
                                  <a:close/>
                                  <a:moveTo>
                                    <a:pt x="65" y="540"/>
                                  </a:moveTo>
                                  <a:cubicBezTo>
                                    <a:pt x="70" y="538"/>
                                    <a:pt x="70" y="536"/>
                                    <a:pt x="73" y="533"/>
                                  </a:cubicBezTo>
                                  <a:cubicBezTo>
                                    <a:pt x="76" y="530"/>
                                    <a:pt x="76" y="528"/>
                                    <a:pt x="80" y="526"/>
                                  </a:cubicBezTo>
                                  <a:cubicBezTo>
                                    <a:pt x="83" y="524"/>
                                    <a:pt x="87" y="525"/>
                                    <a:pt x="87" y="523"/>
                                  </a:cubicBezTo>
                                  <a:cubicBezTo>
                                    <a:pt x="87" y="521"/>
                                    <a:pt x="87" y="518"/>
                                    <a:pt x="84" y="521"/>
                                  </a:cubicBezTo>
                                  <a:cubicBezTo>
                                    <a:pt x="77" y="523"/>
                                    <a:pt x="75" y="526"/>
                                    <a:pt x="73" y="529"/>
                                  </a:cubicBezTo>
                                  <a:cubicBezTo>
                                    <a:pt x="70" y="532"/>
                                    <a:pt x="68" y="534"/>
                                    <a:pt x="66" y="535"/>
                                  </a:cubicBezTo>
                                  <a:cubicBezTo>
                                    <a:pt x="65" y="537"/>
                                    <a:pt x="61" y="542"/>
                                    <a:pt x="65" y="540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7" name="Freeform 493"/>
                            <p:cNvSpPr>
                              <a:spLocks/>
                            </p:cNvSpPr>
                            <p:nvPr/>
                          </p:nvSpPr>
                          <p:spPr bwMode="auto">
                            <a:xfrm>
                              <a:off x="4411378" y="4402428"/>
                              <a:ext cx="209550" cy="170259"/>
                            </a:xfrm>
                            <a:custGeom>
                              <a:avLst/>
                              <a:gdLst>
                                <a:gd name="T0" fmla="*/ 369 w 728"/>
                                <a:gd name="T1" fmla="*/ 524 h 593"/>
                                <a:gd name="T2" fmla="*/ 399 w 728"/>
                                <a:gd name="T3" fmla="*/ 475 h 593"/>
                                <a:gd name="T4" fmla="*/ 443 w 728"/>
                                <a:gd name="T5" fmla="*/ 429 h 593"/>
                                <a:gd name="T6" fmla="*/ 472 w 728"/>
                                <a:gd name="T7" fmla="*/ 433 h 593"/>
                                <a:gd name="T8" fmla="*/ 492 w 728"/>
                                <a:gd name="T9" fmla="*/ 425 h 593"/>
                                <a:gd name="T10" fmla="*/ 523 w 728"/>
                                <a:gd name="T11" fmla="*/ 452 h 593"/>
                                <a:gd name="T12" fmla="*/ 555 w 728"/>
                                <a:gd name="T13" fmla="*/ 416 h 593"/>
                                <a:gd name="T14" fmla="*/ 580 w 728"/>
                                <a:gd name="T15" fmla="*/ 361 h 593"/>
                                <a:gd name="T16" fmla="*/ 601 w 728"/>
                                <a:gd name="T17" fmla="*/ 325 h 593"/>
                                <a:gd name="T18" fmla="*/ 624 w 728"/>
                                <a:gd name="T19" fmla="*/ 280 h 593"/>
                                <a:gd name="T20" fmla="*/ 644 w 728"/>
                                <a:gd name="T21" fmla="*/ 250 h 593"/>
                                <a:gd name="T22" fmla="*/ 648 w 728"/>
                                <a:gd name="T23" fmla="*/ 234 h 593"/>
                                <a:gd name="T24" fmla="*/ 660 w 728"/>
                                <a:gd name="T25" fmla="*/ 213 h 593"/>
                                <a:gd name="T26" fmla="*/ 689 w 728"/>
                                <a:gd name="T27" fmla="*/ 162 h 593"/>
                                <a:gd name="T28" fmla="*/ 724 w 728"/>
                                <a:gd name="T29" fmla="*/ 144 h 593"/>
                                <a:gd name="T30" fmla="*/ 725 w 728"/>
                                <a:gd name="T31" fmla="*/ 107 h 593"/>
                                <a:gd name="T32" fmla="*/ 700 w 728"/>
                                <a:gd name="T33" fmla="*/ 66 h 593"/>
                                <a:gd name="T34" fmla="*/ 697 w 728"/>
                                <a:gd name="T35" fmla="*/ 51 h 593"/>
                                <a:gd name="T36" fmla="*/ 670 w 728"/>
                                <a:gd name="T37" fmla="*/ 13 h 593"/>
                                <a:gd name="T38" fmla="*/ 605 w 728"/>
                                <a:gd name="T39" fmla="*/ 42 h 593"/>
                                <a:gd name="T40" fmla="*/ 540 w 728"/>
                                <a:gd name="T41" fmla="*/ 31 h 593"/>
                                <a:gd name="T42" fmla="*/ 450 w 728"/>
                                <a:gd name="T43" fmla="*/ 49 h 593"/>
                                <a:gd name="T44" fmla="*/ 382 w 728"/>
                                <a:gd name="T45" fmla="*/ 60 h 593"/>
                                <a:gd name="T46" fmla="*/ 316 w 728"/>
                                <a:gd name="T47" fmla="*/ 38 h 593"/>
                                <a:gd name="T48" fmla="*/ 250 w 728"/>
                                <a:gd name="T49" fmla="*/ 45 h 593"/>
                                <a:gd name="T50" fmla="*/ 173 w 728"/>
                                <a:gd name="T51" fmla="*/ 1 h 593"/>
                                <a:gd name="T52" fmla="*/ 100 w 728"/>
                                <a:gd name="T53" fmla="*/ 16 h 593"/>
                                <a:gd name="T54" fmla="*/ 77 w 728"/>
                                <a:gd name="T55" fmla="*/ 60 h 593"/>
                                <a:gd name="T56" fmla="*/ 57 w 728"/>
                                <a:gd name="T57" fmla="*/ 119 h 593"/>
                                <a:gd name="T58" fmla="*/ 58 w 728"/>
                                <a:gd name="T59" fmla="*/ 164 h 593"/>
                                <a:gd name="T60" fmla="*/ 64 w 728"/>
                                <a:gd name="T61" fmla="*/ 219 h 593"/>
                                <a:gd name="T62" fmla="*/ 32 w 728"/>
                                <a:gd name="T63" fmla="*/ 276 h 593"/>
                                <a:gd name="T64" fmla="*/ 5 w 728"/>
                                <a:gd name="T65" fmla="*/ 310 h 593"/>
                                <a:gd name="T66" fmla="*/ 1 w 728"/>
                                <a:gd name="T67" fmla="*/ 375 h 593"/>
                                <a:gd name="T68" fmla="*/ 2 w 728"/>
                                <a:gd name="T69" fmla="*/ 447 h 593"/>
                                <a:gd name="T70" fmla="*/ 37 w 728"/>
                                <a:gd name="T71" fmla="*/ 459 h 593"/>
                                <a:gd name="T72" fmla="*/ 60 w 728"/>
                                <a:gd name="T73" fmla="*/ 456 h 593"/>
                                <a:gd name="T74" fmla="*/ 108 w 728"/>
                                <a:gd name="T75" fmla="*/ 469 h 593"/>
                                <a:gd name="T76" fmla="*/ 145 w 728"/>
                                <a:gd name="T77" fmla="*/ 498 h 593"/>
                                <a:gd name="T78" fmla="*/ 155 w 728"/>
                                <a:gd name="T79" fmla="*/ 507 h 593"/>
                                <a:gd name="T80" fmla="*/ 159 w 728"/>
                                <a:gd name="T81" fmla="*/ 522 h 593"/>
                                <a:gd name="T82" fmla="*/ 173 w 728"/>
                                <a:gd name="T83" fmla="*/ 528 h 593"/>
                                <a:gd name="T84" fmla="*/ 175 w 728"/>
                                <a:gd name="T85" fmla="*/ 571 h 593"/>
                                <a:gd name="T86" fmla="*/ 219 w 728"/>
                                <a:gd name="T87" fmla="*/ 587 h 593"/>
                                <a:gd name="T88" fmla="*/ 247 w 728"/>
                                <a:gd name="T89" fmla="*/ 571 h 593"/>
                                <a:gd name="T90" fmla="*/ 261 w 728"/>
                                <a:gd name="T91" fmla="*/ 579 h 593"/>
                                <a:gd name="T92" fmla="*/ 286 w 728"/>
                                <a:gd name="T93" fmla="*/ 578 h 593"/>
                                <a:gd name="T94" fmla="*/ 320 w 728"/>
                                <a:gd name="T95" fmla="*/ 579 h 593"/>
                                <a:gd name="T96" fmla="*/ 339 w 728"/>
                                <a:gd name="T97" fmla="*/ 564 h 593"/>
                                <a:gd name="T98" fmla="*/ 358 w 728"/>
                                <a:gd name="T99" fmla="*/ 566 h 593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</a:cxnLst>
                              <a:rect l="0" t="0" r="r" b="b"/>
                              <a:pathLst>
                                <a:path w="728" h="593">
                                  <a:moveTo>
                                    <a:pt x="358" y="566"/>
                                  </a:moveTo>
                                  <a:cubicBezTo>
                                    <a:pt x="362" y="560"/>
                                    <a:pt x="367" y="551"/>
                                    <a:pt x="369" y="540"/>
                                  </a:cubicBezTo>
                                  <a:cubicBezTo>
                                    <a:pt x="370" y="534"/>
                                    <a:pt x="369" y="528"/>
                                    <a:pt x="369" y="524"/>
                                  </a:cubicBezTo>
                                  <a:cubicBezTo>
                                    <a:pt x="369" y="516"/>
                                    <a:pt x="369" y="510"/>
                                    <a:pt x="373" y="502"/>
                                  </a:cubicBezTo>
                                  <a:cubicBezTo>
                                    <a:pt x="378" y="493"/>
                                    <a:pt x="382" y="490"/>
                                    <a:pt x="390" y="483"/>
                                  </a:cubicBezTo>
                                  <a:cubicBezTo>
                                    <a:pt x="393" y="480"/>
                                    <a:pt x="396" y="478"/>
                                    <a:pt x="399" y="475"/>
                                  </a:cubicBezTo>
                                  <a:cubicBezTo>
                                    <a:pt x="407" y="468"/>
                                    <a:pt x="416" y="458"/>
                                    <a:pt x="423" y="450"/>
                                  </a:cubicBezTo>
                                  <a:cubicBezTo>
                                    <a:pt x="430" y="443"/>
                                    <a:pt x="436" y="436"/>
                                    <a:pt x="439" y="433"/>
                                  </a:cubicBezTo>
                                  <a:cubicBezTo>
                                    <a:pt x="441" y="432"/>
                                    <a:pt x="442" y="431"/>
                                    <a:pt x="443" y="429"/>
                                  </a:cubicBezTo>
                                  <a:cubicBezTo>
                                    <a:pt x="449" y="423"/>
                                    <a:pt x="452" y="420"/>
                                    <a:pt x="461" y="426"/>
                                  </a:cubicBezTo>
                                  <a:cubicBezTo>
                                    <a:pt x="464" y="428"/>
                                    <a:pt x="464" y="428"/>
                                    <a:pt x="464" y="428"/>
                                  </a:cubicBezTo>
                                  <a:cubicBezTo>
                                    <a:pt x="469" y="431"/>
                                    <a:pt x="472" y="434"/>
                                    <a:pt x="472" y="433"/>
                                  </a:cubicBezTo>
                                  <a:cubicBezTo>
                                    <a:pt x="473" y="432"/>
                                    <a:pt x="474" y="431"/>
                                    <a:pt x="474" y="430"/>
                                  </a:cubicBezTo>
                                  <a:cubicBezTo>
                                    <a:pt x="476" y="428"/>
                                    <a:pt x="478" y="426"/>
                                    <a:pt x="482" y="425"/>
                                  </a:cubicBezTo>
                                  <a:cubicBezTo>
                                    <a:pt x="486" y="424"/>
                                    <a:pt x="488" y="424"/>
                                    <a:pt x="492" y="425"/>
                                  </a:cubicBezTo>
                                  <a:cubicBezTo>
                                    <a:pt x="494" y="427"/>
                                    <a:pt x="497" y="429"/>
                                    <a:pt x="502" y="434"/>
                                  </a:cubicBezTo>
                                  <a:cubicBezTo>
                                    <a:pt x="505" y="437"/>
                                    <a:pt x="507" y="440"/>
                                    <a:pt x="509" y="442"/>
                                  </a:cubicBezTo>
                                  <a:cubicBezTo>
                                    <a:pt x="513" y="448"/>
                                    <a:pt x="516" y="452"/>
                                    <a:pt x="523" y="452"/>
                                  </a:cubicBezTo>
                                  <a:cubicBezTo>
                                    <a:pt x="527" y="452"/>
                                    <a:pt x="532" y="449"/>
                                    <a:pt x="536" y="446"/>
                                  </a:cubicBezTo>
                                  <a:cubicBezTo>
                                    <a:pt x="543" y="441"/>
                                    <a:pt x="549" y="433"/>
                                    <a:pt x="552" y="428"/>
                                  </a:cubicBezTo>
                                  <a:cubicBezTo>
                                    <a:pt x="555" y="423"/>
                                    <a:pt x="555" y="419"/>
                                    <a:pt x="555" y="416"/>
                                  </a:cubicBezTo>
                                  <a:cubicBezTo>
                                    <a:pt x="555" y="412"/>
                                    <a:pt x="554" y="409"/>
                                    <a:pt x="556" y="405"/>
                                  </a:cubicBezTo>
                                  <a:cubicBezTo>
                                    <a:pt x="557" y="400"/>
                                    <a:pt x="562" y="392"/>
                                    <a:pt x="567" y="383"/>
                                  </a:cubicBezTo>
                                  <a:cubicBezTo>
                                    <a:pt x="573" y="374"/>
                                    <a:pt x="579" y="364"/>
                                    <a:pt x="580" y="361"/>
                                  </a:cubicBezTo>
                                  <a:cubicBezTo>
                                    <a:pt x="580" y="358"/>
                                    <a:pt x="580" y="356"/>
                                    <a:pt x="580" y="355"/>
                                  </a:cubicBezTo>
                                  <a:cubicBezTo>
                                    <a:pt x="579" y="351"/>
                                    <a:pt x="578" y="348"/>
                                    <a:pt x="582" y="341"/>
                                  </a:cubicBezTo>
                                  <a:cubicBezTo>
                                    <a:pt x="584" y="336"/>
                                    <a:pt x="593" y="330"/>
                                    <a:pt x="601" y="325"/>
                                  </a:cubicBezTo>
                                  <a:cubicBezTo>
                                    <a:pt x="607" y="321"/>
                                    <a:pt x="613" y="318"/>
                                    <a:pt x="615" y="315"/>
                                  </a:cubicBezTo>
                                  <a:cubicBezTo>
                                    <a:pt x="617" y="313"/>
                                    <a:pt x="617" y="309"/>
                                    <a:pt x="617" y="305"/>
                                  </a:cubicBezTo>
                                  <a:cubicBezTo>
                                    <a:pt x="617" y="297"/>
                                    <a:pt x="617" y="288"/>
                                    <a:pt x="624" y="280"/>
                                  </a:cubicBezTo>
                                  <a:cubicBezTo>
                                    <a:pt x="629" y="272"/>
                                    <a:pt x="633" y="269"/>
                                    <a:pt x="637" y="267"/>
                                  </a:cubicBezTo>
                                  <a:cubicBezTo>
                                    <a:pt x="641" y="265"/>
                                    <a:pt x="643" y="263"/>
                                    <a:pt x="644" y="258"/>
                                  </a:cubicBezTo>
                                  <a:cubicBezTo>
                                    <a:pt x="645" y="255"/>
                                    <a:pt x="644" y="252"/>
                                    <a:pt x="644" y="250"/>
                                  </a:cubicBezTo>
                                  <a:cubicBezTo>
                                    <a:pt x="644" y="250"/>
                                    <a:pt x="644" y="250"/>
                                    <a:pt x="644" y="250"/>
                                  </a:cubicBezTo>
                                  <a:cubicBezTo>
                                    <a:pt x="643" y="245"/>
                                    <a:pt x="643" y="241"/>
                                    <a:pt x="648" y="234"/>
                                  </a:cubicBezTo>
                                  <a:cubicBezTo>
                                    <a:pt x="648" y="234"/>
                                    <a:pt x="648" y="234"/>
                                    <a:pt x="648" y="234"/>
                                  </a:cubicBezTo>
                                  <a:cubicBezTo>
                                    <a:pt x="651" y="230"/>
                                    <a:pt x="653" y="228"/>
                                    <a:pt x="655" y="227"/>
                                  </a:cubicBezTo>
                                  <a:cubicBezTo>
                                    <a:pt x="657" y="225"/>
                                    <a:pt x="659" y="224"/>
                                    <a:pt x="659" y="217"/>
                                  </a:cubicBezTo>
                                  <a:cubicBezTo>
                                    <a:pt x="660" y="215"/>
                                    <a:pt x="660" y="214"/>
                                    <a:pt x="660" y="213"/>
                                  </a:cubicBezTo>
                                  <a:cubicBezTo>
                                    <a:pt x="661" y="201"/>
                                    <a:pt x="661" y="197"/>
                                    <a:pt x="668" y="187"/>
                                  </a:cubicBezTo>
                                  <a:cubicBezTo>
                                    <a:pt x="670" y="184"/>
                                    <a:pt x="672" y="182"/>
                                    <a:pt x="673" y="179"/>
                                  </a:cubicBezTo>
                                  <a:cubicBezTo>
                                    <a:pt x="678" y="172"/>
                                    <a:pt x="682" y="165"/>
                                    <a:pt x="689" y="162"/>
                                  </a:cubicBezTo>
                                  <a:cubicBezTo>
                                    <a:pt x="694" y="159"/>
                                    <a:pt x="698" y="158"/>
                                    <a:pt x="702" y="158"/>
                                  </a:cubicBezTo>
                                  <a:cubicBezTo>
                                    <a:pt x="705" y="157"/>
                                    <a:pt x="708" y="156"/>
                                    <a:pt x="712" y="155"/>
                                  </a:cubicBezTo>
                                  <a:cubicBezTo>
                                    <a:pt x="715" y="153"/>
                                    <a:pt x="721" y="149"/>
                                    <a:pt x="724" y="144"/>
                                  </a:cubicBezTo>
                                  <a:cubicBezTo>
                                    <a:pt x="727" y="140"/>
                                    <a:pt x="728" y="136"/>
                                    <a:pt x="728" y="132"/>
                                  </a:cubicBezTo>
                                  <a:cubicBezTo>
                                    <a:pt x="728" y="129"/>
                                    <a:pt x="728" y="127"/>
                                    <a:pt x="728" y="124"/>
                                  </a:cubicBezTo>
                                  <a:cubicBezTo>
                                    <a:pt x="728" y="116"/>
                                    <a:pt x="728" y="110"/>
                                    <a:pt x="725" y="107"/>
                                  </a:cubicBezTo>
                                  <a:cubicBezTo>
                                    <a:pt x="725" y="106"/>
                                    <a:pt x="723" y="105"/>
                                    <a:pt x="722" y="105"/>
                                  </a:cubicBezTo>
                                  <a:cubicBezTo>
                                    <a:pt x="717" y="103"/>
                                    <a:pt x="712" y="102"/>
                                    <a:pt x="706" y="93"/>
                                  </a:cubicBezTo>
                                  <a:cubicBezTo>
                                    <a:pt x="701" y="85"/>
                                    <a:pt x="700" y="75"/>
                                    <a:pt x="700" y="66"/>
                                  </a:cubicBezTo>
                                  <a:cubicBezTo>
                                    <a:pt x="700" y="62"/>
                                    <a:pt x="699" y="58"/>
                                    <a:pt x="698" y="56"/>
                                  </a:cubicBezTo>
                                  <a:cubicBezTo>
                                    <a:pt x="698" y="53"/>
                                    <a:pt x="698" y="52"/>
                                    <a:pt x="697" y="52"/>
                                  </a:cubicBezTo>
                                  <a:cubicBezTo>
                                    <a:pt x="697" y="51"/>
                                    <a:pt x="697" y="51"/>
                                    <a:pt x="697" y="51"/>
                                  </a:cubicBezTo>
                                  <a:cubicBezTo>
                                    <a:pt x="696" y="50"/>
                                    <a:pt x="693" y="47"/>
                                    <a:pt x="689" y="41"/>
                                  </a:cubicBezTo>
                                  <a:cubicBezTo>
                                    <a:pt x="686" y="38"/>
                                    <a:pt x="684" y="35"/>
                                    <a:pt x="682" y="33"/>
                                  </a:cubicBezTo>
                                  <a:cubicBezTo>
                                    <a:pt x="677" y="27"/>
                                    <a:pt x="674" y="23"/>
                                    <a:pt x="670" y="13"/>
                                  </a:cubicBezTo>
                                  <a:cubicBezTo>
                                    <a:pt x="661" y="13"/>
                                    <a:pt x="655" y="14"/>
                                    <a:pt x="648" y="16"/>
                                  </a:cubicBezTo>
                                  <a:cubicBezTo>
                                    <a:pt x="641" y="18"/>
                                    <a:pt x="633" y="22"/>
                                    <a:pt x="622" y="29"/>
                                  </a:cubicBezTo>
                                  <a:cubicBezTo>
                                    <a:pt x="613" y="35"/>
                                    <a:pt x="608" y="39"/>
                                    <a:pt x="605" y="42"/>
                                  </a:cubicBezTo>
                                  <a:cubicBezTo>
                                    <a:pt x="599" y="47"/>
                                    <a:pt x="597" y="48"/>
                                    <a:pt x="587" y="48"/>
                                  </a:cubicBezTo>
                                  <a:cubicBezTo>
                                    <a:pt x="577" y="48"/>
                                    <a:pt x="568" y="43"/>
                                    <a:pt x="559" y="39"/>
                                  </a:cubicBezTo>
                                  <a:cubicBezTo>
                                    <a:pt x="553" y="36"/>
                                    <a:pt x="547" y="33"/>
                                    <a:pt x="540" y="31"/>
                                  </a:cubicBezTo>
                                  <a:cubicBezTo>
                                    <a:pt x="534" y="29"/>
                                    <a:pt x="524" y="29"/>
                                    <a:pt x="514" y="29"/>
                                  </a:cubicBezTo>
                                  <a:cubicBezTo>
                                    <a:pt x="500" y="30"/>
                                    <a:pt x="486" y="32"/>
                                    <a:pt x="478" y="35"/>
                                  </a:cubicBezTo>
                                  <a:cubicBezTo>
                                    <a:pt x="470" y="37"/>
                                    <a:pt x="460" y="43"/>
                                    <a:pt x="450" y="49"/>
                                  </a:cubicBezTo>
                                  <a:cubicBezTo>
                                    <a:pt x="441" y="54"/>
                                    <a:pt x="433" y="59"/>
                                    <a:pt x="426" y="62"/>
                                  </a:cubicBezTo>
                                  <a:cubicBezTo>
                                    <a:pt x="413" y="67"/>
                                    <a:pt x="405" y="65"/>
                                    <a:pt x="391" y="62"/>
                                  </a:cubicBezTo>
                                  <a:cubicBezTo>
                                    <a:pt x="388" y="61"/>
                                    <a:pt x="386" y="61"/>
                                    <a:pt x="382" y="60"/>
                                  </a:cubicBezTo>
                                  <a:cubicBezTo>
                                    <a:pt x="367" y="57"/>
                                    <a:pt x="359" y="53"/>
                                    <a:pt x="349" y="48"/>
                                  </a:cubicBezTo>
                                  <a:cubicBezTo>
                                    <a:pt x="347" y="46"/>
                                    <a:pt x="344" y="45"/>
                                    <a:pt x="341" y="43"/>
                                  </a:cubicBezTo>
                                  <a:cubicBezTo>
                                    <a:pt x="335" y="40"/>
                                    <a:pt x="325" y="38"/>
                                    <a:pt x="316" y="38"/>
                                  </a:cubicBezTo>
                                  <a:cubicBezTo>
                                    <a:pt x="307" y="37"/>
                                    <a:pt x="299" y="39"/>
                                    <a:pt x="294" y="41"/>
                                  </a:cubicBezTo>
                                  <a:cubicBezTo>
                                    <a:pt x="288" y="45"/>
                                    <a:pt x="279" y="49"/>
                                    <a:pt x="270" y="49"/>
                                  </a:cubicBezTo>
                                  <a:cubicBezTo>
                                    <a:pt x="263" y="50"/>
                                    <a:pt x="256" y="49"/>
                                    <a:pt x="250" y="45"/>
                                  </a:cubicBezTo>
                                  <a:cubicBezTo>
                                    <a:pt x="245" y="41"/>
                                    <a:pt x="239" y="36"/>
                                    <a:pt x="233" y="29"/>
                                  </a:cubicBezTo>
                                  <a:cubicBezTo>
                                    <a:pt x="225" y="21"/>
                                    <a:pt x="216" y="13"/>
                                    <a:pt x="207" y="7"/>
                                  </a:cubicBezTo>
                                  <a:cubicBezTo>
                                    <a:pt x="197" y="0"/>
                                    <a:pt x="188" y="0"/>
                                    <a:pt x="173" y="1"/>
                                  </a:cubicBezTo>
                                  <a:cubicBezTo>
                                    <a:pt x="169" y="1"/>
                                    <a:pt x="164" y="1"/>
                                    <a:pt x="160" y="1"/>
                                  </a:cubicBezTo>
                                  <a:cubicBezTo>
                                    <a:pt x="148" y="1"/>
                                    <a:pt x="137" y="2"/>
                                    <a:pt x="128" y="5"/>
                                  </a:cubicBezTo>
                                  <a:cubicBezTo>
                                    <a:pt x="118" y="7"/>
                                    <a:pt x="109" y="11"/>
                                    <a:pt x="100" y="16"/>
                                  </a:cubicBezTo>
                                  <a:cubicBezTo>
                                    <a:pt x="88" y="23"/>
                                    <a:pt x="88" y="25"/>
                                    <a:pt x="88" y="30"/>
                                  </a:cubicBezTo>
                                  <a:cubicBezTo>
                                    <a:pt x="88" y="33"/>
                                    <a:pt x="88" y="37"/>
                                    <a:pt x="87" y="41"/>
                                  </a:cubicBezTo>
                                  <a:cubicBezTo>
                                    <a:pt x="85" y="51"/>
                                    <a:pt x="81" y="55"/>
                                    <a:pt x="77" y="60"/>
                                  </a:cubicBezTo>
                                  <a:cubicBezTo>
                                    <a:pt x="74" y="63"/>
                                    <a:pt x="71" y="66"/>
                                    <a:pt x="68" y="72"/>
                                  </a:cubicBezTo>
                                  <a:cubicBezTo>
                                    <a:pt x="63" y="82"/>
                                    <a:pt x="62" y="89"/>
                                    <a:pt x="60" y="100"/>
                                  </a:cubicBezTo>
                                  <a:cubicBezTo>
                                    <a:pt x="59" y="105"/>
                                    <a:pt x="58" y="112"/>
                                    <a:pt x="57" y="119"/>
                                  </a:cubicBezTo>
                                  <a:cubicBezTo>
                                    <a:pt x="53" y="136"/>
                                    <a:pt x="53" y="138"/>
                                    <a:pt x="54" y="142"/>
                                  </a:cubicBezTo>
                                  <a:cubicBezTo>
                                    <a:pt x="54" y="144"/>
                                    <a:pt x="54" y="147"/>
                                    <a:pt x="55" y="151"/>
                                  </a:cubicBezTo>
                                  <a:cubicBezTo>
                                    <a:pt x="55" y="159"/>
                                    <a:pt x="56" y="161"/>
                                    <a:pt x="58" y="164"/>
                                  </a:cubicBezTo>
                                  <a:cubicBezTo>
                                    <a:pt x="60" y="166"/>
                                    <a:pt x="62" y="168"/>
                                    <a:pt x="63" y="173"/>
                                  </a:cubicBezTo>
                                  <a:cubicBezTo>
                                    <a:pt x="65" y="178"/>
                                    <a:pt x="66" y="185"/>
                                    <a:pt x="66" y="193"/>
                                  </a:cubicBezTo>
                                  <a:cubicBezTo>
                                    <a:pt x="66" y="201"/>
                                    <a:pt x="65" y="211"/>
                                    <a:pt x="64" y="219"/>
                                  </a:cubicBezTo>
                                  <a:cubicBezTo>
                                    <a:pt x="62" y="229"/>
                                    <a:pt x="56" y="236"/>
                                    <a:pt x="50" y="243"/>
                                  </a:cubicBezTo>
                                  <a:cubicBezTo>
                                    <a:pt x="46" y="247"/>
                                    <a:pt x="42" y="252"/>
                                    <a:pt x="39" y="259"/>
                                  </a:cubicBezTo>
                                  <a:cubicBezTo>
                                    <a:pt x="36" y="265"/>
                                    <a:pt x="34" y="270"/>
                                    <a:pt x="32" y="276"/>
                                  </a:cubicBezTo>
                                  <a:cubicBezTo>
                                    <a:pt x="29" y="285"/>
                                    <a:pt x="26" y="292"/>
                                    <a:pt x="20" y="299"/>
                                  </a:cubicBezTo>
                                  <a:cubicBezTo>
                                    <a:pt x="15" y="305"/>
                                    <a:pt x="12" y="306"/>
                                    <a:pt x="10" y="306"/>
                                  </a:cubicBezTo>
                                  <a:cubicBezTo>
                                    <a:pt x="9" y="306"/>
                                    <a:pt x="8" y="307"/>
                                    <a:pt x="5" y="310"/>
                                  </a:cubicBezTo>
                                  <a:cubicBezTo>
                                    <a:pt x="0" y="315"/>
                                    <a:pt x="1" y="318"/>
                                    <a:pt x="1" y="326"/>
                                  </a:cubicBezTo>
                                  <a:cubicBezTo>
                                    <a:pt x="1" y="331"/>
                                    <a:pt x="1" y="338"/>
                                    <a:pt x="1" y="349"/>
                                  </a:cubicBezTo>
                                  <a:cubicBezTo>
                                    <a:pt x="0" y="364"/>
                                    <a:pt x="0" y="369"/>
                                    <a:pt x="1" y="375"/>
                                  </a:cubicBezTo>
                                  <a:cubicBezTo>
                                    <a:pt x="1" y="380"/>
                                    <a:pt x="2" y="385"/>
                                    <a:pt x="2" y="396"/>
                                  </a:cubicBezTo>
                                  <a:cubicBezTo>
                                    <a:pt x="1" y="408"/>
                                    <a:pt x="1" y="414"/>
                                    <a:pt x="1" y="421"/>
                                  </a:cubicBezTo>
                                  <a:cubicBezTo>
                                    <a:pt x="1" y="428"/>
                                    <a:pt x="1" y="435"/>
                                    <a:pt x="2" y="447"/>
                                  </a:cubicBezTo>
                                  <a:cubicBezTo>
                                    <a:pt x="2" y="456"/>
                                    <a:pt x="2" y="461"/>
                                    <a:pt x="2" y="465"/>
                                  </a:cubicBezTo>
                                  <a:cubicBezTo>
                                    <a:pt x="10" y="464"/>
                                    <a:pt x="15" y="463"/>
                                    <a:pt x="20" y="462"/>
                                  </a:cubicBezTo>
                                  <a:cubicBezTo>
                                    <a:pt x="26" y="462"/>
                                    <a:pt x="33" y="461"/>
                                    <a:pt x="37" y="459"/>
                                  </a:cubicBezTo>
                                  <a:cubicBezTo>
                                    <a:pt x="42" y="457"/>
                                    <a:pt x="46" y="453"/>
                                    <a:pt x="50" y="452"/>
                                  </a:cubicBezTo>
                                  <a:cubicBezTo>
                                    <a:pt x="53" y="451"/>
                                    <a:pt x="57" y="448"/>
                                    <a:pt x="59" y="451"/>
                                  </a:cubicBezTo>
                                  <a:cubicBezTo>
                                    <a:pt x="61" y="454"/>
                                    <a:pt x="57" y="453"/>
                                    <a:pt x="60" y="456"/>
                                  </a:cubicBezTo>
                                  <a:cubicBezTo>
                                    <a:pt x="62" y="459"/>
                                    <a:pt x="60" y="459"/>
                                    <a:pt x="69" y="459"/>
                                  </a:cubicBezTo>
                                  <a:cubicBezTo>
                                    <a:pt x="78" y="460"/>
                                    <a:pt x="87" y="461"/>
                                    <a:pt x="92" y="463"/>
                                  </a:cubicBezTo>
                                  <a:cubicBezTo>
                                    <a:pt x="97" y="464"/>
                                    <a:pt x="102" y="463"/>
                                    <a:pt x="108" y="469"/>
                                  </a:cubicBezTo>
                                  <a:cubicBezTo>
                                    <a:pt x="114" y="474"/>
                                    <a:pt x="123" y="478"/>
                                    <a:pt x="128" y="485"/>
                                  </a:cubicBezTo>
                                  <a:cubicBezTo>
                                    <a:pt x="134" y="492"/>
                                    <a:pt x="134" y="492"/>
                                    <a:pt x="138" y="495"/>
                                  </a:cubicBezTo>
                                  <a:cubicBezTo>
                                    <a:pt x="142" y="498"/>
                                    <a:pt x="141" y="499"/>
                                    <a:pt x="145" y="498"/>
                                  </a:cubicBezTo>
                                  <a:cubicBezTo>
                                    <a:pt x="148" y="497"/>
                                    <a:pt x="151" y="491"/>
                                    <a:pt x="153" y="494"/>
                                  </a:cubicBezTo>
                                  <a:cubicBezTo>
                                    <a:pt x="155" y="496"/>
                                    <a:pt x="153" y="499"/>
                                    <a:pt x="152" y="501"/>
                                  </a:cubicBezTo>
                                  <a:cubicBezTo>
                                    <a:pt x="152" y="503"/>
                                    <a:pt x="152" y="506"/>
                                    <a:pt x="155" y="507"/>
                                  </a:cubicBezTo>
                                  <a:cubicBezTo>
                                    <a:pt x="158" y="507"/>
                                    <a:pt x="162" y="506"/>
                                    <a:pt x="163" y="508"/>
                                  </a:cubicBezTo>
                                  <a:cubicBezTo>
                                    <a:pt x="164" y="510"/>
                                    <a:pt x="161" y="512"/>
                                    <a:pt x="160" y="515"/>
                                  </a:cubicBezTo>
                                  <a:cubicBezTo>
                                    <a:pt x="158" y="519"/>
                                    <a:pt x="156" y="522"/>
                                    <a:pt x="159" y="522"/>
                                  </a:cubicBezTo>
                                  <a:cubicBezTo>
                                    <a:pt x="162" y="523"/>
                                    <a:pt x="163" y="523"/>
                                    <a:pt x="166" y="522"/>
                                  </a:cubicBezTo>
                                  <a:cubicBezTo>
                                    <a:pt x="169" y="521"/>
                                    <a:pt x="172" y="516"/>
                                    <a:pt x="174" y="518"/>
                                  </a:cubicBezTo>
                                  <a:cubicBezTo>
                                    <a:pt x="176" y="520"/>
                                    <a:pt x="176" y="524"/>
                                    <a:pt x="173" y="528"/>
                                  </a:cubicBezTo>
                                  <a:cubicBezTo>
                                    <a:pt x="170" y="532"/>
                                    <a:pt x="166" y="535"/>
                                    <a:pt x="167" y="542"/>
                                  </a:cubicBezTo>
                                  <a:cubicBezTo>
                                    <a:pt x="169" y="548"/>
                                    <a:pt x="171" y="554"/>
                                    <a:pt x="173" y="560"/>
                                  </a:cubicBezTo>
                                  <a:cubicBezTo>
                                    <a:pt x="174" y="566"/>
                                    <a:pt x="171" y="568"/>
                                    <a:pt x="175" y="571"/>
                                  </a:cubicBezTo>
                                  <a:cubicBezTo>
                                    <a:pt x="178" y="575"/>
                                    <a:pt x="181" y="579"/>
                                    <a:pt x="189" y="583"/>
                                  </a:cubicBezTo>
                                  <a:cubicBezTo>
                                    <a:pt x="197" y="588"/>
                                    <a:pt x="200" y="591"/>
                                    <a:pt x="205" y="591"/>
                                  </a:cubicBezTo>
                                  <a:cubicBezTo>
                                    <a:pt x="211" y="591"/>
                                    <a:pt x="214" y="586"/>
                                    <a:pt x="219" y="587"/>
                                  </a:cubicBezTo>
                                  <a:cubicBezTo>
                                    <a:pt x="223" y="588"/>
                                    <a:pt x="225" y="593"/>
                                    <a:pt x="230" y="589"/>
                                  </a:cubicBezTo>
                                  <a:cubicBezTo>
                                    <a:pt x="235" y="585"/>
                                    <a:pt x="234" y="579"/>
                                    <a:pt x="239" y="579"/>
                                  </a:cubicBezTo>
                                  <a:cubicBezTo>
                                    <a:pt x="244" y="578"/>
                                    <a:pt x="246" y="575"/>
                                    <a:pt x="247" y="571"/>
                                  </a:cubicBezTo>
                                  <a:cubicBezTo>
                                    <a:pt x="249" y="567"/>
                                    <a:pt x="251" y="563"/>
                                    <a:pt x="252" y="567"/>
                                  </a:cubicBezTo>
                                  <a:cubicBezTo>
                                    <a:pt x="254" y="571"/>
                                    <a:pt x="251" y="572"/>
                                    <a:pt x="254" y="576"/>
                                  </a:cubicBezTo>
                                  <a:cubicBezTo>
                                    <a:pt x="257" y="579"/>
                                    <a:pt x="258" y="582"/>
                                    <a:pt x="261" y="579"/>
                                  </a:cubicBezTo>
                                  <a:cubicBezTo>
                                    <a:pt x="263" y="577"/>
                                    <a:pt x="263" y="574"/>
                                    <a:pt x="266" y="572"/>
                                  </a:cubicBezTo>
                                  <a:cubicBezTo>
                                    <a:pt x="269" y="571"/>
                                    <a:pt x="272" y="569"/>
                                    <a:pt x="275" y="570"/>
                                  </a:cubicBezTo>
                                  <a:cubicBezTo>
                                    <a:pt x="278" y="571"/>
                                    <a:pt x="281" y="581"/>
                                    <a:pt x="286" y="578"/>
                                  </a:cubicBezTo>
                                  <a:cubicBezTo>
                                    <a:pt x="292" y="576"/>
                                    <a:pt x="289" y="570"/>
                                    <a:pt x="294" y="571"/>
                                  </a:cubicBezTo>
                                  <a:cubicBezTo>
                                    <a:pt x="299" y="572"/>
                                    <a:pt x="301" y="573"/>
                                    <a:pt x="306" y="576"/>
                                  </a:cubicBezTo>
                                  <a:cubicBezTo>
                                    <a:pt x="312" y="579"/>
                                    <a:pt x="315" y="579"/>
                                    <a:pt x="320" y="579"/>
                                  </a:cubicBezTo>
                                  <a:cubicBezTo>
                                    <a:pt x="325" y="579"/>
                                    <a:pt x="332" y="576"/>
                                    <a:pt x="336" y="576"/>
                                  </a:cubicBezTo>
                                  <a:cubicBezTo>
                                    <a:pt x="339" y="576"/>
                                    <a:pt x="339" y="576"/>
                                    <a:pt x="340" y="573"/>
                                  </a:cubicBezTo>
                                  <a:cubicBezTo>
                                    <a:pt x="341" y="571"/>
                                    <a:pt x="341" y="567"/>
                                    <a:pt x="339" y="564"/>
                                  </a:cubicBezTo>
                                  <a:cubicBezTo>
                                    <a:pt x="337" y="562"/>
                                    <a:pt x="331" y="554"/>
                                    <a:pt x="334" y="553"/>
                                  </a:cubicBezTo>
                                  <a:cubicBezTo>
                                    <a:pt x="337" y="552"/>
                                    <a:pt x="348" y="553"/>
                                    <a:pt x="350" y="557"/>
                                  </a:cubicBezTo>
                                  <a:cubicBezTo>
                                    <a:pt x="351" y="561"/>
                                    <a:pt x="354" y="564"/>
                                    <a:pt x="358" y="566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8" name="Freeform 528"/>
                            <p:cNvSpPr>
                              <a:spLocks/>
                            </p:cNvSpPr>
                            <p:nvPr/>
                          </p:nvSpPr>
                          <p:spPr bwMode="auto">
                            <a:xfrm>
                              <a:off x="3927985" y="3248713"/>
                              <a:ext cx="192881" cy="90488"/>
                            </a:xfrm>
                            <a:custGeom>
                              <a:avLst/>
                              <a:gdLst>
                                <a:gd name="T0" fmla="*/ 555 w 675"/>
                                <a:gd name="T1" fmla="*/ 220 h 316"/>
                                <a:gd name="T2" fmla="*/ 605 w 675"/>
                                <a:gd name="T3" fmla="*/ 215 h 316"/>
                                <a:gd name="T4" fmla="*/ 615 w 675"/>
                                <a:gd name="T5" fmla="*/ 180 h 316"/>
                                <a:gd name="T6" fmla="*/ 642 w 675"/>
                                <a:gd name="T7" fmla="*/ 182 h 316"/>
                                <a:gd name="T8" fmla="*/ 653 w 675"/>
                                <a:gd name="T9" fmla="*/ 156 h 316"/>
                                <a:gd name="T10" fmla="*/ 661 w 675"/>
                                <a:gd name="T11" fmla="*/ 148 h 316"/>
                                <a:gd name="T12" fmla="*/ 649 w 675"/>
                                <a:gd name="T13" fmla="*/ 125 h 316"/>
                                <a:gd name="T14" fmla="*/ 638 w 675"/>
                                <a:gd name="T15" fmla="*/ 93 h 316"/>
                                <a:gd name="T16" fmla="*/ 628 w 675"/>
                                <a:gd name="T17" fmla="*/ 85 h 316"/>
                                <a:gd name="T18" fmla="*/ 608 w 675"/>
                                <a:gd name="T19" fmla="*/ 58 h 316"/>
                                <a:gd name="T20" fmla="*/ 587 w 675"/>
                                <a:gd name="T21" fmla="*/ 33 h 316"/>
                                <a:gd name="T22" fmla="*/ 544 w 675"/>
                                <a:gd name="T23" fmla="*/ 27 h 316"/>
                                <a:gd name="T24" fmla="*/ 498 w 675"/>
                                <a:gd name="T25" fmla="*/ 26 h 316"/>
                                <a:gd name="T26" fmla="*/ 433 w 675"/>
                                <a:gd name="T27" fmla="*/ 49 h 316"/>
                                <a:gd name="T28" fmla="*/ 390 w 675"/>
                                <a:gd name="T29" fmla="*/ 39 h 316"/>
                                <a:gd name="T30" fmla="*/ 396 w 675"/>
                                <a:gd name="T31" fmla="*/ 85 h 316"/>
                                <a:gd name="T32" fmla="*/ 364 w 675"/>
                                <a:gd name="T33" fmla="*/ 42 h 316"/>
                                <a:gd name="T34" fmla="*/ 314 w 675"/>
                                <a:gd name="T35" fmla="*/ 61 h 316"/>
                                <a:gd name="T36" fmla="*/ 284 w 675"/>
                                <a:gd name="T37" fmla="*/ 57 h 316"/>
                                <a:gd name="T38" fmla="*/ 261 w 675"/>
                                <a:gd name="T39" fmla="*/ 71 h 316"/>
                                <a:gd name="T40" fmla="*/ 235 w 675"/>
                                <a:gd name="T41" fmla="*/ 93 h 316"/>
                                <a:gd name="T42" fmla="*/ 213 w 675"/>
                                <a:gd name="T43" fmla="*/ 126 h 316"/>
                                <a:gd name="T44" fmla="*/ 187 w 675"/>
                                <a:gd name="T45" fmla="*/ 111 h 316"/>
                                <a:gd name="T46" fmla="*/ 169 w 675"/>
                                <a:gd name="T47" fmla="*/ 77 h 316"/>
                                <a:gd name="T48" fmla="*/ 184 w 675"/>
                                <a:gd name="T49" fmla="*/ 62 h 316"/>
                                <a:gd name="T50" fmla="*/ 127 w 675"/>
                                <a:gd name="T51" fmla="*/ 9 h 316"/>
                                <a:gd name="T52" fmla="*/ 95 w 675"/>
                                <a:gd name="T53" fmla="*/ 23 h 316"/>
                                <a:gd name="T54" fmla="*/ 133 w 675"/>
                                <a:gd name="T55" fmla="*/ 27 h 316"/>
                                <a:gd name="T56" fmla="*/ 133 w 675"/>
                                <a:gd name="T57" fmla="*/ 51 h 316"/>
                                <a:gd name="T58" fmla="*/ 118 w 675"/>
                                <a:gd name="T59" fmla="*/ 73 h 316"/>
                                <a:gd name="T60" fmla="*/ 101 w 675"/>
                                <a:gd name="T61" fmla="*/ 64 h 316"/>
                                <a:gd name="T62" fmla="*/ 69 w 675"/>
                                <a:gd name="T63" fmla="*/ 52 h 316"/>
                                <a:gd name="T64" fmla="*/ 65 w 675"/>
                                <a:gd name="T65" fmla="*/ 68 h 316"/>
                                <a:gd name="T66" fmla="*/ 54 w 675"/>
                                <a:gd name="T67" fmla="*/ 93 h 316"/>
                                <a:gd name="T68" fmla="*/ 45 w 675"/>
                                <a:gd name="T69" fmla="*/ 93 h 316"/>
                                <a:gd name="T70" fmla="*/ 10 w 675"/>
                                <a:gd name="T71" fmla="*/ 96 h 316"/>
                                <a:gd name="T72" fmla="*/ 58 w 675"/>
                                <a:gd name="T73" fmla="*/ 105 h 316"/>
                                <a:gd name="T74" fmla="*/ 139 w 675"/>
                                <a:gd name="T75" fmla="*/ 102 h 316"/>
                                <a:gd name="T76" fmla="*/ 129 w 675"/>
                                <a:gd name="T77" fmla="*/ 135 h 316"/>
                                <a:gd name="T78" fmla="*/ 166 w 675"/>
                                <a:gd name="T79" fmla="*/ 148 h 316"/>
                                <a:gd name="T80" fmla="*/ 110 w 675"/>
                                <a:gd name="T81" fmla="*/ 156 h 316"/>
                                <a:gd name="T82" fmla="*/ 73 w 675"/>
                                <a:gd name="T83" fmla="*/ 164 h 316"/>
                                <a:gd name="T84" fmla="*/ 54 w 675"/>
                                <a:gd name="T85" fmla="*/ 182 h 316"/>
                                <a:gd name="T86" fmla="*/ 140 w 675"/>
                                <a:gd name="T87" fmla="*/ 186 h 316"/>
                                <a:gd name="T88" fmla="*/ 181 w 675"/>
                                <a:gd name="T89" fmla="*/ 189 h 316"/>
                                <a:gd name="T90" fmla="*/ 166 w 675"/>
                                <a:gd name="T91" fmla="*/ 219 h 316"/>
                                <a:gd name="T92" fmla="*/ 166 w 675"/>
                                <a:gd name="T93" fmla="*/ 233 h 316"/>
                                <a:gd name="T94" fmla="*/ 120 w 675"/>
                                <a:gd name="T95" fmla="*/ 254 h 316"/>
                                <a:gd name="T96" fmla="*/ 208 w 675"/>
                                <a:gd name="T97" fmla="*/ 268 h 316"/>
                                <a:gd name="T98" fmla="*/ 245 w 675"/>
                                <a:gd name="T99" fmla="*/ 272 h 316"/>
                                <a:gd name="T100" fmla="*/ 301 w 675"/>
                                <a:gd name="T101" fmla="*/ 302 h 316"/>
                                <a:gd name="T102" fmla="*/ 392 w 675"/>
                                <a:gd name="T103" fmla="*/ 301 h 316"/>
                                <a:gd name="T104" fmla="*/ 479 w 675"/>
                                <a:gd name="T105" fmla="*/ 270 h 316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  <a:cxn ang="0">
                                  <a:pos x="T100" y="T101"/>
                                </a:cxn>
                                <a:cxn ang="0">
                                  <a:pos x="T102" y="T103"/>
                                </a:cxn>
                                <a:cxn ang="0">
                                  <a:pos x="T104" y="T105"/>
                                </a:cxn>
                              </a:cxnLst>
                              <a:rect l="0" t="0" r="r" b="b"/>
                              <a:pathLst>
                                <a:path w="675" h="316">
                                  <a:moveTo>
                                    <a:pt x="479" y="270"/>
                                  </a:moveTo>
                                  <a:cubicBezTo>
                                    <a:pt x="491" y="271"/>
                                    <a:pt x="497" y="262"/>
                                    <a:pt x="503" y="256"/>
                                  </a:cubicBezTo>
                                  <a:cubicBezTo>
                                    <a:pt x="509" y="251"/>
                                    <a:pt x="515" y="248"/>
                                    <a:pt x="525" y="241"/>
                                  </a:cubicBezTo>
                                  <a:cubicBezTo>
                                    <a:pt x="536" y="234"/>
                                    <a:pt x="545" y="230"/>
                                    <a:pt x="550" y="228"/>
                                  </a:cubicBezTo>
                                  <a:cubicBezTo>
                                    <a:pt x="555" y="227"/>
                                    <a:pt x="557" y="223"/>
                                    <a:pt x="555" y="220"/>
                                  </a:cubicBezTo>
                                  <a:cubicBezTo>
                                    <a:pt x="553" y="216"/>
                                    <a:pt x="554" y="213"/>
                                    <a:pt x="558" y="213"/>
                                  </a:cubicBezTo>
                                  <a:cubicBezTo>
                                    <a:pt x="563" y="213"/>
                                    <a:pt x="566" y="219"/>
                                    <a:pt x="568" y="222"/>
                                  </a:cubicBezTo>
                                  <a:cubicBezTo>
                                    <a:pt x="569" y="226"/>
                                    <a:pt x="573" y="227"/>
                                    <a:pt x="580" y="228"/>
                                  </a:cubicBezTo>
                                  <a:cubicBezTo>
                                    <a:pt x="587" y="229"/>
                                    <a:pt x="590" y="225"/>
                                    <a:pt x="595" y="221"/>
                                  </a:cubicBezTo>
                                  <a:cubicBezTo>
                                    <a:pt x="599" y="217"/>
                                    <a:pt x="603" y="216"/>
                                    <a:pt x="605" y="215"/>
                                  </a:cubicBezTo>
                                  <a:cubicBezTo>
                                    <a:pt x="608" y="214"/>
                                    <a:pt x="615" y="210"/>
                                    <a:pt x="615" y="207"/>
                                  </a:cubicBezTo>
                                  <a:cubicBezTo>
                                    <a:pt x="615" y="204"/>
                                    <a:pt x="611" y="201"/>
                                    <a:pt x="611" y="198"/>
                                  </a:cubicBezTo>
                                  <a:cubicBezTo>
                                    <a:pt x="611" y="195"/>
                                    <a:pt x="613" y="193"/>
                                    <a:pt x="617" y="191"/>
                                  </a:cubicBezTo>
                                  <a:cubicBezTo>
                                    <a:pt x="622" y="189"/>
                                    <a:pt x="620" y="186"/>
                                    <a:pt x="620" y="184"/>
                                  </a:cubicBezTo>
                                  <a:cubicBezTo>
                                    <a:pt x="620" y="182"/>
                                    <a:pt x="618" y="181"/>
                                    <a:pt x="615" y="180"/>
                                  </a:cubicBezTo>
                                  <a:cubicBezTo>
                                    <a:pt x="612" y="179"/>
                                    <a:pt x="614" y="176"/>
                                    <a:pt x="615" y="174"/>
                                  </a:cubicBezTo>
                                  <a:cubicBezTo>
                                    <a:pt x="615" y="172"/>
                                    <a:pt x="619" y="173"/>
                                    <a:pt x="622" y="174"/>
                                  </a:cubicBezTo>
                                  <a:cubicBezTo>
                                    <a:pt x="626" y="175"/>
                                    <a:pt x="628" y="178"/>
                                    <a:pt x="629" y="180"/>
                                  </a:cubicBezTo>
                                  <a:cubicBezTo>
                                    <a:pt x="629" y="182"/>
                                    <a:pt x="631" y="182"/>
                                    <a:pt x="634" y="184"/>
                                  </a:cubicBezTo>
                                  <a:cubicBezTo>
                                    <a:pt x="636" y="185"/>
                                    <a:pt x="639" y="184"/>
                                    <a:pt x="642" y="182"/>
                                  </a:cubicBezTo>
                                  <a:cubicBezTo>
                                    <a:pt x="644" y="179"/>
                                    <a:pt x="644" y="179"/>
                                    <a:pt x="647" y="176"/>
                                  </a:cubicBezTo>
                                  <a:cubicBezTo>
                                    <a:pt x="651" y="173"/>
                                    <a:pt x="651" y="172"/>
                                    <a:pt x="648" y="170"/>
                                  </a:cubicBezTo>
                                  <a:cubicBezTo>
                                    <a:pt x="645" y="167"/>
                                    <a:pt x="644" y="165"/>
                                    <a:pt x="646" y="163"/>
                                  </a:cubicBezTo>
                                  <a:cubicBezTo>
                                    <a:pt x="647" y="160"/>
                                    <a:pt x="652" y="162"/>
                                    <a:pt x="654" y="161"/>
                                  </a:cubicBezTo>
                                  <a:cubicBezTo>
                                    <a:pt x="655" y="159"/>
                                    <a:pt x="654" y="158"/>
                                    <a:pt x="653" y="156"/>
                                  </a:cubicBezTo>
                                  <a:cubicBezTo>
                                    <a:pt x="651" y="154"/>
                                    <a:pt x="646" y="155"/>
                                    <a:pt x="641" y="155"/>
                                  </a:cubicBezTo>
                                  <a:cubicBezTo>
                                    <a:pt x="636" y="156"/>
                                    <a:pt x="633" y="154"/>
                                    <a:pt x="632" y="152"/>
                                  </a:cubicBezTo>
                                  <a:cubicBezTo>
                                    <a:pt x="631" y="150"/>
                                    <a:pt x="634" y="149"/>
                                    <a:pt x="639" y="148"/>
                                  </a:cubicBezTo>
                                  <a:cubicBezTo>
                                    <a:pt x="643" y="148"/>
                                    <a:pt x="648" y="149"/>
                                    <a:pt x="652" y="148"/>
                                  </a:cubicBezTo>
                                  <a:cubicBezTo>
                                    <a:pt x="655" y="147"/>
                                    <a:pt x="657" y="147"/>
                                    <a:pt x="661" y="148"/>
                                  </a:cubicBezTo>
                                  <a:cubicBezTo>
                                    <a:pt x="665" y="148"/>
                                    <a:pt x="671" y="148"/>
                                    <a:pt x="673" y="148"/>
                                  </a:cubicBezTo>
                                  <a:cubicBezTo>
                                    <a:pt x="675" y="147"/>
                                    <a:pt x="670" y="142"/>
                                    <a:pt x="668" y="140"/>
                                  </a:cubicBezTo>
                                  <a:cubicBezTo>
                                    <a:pt x="666" y="138"/>
                                    <a:pt x="661" y="137"/>
                                    <a:pt x="657" y="138"/>
                                  </a:cubicBezTo>
                                  <a:cubicBezTo>
                                    <a:pt x="653" y="138"/>
                                    <a:pt x="652" y="137"/>
                                    <a:pt x="649" y="133"/>
                                  </a:cubicBezTo>
                                  <a:cubicBezTo>
                                    <a:pt x="647" y="130"/>
                                    <a:pt x="647" y="127"/>
                                    <a:pt x="649" y="125"/>
                                  </a:cubicBezTo>
                                  <a:cubicBezTo>
                                    <a:pt x="652" y="123"/>
                                    <a:pt x="657" y="122"/>
                                    <a:pt x="662" y="120"/>
                                  </a:cubicBezTo>
                                  <a:cubicBezTo>
                                    <a:pt x="668" y="117"/>
                                    <a:pt x="667" y="117"/>
                                    <a:pt x="667" y="114"/>
                                  </a:cubicBezTo>
                                  <a:cubicBezTo>
                                    <a:pt x="667" y="111"/>
                                    <a:pt x="665" y="108"/>
                                    <a:pt x="661" y="104"/>
                                  </a:cubicBezTo>
                                  <a:cubicBezTo>
                                    <a:pt x="657" y="101"/>
                                    <a:pt x="652" y="102"/>
                                    <a:pt x="649" y="97"/>
                                  </a:cubicBezTo>
                                  <a:cubicBezTo>
                                    <a:pt x="646" y="93"/>
                                    <a:pt x="643" y="94"/>
                                    <a:pt x="638" y="93"/>
                                  </a:cubicBezTo>
                                  <a:cubicBezTo>
                                    <a:pt x="634" y="93"/>
                                    <a:pt x="632" y="96"/>
                                    <a:pt x="625" y="99"/>
                                  </a:cubicBezTo>
                                  <a:cubicBezTo>
                                    <a:pt x="618" y="102"/>
                                    <a:pt x="618" y="104"/>
                                    <a:pt x="614" y="105"/>
                                  </a:cubicBezTo>
                                  <a:cubicBezTo>
                                    <a:pt x="611" y="106"/>
                                    <a:pt x="612" y="104"/>
                                    <a:pt x="611" y="101"/>
                                  </a:cubicBezTo>
                                  <a:cubicBezTo>
                                    <a:pt x="611" y="98"/>
                                    <a:pt x="617" y="94"/>
                                    <a:pt x="620" y="92"/>
                                  </a:cubicBezTo>
                                  <a:cubicBezTo>
                                    <a:pt x="623" y="90"/>
                                    <a:pt x="626" y="89"/>
                                    <a:pt x="628" y="85"/>
                                  </a:cubicBezTo>
                                  <a:cubicBezTo>
                                    <a:pt x="629" y="81"/>
                                    <a:pt x="627" y="82"/>
                                    <a:pt x="625" y="80"/>
                                  </a:cubicBezTo>
                                  <a:cubicBezTo>
                                    <a:pt x="622" y="79"/>
                                    <a:pt x="620" y="80"/>
                                    <a:pt x="615" y="81"/>
                                  </a:cubicBezTo>
                                  <a:cubicBezTo>
                                    <a:pt x="611" y="82"/>
                                    <a:pt x="598" y="83"/>
                                    <a:pt x="595" y="79"/>
                                  </a:cubicBezTo>
                                  <a:cubicBezTo>
                                    <a:pt x="591" y="74"/>
                                    <a:pt x="598" y="73"/>
                                    <a:pt x="603" y="70"/>
                                  </a:cubicBezTo>
                                  <a:cubicBezTo>
                                    <a:pt x="607" y="68"/>
                                    <a:pt x="610" y="61"/>
                                    <a:pt x="608" y="58"/>
                                  </a:cubicBezTo>
                                  <a:cubicBezTo>
                                    <a:pt x="606" y="54"/>
                                    <a:pt x="603" y="54"/>
                                    <a:pt x="600" y="51"/>
                                  </a:cubicBezTo>
                                  <a:cubicBezTo>
                                    <a:pt x="598" y="48"/>
                                    <a:pt x="593" y="51"/>
                                    <a:pt x="587" y="50"/>
                                  </a:cubicBezTo>
                                  <a:cubicBezTo>
                                    <a:pt x="581" y="50"/>
                                    <a:pt x="581" y="49"/>
                                    <a:pt x="577" y="46"/>
                                  </a:cubicBezTo>
                                  <a:cubicBezTo>
                                    <a:pt x="574" y="42"/>
                                    <a:pt x="577" y="43"/>
                                    <a:pt x="582" y="41"/>
                                  </a:cubicBezTo>
                                  <a:cubicBezTo>
                                    <a:pt x="586" y="38"/>
                                    <a:pt x="585" y="36"/>
                                    <a:pt x="587" y="33"/>
                                  </a:cubicBezTo>
                                  <a:cubicBezTo>
                                    <a:pt x="589" y="29"/>
                                    <a:pt x="595" y="28"/>
                                    <a:pt x="597" y="24"/>
                                  </a:cubicBezTo>
                                  <a:cubicBezTo>
                                    <a:pt x="600" y="19"/>
                                    <a:pt x="594" y="21"/>
                                    <a:pt x="589" y="21"/>
                                  </a:cubicBezTo>
                                  <a:cubicBezTo>
                                    <a:pt x="585" y="22"/>
                                    <a:pt x="578" y="24"/>
                                    <a:pt x="573" y="28"/>
                                  </a:cubicBezTo>
                                  <a:cubicBezTo>
                                    <a:pt x="568" y="32"/>
                                    <a:pt x="563" y="39"/>
                                    <a:pt x="560" y="37"/>
                                  </a:cubicBezTo>
                                  <a:cubicBezTo>
                                    <a:pt x="556" y="35"/>
                                    <a:pt x="549" y="31"/>
                                    <a:pt x="544" y="27"/>
                                  </a:cubicBezTo>
                                  <a:cubicBezTo>
                                    <a:pt x="539" y="22"/>
                                    <a:pt x="544" y="21"/>
                                    <a:pt x="543" y="17"/>
                                  </a:cubicBezTo>
                                  <a:cubicBezTo>
                                    <a:pt x="542" y="14"/>
                                    <a:pt x="537" y="15"/>
                                    <a:pt x="532" y="10"/>
                                  </a:cubicBezTo>
                                  <a:cubicBezTo>
                                    <a:pt x="526" y="5"/>
                                    <a:pt x="530" y="3"/>
                                    <a:pt x="522" y="2"/>
                                  </a:cubicBezTo>
                                  <a:cubicBezTo>
                                    <a:pt x="514" y="1"/>
                                    <a:pt x="497" y="0"/>
                                    <a:pt x="495" y="4"/>
                                  </a:cubicBezTo>
                                  <a:cubicBezTo>
                                    <a:pt x="492" y="8"/>
                                    <a:pt x="496" y="18"/>
                                    <a:pt x="498" y="26"/>
                                  </a:cubicBezTo>
                                  <a:cubicBezTo>
                                    <a:pt x="501" y="34"/>
                                    <a:pt x="499" y="36"/>
                                    <a:pt x="496" y="40"/>
                                  </a:cubicBezTo>
                                  <a:cubicBezTo>
                                    <a:pt x="493" y="45"/>
                                    <a:pt x="488" y="40"/>
                                    <a:pt x="481" y="39"/>
                                  </a:cubicBezTo>
                                  <a:cubicBezTo>
                                    <a:pt x="474" y="39"/>
                                    <a:pt x="470" y="37"/>
                                    <a:pt x="463" y="36"/>
                                  </a:cubicBezTo>
                                  <a:cubicBezTo>
                                    <a:pt x="456" y="36"/>
                                    <a:pt x="454" y="39"/>
                                    <a:pt x="450" y="42"/>
                                  </a:cubicBezTo>
                                  <a:cubicBezTo>
                                    <a:pt x="446" y="44"/>
                                    <a:pt x="441" y="46"/>
                                    <a:pt x="433" y="49"/>
                                  </a:cubicBezTo>
                                  <a:cubicBezTo>
                                    <a:pt x="431" y="50"/>
                                    <a:pt x="427" y="54"/>
                                    <a:pt x="426" y="56"/>
                                  </a:cubicBezTo>
                                  <a:cubicBezTo>
                                    <a:pt x="425" y="58"/>
                                    <a:pt x="422" y="57"/>
                                    <a:pt x="419" y="54"/>
                                  </a:cubicBezTo>
                                  <a:cubicBezTo>
                                    <a:pt x="417" y="51"/>
                                    <a:pt x="417" y="49"/>
                                    <a:pt x="411" y="44"/>
                                  </a:cubicBezTo>
                                  <a:cubicBezTo>
                                    <a:pt x="405" y="39"/>
                                    <a:pt x="406" y="43"/>
                                    <a:pt x="402" y="41"/>
                                  </a:cubicBezTo>
                                  <a:cubicBezTo>
                                    <a:pt x="398" y="39"/>
                                    <a:pt x="393" y="38"/>
                                    <a:pt x="390" y="39"/>
                                  </a:cubicBezTo>
                                  <a:cubicBezTo>
                                    <a:pt x="388" y="41"/>
                                    <a:pt x="389" y="46"/>
                                    <a:pt x="389" y="49"/>
                                  </a:cubicBezTo>
                                  <a:cubicBezTo>
                                    <a:pt x="389" y="53"/>
                                    <a:pt x="391" y="54"/>
                                    <a:pt x="394" y="58"/>
                                  </a:cubicBezTo>
                                  <a:cubicBezTo>
                                    <a:pt x="397" y="63"/>
                                    <a:pt x="395" y="65"/>
                                    <a:pt x="396" y="70"/>
                                  </a:cubicBezTo>
                                  <a:cubicBezTo>
                                    <a:pt x="397" y="75"/>
                                    <a:pt x="398" y="75"/>
                                    <a:pt x="399" y="79"/>
                                  </a:cubicBezTo>
                                  <a:cubicBezTo>
                                    <a:pt x="401" y="82"/>
                                    <a:pt x="398" y="85"/>
                                    <a:pt x="396" y="85"/>
                                  </a:cubicBezTo>
                                  <a:cubicBezTo>
                                    <a:pt x="394" y="86"/>
                                    <a:pt x="391" y="82"/>
                                    <a:pt x="389" y="79"/>
                                  </a:cubicBezTo>
                                  <a:cubicBezTo>
                                    <a:pt x="387" y="75"/>
                                    <a:pt x="387" y="74"/>
                                    <a:pt x="385" y="70"/>
                                  </a:cubicBezTo>
                                  <a:cubicBezTo>
                                    <a:pt x="383" y="66"/>
                                    <a:pt x="381" y="66"/>
                                    <a:pt x="375" y="62"/>
                                  </a:cubicBezTo>
                                  <a:cubicBezTo>
                                    <a:pt x="369" y="58"/>
                                    <a:pt x="369" y="56"/>
                                    <a:pt x="368" y="52"/>
                                  </a:cubicBezTo>
                                  <a:cubicBezTo>
                                    <a:pt x="367" y="49"/>
                                    <a:pt x="366" y="45"/>
                                    <a:pt x="364" y="42"/>
                                  </a:cubicBezTo>
                                  <a:cubicBezTo>
                                    <a:pt x="362" y="39"/>
                                    <a:pt x="354" y="37"/>
                                    <a:pt x="350" y="38"/>
                                  </a:cubicBezTo>
                                  <a:cubicBezTo>
                                    <a:pt x="346" y="38"/>
                                    <a:pt x="338" y="39"/>
                                    <a:pt x="335" y="40"/>
                                  </a:cubicBezTo>
                                  <a:cubicBezTo>
                                    <a:pt x="332" y="42"/>
                                    <a:pt x="329" y="44"/>
                                    <a:pt x="327" y="48"/>
                                  </a:cubicBezTo>
                                  <a:cubicBezTo>
                                    <a:pt x="325" y="51"/>
                                    <a:pt x="323" y="50"/>
                                    <a:pt x="320" y="51"/>
                                  </a:cubicBezTo>
                                  <a:cubicBezTo>
                                    <a:pt x="316" y="53"/>
                                    <a:pt x="314" y="57"/>
                                    <a:pt x="314" y="61"/>
                                  </a:cubicBezTo>
                                  <a:cubicBezTo>
                                    <a:pt x="313" y="65"/>
                                    <a:pt x="316" y="67"/>
                                    <a:pt x="318" y="70"/>
                                  </a:cubicBezTo>
                                  <a:cubicBezTo>
                                    <a:pt x="320" y="72"/>
                                    <a:pt x="314" y="80"/>
                                    <a:pt x="313" y="81"/>
                                  </a:cubicBezTo>
                                  <a:cubicBezTo>
                                    <a:pt x="311" y="82"/>
                                    <a:pt x="306" y="81"/>
                                    <a:pt x="304" y="75"/>
                                  </a:cubicBezTo>
                                  <a:cubicBezTo>
                                    <a:pt x="301" y="70"/>
                                    <a:pt x="297" y="70"/>
                                    <a:pt x="292" y="66"/>
                                  </a:cubicBezTo>
                                  <a:cubicBezTo>
                                    <a:pt x="288" y="62"/>
                                    <a:pt x="286" y="60"/>
                                    <a:pt x="284" y="57"/>
                                  </a:cubicBezTo>
                                  <a:cubicBezTo>
                                    <a:pt x="282" y="53"/>
                                    <a:pt x="275" y="47"/>
                                    <a:pt x="268" y="44"/>
                                  </a:cubicBezTo>
                                  <a:cubicBezTo>
                                    <a:pt x="262" y="41"/>
                                    <a:pt x="262" y="44"/>
                                    <a:pt x="260" y="44"/>
                                  </a:cubicBezTo>
                                  <a:cubicBezTo>
                                    <a:pt x="257" y="45"/>
                                    <a:pt x="256" y="48"/>
                                    <a:pt x="256" y="51"/>
                                  </a:cubicBezTo>
                                  <a:cubicBezTo>
                                    <a:pt x="256" y="54"/>
                                    <a:pt x="258" y="56"/>
                                    <a:pt x="259" y="59"/>
                                  </a:cubicBezTo>
                                  <a:cubicBezTo>
                                    <a:pt x="260" y="63"/>
                                    <a:pt x="258" y="66"/>
                                    <a:pt x="261" y="71"/>
                                  </a:cubicBezTo>
                                  <a:cubicBezTo>
                                    <a:pt x="265" y="77"/>
                                    <a:pt x="264" y="83"/>
                                    <a:pt x="262" y="86"/>
                                  </a:cubicBezTo>
                                  <a:cubicBezTo>
                                    <a:pt x="259" y="88"/>
                                    <a:pt x="256" y="92"/>
                                    <a:pt x="255" y="96"/>
                                  </a:cubicBezTo>
                                  <a:cubicBezTo>
                                    <a:pt x="254" y="99"/>
                                    <a:pt x="252" y="103"/>
                                    <a:pt x="249" y="104"/>
                                  </a:cubicBezTo>
                                  <a:cubicBezTo>
                                    <a:pt x="247" y="105"/>
                                    <a:pt x="244" y="103"/>
                                    <a:pt x="241" y="100"/>
                                  </a:cubicBezTo>
                                  <a:cubicBezTo>
                                    <a:pt x="238" y="98"/>
                                    <a:pt x="236" y="95"/>
                                    <a:pt x="235" y="93"/>
                                  </a:cubicBezTo>
                                  <a:cubicBezTo>
                                    <a:pt x="234" y="91"/>
                                    <a:pt x="231" y="90"/>
                                    <a:pt x="229" y="92"/>
                                  </a:cubicBezTo>
                                  <a:cubicBezTo>
                                    <a:pt x="226" y="94"/>
                                    <a:pt x="225" y="97"/>
                                    <a:pt x="225" y="101"/>
                                  </a:cubicBezTo>
                                  <a:cubicBezTo>
                                    <a:pt x="224" y="104"/>
                                    <a:pt x="224" y="107"/>
                                    <a:pt x="222" y="111"/>
                                  </a:cubicBezTo>
                                  <a:cubicBezTo>
                                    <a:pt x="220" y="114"/>
                                    <a:pt x="217" y="113"/>
                                    <a:pt x="214" y="116"/>
                                  </a:cubicBezTo>
                                  <a:cubicBezTo>
                                    <a:pt x="212" y="119"/>
                                    <a:pt x="213" y="123"/>
                                    <a:pt x="213" y="126"/>
                                  </a:cubicBezTo>
                                  <a:cubicBezTo>
                                    <a:pt x="213" y="129"/>
                                    <a:pt x="212" y="135"/>
                                    <a:pt x="211" y="138"/>
                                  </a:cubicBezTo>
                                  <a:cubicBezTo>
                                    <a:pt x="211" y="140"/>
                                    <a:pt x="208" y="139"/>
                                    <a:pt x="205" y="138"/>
                                  </a:cubicBezTo>
                                  <a:cubicBezTo>
                                    <a:pt x="203" y="138"/>
                                    <a:pt x="203" y="132"/>
                                    <a:pt x="200" y="127"/>
                                  </a:cubicBezTo>
                                  <a:cubicBezTo>
                                    <a:pt x="198" y="122"/>
                                    <a:pt x="194" y="122"/>
                                    <a:pt x="189" y="119"/>
                                  </a:cubicBezTo>
                                  <a:cubicBezTo>
                                    <a:pt x="184" y="116"/>
                                    <a:pt x="187" y="115"/>
                                    <a:pt x="187" y="111"/>
                                  </a:cubicBezTo>
                                  <a:cubicBezTo>
                                    <a:pt x="187" y="106"/>
                                    <a:pt x="189" y="105"/>
                                    <a:pt x="190" y="102"/>
                                  </a:cubicBezTo>
                                  <a:cubicBezTo>
                                    <a:pt x="190" y="100"/>
                                    <a:pt x="189" y="98"/>
                                    <a:pt x="187" y="94"/>
                                  </a:cubicBezTo>
                                  <a:cubicBezTo>
                                    <a:pt x="186" y="90"/>
                                    <a:pt x="182" y="92"/>
                                    <a:pt x="178" y="89"/>
                                  </a:cubicBezTo>
                                  <a:cubicBezTo>
                                    <a:pt x="173" y="87"/>
                                    <a:pt x="171" y="85"/>
                                    <a:pt x="168" y="82"/>
                                  </a:cubicBezTo>
                                  <a:cubicBezTo>
                                    <a:pt x="165" y="80"/>
                                    <a:pt x="168" y="77"/>
                                    <a:pt x="169" y="77"/>
                                  </a:cubicBezTo>
                                  <a:cubicBezTo>
                                    <a:pt x="171" y="76"/>
                                    <a:pt x="176" y="78"/>
                                    <a:pt x="177" y="81"/>
                                  </a:cubicBezTo>
                                  <a:cubicBezTo>
                                    <a:pt x="178" y="84"/>
                                    <a:pt x="184" y="83"/>
                                    <a:pt x="188" y="83"/>
                                  </a:cubicBezTo>
                                  <a:cubicBezTo>
                                    <a:pt x="191" y="83"/>
                                    <a:pt x="193" y="81"/>
                                    <a:pt x="195" y="79"/>
                                  </a:cubicBezTo>
                                  <a:cubicBezTo>
                                    <a:pt x="197" y="76"/>
                                    <a:pt x="196" y="68"/>
                                    <a:pt x="193" y="64"/>
                                  </a:cubicBezTo>
                                  <a:cubicBezTo>
                                    <a:pt x="190" y="60"/>
                                    <a:pt x="188" y="63"/>
                                    <a:pt x="184" y="62"/>
                                  </a:cubicBezTo>
                                  <a:cubicBezTo>
                                    <a:pt x="179" y="61"/>
                                    <a:pt x="181" y="60"/>
                                    <a:pt x="178" y="55"/>
                                  </a:cubicBezTo>
                                  <a:cubicBezTo>
                                    <a:pt x="175" y="49"/>
                                    <a:pt x="175" y="49"/>
                                    <a:pt x="172" y="46"/>
                                  </a:cubicBezTo>
                                  <a:cubicBezTo>
                                    <a:pt x="170" y="42"/>
                                    <a:pt x="158" y="35"/>
                                    <a:pt x="153" y="28"/>
                                  </a:cubicBezTo>
                                  <a:cubicBezTo>
                                    <a:pt x="149" y="21"/>
                                    <a:pt x="145" y="21"/>
                                    <a:pt x="141" y="15"/>
                                  </a:cubicBezTo>
                                  <a:cubicBezTo>
                                    <a:pt x="138" y="10"/>
                                    <a:pt x="131" y="10"/>
                                    <a:pt x="127" y="9"/>
                                  </a:cubicBezTo>
                                  <a:cubicBezTo>
                                    <a:pt x="122" y="8"/>
                                    <a:pt x="120" y="10"/>
                                    <a:pt x="113" y="10"/>
                                  </a:cubicBezTo>
                                  <a:cubicBezTo>
                                    <a:pt x="106" y="11"/>
                                    <a:pt x="106" y="10"/>
                                    <a:pt x="102" y="9"/>
                                  </a:cubicBezTo>
                                  <a:cubicBezTo>
                                    <a:pt x="98" y="7"/>
                                    <a:pt x="92" y="8"/>
                                    <a:pt x="89" y="11"/>
                                  </a:cubicBezTo>
                                  <a:cubicBezTo>
                                    <a:pt x="86" y="13"/>
                                    <a:pt x="86" y="17"/>
                                    <a:pt x="86" y="19"/>
                                  </a:cubicBezTo>
                                  <a:cubicBezTo>
                                    <a:pt x="87" y="21"/>
                                    <a:pt x="91" y="24"/>
                                    <a:pt x="95" y="23"/>
                                  </a:cubicBezTo>
                                  <a:cubicBezTo>
                                    <a:pt x="99" y="22"/>
                                    <a:pt x="99" y="19"/>
                                    <a:pt x="102" y="18"/>
                                  </a:cubicBezTo>
                                  <a:cubicBezTo>
                                    <a:pt x="104" y="16"/>
                                    <a:pt x="109" y="16"/>
                                    <a:pt x="113" y="16"/>
                                  </a:cubicBezTo>
                                  <a:cubicBezTo>
                                    <a:pt x="117" y="16"/>
                                    <a:pt x="116" y="18"/>
                                    <a:pt x="116" y="21"/>
                                  </a:cubicBezTo>
                                  <a:cubicBezTo>
                                    <a:pt x="116" y="24"/>
                                    <a:pt x="119" y="25"/>
                                    <a:pt x="122" y="24"/>
                                  </a:cubicBezTo>
                                  <a:cubicBezTo>
                                    <a:pt x="126" y="23"/>
                                    <a:pt x="133" y="25"/>
                                    <a:pt x="133" y="27"/>
                                  </a:cubicBezTo>
                                  <a:cubicBezTo>
                                    <a:pt x="134" y="29"/>
                                    <a:pt x="130" y="32"/>
                                    <a:pt x="128" y="34"/>
                                  </a:cubicBezTo>
                                  <a:cubicBezTo>
                                    <a:pt x="125" y="36"/>
                                    <a:pt x="118" y="37"/>
                                    <a:pt x="117" y="38"/>
                                  </a:cubicBezTo>
                                  <a:cubicBezTo>
                                    <a:pt x="115" y="39"/>
                                    <a:pt x="116" y="41"/>
                                    <a:pt x="121" y="42"/>
                                  </a:cubicBezTo>
                                  <a:cubicBezTo>
                                    <a:pt x="125" y="42"/>
                                    <a:pt x="130" y="42"/>
                                    <a:pt x="132" y="44"/>
                                  </a:cubicBezTo>
                                  <a:cubicBezTo>
                                    <a:pt x="134" y="45"/>
                                    <a:pt x="133" y="48"/>
                                    <a:pt x="133" y="51"/>
                                  </a:cubicBezTo>
                                  <a:cubicBezTo>
                                    <a:pt x="132" y="53"/>
                                    <a:pt x="131" y="54"/>
                                    <a:pt x="131" y="57"/>
                                  </a:cubicBezTo>
                                  <a:cubicBezTo>
                                    <a:pt x="131" y="60"/>
                                    <a:pt x="132" y="63"/>
                                    <a:pt x="133" y="67"/>
                                  </a:cubicBezTo>
                                  <a:cubicBezTo>
                                    <a:pt x="135" y="71"/>
                                    <a:pt x="128" y="73"/>
                                    <a:pt x="127" y="71"/>
                                  </a:cubicBezTo>
                                  <a:cubicBezTo>
                                    <a:pt x="126" y="69"/>
                                    <a:pt x="125" y="66"/>
                                    <a:pt x="122" y="65"/>
                                  </a:cubicBezTo>
                                  <a:cubicBezTo>
                                    <a:pt x="120" y="65"/>
                                    <a:pt x="119" y="71"/>
                                    <a:pt x="118" y="73"/>
                                  </a:cubicBezTo>
                                  <a:cubicBezTo>
                                    <a:pt x="117" y="76"/>
                                    <a:pt x="115" y="74"/>
                                    <a:pt x="113" y="71"/>
                                  </a:cubicBezTo>
                                  <a:cubicBezTo>
                                    <a:pt x="112" y="68"/>
                                    <a:pt x="113" y="65"/>
                                    <a:pt x="115" y="63"/>
                                  </a:cubicBezTo>
                                  <a:cubicBezTo>
                                    <a:pt x="116" y="61"/>
                                    <a:pt x="116" y="57"/>
                                    <a:pt x="114" y="55"/>
                                  </a:cubicBezTo>
                                  <a:cubicBezTo>
                                    <a:pt x="113" y="53"/>
                                    <a:pt x="112" y="56"/>
                                    <a:pt x="110" y="59"/>
                                  </a:cubicBezTo>
                                  <a:cubicBezTo>
                                    <a:pt x="108" y="61"/>
                                    <a:pt x="103" y="64"/>
                                    <a:pt x="101" y="64"/>
                                  </a:cubicBezTo>
                                  <a:cubicBezTo>
                                    <a:pt x="98" y="65"/>
                                    <a:pt x="96" y="60"/>
                                    <a:pt x="94" y="56"/>
                                  </a:cubicBezTo>
                                  <a:cubicBezTo>
                                    <a:pt x="92" y="52"/>
                                    <a:pt x="91" y="51"/>
                                    <a:pt x="88" y="47"/>
                                  </a:cubicBezTo>
                                  <a:cubicBezTo>
                                    <a:pt x="85" y="43"/>
                                    <a:pt x="79" y="42"/>
                                    <a:pt x="75" y="42"/>
                                  </a:cubicBezTo>
                                  <a:cubicBezTo>
                                    <a:pt x="72" y="42"/>
                                    <a:pt x="68" y="44"/>
                                    <a:pt x="66" y="47"/>
                                  </a:cubicBezTo>
                                  <a:cubicBezTo>
                                    <a:pt x="65" y="50"/>
                                    <a:pt x="67" y="50"/>
                                    <a:pt x="69" y="52"/>
                                  </a:cubicBezTo>
                                  <a:cubicBezTo>
                                    <a:pt x="72" y="53"/>
                                    <a:pt x="70" y="54"/>
                                    <a:pt x="69" y="56"/>
                                  </a:cubicBezTo>
                                  <a:cubicBezTo>
                                    <a:pt x="68" y="58"/>
                                    <a:pt x="63" y="57"/>
                                    <a:pt x="61" y="56"/>
                                  </a:cubicBezTo>
                                  <a:cubicBezTo>
                                    <a:pt x="58" y="54"/>
                                    <a:pt x="57" y="53"/>
                                    <a:pt x="54" y="53"/>
                                  </a:cubicBezTo>
                                  <a:cubicBezTo>
                                    <a:pt x="51" y="53"/>
                                    <a:pt x="52" y="55"/>
                                    <a:pt x="54" y="59"/>
                                  </a:cubicBezTo>
                                  <a:cubicBezTo>
                                    <a:pt x="55" y="62"/>
                                    <a:pt x="61" y="66"/>
                                    <a:pt x="65" y="68"/>
                                  </a:cubicBezTo>
                                  <a:cubicBezTo>
                                    <a:pt x="69" y="69"/>
                                    <a:pt x="70" y="69"/>
                                    <a:pt x="76" y="72"/>
                                  </a:cubicBezTo>
                                  <a:cubicBezTo>
                                    <a:pt x="82" y="75"/>
                                    <a:pt x="80" y="78"/>
                                    <a:pt x="79" y="79"/>
                                  </a:cubicBezTo>
                                  <a:cubicBezTo>
                                    <a:pt x="78" y="80"/>
                                    <a:pt x="75" y="82"/>
                                    <a:pt x="68" y="82"/>
                                  </a:cubicBezTo>
                                  <a:cubicBezTo>
                                    <a:pt x="62" y="83"/>
                                    <a:pt x="63" y="85"/>
                                    <a:pt x="63" y="88"/>
                                  </a:cubicBezTo>
                                  <a:cubicBezTo>
                                    <a:pt x="62" y="91"/>
                                    <a:pt x="59" y="94"/>
                                    <a:pt x="54" y="93"/>
                                  </a:cubicBezTo>
                                  <a:cubicBezTo>
                                    <a:pt x="50" y="92"/>
                                    <a:pt x="51" y="90"/>
                                    <a:pt x="47" y="88"/>
                                  </a:cubicBezTo>
                                  <a:cubicBezTo>
                                    <a:pt x="44" y="87"/>
                                    <a:pt x="42" y="84"/>
                                    <a:pt x="39" y="82"/>
                                  </a:cubicBezTo>
                                  <a:cubicBezTo>
                                    <a:pt x="35" y="79"/>
                                    <a:pt x="30" y="81"/>
                                    <a:pt x="29" y="83"/>
                                  </a:cubicBezTo>
                                  <a:cubicBezTo>
                                    <a:pt x="28" y="85"/>
                                    <a:pt x="32" y="87"/>
                                    <a:pt x="36" y="89"/>
                                  </a:cubicBezTo>
                                  <a:cubicBezTo>
                                    <a:pt x="39" y="91"/>
                                    <a:pt x="44" y="91"/>
                                    <a:pt x="45" y="93"/>
                                  </a:cubicBezTo>
                                  <a:cubicBezTo>
                                    <a:pt x="45" y="96"/>
                                    <a:pt x="41" y="95"/>
                                    <a:pt x="40" y="97"/>
                                  </a:cubicBezTo>
                                  <a:cubicBezTo>
                                    <a:pt x="39" y="99"/>
                                    <a:pt x="42" y="101"/>
                                    <a:pt x="41" y="103"/>
                                  </a:cubicBezTo>
                                  <a:cubicBezTo>
                                    <a:pt x="41" y="105"/>
                                    <a:pt x="35" y="103"/>
                                    <a:pt x="31" y="102"/>
                                  </a:cubicBezTo>
                                  <a:cubicBezTo>
                                    <a:pt x="28" y="101"/>
                                    <a:pt x="28" y="99"/>
                                    <a:pt x="22" y="96"/>
                                  </a:cubicBezTo>
                                  <a:cubicBezTo>
                                    <a:pt x="17" y="92"/>
                                    <a:pt x="15" y="95"/>
                                    <a:pt x="10" y="96"/>
                                  </a:cubicBezTo>
                                  <a:cubicBezTo>
                                    <a:pt x="4" y="98"/>
                                    <a:pt x="3" y="99"/>
                                    <a:pt x="2" y="101"/>
                                  </a:cubicBezTo>
                                  <a:cubicBezTo>
                                    <a:pt x="0" y="103"/>
                                    <a:pt x="1" y="105"/>
                                    <a:pt x="5" y="105"/>
                                  </a:cubicBezTo>
                                  <a:cubicBezTo>
                                    <a:pt x="9" y="105"/>
                                    <a:pt x="11" y="106"/>
                                    <a:pt x="19" y="110"/>
                                  </a:cubicBezTo>
                                  <a:cubicBezTo>
                                    <a:pt x="27" y="113"/>
                                    <a:pt x="29" y="113"/>
                                    <a:pt x="38" y="113"/>
                                  </a:cubicBezTo>
                                  <a:cubicBezTo>
                                    <a:pt x="47" y="112"/>
                                    <a:pt x="46" y="109"/>
                                    <a:pt x="58" y="105"/>
                                  </a:cubicBezTo>
                                  <a:cubicBezTo>
                                    <a:pt x="71" y="102"/>
                                    <a:pt x="69" y="103"/>
                                    <a:pt x="74" y="102"/>
                                  </a:cubicBezTo>
                                  <a:cubicBezTo>
                                    <a:pt x="79" y="102"/>
                                    <a:pt x="83" y="99"/>
                                    <a:pt x="91" y="95"/>
                                  </a:cubicBezTo>
                                  <a:cubicBezTo>
                                    <a:pt x="99" y="92"/>
                                    <a:pt x="101" y="95"/>
                                    <a:pt x="107" y="95"/>
                                  </a:cubicBezTo>
                                  <a:cubicBezTo>
                                    <a:pt x="114" y="96"/>
                                    <a:pt x="115" y="97"/>
                                    <a:pt x="123" y="100"/>
                                  </a:cubicBezTo>
                                  <a:cubicBezTo>
                                    <a:pt x="132" y="104"/>
                                    <a:pt x="133" y="101"/>
                                    <a:pt x="139" y="102"/>
                                  </a:cubicBezTo>
                                  <a:cubicBezTo>
                                    <a:pt x="145" y="104"/>
                                    <a:pt x="147" y="106"/>
                                    <a:pt x="156" y="106"/>
                                  </a:cubicBezTo>
                                  <a:cubicBezTo>
                                    <a:pt x="165" y="106"/>
                                    <a:pt x="167" y="108"/>
                                    <a:pt x="169" y="112"/>
                                  </a:cubicBezTo>
                                  <a:cubicBezTo>
                                    <a:pt x="171" y="116"/>
                                    <a:pt x="161" y="117"/>
                                    <a:pt x="157" y="120"/>
                                  </a:cubicBezTo>
                                  <a:cubicBezTo>
                                    <a:pt x="154" y="123"/>
                                    <a:pt x="148" y="126"/>
                                    <a:pt x="142" y="127"/>
                                  </a:cubicBezTo>
                                  <a:cubicBezTo>
                                    <a:pt x="137" y="128"/>
                                    <a:pt x="134" y="130"/>
                                    <a:pt x="129" y="135"/>
                                  </a:cubicBezTo>
                                  <a:cubicBezTo>
                                    <a:pt x="123" y="140"/>
                                    <a:pt x="131" y="137"/>
                                    <a:pt x="137" y="137"/>
                                  </a:cubicBezTo>
                                  <a:cubicBezTo>
                                    <a:pt x="143" y="138"/>
                                    <a:pt x="145" y="138"/>
                                    <a:pt x="147" y="139"/>
                                  </a:cubicBezTo>
                                  <a:cubicBezTo>
                                    <a:pt x="150" y="141"/>
                                    <a:pt x="156" y="143"/>
                                    <a:pt x="161" y="140"/>
                                  </a:cubicBezTo>
                                  <a:cubicBezTo>
                                    <a:pt x="166" y="138"/>
                                    <a:pt x="167" y="135"/>
                                    <a:pt x="170" y="137"/>
                                  </a:cubicBezTo>
                                  <a:cubicBezTo>
                                    <a:pt x="173" y="138"/>
                                    <a:pt x="168" y="143"/>
                                    <a:pt x="166" y="148"/>
                                  </a:cubicBezTo>
                                  <a:cubicBezTo>
                                    <a:pt x="163" y="153"/>
                                    <a:pt x="161" y="151"/>
                                    <a:pt x="159" y="153"/>
                                  </a:cubicBezTo>
                                  <a:cubicBezTo>
                                    <a:pt x="157" y="154"/>
                                    <a:pt x="155" y="160"/>
                                    <a:pt x="149" y="159"/>
                                  </a:cubicBezTo>
                                  <a:cubicBezTo>
                                    <a:pt x="143" y="157"/>
                                    <a:pt x="140" y="155"/>
                                    <a:pt x="133" y="154"/>
                                  </a:cubicBezTo>
                                  <a:cubicBezTo>
                                    <a:pt x="127" y="153"/>
                                    <a:pt x="124" y="156"/>
                                    <a:pt x="118" y="157"/>
                                  </a:cubicBezTo>
                                  <a:cubicBezTo>
                                    <a:pt x="112" y="159"/>
                                    <a:pt x="112" y="158"/>
                                    <a:pt x="110" y="156"/>
                                  </a:cubicBezTo>
                                  <a:cubicBezTo>
                                    <a:pt x="108" y="155"/>
                                    <a:pt x="109" y="152"/>
                                    <a:pt x="105" y="152"/>
                                  </a:cubicBezTo>
                                  <a:cubicBezTo>
                                    <a:pt x="101" y="152"/>
                                    <a:pt x="98" y="156"/>
                                    <a:pt x="96" y="157"/>
                                  </a:cubicBezTo>
                                  <a:cubicBezTo>
                                    <a:pt x="94" y="159"/>
                                    <a:pt x="89" y="163"/>
                                    <a:pt x="86" y="163"/>
                                  </a:cubicBezTo>
                                  <a:cubicBezTo>
                                    <a:pt x="83" y="163"/>
                                    <a:pt x="83" y="162"/>
                                    <a:pt x="80" y="160"/>
                                  </a:cubicBezTo>
                                  <a:cubicBezTo>
                                    <a:pt x="76" y="158"/>
                                    <a:pt x="76" y="161"/>
                                    <a:pt x="73" y="164"/>
                                  </a:cubicBezTo>
                                  <a:cubicBezTo>
                                    <a:pt x="70" y="166"/>
                                    <a:pt x="67" y="166"/>
                                    <a:pt x="62" y="167"/>
                                  </a:cubicBezTo>
                                  <a:cubicBezTo>
                                    <a:pt x="58" y="167"/>
                                    <a:pt x="52" y="168"/>
                                    <a:pt x="46" y="166"/>
                                  </a:cubicBezTo>
                                  <a:cubicBezTo>
                                    <a:pt x="41" y="165"/>
                                    <a:pt x="33" y="165"/>
                                    <a:pt x="33" y="169"/>
                                  </a:cubicBezTo>
                                  <a:cubicBezTo>
                                    <a:pt x="34" y="173"/>
                                    <a:pt x="35" y="175"/>
                                    <a:pt x="39" y="179"/>
                                  </a:cubicBezTo>
                                  <a:cubicBezTo>
                                    <a:pt x="43" y="182"/>
                                    <a:pt x="46" y="182"/>
                                    <a:pt x="54" y="182"/>
                                  </a:cubicBezTo>
                                  <a:cubicBezTo>
                                    <a:pt x="62" y="181"/>
                                    <a:pt x="76" y="182"/>
                                    <a:pt x="81" y="183"/>
                                  </a:cubicBezTo>
                                  <a:cubicBezTo>
                                    <a:pt x="86" y="184"/>
                                    <a:pt x="94" y="183"/>
                                    <a:pt x="99" y="179"/>
                                  </a:cubicBezTo>
                                  <a:cubicBezTo>
                                    <a:pt x="105" y="175"/>
                                    <a:pt x="110" y="177"/>
                                    <a:pt x="118" y="176"/>
                                  </a:cubicBezTo>
                                  <a:cubicBezTo>
                                    <a:pt x="126" y="175"/>
                                    <a:pt x="136" y="177"/>
                                    <a:pt x="141" y="178"/>
                                  </a:cubicBezTo>
                                  <a:cubicBezTo>
                                    <a:pt x="145" y="180"/>
                                    <a:pt x="143" y="184"/>
                                    <a:pt x="140" y="186"/>
                                  </a:cubicBezTo>
                                  <a:cubicBezTo>
                                    <a:pt x="138" y="187"/>
                                    <a:pt x="136" y="189"/>
                                    <a:pt x="136" y="193"/>
                                  </a:cubicBezTo>
                                  <a:cubicBezTo>
                                    <a:pt x="136" y="197"/>
                                    <a:pt x="138" y="204"/>
                                    <a:pt x="143" y="207"/>
                                  </a:cubicBezTo>
                                  <a:cubicBezTo>
                                    <a:pt x="148" y="210"/>
                                    <a:pt x="147" y="206"/>
                                    <a:pt x="151" y="202"/>
                                  </a:cubicBezTo>
                                  <a:cubicBezTo>
                                    <a:pt x="155" y="198"/>
                                    <a:pt x="160" y="198"/>
                                    <a:pt x="165" y="195"/>
                                  </a:cubicBezTo>
                                  <a:cubicBezTo>
                                    <a:pt x="171" y="193"/>
                                    <a:pt x="176" y="190"/>
                                    <a:pt x="181" y="189"/>
                                  </a:cubicBezTo>
                                  <a:cubicBezTo>
                                    <a:pt x="186" y="189"/>
                                    <a:pt x="182" y="192"/>
                                    <a:pt x="181" y="194"/>
                                  </a:cubicBezTo>
                                  <a:cubicBezTo>
                                    <a:pt x="179" y="196"/>
                                    <a:pt x="173" y="200"/>
                                    <a:pt x="167" y="202"/>
                                  </a:cubicBezTo>
                                  <a:cubicBezTo>
                                    <a:pt x="160" y="204"/>
                                    <a:pt x="162" y="205"/>
                                    <a:pt x="159" y="208"/>
                                  </a:cubicBezTo>
                                  <a:cubicBezTo>
                                    <a:pt x="156" y="211"/>
                                    <a:pt x="156" y="214"/>
                                    <a:pt x="153" y="217"/>
                                  </a:cubicBezTo>
                                  <a:cubicBezTo>
                                    <a:pt x="150" y="221"/>
                                    <a:pt x="159" y="219"/>
                                    <a:pt x="166" y="219"/>
                                  </a:cubicBezTo>
                                  <a:cubicBezTo>
                                    <a:pt x="173" y="219"/>
                                    <a:pt x="179" y="218"/>
                                    <a:pt x="186" y="215"/>
                                  </a:cubicBezTo>
                                  <a:cubicBezTo>
                                    <a:pt x="192" y="211"/>
                                    <a:pt x="195" y="215"/>
                                    <a:pt x="196" y="218"/>
                                  </a:cubicBezTo>
                                  <a:cubicBezTo>
                                    <a:pt x="196" y="221"/>
                                    <a:pt x="191" y="223"/>
                                    <a:pt x="187" y="225"/>
                                  </a:cubicBezTo>
                                  <a:cubicBezTo>
                                    <a:pt x="182" y="227"/>
                                    <a:pt x="177" y="225"/>
                                    <a:pt x="170" y="227"/>
                                  </a:cubicBezTo>
                                  <a:cubicBezTo>
                                    <a:pt x="163" y="228"/>
                                    <a:pt x="166" y="230"/>
                                    <a:pt x="166" y="233"/>
                                  </a:cubicBezTo>
                                  <a:cubicBezTo>
                                    <a:pt x="166" y="236"/>
                                    <a:pt x="170" y="235"/>
                                    <a:pt x="172" y="240"/>
                                  </a:cubicBezTo>
                                  <a:cubicBezTo>
                                    <a:pt x="173" y="245"/>
                                    <a:pt x="167" y="244"/>
                                    <a:pt x="162" y="245"/>
                                  </a:cubicBezTo>
                                  <a:cubicBezTo>
                                    <a:pt x="157" y="246"/>
                                    <a:pt x="154" y="245"/>
                                    <a:pt x="148" y="247"/>
                                  </a:cubicBezTo>
                                  <a:cubicBezTo>
                                    <a:pt x="141" y="249"/>
                                    <a:pt x="142" y="251"/>
                                    <a:pt x="136" y="254"/>
                                  </a:cubicBezTo>
                                  <a:cubicBezTo>
                                    <a:pt x="129" y="257"/>
                                    <a:pt x="124" y="257"/>
                                    <a:pt x="120" y="254"/>
                                  </a:cubicBezTo>
                                  <a:cubicBezTo>
                                    <a:pt x="116" y="251"/>
                                    <a:pt x="114" y="253"/>
                                    <a:pt x="114" y="257"/>
                                  </a:cubicBezTo>
                                  <a:cubicBezTo>
                                    <a:pt x="114" y="262"/>
                                    <a:pt x="108" y="268"/>
                                    <a:pt x="125" y="269"/>
                                  </a:cubicBezTo>
                                  <a:cubicBezTo>
                                    <a:pt x="143" y="271"/>
                                    <a:pt x="149" y="269"/>
                                    <a:pt x="158" y="269"/>
                                  </a:cubicBezTo>
                                  <a:cubicBezTo>
                                    <a:pt x="167" y="268"/>
                                    <a:pt x="170" y="266"/>
                                    <a:pt x="186" y="264"/>
                                  </a:cubicBezTo>
                                  <a:cubicBezTo>
                                    <a:pt x="202" y="262"/>
                                    <a:pt x="197" y="267"/>
                                    <a:pt x="208" y="268"/>
                                  </a:cubicBezTo>
                                  <a:cubicBezTo>
                                    <a:pt x="219" y="269"/>
                                    <a:pt x="222" y="264"/>
                                    <a:pt x="229" y="264"/>
                                  </a:cubicBezTo>
                                  <a:cubicBezTo>
                                    <a:pt x="235" y="264"/>
                                    <a:pt x="235" y="265"/>
                                    <a:pt x="235" y="268"/>
                                  </a:cubicBezTo>
                                  <a:cubicBezTo>
                                    <a:pt x="235" y="271"/>
                                    <a:pt x="234" y="271"/>
                                    <a:pt x="233" y="273"/>
                                  </a:cubicBezTo>
                                  <a:cubicBezTo>
                                    <a:pt x="231" y="275"/>
                                    <a:pt x="232" y="276"/>
                                    <a:pt x="234" y="277"/>
                                  </a:cubicBezTo>
                                  <a:cubicBezTo>
                                    <a:pt x="237" y="277"/>
                                    <a:pt x="240" y="276"/>
                                    <a:pt x="245" y="272"/>
                                  </a:cubicBezTo>
                                  <a:cubicBezTo>
                                    <a:pt x="250" y="268"/>
                                    <a:pt x="251" y="269"/>
                                    <a:pt x="252" y="272"/>
                                  </a:cubicBezTo>
                                  <a:cubicBezTo>
                                    <a:pt x="253" y="275"/>
                                    <a:pt x="250" y="276"/>
                                    <a:pt x="249" y="278"/>
                                  </a:cubicBezTo>
                                  <a:cubicBezTo>
                                    <a:pt x="248" y="280"/>
                                    <a:pt x="246" y="283"/>
                                    <a:pt x="252" y="288"/>
                                  </a:cubicBezTo>
                                  <a:cubicBezTo>
                                    <a:pt x="257" y="292"/>
                                    <a:pt x="263" y="297"/>
                                    <a:pt x="276" y="301"/>
                                  </a:cubicBezTo>
                                  <a:cubicBezTo>
                                    <a:pt x="289" y="305"/>
                                    <a:pt x="293" y="302"/>
                                    <a:pt x="301" y="302"/>
                                  </a:cubicBezTo>
                                  <a:cubicBezTo>
                                    <a:pt x="308" y="302"/>
                                    <a:pt x="315" y="304"/>
                                    <a:pt x="337" y="310"/>
                                  </a:cubicBezTo>
                                  <a:cubicBezTo>
                                    <a:pt x="358" y="316"/>
                                    <a:pt x="365" y="310"/>
                                    <a:pt x="369" y="310"/>
                                  </a:cubicBezTo>
                                  <a:cubicBezTo>
                                    <a:pt x="374" y="310"/>
                                    <a:pt x="380" y="309"/>
                                    <a:pt x="380" y="306"/>
                                  </a:cubicBezTo>
                                  <a:cubicBezTo>
                                    <a:pt x="381" y="303"/>
                                    <a:pt x="377" y="296"/>
                                    <a:pt x="383" y="296"/>
                                  </a:cubicBezTo>
                                  <a:cubicBezTo>
                                    <a:pt x="390" y="297"/>
                                    <a:pt x="389" y="300"/>
                                    <a:pt x="392" y="301"/>
                                  </a:cubicBezTo>
                                  <a:cubicBezTo>
                                    <a:pt x="396" y="302"/>
                                    <a:pt x="398" y="297"/>
                                    <a:pt x="401" y="291"/>
                                  </a:cubicBezTo>
                                  <a:cubicBezTo>
                                    <a:pt x="404" y="286"/>
                                    <a:pt x="404" y="283"/>
                                    <a:pt x="409" y="280"/>
                                  </a:cubicBezTo>
                                  <a:cubicBezTo>
                                    <a:pt x="413" y="276"/>
                                    <a:pt x="419" y="278"/>
                                    <a:pt x="425" y="279"/>
                                  </a:cubicBezTo>
                                  <a:cubicBezTo>
                                    <a:pt x="431" y="279"/>
                                    <a:pt x="434" y="277"/>
                                    <a:pt x="443" y="275"/>
                                  </a:cubicBezTo>
                                  <a:cubicBezTo>
                                    <a:pt x="453" y="272"/>
                                    <a:pt x="467" y="269"/>
                                    <a:pt x="479" y="270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9" name="Freeform 535"/>
                            <p:cNvSpPr>
                              <a:spLocks noEditPoints="1"/>
                            </p:cNvSpPr>
                            <p:nvPr/>
                          </p:nvSpPr>
                          <p:spPr bwMode="auto">
                            <a:xfrm>
                              <a:off x="5190047" y="3552322"/>
                              <a:ext cx="719137" cy="333375"/>
                            </a:xfrm>
                            <a:custGeom>
                              <a:avLst/>
                              <a:gdLst>
                                <a:gd name="T0" fmla="*/ 2423 w 2508"/>
                                <a:gd name="T1" fmla="*/ 485 h 1164"/>
                                <a:gd name="T2" fmla="*/ 2337 w 2508"/>
                                <a:gd name="T3" fmla="*/ 428 h 1164"/>
                                <a:gd name="T4" fmla="*/ 2244 w 2508"/>
                                <a:gd name="T5" fmla="*/ 372 h 1164"/>
                                <a:gd name="T6" fmla="*/ 2128 w 2508"/>
                                <a:gd name="T7" fmla="*/ 350 h 1164"/>
                                <a:gd name="T8" fmla="*/ 2057 w 2508"/>
                                <a:gd name="T9" fmla="*/ 366 h 1164"/>
                                <a:gd name="T10" fmla="*/ 1856 w 2508"/>
                                <a:gd name="T11" fmla="*/ 94 h 1164"/>
                                <a:gd name="T12" fmla="*/ 1864 w 2508"/>
                                <a:gd name="T13" fmla="*/ 76 h 1164"/>
                                <a:gd name="T14" fmla="*/ 1699 w 2508"/>
                                <a:gd name="T15" fmla="*/ 159 h 1164"/>
                                <a:gd name="T16" fmla="*/ 1674 w 2508"/>
                                <a:gd name="T17" fmla="*/ 111 h 1164"/>
                                <a:gd name="T18" fmla="*/ 1548 w 2508"/>
                                <a:gd name="T19" fmla="*/ 103 h 1164"/>
                                <a:gd name="T20" fmla="*/ 1518 w 2508"/>
                                <a:gd name="T21" fmla="*/ 54 h 1164"/>
                                <a:gd name="T22" fmla="*/ 1463 w 2508"/>
                                <a:gd name="T23" fmla="*/ 18 h 1164"/>
                                <a:gd name="T24" fmla="*/ 1328 w 2508"/>
                                <a:gd name="T25" fmla="*/ 33 h 1164"/>
                                <a:gd name="T26" fmla="*/ 1157 w 2508"/>
                                <a:gd name="T27" fmla="*/ 73 h 1164"/>
                                <a:gd name="T28" fmla="*/ 997 w 2508"/>
                                <a:gd name="T29" fmla="*/ 114 h 1164"/>
                                <a:gd name="T30" fmla="*/ 927 w 2508"/>
                                <a:gd name="T31" fmla="*/ 113 h 1164"/>
                                <a:gd name="T32" fmla="*/ 908 w 2508"/>
                                <a:gd name="T33" fmla="*/ 145 h 1164"/>
                                <a:gd name="T34" fmla="*/ 945 w 2508"/>
                                <a:gd name="T35" fmla="*/ 183 h 1164"/>
                                <a:gd name="T36" fmla="*/ 887 w 2508"/>
                                <a:gd name="T37" fmla="*/ 238 h 1164"/>
                                <a:gd name="T38" fmla="*/ 837 w 2508"/>
                                <a:gd name="T39" fmla="*/ 285 h 1164"/>
                                <a:gd name="T40" fmla="*/ 933 w 2508"/>
                                <a:gd name="T41" fmla="*/ 348 h 1164"/>
                                <a:gd name="T42" fmla="*/ 806 w 2508"/>
                                <a:gd name="T43" fmla="*/ 404 h 1164"/>
                                <a:gd name="T44" fmla="*/ 693 w 2508"/>
                                <a:gd name="T45" fmla="*/ 364 h 1164"/>
                                <a:gd name="T46" fmla="*/ 598 w 2508"/>
                                <a:gd name="T47" fmla="*/ 379 h 1164"/>
                                <a:gd name="T48" fmla="*/ 478 w 2508"/>
                                <a:gd name="T49" fmla="*/ 379 h 1164"/>
                                <a:gd name="T50" fmla="*/ 311 w 2508"/>
                                <a:gd name="T51" fmla="*/ 326 h 1164"/>
                                <a:gd name="T52" fmla="*/ 231 w 2508"/>
                                <a:gd name="T53" fmla="*/ 335 h 1164"/>
                                <a:gd name="T54" fmla="*/ 138 w 2508"/>
                                <a:gd name="T55" fmla="*/ 418 h 1164"/>
                                <a:gd name="T56" fmla="*/ 30 w 2508"/>
                                <a:gd name="T57" fmla="*/ 455 h 1164"/>
                                <a:gd name="T58" fmla="*/ 1 w 2508"/>
                                <a:gd name="T59" fmla="*/ 561 h 1164"/>
                                <a:gd name="T60" fmla="*/ 129 w 2508"/>
                                <a:gd name="T61" fmla="*/ 667 h 1164"/>
                                <a:gd name="T62" fmla="*/ 193 w 2508"/>
                                <a:gd name="T63" fmla="*/ 714 h 1164"/>
                                <a:gd name="T64" fmla="*/ 404 w 2508"/>
                                <a:gd name="T65" fmla="*/ 800 h 1164"/>
                                <a:gd name="T66" fmla="*/ 376 w 2508"/>
                                <a:gd name="T67" fmla="*/ 816 h 1164"/>
                                <a:gd name="T68" fmla="*/ 226 w 2508"/>
                                <a:gd name="T69" fmla="*/ 870 h 1164"/>
                                <a:gd name="T70" fmla="*/ 358 w 2508"/>
                                <a:gd name="T71" fmla="*/ 1075 h 1164"/>
                                <a:gd name="T72" fmla="*/ 550 w 2508"/>
                                <a:gd name="T73" fmla="*/ 1109 h 1164"/>
                                <a:gd name="T74" fmla="*/ 745 w 2508"/>
                                <a:gd name="T75" fmla="*/ 775 h 1164"/>
                                <a:gd name="T76" fmla="*/ 821 w 2508"/>
                                <a:gd name="T77" fmla="*/ 835 h 1164"/>
                                <a:gd name="T78" fmla="*/ 1074 w 2508"/>
                                <a:gd name="T79" fmla="*/ 941 h 1164"/>
                                <a:gd name="T80" fmla="*/ 1200 w 2508"/>
                                <a:gd name="T81" fmla="*/ 990 h 1164"/>
                                <a:gd name="T82" fmla="*/ 1280 w 2508"/>
                                <a:gd name="T83" fmla="*/ 1121 h 1164"/>
                                <a:gd name="T84" fmla="*/ 1352 w 2508"/>
                                <a:gd name="T85" fmla="*/ 1163 h 1164"/>
                                <a:gd name="T86" fmla="*/ 1481 w 2508"/>
                                <a:gd name="T87" fmla="*/ 1058 h 1164"/>
                                <a:gd name="T88" fmla="*/ 1637 w 2508"/>
                                <a:gd name="T89" fmla="*/ 1020 h 1164"/>
                                <a:gd name="T90" fmla="*/ 1668 w 2508"/>
                                <a:gd name="T91" fmla="*/ 994 h 1164"/>
                                <a:gd name="T92" fmla="*/ 1860 w 2508"/>
                                <a:gd name="T93" fmla="*/ 992 h 1164"/>
                                <a:gd name="T94" fmla="*/ 2072 w 2508"/>
                                <a:gd name="T95" fmla="*/ 1033 h 1164"/>
                                <a:gd name="T96" fmla="*/ 2106 w 2508"/>
                                <a:gd name="T97" fmla="*/ 971 h 1164"/>
                                <a:gd name="T98" fmla="*/ 2086 w 2508"/>
                                <a:gd name="T99" fmla="*/ 853 h 1164"/>
                                <a:gd name="T100" fmla="*/ 2164 w 2508"/>
                                <a:gd name="T101" fmla="*/ 807 h 1164"/>
                                <a:gd name="T102" fmla="*/ 2224 w 2508"/>
                                <a:gd name="T103" fmla="*/ 807 h 1164"/>
                                <a:gd name="T104" fmla="*/ 2328 w 2508"/>
                                <a:gd name="T105" fmla="*/ 680 h 1164"/>
                                <a:gd name="T106" fmla="*/ 2415 w 2508"/>
                                <a:gd name="T107" fmla="*/ 583 h 1164"/>
                                <a:gd name="T108" fmla="*/ 2499 w 2508"/>
                                <a:gd name="T109" fmla="*/ 504 h 1164"/>
                                <a:gd name="T110" fmla="*/ 872 w 2508"/>
                                <a:gd name="T111" fmla="*/ 733 h 1164"/>
                                <a:gd name="T112" fmla="*/ 2001 w 2508"/>
                                <a:gd name="T113" fmla="*/ 726 h 1164"/>
                                <a:gd name="T114" fmla="*/ 1713 w 2508"/>
                                <a:gd name="T115" fmla="*/ 759 h 1164"/>
                                <a:gd name="T116" fmla="*/ 1699 w 2508"/>
                                <a:gd name="T117" fmla="*/ 740 h 1164"/>
                                <a:gd name="T118" fmla="*/ 1953 w 2508"/>
                                <a:gd name="T119" fmla="*/ 715 h 116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  <a:cxn ang="0">
                                  <a:pos x="T100" y="T101"/>
                                </a:cxn>
                                <a:cxn ang="0">
                                  <a:pos x="T102" y="T103"/>
                                </a:cxn>
                                <a:cxn ang="0">
                                  <a:pos x="T104" y="T105"/>
                                </a:cxn>
                                <a:cxn ang="0">
                                  <a:pos x="T106" y="T107"/>
                                </a:cxn>
                                <a:cxn ang="0">
                                  <a:pos x="T108" y="T109"/>
                                </a:cxn>
                                <a:cxn ang="0">
                                  <a:pos x="T110" y="T111"/>
                                </a:cxn>
                                <a:cxn ang="0">
                                  <a:pos x="T112" y="T113"/>
                                </a:cxn>
                                <a:cxn ang="0">
                                  <a:pos x="T114" y="T115"/>
                                </a:cxn>
                                <a:cxn ang="0">
                                  <a:pos x="T116" y="T117"/>
                                </a:cxn>
                                <a:cxn ang="0">
                                  <a:pos x="T118" y="T119"/>
                                </a:cxn>
                              </a:cxnLst>
                              <a:rect l="0" t="0" r="r" b="b"/>
                              <a:pathLst>
                                <a:path w="2508" h="1164">
                                  <a:moveTo>
                                    <a:pt x="2499" y="504"/>
                                  </a:moveTo>
                                  <a:cubicBezTo>
                                    <a:pt x="2495" y="500"/>
                                    <a:pt x="2491" y="498"/>
                                    <a:pt x="2488" y="496"/>
                                  </a:cubicBezTo>
                                  <a:cubicBezTo>
                                    <a:pt x="2483" y="492"/>
                                    <a:pt x="2479" y="490"/>
                                    <a:pt x="2477" y="484"/>
                                  </a:cubicBezTo>
                                  <a:cubicBezTo>
                                    <a:pt x="2476" y="480"/>
                                    <a:pt x="2476" y="476"/>
                                    <a:pt x="2476" y="473"/>
                                  </a:cubicBezTo>
                                  <a:cubicBezTo>
                                    <a:pt x="2475" y="469"/>
                                    <a:pt x="2475" y="465"/>
                                    <a:pt x="2474" y="464"/>
                                  </a:cubicBezTo>
                                  <a:cubicBezTo>
                                    <a:pt x="2473" y="464"/>
                                    <a:pt x="2472" y="466"/>
                                    <a:pt x="2471" y="467"/>
                                  </a:cubicBezTo>
                                  <a:cubicBezTo>
                                    <a:pt x="2469" y="470"/>
                                    <a:pt x="2466" y="473"/>
                                    <a:pt x="2463" y="476"/>
                                  </a:cubicBezTo>
                                  <a:cubicBezTo>
                                    <a:pt x="2461" y="477"/>
                                    <a:pt x="2459" y="479"/>
                                    <a:pt x="2458" y="480"/>
                                  </a:cubicBezTo>
                                  <a:cubicBezTo>
                                    <a:pt x="2452" y="485"/>
                                    <a:pt x="2450" y="487"/>
                                    <a:pt x="2442" y="488"/>
                                  </a:cubicBezTo>
                                  <a:cubicBezTo>
                                    <a:pt x="2435" y="488"/>
                                    <a:pt x="2430" y="487"/>
                                    <a:pt x="2423" y="485"/>
                                  </a:cubicBezTo>
                                  <a:cubicBezTo>
                                    <a:pt x="2420" y="485"/>
                                    <a:pt x="2415" y="484"/>
                                    <a:pt x="2410" y="483"/>
                                  </a:cubicBezTo>
                                  <a:cubicBezTo>
                                    <a:pt x="2407" y="482"/>
                                    <a:pt x="2405" y="482"/>
                                    <a:pt x="2403" y="482"/>
                                  </a:cubicBezTo>
                                  <a:cubicBezTo>
                                    <a:pt x="2393" y="481"/>
                                    <a:pt x="2390" y="480"/>
                                    <a:pt x="2384" y="473"/>
                                  </a:cubicBezTo>
                                  <a:cubicBezTo>
                                    <a:pt x="2383" y="472"/>
                                    <a:pt x="2382" y="471"/>
                                    <a:pt x="2381" y="470"/>
                                  </a:cubicBezTo>
                                  <a:cubicBezTo>
                                    <a:pt x="2376" y="464"/>
                                    <a:pt x="2373" y="461"/>
                                    <a:pt x="2373" y="454"/>
                                  </a:cubicBezTo>
                                  <a:cubicBezTo>
                                    <a:pt x="2373" y="454"/>
                                    <a:pt x="2373" y="454"/>
                                    <a:pt x="2373" y="454"/>
                                  </a:cubicBezTo>
                                  <a:cubicBezTo>
                                    <a:pt x="2373" y="451"/>
                                    <a:pt x="2372" y="448"/>
                                    <a:pt x="2369" y="445"/>
                                  </a:cubicBezTo>
                                  <a:cubicBezTo>
                                    <a:pt x="2367" y="442"/>
                                    <a:pt x="2364" y="439"/>
                                    <a:pt x="2360" y="437"/>
                                  </a:cubicBezTo>
                                  <a:cubicBezTo>
                                    <a:pt x="2356" y="436"/>
                                    <a:pt x="2354" y="434"/>
                                    <a:pt x="2351" y="433"/>
                                  </a:cubicBezTo>
                                  <a:cubicBezTo>
                                    <a:pt x="2347" y="431"/>
                                    <a:pt x="2344" y="430"/>
                                    <a:pt x="2337" y="428"/>
                                  </a:cubicBezTo>
                                  <a:cubicBezTo>
                                    <a:pt x="2327" y="425"/>
                                    <a:pt x="2325" y="419"/>
                                    <a:pt x="2323" y="412"/>
                                  </a:cubicBezTo>
                                  <a:cubicBezTo>
                                    <a:pt x="2322" y="410"/>
                                    <a:pt x="2322" y="408"/>
                                    <a:pt x="2321" y="407"/>
                                  </a:cubicBezTo>
                                  <a:cubicBezTo>
                                    <a:pt x="2321" y="407"/>
                                    <a:pt x="2321" y="407"/>
                                    <a:pt x="2321" y="407"/>
                                  </a:cubicBezTo>
                                  <a:cubicBezTo>
                                    <a:pt x="2319" y="403"/>
                                    <a:pt x="2316" y="397"/>
                                    <a:pt x="2313" y="391"/>
                                  </a:cubicBezTo>
                                  <a:cubicBezTo>
                                    <a:pt x="2309" y="385"/>
                                    <a:pt x="2306" y="380"/>
                                    <a:pt x="2302" y="378"/>
                                  </a:cubicBezTo>
                                  <a:cubicBezTo>
                                    <a:pt x="2302" y="378"/>
                                    <a:pt x="2302" y="378"/>
                                    <a:pt x="2302" y="378"/>
                                  </a:cubicBezTo>
                                  <a:cubicBezTo>
                                    <a:pt x="2298" y="376"/>
                                    <a:pt x="2294" y="374"/>
                                    <a:pt x="2289" y="372"/>
                                  </a:cubicBezTo>
                                  <a:cubicBezTo>
                                    <a:pt x="2283" y="371"/>
                                    <a:pt x="2277" y="370"/>
                                    <a:pt x="2268" y="369"/>
                                  </a:cubicBezTo>
                                  <a:cubicBezTo>
                                    <a:pt x="2255" y="367"/>
                                    <a:pt x="2252" y="369"/>
                                    <a:pt x="2248" y="370"/>
                                  </a:cubicBezTo>
                                  <a:cubicBezTo>
                                    <a:pt x="2246" y="371"/>
                                    <a:pt x="2245" y="372"/>
                                    <a:pt x="2244" y="372"/>
                                  </a:cubicBezTo>
                                  <a:cubicBezTo>
                                    <a:pt x="2241" y="373"/>
                                    <a:pt x="2239" y="375"/>
                                    <a:pt x="2237" y="377"/>
                                  </a:cubicBezTo>
                                  <a:cubicBezTo>
                                    <a:pt x="2233" y="381"/>
                                    <a:pt x="2228" y="385"/>
                                    <a:pt x="2221" y="386"/>
                                  </a:cubicBezTo>
                                  <a:cubicBezTo>
                                    <a:pt x="2215" y="387"/>
                                    <a:pt x="2206" y="386"/>
                                    <a:pt x="2198" y="385"/>
                                  </a:cubicBezTo>
                                  <a:cubicBezTo>
                                    <a:pt x="2191" y="384"/>
                                    <a:pt x="2184" y="384"/>
                                    <a:pt x="2181" y="384"/>
                                  </a:cubicBezTo>
                                  <a:cubicBezTo>
                                    <a:pt x="2177" y="384"/>
                                    <a:pt x="2173" y="386"/>
                                    <a:pt x="2170" y="387"/>
                                  </a:cubicBezTo>
                                  <a:cubicBezTo>
                                    <a:pt x="2165" y="388"/>
                                    <a:pt x="2160" y="390"/>
                                    <a:pt x="2156" y="389"/>
                                  </a:cubicBezTo>
                                  <a:cubicBezTo>
                                    <a:pt x="2152" y="388"/>
                                    <a:pt x="2147" y="385"/>
                                    <a:pt x="2142" y="382"/>
                                  </a:cubicBezTo>
                                  <a:cubicBezTo>
                                    <a:pt x="2137" y="379"/>
                                    <a:pt x="2134" y="375"/>
                                    <a:pt x="2132" y="372"/>
                                  </a:cubicBezTo>
                                  <a:cubicBezTo>
                                    <a:pt x="2131" y="369"/>
                                    <a:pt x="2131" y="365"/>
                                    <a:pt x="2130" y="361"/>
                                  </a:cubicBezTo>
                                  <a:cubicBezTo>
                                    <a:pt x="2130" y="357"/>
                                    <a:pt x="2130" y="353"/>
                                    <a:pt x="2128" y="350"/>
                                  </a:cubicBezTo>
                                  <a:cubicBezTo>
                                    <a:pt x="2127" y="348"/>
                                    <a:pt x="2126" y="346"/>
                                    <a:pt x="2124" y="346"/>
                                  </a:cubicBezTo>
                                  <a:cubicBezTo>
                                    <a:pt x="2122" y="345"/>
                                    <a:pt x="2119" y="344"/>
                                    <a:pt x="2115" y="344"/>
                                  </a:cubicBezTo>
                                  <a:cubicBezTo>
                                    <a:pt x="2112" y="344"/>
                                    <a:pt x="2109" y="344"/>
                                    <a:pt x="2107" y="345"/>
                                  </a:cubicBezTo>
                                  <a:cubicBezTo>
                                    <a:pt x="2104" y="347"/>
                                    <a:pt x="2102" y="349"/>
                                    <a:pt x="2100" y="351"/>
                                  </a:cubicBezTo>
                                  <a:cubicBezTo>
                                    <a:pt x="2099" y="353"/>
                                    <a:pt x="2098" y="356"/>
                                    <a:pt x="2098" y="359"/>
                                  </a:cubicBezTo>
                                  <a:cubicBezTo>
                                    <a:pt x="2098" y="361"/>
                                    <a:pt x="2098" y="363"/>
                                    <a:pt x="2097" y="364"/>
                                  </a:cubicBezTo>
                                  <a:cubicBezTo>
                                    <a:pt x="2097" y="367"/>
                                    <a:pt x="2092" y="373"/>
                                    <a:pt x="2087" y="377"/>
                                  </a:cubicBezTo>
                                  <a:cubicBezTo>
                                    <a:pt x="2086" y="377"/>
                                    <a:pt x="2086" y="377"/>
                                    <a:pt x="2086" y="377"/>
                                  </a:cubicBezTo>
                                  <a:cubicBezTo>
                                    <a:pt x="2083" y="380"/>
                                    <a:pt x="2078" y="383"/>
                                    <a:pt x="2074" y="383"/>
                                  </a:cubicBezTo>
                                  <a:cubicBezTo>
                                    <a:pt x="2065" y="383"/>
                                    <a:pt x="2061" y="376"/>
                                    <a:pt x="2057" y="366"/>
                                  </a:cubicBezTo>
                                  <a:cubicBezTo>
                                    <a:pt x="2056" y="364"/>
                                    <a:pt x="2055" y="362"/>
                                    <a:pt x="2053" y="360"/>
                                  </a:cubicBezTo>
                                  <a:cubicBezTo>
                                    <a:pt x="2048" y="349"/>
                                    <a:pt x="2009" y="287"/>
                                    <a:pt x="1994" y="263"/>
                                  </a:cubicBezTo>
                                  <a:cubicBezTo>
                                    <a:pt x="1993" y="261"/>
                                    <a:pt x="1993" y="261"/>
                                    <a:pt x="1993" y="261"/>
                                  </a:cubicBezTo>
                                  <a:cubicBezTo>
                                    <a:pt x="1987" y="252"/>
                                    <a:pt x="1979" y="240"/>
                                    <a:pt x="1970" y="227"/>
                                  </a:cubicBezTo>
                                  <a:cubicBezTo>
                                    <a:pt x="1956" y="208"/>
                                    <a:pt x="1941" y="189"/>
                                    <a:pt x="1936" y="182"/>
                                  </a:cubicBezTo>
                                  <a:cubicBezTo>
                                    <a:pt x="1928" y="173"/>
                                    <a:pt x="1885" y="138"/>
                                    <a:pt x="1866" y="123"/>
                                  </a:cubicBezTo>
                                  <a:cubicBezTo>
                                    <a:pt x="1861" y="119"/>
                                    <a:pt x="1858" y="117"/>
                                    <a:pt x="1857" y="116"/>
                                  </a:cubicBezTo>
                                  <a:cubicBezTo>
                                    <a:pt x="1856" y="115"/>
                                    <a:pt x="1856" y="115"/>
                                    <a:pt x="1855" y="114"/>
                                  </a:cubicBezTo>
                                  <a:cubicBezTo>
                                    <a:pt x="1854" y="111"/>
                                    <a:pt x="1853" y="107"/>
                                    <a:pt x="1853" y="104"/>
                                  </a:cubicBezTo>
                                  <a:cubicBezTo>
                                    <a:pt x="1853" y="100"/>
                                    <a:pt x="1854" y="96"/>
                                    <a:pt x="1856" y="94"/>
                                  </a:cubicBezTo>
                                  <a:cubicBezTo>
                                    <a:pt x="1856" y="94"/>
                                    <a:pt x="1856" y="94"/>
                                    <a:pt x="1856" y="94"/>
                                  </a:cubicBezTo>
                                  <a:cubicBezTo>
                                    <a:pt x="1856" y="94"/>
                                    <a:pt x="1857" y="93"/>
                                    <a:pt x="1857" y="93"/>
                                  </a:cubicBezTo>
                                  <a:cubicBezTo>
                                    <a:pt x="1858" y="93"/>
                                    <a:pt x="1858" y="92"/>
                                    <a:pt x="1859" y="91"/>
                                  </a:cubicBezTo>
                                  <a:cubicBezTo>
                                    <a:pt x="1860" y="89"/>
                                    <a:pt x="1861" y="86"/>
                                    <a:pt x="1865" y="82"/>
                                  </a:cubicBezTo>
                                  <a:cubicBezTo>
                                    <a:pt x="1866" y="81"/>
                                    <a:pt x="1866" y="81"/>
                                    <a:pt x="1866" y="81"/>
                                  </a:cubicBezTo>
                                  <a:cubicBezTo>
                                    <a:pt x="1871" y="77"/>
                                    <a:pt x="1873" y="74"/>
                                    <a:pt x="1873" y="73"/>
                                  </a:cubicBezTo>
                                  <a:cubicBezTo>
                                    <a:pt x="1872" y="72"/>
                                    <a:pt x="1872" y="73"/>
                                    <a:pt x="1868" y="74"/>
                                  </a:cubicBezTo>
                                  <a:cubicBezTo>
                                    <a:pt x="1868" y="74"/>
                                    <a:pt x="1868" y="74"/>
                                    <a:pt x="1868" y="74"/>
                                  </a:cubicBezTo>
                                  <a:cubicBezTo>
                                    <a:pt x="1867" y="75"/>
                                    <a:pt x="1865" y="75"/>
                                    <a:pt x="1864" y="76"/>
                                  </a:cubicBezTo>
                                  <a:cubicBezTo>
                                    <a:pt x="1864" y="76"/>
                                    <a:pt x="1864" y="76"/>
                                    <a:pt x="1864" y="76"/>
                                  </a:cubicBezTo>
                                  <a:cubicBezTo>
                                    <a:pt x="1857" y="78"/>
                                    <a:pt x="1831" y="92"/>
                                    <a:pt x="1812" y="101"/>
                                  </a:cubicBezTo>
                                  <a:cubicBezTo>
                                    <a:pt x="1802" y="106"/>
                                    <a:pt x="1795" y="110"/>
                                    <a:pt x="1793" y="111"/>
                                  </a:cubicBezTo>
                                  <a:cubicBezTo>
                                    <a:pt x="1791" y="112"/>
                                    <a:pt x="1787" y="114"/>
                                    <a:pt x="1781" y="116"/>
                                  </a:cubicBezTo>
                                  <a:cubicBezTo>
                                    <a:pt x="1765" y="123"/>
                                    <a:pt x="1738" y="135"/>
                                    <a:pt x="1730" y="139"/>
                                  </a:cubicBezTo>
                                  <a:cubicBezTo>
                                    <a:pt x="1724" y="142"/>
                                    <a:pt x="1723" y="145"/>
                                    <a:pt x="1723" y="149"/>
                                  </a:cubicBezTo>
                                  <a:cubicBezTo>
                                    <a:pt x="1722" y="150"/>
                                    <a:pt x="1722" y="152"/>
                                    <a:pt x="1721" y="154"/>
                                  </a:cubicBezTo>
                                  <a:cubicBezTo>
                                    <a:pt x="1721" y="155"/>
                                    <a:pt x="1720" y="157"/>
                                    <a:pt x="1720" y="157"/>
                                  </a:cubicBezTo>
                                  <a:cubicBezTo>
                                    <a:pt x="1718" y="160"/>
                                    <a:pt x="1716" y="162"/>
                                    <a:pt x="1713" y="162"/>
                                  </a:cubicBezTo>
                                  <a:cubicBezTo>
                                    <a:pt x="1710" y="163"/>
                                    <a:pt x="1708" y="163"/>
                                    <a:pt x="1705" y="162"/>
                                  </a:cubicBezTo>
                                  <a:cubicBezTo>
                                    <a:pt x="1703" y="161"/>
                                    <a:pt x="1701" y="160"/>
                                    <a:pt x="1699" y="159"/>
                                  </a:cubicBezTo>
                                  <a:cubicBezTo>
                                    <a:pt x="1696" y="157"/>
                                    <a:pt x="1693" y="155"/>
                                    <a:pt x="1691" y="155"/>
                                  </a:cubicBezTo>
                                  <a:cubicBezTo>
                                    <a:pt x="1689" y="154"/>
                                    <a:pt x="1687" y="154"/>
                                    <a:pt x="1684" y="155"/>
                                  </a:cubicBezTo>
                                  <a:cubicBezTo>
                                    <a:pt x="1682" y="156"/>
                                    <a:pt x="1680" y="158"/>
                                    <a:pt x="1679" y="159"/>
                                  </a:cubicBezTo>
                                  <a:cubicBezTo>
                                    <a:pt x="1675" y="163"/>
                                    <a:pt x="1671" y="167"/>
                                    <a:pt x="1664" y="165"/>
                                  </a:cubicBezTo>
                                  <a:cubicBezTo>
                                    <a:pt x="1659" y="164"/>
                                    <a:pt x="1655" y="161"/>
                                    <a:pt x="1653" y="158"/>
                                  </a:cubicBezTo>
                                  <a:cubicBezTo>
                                    <a:pt x="1649" y="153"/>
                                    <a:pt x="1648" y="148"/>
                                    <a:pt x="1648" y="143"/>
                                  </a:cubicBezTo>
                                  <a:cubicBezTo>
                                    <a:pt x="1648" y="138"/>
                                    <a:pt x="1657" y="129"/>
                                    <a:pt x="1665" y="121"/>
                                  </a:cubicBezTo>
                                  <a:cubicBezTo>
                                    <a:pt x="1669" y="117"/>
                                    <a:pt x="1673" y="113"/>
                                    <a:pt x="1673" y="112"/>
                                  </a:cubicBezTo>
                                  <a:cubicBezTo>
                                    <a:pt x="1673" y="112"/>
                                    <a:pt x="1673" y="112"/>
                                    <a:pt x="1673" y="112"/>
                                  </a:cubicBezTo>
                                  <a:cubicBezTo>
                                    <a:pt x="1673" y="112"/>
                                    <a:pt x="1674" y="112"/>
                                    <a:pt x="1674" y="111"/>
                                  </a:cubicBezTo>
                                  <a:cubicBezTo>
                                    <a:pt x="1672" y="112"/>
                                    <a:pt x="1668" y="112"/>
                                    <a:pt x="1663" y="113"/>
                                  </a:cubicBezTo>
                                  <a:cubicBezTo>
                                    <a:pt x="1657" y="114"/>
                                    <a:pt x="1650" y="115"/>
                                    <a:pt x="1646" y="115"/>
                                  </a:cubicBezTo>
                                  <a:cubicBezTo>
                                    <a:pt x="1639" y="115"/>
                                    <a:pt x="1635" y="114"/>
                                    <a:pt x="1630" y="112"/>
                                  </a:cubicBezTo>
                                  <a:cubicBezTo>
                                    <a:pt x="1628" y="111"/>
                                    <a:pt x="1625" y="110"/>
                                    <a:pt x="1621" y="109"/>
                                  </a:cubicBezTo>
                                  <a:cubicBezTo>
                                    <a:pt x="1615" y="108"/>
                                    <a:pt x="1611" y="111"/>
                                    <a:pt x="1608" y="113"/>
                                  </a:cubicBezTo>
                                  <a:cubicBezTo>
                                    <a:pt x="1605" y="114"/>
                                    <a:pt x="1603" y="115"/>
                                    <a:pt x="1601" y="116"/>
                                  </a:cubicBezTo>
                                  <a:cubicBezTo>
                                    <a:pt x="1596" y="116"/>
                                    <a:pt x="1594" y="112"/>
                                    <a:pt x="1590" y="107"/>
                                  </a:cubicBezTo>
                                  <a:cubicBezTo>
                                    <a:pt x="1588" y="103"/>
                                    <a:pt x="1586" y="100"/>
                                    <a:pt x="1584" y="99"/>
                                  </a:cubicBezTo>
                                  <a:cubicBezTo>
                                    <a:pt x="1581" y="99"/>
                                    <a:pt x="1575" y="100"/>
                                    <a:pt x="1567" y="101"/>
                                  </a:cubicBezTo>
                                  <a:cubicBezTo>
                                    <a:pt x="1561" y="102"/>
                                    <a:pt x="1554" y="103"/>
                                    <a:pt x="1548" y="103"/>
                                  </a:cubicBezTo>
                                  <a:cubicBezTo>
                                    <a:pt x="1543" y="103"/>
                                    <a:pt x="1539" y="104"/>
                                    <a:pt x="1536" y="105"/>
                                  </a:cubicBezTo>
                                  <a:cubicBezTo>
                                    <a:pt x="1530" y="106"/>
                                    <a:pt x="1526" y="106"/>
                                    <a:pt x="1521" y="103"/>
                                  </a:cubicBezTo>
                                  <a:cubicBezTo>
                                    <a:pt x="1519" y="100"/>
                                    <a:pt x="1516" y="97"/>
                                    <a:pt x="1514" y="95"/>
                                  </a:cubicBezTo>
                                  <a:cubicBezTo>
                                    <a:pt x="1512" y="92"/>
                                    <a:pt x="1511" y="90"/>
                                    <a:pt x="1511" y="87"/>
                                  </a:cubicBezTo>
                                  <a:cubicBezTo>
                                    <a:pt x="1511" y="84"/>
                                    <a:pt x="1512" y="82"/>
                                    <a:pt x="1514" y="80"/>
                                  </a:cubicBezTo>
                                  <a:cubicBezTo>
                                    <a:pt x="1514" y="80"/>
                                    <a:pt x="1514" y="80"/>
                                    <a:pt x="1514" y="80"/>
                                  </a:cubicBezTo>
                                  <a:cubicBezTo>
                                    <a:pt x="1515" y="79"/>
                                    <a:pt x="1516" y="78"/>
                                    <a:pt x="1516" y="76"/>
                                  </a:cubicBezTo>
                                  <a:cubicBezTo>
                                    <a:pt x="1516" y="74"/>
                                    <a:pt x="1516" y="71"/>
                                    <a:pt x="1516" y="68"/>
                                  </a:cubicBezTo>
                                  <a:cubicBezTo>
                                    <a:pt x="1516" y="64"/>
                                    <a:pt x="1516" y="60"/>
                                    <a:pt x="1517" y="58"/>
                                  </a:cubicBezTo>
                                  <a:cubicBezTo>
                                    <a:pt x="1517" y="56"/>
                                    <a:pt x="1517" y="55"/>
                                    <a:pt x="1518" y="54"/>
                                  </a:cubicBezTo>
                                  <a:cubicBezTo>
                                    <a:pt x="1519" y="53"/>
                                    <a:pt x="1519" y="51"/>
                                    <a:pt x="1518" y="48"/>
                                  </a:cubicBezTo>
                                  <a:cubicBezTo>
                                    <a:pt x="1518" y="45"/>
                                    <a:pt x="1515" y="40"/>
                                    <a:pt x="1512" y="36"/>
                                  </a:cubicBezTo>
                                  <a:cubicBezTo>
                                    <a:pt x="1511" y="33"/>
                                    <a:pt x="1509" y="30"/>
                                    <a:pt x="1508" y="27"/>
                                  </a:cubicBezTo>
                                  <a:cubicBezTo>
                                    <a:pt x="1506" y="24"/>
                                    <a:pt x="1505" y="21"/>
                                    <a:pt x="1504" y="19"/>
                                  </a:cubicBezTo>
                                  <a:cubicBezTo>
                                    <a:pt x="1503" y="14"/>
                                    <a:pt x="1502" y="10"/>
                                    <a:pt x="1498" y="7"/>
                                  </a:cubicBezTo>
                                  <a:cubicBezTo>
                                    <a:pt x="1493" y="4"/>
                                    <a:pt x="1484" y="5"/>
                                    <a:pt x="1479" y="5"/>
                                  </a:cubicBezTo>
                                  <a:cubicBezTo>
                                    <a:pt x="1478" y="6"/>
                                    <a:pt x="1477" y="6"/>
                                    <a:pt x="1476" y="6"/>
                                  </a:cubicBezTo>
                                  <a:cubicBezTo>
                                    <a:pt x="1474" y="6"/>
                                    <a:pt x="1473" y="8"/>
                                    <a:pt x="1471" y="10"/>
                                  </a:cubicBezTo>
                                  <a:cubicBezTo>
                                    <a:pt x="1471" y="10"/>
                                    <a:pt x="1471" y="10"/>
                                    <a:pt x="1471" y="10"/>
                                  </a:cubicBezTo>
                                  <a:cubicBezTo>
                                    <a:pt x="1469" y="13"/>
                                    <a:pt x="1467" y="17"/>
                                    <a:pt x="1463" y="18"/>
                                  </a:cubicBezTo>
                                  <a:cubicBezTo>
                                    <a:pt x="1456" y="21"/>
                                    <a:pt x="1451" y="17"/>
                                    <a:pt x="1444" y="12"/>
                                  </a:cubicBezTo>
                                  <a:cubicBezTo>
                                    <a:pt x="1441" y="9"/>
                                    <a:pt x="1438" y="7"/>
                                    <a:pt x="1434" y="5"/>
                                  </a:cubicBezTo>
                                  <a:cubicBezTo>
                                    <a:pt x="1427" y="0"/>
                                    <a:pt x="1408" y="1"/>
                                    <a:pt x="1394" y="1"/>
                                  </a:cubicBezTo>
                                  <a:cubicBezTo>
                                    <a:pt x="1389" y="1"/>
                                    <a:pt x="1385" y="1"/>
                                    <a:pt x="1382" y="1"/>
                                  </a:cubicBezTo>
                                  <a:cubicBezTo>
                                    <a:pt x="1377" y="1"/>
                                    <a:pt x="1375" y="2"/>
                                    <a:pt x="1372" y="3"/>
                                  </a:cubicBezTo>
                                  <a:cubicBezTo>
                                    <a:pt x="1372" y="3"/>
                                    <a:pt x="1372" y="3"/>
                                    <a:pt x="1372" y="3"/>
                                  </a:cubicBezTo>
                                  <a:cubicBezTo>
                                    <a:pt x="1370" y="4"/>
                                    <a:pt x="1369" y="6"/>
                                    <a:pt x="1367" y="8"/>
                                  </a:cubicBezTo>
                                  <a:cubicBezTo>
                                    <a:pt x="1364" y="13"/>
                                    <a:pt x="1354" y="20"/>
                                    <a:pt x="1347" y="25"/>
                                  </a:cubicBezTo>
                                  <a:cubicBezTo>
                                    <a:pt x="1344" y="27"/>
                                    <a:pt x="1344" y="27"/>
                                    <a:pt x="1344" y="27"/>
                                  </a:cubicBezTo>
                                  <a:cubicBezTo>
                                    <a:pt x="1341" y="30"/>
                                    <a:pt x="1335" y="32"/>
                                    <a:pt x="1328" y="33"/>
                                  </a:cubicBezTo>
                                  <a:cubicBezTo>
                                    <a:pt x="1320" y="36"/>
                                    <a:pt x="1310" y="37"/>
                                    <a:pt x="1306" y="38"/>
                                  </a:cubicBezTo>
                                  <a:cubicBezTo>
                                    <a:pt x="1302" y="38"/>
                                    <a:pt x="1292" y="40"/>
                                    <a:pt x="1282" y="42"/>
                                  </a:cubicBezTo>
                                  <a:cubicBezTo>
                                    <a:pt x="1272" y="45"/>
                                    <a:pt x="1262" y="47"/>
                                    <a:pt x="1257" y="49"/>
                                  </a:cubicBezTo>
                                  <a:cubicBezTo>
                                    <a:pt x="1251" y="52"/>
                                    <a:pt x="1241" y="55"/>
                                    <a:pt x="1232" y="57"/>
                                  </a:cubicBezTo>
                                  <a:cubicBezTo>
                                    <a:pt x="1225" y="59"/>
                                    <a:pt x="1218" y="61"/>
                                    <a:pt x="1214" y="61"/>
                                  </a:cubicBezTo>
                                  <a:cubicBezTo>
                                    <a:pt x="1212" y="61"/>
                                    <a:pt x="1207" y="62"/>
                                    <a:pt x="1202" y="62"/>
                                  </a:cubicBezTo>
                                  <a:cubicBezTo>
                                    <a:pt x="1192" y="62"/>
                                    <a:pt x="1178" y="62"/>
                                    <a:pt x="1172" y="63"/>
                                  </a:cubicBezTo>
                                  <a:cubicBezTo>
                                    <a:pt x="1167" y="64"/>
                                    <a:pt x="1164" y="65"/>
                                    <a:pt x="1161" y="66"/>
                                  </a:cubicBezTo>
                                  <a:cubicBezTo>
                                    <a:pt x="1159" y="67"/>
                                    <a:pt x="1157" y="69"/>
                                    <a:pt x="1156" y="70"/>
                                  </a:cubicBezTo>
                                  <a:cubicBezTo>
                                    <a:pt x="1156" y="70"/>
                                    <a:pt x="1156" y="71"/>
                                    <a:pt x="1157" y="73"/>
                                  </a:cubicBezTo>
                                  <a:cubicBezTo>
                                    <a:pt x="1157" y="79"/>
                                    <a:pt x="1158" y="88"/>
                                    <a:pt x="1141" y="89"/>
                                  </a:cubicBezTo>
                                  <a:cubicBezTo>
                                    <a:pt x="1131" y="90"/>
                                    <a:pt x="1122" y="89"/>
                                    <a:pt x="1114" y="88"/>
                                  </a:cubicBezTo>
                                  <a:cubicBezTo>
                                    <a:pt x="1114" y="88"/>
                                    <a:pt x="1114" y="88"/>
                                    <a:pt x="1114" y="88"/>
                                  </a:cubicBezTo>
                                  <a:cubicBezTo>
                                    <a:pt x="1106" y="88"/>
                                    <a:pt x="1100" y="87"/>
                                    <a:pt x="1094" y="88"/>
                                  </a:cubicBezTo>
                                  <a:cubicBezTo>
                                    <a:pt x="1085" y="89"/>
                                    <a:pt x="1069" y="94"/>
                                    <a:pt x="1060" y="96"/>
                                  </a:cubicBezTo>
                                  <a:cubicBezTo>
                                    <a:pt x="1058" y="97"/>
                                    <a:pt x="1057" y="97"/>
                                    <a:pt x="1055" y="98"/>
                                  </a:cubicBezTo>
                                  <a:cubicBezTo>
                                    <a:pt x="1052" y="99"/>
                                    <a:pt x="1041" y="101"/>
                                    <a:pt x="1029" y="103"/>
                                  </a:cubicBezTo>
                                  <a:cubicBezTo>
                                    <a:pt x="1016" y="106"/>
                                    <a:pt x="1002" y="109"/>
                                    <a:pt x="999" y="109"/>
                                  </a:cubicBezTo>
                                  <a:cubicBezTo>
                                    <a:pt x="999" y="110"/>
                                    <a:pt x="998" y="112"/>
                                    <a:pt x="997" y="114"/>
                                  </a:cubicBezTo>
                                  <a:cubicBezTo>
                                    <a:pt x="997" y="114"/>
                                    <a:pt x="997" y="114"/>
                                    <a:pt x="997" y="114"/>
                                  </a:cubicBezTo>
                                  <a:cubicBezTo>
                                    <a:pt x="995" y="118"/>
                                    <a:pt x="994" y="122"/>
                                    <a:pt x="990" y="124"/>
                                  </a:cubicBezTo>
                                  <a:cubicBezTo>
                                    <a:pt x="984" y="127"/>
                                    <a:pt x="982" y="126"/>
                                    <a:pt x="980" y="123"/>
                                  </a:cubicBezTo>
                                  <a:cubicBezTo>
                                    <a:pt x="980" y="122"/>
                                    <a:pt x="979" y="122"/>
                                    <a:pt x="979" y="121"/>
                                  </a:cubicBezTo>
                                  <a:cubicBezTo>
                                    <a:pt x="979" y="120"/>
                                    <a:pt x="978" y="119"/>
                                    <a:pt x="977" y="117"/>
                                  </a:cubicBezTo>
                                  <a:cubicBezTo>
                                    <a:pt x="977" y="117"/>
                                    <a:pt x="977" y="117"/>
                                    <a:pt x="977" y="117"/>
                                  </a:cubicBezTo>
                                  <a:cubicBezTo>
                                    <a:pt x="975" y="115"/>
                                    <a:pt x="969" y="115"/>
                                    <a:pt x="964" y="115"/>
                                  </a:cubicBezTo>
                                  <a:cubicBezTo>
                                    <a:pt x="962" y="116"/>
                                    <a:pt x="961" y="116"/>
                                    <a:pt x="960" y="116"/>
                                  </a:cubicBezTo>
                                  <a:cubicBezTo>
                                    <a:pt x="956" y="116"/>
                                    <a:pt x="952" y="116"/>
                                    <a:pt x="948" y="116"/>
                                  </a:cubicBezTo>
                                  <a:cubicBezTo>
                                    <a:pt x="943" y="116"/>
                                    <a:pt x="939" y="116"/>
                                    <a:pt x="936" y="116"/>
                                  </a:cubicBezTo>
                                  <a:cubicBezTo>
                                    <a:pt x="931" y="116"/>
                                    <a:pt x="929" y="115"/>
                                    <a:pt x="927" y="113"/>
                                  </a:cubicBezTo>
                                  <a:cubicBezTo>
                                    <a:pt x="925" y="112"/>
                                    <a:pt x="924" y="112"/>
                                    <a:pt x="921" y="111"/>
                                  </a:cubicBezTo>
                                  <a:cubicBezTo>
                                    <a:pt x="919" y="111"/>
                                    <a:pt x="915" y="112"/>
                                    <a:pt x="911" y="113"/>
                                  </a:cubicBezTo>
                                  <a:cubicBezTo>
                                    <a:pt x="906" y="115"/>
                                    <a:pt x="900" y="118"/>
                                    <a:pt x="898" y="120"/>
                                  </a:cubicBezTo>
                                  <a:cubicBezTo>
                                    <a:pt x="898" y="121"/>
                                    <a:pt x="900" y="123"/>
                                    <a:pt x="901" y="125"/>
                                  </a:cubicBezTo>
                                  <a:cubicBezTo>
                                    <a:pt x="902" y="126"/>
                                    <a:pt x="902" y="126"/>
                                    <a:pt x="902" y="126"/>
                                  </a:cubicBezTo>
                                  <a:cubicBezTo>
                                    <a:pt x="902" y="126"/>
                                    <a:pt x="902" y="126"/>
                                    <a:pt x="902" y="126"/>
                                  </a:cubicBezTo>
                                  <a:cubicBezTo>
                                    <a:pt x="906" y="131"/>
                                    <a:pt x="903" y="135"/>
                                    <a:pt x="899" y="138"/>
                                  </a:cubicBezTo>
                                  <a:cubicBezTo>
                                    <a:pt x="898" y="139"/>
                                    <a:pt x="897" y="140"/>
                                    <a:pt x="897" y="141"/>
                                  </a:cubicBezTo>
                                  <a:cubicBezTo>
                                    <a:pt x="897" y="141"/>
                                    <a:pt x="898" y="142"/>
                                    <a:pt x="899" y="143"/>
                                  </a:cubicBezTo>
                                  <a:cubicBezTo>
                                    <a:pt x="901" y="144"/>
                                    <a:pt x="905" y="145"/>
                                    <a:pt x="908" y="145"/>
                                  </a:cubicBezTo>
                                  <a:cubicBezTo>
                                    <a:pt x="909" y="145"/>
                                    <a:pt x="910" y="145"/>
                                    <a:pt x="911" y="145"/>
                                  </a:cubicBezTo>
                                  <a:cubicBezTo>
                                    <a:pt x="914" y="145"/>
                                    <a:pt x="916" y="146"/>
                                    <a:pt x="918" y="147"/>
                                  </a:cubicBezTo>
                                  <a:cubicBezTo>
                                    <a:pt x="920" y="148"/>
                                    <a:pt x="921" y="150"/>
                                    <a:pt x="921" y="151"/>
                                  </a:cubicBezTo>
                                  <a:cubicBezTo>
                                    <a:pt x="922" y="153"/>
                                    <a:pt x="921" y="155"/>
                                    <a:pt x="921" y="156"/>
                                  </a:cubicBezTo>
                                  <a:cubicBezTo>
                                    <a:pt x="920" y="158"/>
                                    <a:pt x="919" y="160"/>
                                    <a:pt x="917" y="162"/>
                                  </a:cubicBezTo>
                                  <a:cubicBezTo>
                                    <a:pt x="915" y="163"/>
                                    <a:pt x="911" y="166"/>
                                    <a:pt x="910" y="168"/>
                                  </a:cubicBezTo>
                                  <a:cubicBezTo>
                                    <a:pt x="909" y="169"/>
                                    <a:pt x="909" y="169"/>
                                    <a:pt x="909" y="169"/>
                                  </a:cubicBezTo>
                                  <a:cubicBezTo>
                                    <a:pt x="911" y="171"/>
                                    <a:pt x="917" y="173"/>
                                    <a:pt x="923" y="175"/>
                                  </a:cubicBezTo>
                                  <a:cubicBezTo>
                                    <a:pt x="931" y="177"/>
                                    <a:pt x="939" y="180"/>
                                    <a:pt x="945" y="183"/>
                                  </a:cubicBezTo>
                                  <a:cubicBezTo>
                                    <a:pt x="945" y="183"/>
                                    <a:pt x="945" y="183"/>
                                    <a:pt x="945" y="183"/>
                                  </a:cubicBezTo>
                                  <a:cubicBezTo>
                                    <a:pt x="947" y="184"/>
                                    <a:pt x="947" y="184"/>
                                    <a:pt x="947" y="184"/>
                                  </a:cubicBezTo>
                                  <a:cubicBezTo>
                                    <a:pt x="959" y="190"/>
                                    <a:pt x="962" y="192"/>
                                    <a:pt x="960" y="199"/>
                                  </a:cubicBezTo>
                                  <a:cubicBezTo>
                                    <a:pt x="957" y="206"/>
                                    <a:pt x="947" y="206"/>
                                    <a:pt x="933" y="205"/>
                                  </a:cubicBezTo>
                                  <a:cubicBezTo>
                                    <a:pt x="932" y="205"/>
                                    <a:pt x="932" y="205"/>
                                    <a:pt x="932" y="205"/>
                                  </a:cubicBezTo>
                                  <a:cubicBezTo>
                                    <a:pt x="927" y="205"/>
                                    <a:pt x="923" y="205"/>
                                    <a:pt x="919" y="204"/>
                                  </a:cubicBezTo>
                                  <a:cubicBezTo>
                                    <a:pt x="911" y="204"/>
                                    <a:pt x="905" y="203"/>
                                    <a:pt x="901" y="204"/>
                                  </a:cubicBezTo>
                                  <a:cubicBezTo>
                                    <a:pt x="899" y="205"/>
                                    <a:pt x="895" y="208"/>
                                    <a:pt x="891" y="211"/>
                                  </a:cubicBezTo>
                                  <a:cubicBezTo>
                                    <a:pt x="887" y="215"/>
                                    <a:pt x="884" y="219"/>
                                    <a:pt x="882" y="222"/>
                                  </a:cubicBezTo>
                                  <a:cubicBezTo>
                                    <a:pt x="881" y="224"/>
                                    <a:pt x="881" y="226"/>
                                    <a:pt x="881" y="228"/>
                                  </a:cubicBezTo>
                                  <a:cubicBezTo>
                                    <a:pt x="882" y="230"/>
                                    <a:pt x="884" y="233"/>
                                    <a:pt x="887" y="238"/>
                                  </a:cubicBezTo>
                                  <a:cubicBezTo>
                                    <a:pt x="887" y="238"/>
                                    <a:pt x="887" y="239"/>
                                    <a:pt x="888" y="240"/>
                                  </a:cubicBezTo>
                                  <a:cubicBezTo>
                                    <a:pt x="890" y="245"/>
                                    <a:pt x="891" y="249"/>
                                    <a:pt x="890" y="254"/>
                                  </a:cubicBezTo>
                                  <a:cubicBezTo>
                                    <a:pt x="889" y="258"/>
                                    <a:pt x="886" y="262"/>
                                    <a:pt x="882" y="265"/>
                                  </a:cubicBezTo>
                                  <a:cubicBezTo>
                                    <a:pt x="881" y="265"/>
                                    <a:pt x="881" y="266"/>
                                    <a:pt x="880" y="266"/>
                                  </a:cubicBezTo>
                                  <a:cubicBezTo>
                                    <a:pt x="879" y="267"/>
                                    <a:pt x="877" y="267"/>
                                    <a:pt x="876" y="268"/>
                                  </a:cubicBezTo>
                                  <a:cubicBezTo>
                                    <a:pt x="871" y="271"/>
                                    <a:pt x="869" y="272"/>
                                    <a:pt x="854" y="276"/>
                                  </a:cubicBezTo>
                                  <a:cubicBezTo>
                                    <a:pt x="854" y="276"/>
                                    <a:pt x="854" y="276"/>
                                    <a:pt x="854" y="276"/>
                                  </a:cubicBezTo>
                                  <a:cubicBezTo>
                                    <a:pt x="851" y="277"/>
                                    <a:pt x="851" y="277"/>
                                    <a:pt x="851" y="277"/>
                                  </a:cubicBezTo>
                                  <a:cubicBezTo>
                                    <a:pt x="851" y="277"/>
                                    <a:pt x="851" y="277"/>
                                    <a:pt x="851" y="277"/>
                                  </a:cubicBezTo>
                                  <a:cubicBezTo>
                                    <a:pt x="839" y="281"/>
                                    <a:pt x="837" y="281"/>
                                    <a:pt x="837" y="285"/>
                                  </a:cubicBezTo>
                                  <a:cubicBezTo>
                                    <a:pt x="837" y="287"/>
                                    <a:pt x="843" y="290"/>
                                    <a:pt x="848" y="293"/>
                                  </a:cubicBezTo>
                                  <a:cubicBezTo>
                                    <a:pt x="852" y="295"/>
                                    <a:pt x="856" y="297"/>
                                    <a:pt x="859" y="299"/>
                                  </a:cubicBezTo>
                                  <a:cubicBezTo>
                                    <a:pt x="863" y="303"/>
                                    <a:pt x="878" y="310"/>
                                    <a:pt x="890" y="315"/>
                                  </a:cubicBezTo>
                                  <a:cubicBezTo>
                                    <a:pt x="895" y="318"/>
                                    <a:pt x="900" y="320"/>
                                    <a:pt x="903" y="322"/>
                                  </a:cubicBezTo>
                                  <a:cubicBezTo>
                                    <a:pt x="906" y="323"/>
                                    <a:pt x="910" y="325"/>
                                    <a:pt x="914" y="327"/>
                                  </a:cubicBezTo>
                                  <a:cubicBezTo>
                                    <a:pt x="921" y="330"/>
                                    <a:pt x="928" y="333"/>
                                    <a:pt x="931" y="336"/>
                                  </a:cubicBezTo>
                                  <a:cubicBezTo>
                                    <a:pt x="931" y="336"/>
                                    <a:pt x="932" y="336"/>
                                    <a:pt x="932" y="336"/>
                                  </a:cubicBezTo>
                                  <a:cubicBezTo>
                                    <a:pt x="932" y="336"/>
                                    <a:pt x="932" y="336"/>
                                    <a:pt x="932" y="336"/>
                                  </a:cubicBezTo>
                                  <a:cubicBezTo>
                                    <a:pt x="933" y="344"/>
                                    <a:pt x="933" y="344"/>
                                    <a:pt x="933" y="344"/>
                                  </a:cubicBezTo>
                                  <a:cubicBezTo>
                                    <a:pt x="933" y="345"/>
                                    <a:pt x="933" y="347"/>
                                    <a:pt x="933" y="348"/>
                                  </a:cubicBezTo>
                                  <a:cubicBezTo>
                                    <a:pt x="931" y="354"/>
                                    <a:pt x="928" y="361"/>
                                    <a:pt x="925" y="366"/>
                                  </a:cubicBezTo>
                                  <a:cubicBezTo>
                                    <a:pt x="924" y="368"/>
                                    <a:pt x="924" y="370"/>
                                    <a:pt x="923" y="371"/>
                                  </a:cubicBezTo>
                                  <a:cubicBezTo>
                                    <a:pt x="921" y="376"/>
                                    <a:pt x="920" y="378"/>
                                    <a:pt x="910" y="383"/>
                                  </a:cubicBezTo>
                                  <a:cubicBezTo>
                                    <a:pt x="903" y="386"/>
                                    <a:pt x="896" y="389"/>
                                    <a:pt x="889" y="390"/>
                                  </a:cubicBezTo>
                                  <a:cubicBezTo>
                                    <a:pt x="882" y="392"/>
                                    <a:pt x="876" y="393"/>
                                    <a:pt x="873" y="393"/>
                                  </a:cubicBezTo>
                                  <a:cubicBezTo>
                                    <a:pt x="869" y="393"/>
                                    <a:pt x="861" y="391"/>
                                    <a:pt x="853" y="388"/>
                                  </a:cubicBezTo>
                                  <a:cubicBezTo>
                                    <a:pt x="844" y="386"/>
                                    <a:pt x="835" y="383"/>
                                    <a:pt x="832" y="383"/>
                                  </a:cubicBezTo>
                                  <a:cubicBezTo>
                                    <a:pt x="829" y="383"/>
                                    <a:pt x="826" y="388"/>
                                    <a:pt x="823" y="392"/>
                                  </a:cubicBezTo>
                                  <a:cubicBezTo>
                                    <a:pt x="822" y="394"/>
                                    <a:pt x="821" y="396"/>
                                    <a:pt x="819" y="398"/>
                                  </a:cubicBezTo>
                                  <a:cubicBezTo>
                                    <a:pt x="816" y="401"/>
                                    <a:pt x="812" y="403"/>
                                    <a:pt x="806" y="404"/>
                                  </a:cubicBezTo>
                                  <a:cubicBezTo>
                                    <a:pt x="801" y="404"/>
                                    <a:pt x="796" y="403"/>
                                    <a:pt x="791" y="401"/>
                                  </a:cubicBezTo>
                                  <a:cubicBezTo>
                                    <a:pt x="787" y="399"/>
                                    <a:pt x="780" y="397"/>
                                    <a:pt x="773" y="395"/>
                                  </a:cubicBezTo>
                                  <a:cubicBezTo>
                                    <a:pt x="769" y="394"/>
                                    <a:pt x="764" y="393"/>
                                    <a:pt x="761" y="392"/>
                                  </a:cubicBezTo>
                                  <a:cubicBezTo>
                                    <a:pt x="756" y="390"/>
                                    <a:pt x="751" y="387"/>
                                    <a:pt x="747" y="384"/>
                                  </a:cubicBezTo>
                                  <a:cubicBezTo>
                                    <a:pt x="743" y="381"/>
                                    <a:pt x="741" y="377"/>
                                    <a:pt x="740" y="373"/>
                                  </a:cubicBezTo>
                                  <a:cubicBezTo>
                                    <a:pt x="739" y="370"/>
                                    <a:pt x="736" y="367"/>
                                    <a:pt x="733" y="365"/>
                                  </a:cubicBezTo>
                                  <a:cubicBezTo>
                                    <a:pt x="730" y="362"/>
                                    <a:pt x="725" y="361"/>
                                    <a:pt x="719" y="360"/>
                                  </a:cubicBezTo>
                                  <a:cubicBezTo>
                                    <a:pt x="715" y="359"/>
                                    <a:pt x="711" y="358"/>
                                    <a:pt x="707" y="359"/>
                                  </a:cubicBezTo>
                                  <a:cubicBezTo>
                                    <a:pt x="701" y="359"/>
                                    <a:pt x="697" y="360"/>
                                    <a:pt x="697" y="360"/>
                                  </a:cubicBezTo>
                                  <a:cubicBezTo>
                                    <a:pt x="696" y="360"/>
                                    <a:pt x="694" y="362"/>
                                    <a:pt x="693" y="364"/>
                                  </a:cubicBezTo>
                                  <a:cubicBezTo>
                                    <a:pt x="692" y="365"/>
                                    <a:pt x="691" y="367"/>
                                    <a:pt x="691" y="368"/>
                                  </a:cubicBezTo>
                                  <a:cubicBezTo>
                                    <a:pt x="691" y="368"/>
                                    <a:pt x="691" y="368"/>
                                    <a:pt x="691" y="368"/>
                                  </a:cubicBezTo>
                                  <a:cubicBezTo>
                                    <a:pt x="690" y="369"/>
                                    <a:pt x="690" y="369"/>
                                    <a:pt x="690" y="369"/>
                                  </a:cubicBezTo>
                                  <a:cubicBezTo>
                                    <a:pt x="689" y="375"/>
                                    <a:pt x="689" y="376"/>
                                    <a:pt x="678" y="377"/>
                                  </a:cubicBezTo>
                                  <a:cubicBezTo>
                                    <a:pt x="672" y="377"/>
                                    <a:pt x="669" y="373"/>
                                    <a:pt x="665" y="369"/>
                                  </a:cubicBezTo>
                                  <a:cubicBezTo>
                                    <a:pt x="662" y="365"/>
                                    <a:pt x="659" y="362"/>
                                    <a:pt x="655" y="361"/>
                                  </a:cubicBezTo>
                                  <a:cubicBezTo>
                                    <a:pt x="649" y="359"/>
                                    <a:pt x="641" y="361"/>
                                    <a:pt x="633" y="362"/>
                                  </a:cubicBezTo>
                                  <a:cubicBezTo>
                                    <a:pt x="628" y="363"/>
                                    <a:pt x="623" y="364"/>
                                    <a:pt x="618" y="364"/>
                                  </a:cubicBezTo>
                                  <a:cubicBezTo>
                                    <a:pt x="611" y="364"/>
                                    <a:pt x="609" y="367"/>
                                    <a:pt x="607" y="370"/>
                                  </a:cubicBezTo>
                                  <a:cubicBezTo>
                                    <a:pt x="605" y="373"/>
                                    <a:pt x="603" y="376"/>
                                    <a:pt x="598" y="379"/>
                                  </a:cubicBezTo>
                                  <a:cubicBezTo>
                                    <a:pt x="595" y="381"/>
                                    <a:pt x="590" y="385"/>
                                    <a:pt x="586" y="388"/>
                                  </a:cubicBezTo>
                                  <a:cubicBezTo>
                                    <a:pt x="579" y="394"/>
                                    <a:pt x="571" y="400"/>
                                    <a:pt x="566" y="401"/>
                                  </a:cubicBezTo>
                                  <a:cubicBezTo>
                                    <a:pt x="560" y="403"/>
                                    <a:pt x="546" y="392"/>
                                    <a:pt x="535" y="383"/>
                                  </a:cubicBezTo>
                                  <a:cubicBezTo>
                                    <a:pt x="529" y="378"/>
                                    <a:pt x="523" y="373"/>
                                    <a:pt x="520" y="372"/>
                                  </a:cubicBezTo>
                                  <a:cubicBezTo>
                                    <a:pt x="516" y="370"/>
                                    <a:pt x="511" y="368"/>
                                    <a:pt x="507" y="367"/>
                                  </a:cubicBezTo>
                                  <a:cubicBezTo>
                                    <a:pt x="505" y="367"/>
                                    <a:pt x="504" y="366"/>
                                    <a:pt x="504" y="366"/>
                                  </a:cubicBezTo>
                                  <a:cubicBezTo>
                                    <a:pt x="503" y="366"/>
                                    <a:pt x="503" y="369"/>
                                    <a:pt x="503" y="373"/>
                                  </a:cubicBezTo>
                                  <a:cubicBezTo>
                                    <a:pt x="503" y="380"/>
                                    <a:pt x="503" y="388"/>
                                    <a:pt x="497" y="390"/>
                                  </a:cubicBezTo>
                                  <a:cubicBezTo>
                                    <a:pt x="494" y="392"/>
                                    <a:pt x="491" y="392"/>
                                    <a:pt x="487" y="389"/>
                                  </a:cubicBezTo>
                                  <a:cubicBezTo>
                                    <a:pt x="484" y="388"/>
                                    <a:pt x="481" y="384"/>
                                    <a:pt x="478" y="379"/>
                                  </a:cubicBezTo>
                                  <a:cubicBezTo>
                                    <a:pt x="474" y="373"/>
                                    <a:pt x="460" y="357"/>
                                    <a:pt x="446" y="344"/>
                                  </a:cubicBezTo>
                                  <a:cubicBezTo>
                                    <a:pt x="436" y="335"/>
                                    <a:pt x="427" y="327"/>
                                    <a:pt x="423" y="325"/>
                                  </a:cubicBezTo>
                                  <a:cubicBezTo>
                                    <a:pt x="419" y="324"/>
                                    <a:pt x="410" y="325"/>
                                    <a:pt x="400" y="326"/>
                                  </a:cubicBezTo>
                                  <a:cubicBezTo>
                                    <a:pt x="390" y="327"/>
                                    <a:pt x="380" y="328"/>
                                    <a:pt x="374" y="326"/>
                                  </a:cubicBezTo>
                                  <a:cubicBezTo>
                                    <a:pt x="368" y="324"/>
                                    <a:pt x="366" y="319"/>
                                    <a:pt x="364" y="314"/>
                                  </a:cubicBezTo>
                                  <a:cubicBezTo>
                                    <a:pt x="362" y="310"/>
                                    <a:pt x="360" y="306"/>
                                    <a:pt x="355" y="305"/>
                                  </a:cubicBezTo>
                                  <a:cubicBezTo>
                                    <a:pt x="350" y="304"/>
                                    <a:pt x="345" y="304"/>
                                    <a:pt x="341" y="305"/>
                                  </a:cubicBezTo>
                                  <a:cubicBezTo>
                                    <a:pt x="338" y="306"/>
                                    <a:pt x="335" y="308"/>
                                    <a:pt x="332" y="311"/>
                                  </a:cubicBezTo>
                                  <a:cubicBezTo>
                                    <a:pt x="331" y="312"/>
                                    <a:pt x="330" y="314"/>
                                    <a:pt x="329" y="316"/>
                                  </a:cubicBezTo>
                                  <a:cubicBezTo>
                                    <a:pt x="324" y="322"/>
                                    <a:pt x="319" y="328"/>
                                    <a:pt x="311" y="326"/>
                                  </a:cubicBezTo>
                                  <a:cubicBezTo>
                                    <a:pt x="304" y="325"/>
                                    <a:pt x="299" y="321"/>
                                    <a:pt x="296" y="318"/>
                                  </a:cubicBezTo>
                                  <a:cubicBezTo>
                                    <a:pt x="295" y="317"/>
                                    <a:pt x="295" y="317"/>
                                    <a:pt x="294" y="316"/>
                                  </a:cubicBezTo>
                                  <a:cubicBezTo>
                                    <a:pt x="293" y="315"/>
                                    <a:pt x="291" y="315"/>
                                    <a:pt x="289" y="314"/>
                                  </a:cubicBezTo>
                                  <a:cubicBezTo>
                                    <a:pt x="287" y="313"/>
                                    <a:pt x="284" y="312"/>
                                    <a:pt x="281" y="310"/>
                                  </a:cubicBezTo>
                                  <a:cubicBezTo>
                                    <a:pt x="281" y="310"/>
                                    <a:pt x="281" y="310"/>
                                    <a:pt x="281" y="310"/>
                                  </a:cubicBezTo>
                                  <a:cubicBezTo>
                                    <a:pt x="280" y="310"/>
                                    <a:pt x="280" y="310"/>
                                    <a:pt x="280" y="310"/>
                                  </a:cubicBezTo>
                                  <a:cubicBezTo>
                                    <a:pt x="272" y="306"/>
                                    <a:pt x="263" y="302"/>
                                    <a:pt x="261" y="305"/>
                                  </a:cubicBezTo>
                                  <a:cubicBezTo>
                                    <a:pt x="259" y="306"/>
                                    <a:pt x="259" y="308"/>
                                    <a:pt x="259" y="310"/>
                                  </a:cubicBezTo>
                                  <a:cubicBezTo>
                                    <a:pt x="257" y="315"/>
                                    <a:pt x="256" y="320"/>
                                    <a:pt x="247" y="323"/>
                                  </a:cubicBezTo>
                                  <a:cubicBezTo>
                                    <a:pt x="242" y="325"/>
                                    <a:pt x="237" y="330"/>
                                    <a:pt x="231" y="335"/>
                                  </a:cubicBezTo>
                                  <a:cubicBezTo>
                                    <a:pt x="225" y="342"/>
                                    <a:pt x="217" y="349"/>
                                    <a:pt x="208" y="354"/>
                                  </a:cubicBezTo>
                                  <a:cubicBezTo>
                                    <a:pt x="201" y="357"/>
                                    <a:pt x="194" y="358"/>
                                    <a:pt x="189" y="360"/>
                                  </a:cubicBezTo>
                                  <a:cubicBezTo>
                                    <a:pt x="183" y="361"/>
                                    <a:pt x="178" y="363"/>
                                    <a:pt x="177" y="365"/>
                                  </a:cubicBezTo>
                                  <a:cubicBezTo>
                                    <a:pt x="176" y="367"/>
                                    <a:pt x="176" y="369"/>
                                    <a:pt x="176" y="370"/>
                                  </a:cubicBezTo>
                                  <a:cubicBezTo>
                                    <a:pt x="174" y="375"/>
                                    <a:pt x="174" y="379"/>
                                    <a:pt x="166" y="382"/>
                                  </a:cubicBezTo>
                                  <a:cubicBezTo>
                                    <a:pt x="162" y="384"/>
                                    <a:pt x="156" y="385"/>
                                    <a:pt x="151" y="386"/>
                                  </a:cubicBezTo>
                                  <a:cubicBezTo>
                                    <a:pt x="143" y="388"/>
                                    <a:pt x="134" y="390"/>
                                    <a:pt x="133" y="392"/>
                                  </a:cubicBezTo>
                                  <a:cubicBezTo>
                                    <a:pt x="132" y="395"/>
                                    <a:pt x="131" y="397"/>
                                    <a:pt x="131" y="399"/>
                                  </a:cubicBezTo>
                                  <a:cubicBezTo>
                                    <a:pt x="132" y="402"/>
                                    <a:pt x="133" y="405"/>
                                    <a:pt x="135" y="411"/>
                                  </a:cubicBezTo>
                                  <a:cubicBezTo>
                                    <a:pt x="136" y="413"/>
                                    <a:pt x="137" y="415"/>
                                    <a:pt x="138" y="418"/>
                                  </a:cubicBezTo>
                                  <a:cubicBezTo>
                                    <a:pt x="143" y="428"/>
                                    <a:pt x="147" y="436"/>
                                    <a:pt x="142" y="444"/>
                                  </a:cubicBezTo>
                                  <a:cubicBezTo>
                                    <a:pt x="139" y="448"/>
                                    <a:pt x="134" y="452"/>
                                    <a:pt x="129" y="456"/>
                                  </a:cubicBezTo>
                                  <a:cubicBezTo>
                                    <a:pt x="123" y="460"/>
                                    <a:pt x="118" y="462"/>
                                    <a:pt x="114" y="461"/>
                                  </a:cubicBezTo>
                                  <a:cubicBezTo>
                                    <a:pt x="112" y="460"/>
                                    <a:pt x="105" y="453"/>
                                    <a:pt x="98" y="445"/>
                                  </a:cubicBezTo>
                                  <a:cubicBezTo>
                                    <a:pt x="86" y="432"/>
                                    <a:pt x="71" y="416"/>
                                    <a:pt x="67" y="416"/>
                                  </a:cubicBezTo>
                                  <a:cubicBezTo>
                                    <a:pt x="63" y="416"/>
                                    <a:pt x="57" y="417"/>
                                    <a:pt x="53" y="419"/>
                                  </a:cubicBezTo>
                                  <a:cubicBezTo>
                                    <a:pt x="51" y="420"/>
                                    <a:pt x="49" y="423"/>
                                    <a:pt x="49" y="426"/>
                                  </a:cubicBezTo>
                                  <a:cubicBezTo>
                                    <a:pt x="48" y="428"/>
                                    <a:pt x="48" y="429"/>
                                    <a:pt x="48" y="431"/>
                                  </a:cubicBezTo>
                                  <a:cubicBezTo>
                                    <a:pt x="48" y="440"/>
                                    <a:pt x="48" y="446"/>
                                    <a:pt x="36" y="452"/>
                                  </a:cubicBezTo>
                                  <a:cubicBezTo>
                                    <a:pt x="33" y="454"/>
                                    <a:pt x="31" y="455"/>
                                    <a:pt x="30" y="455"/>
                                  </a:cubicBezTo>
                                  <a:cubicBezTo>
                                    <a:pt x="28" y="456"/>
                                    <a:pt x="27" y="456"/>
                                    <a:pt x="27" y="457"/>
                                  </a:cubicBezTo>
                                  <a:cubicBezTo>
                                    <a:pt x="26" y="458"/>
                                    <a:pt x="26" y="461"/>
                                    <a:pt x="25" y="468"/>
                                  </a:cubicBezTo>
                                  <a:cubicBezTo>
                                    <a:pt x="24" y="471"/>
                                    <a:pt x="24" y="471"/>
                                    <a:pt x="24" y="471"/>
                                  </a:cubicBezTo>
                                  <a:cubicBezTo>
                                    <a:pt x="22" y="481"/>
                                    <a:pt x="22" y="489"/>
                                    <a:pt x="22" y="495"/>
                                  </a:cubicBezTo>
                                  <a:cubicBezTo>
                                    <a:pt x="22" y="500"/>
                                    <a:pt x="23" y="504"/>
                                    <a:pt x="25" y="507"/>
                                  </a:cubicBezTo>
                                  <a:cubicBezTo>
                                    <a:pt x="30" y="514"/>
                                    <a:pt x="22" y="526"/>
                                    <a:pt x="18" y="533"/>
                                  </a:cubicBezTo>
                                  <a:cubicBezTo>
                                    <a:pt x="18" y="533"/>
                                    <a:pt x="17" y="534"/>
                                    <a:pt x="17" y="535"/>
                                  </a:cubicBezTo>
                                  <a:cubicBezTo>
                                    <a:pt x="17" y="535"/>
                                    <a:pt x="17" y="535"/>
                                    <a:pt x="17" y="535"/>
                                  </a:cubicBezTo>
                                  <a:cubicBezTo>
                                    <a:pt x="16" y="536"/>
                                    <a:pt x="14" y="538"/>
                                    <a:pt x="12" y="540"/>
                                  </a:cubicBezTo>
                                  <a:cubicBezTo>
                                    <a:pt x="7" y="546"/>
                                    <a:pt x="0" y="555"/>
                                    <a:pt x="1" y="561"/>
                                  </a:cubicBezTo>
                                  <a:cubicBezTo>
                                    <a:pt x="2" y="565"/>
                                    <a:pt x="4" y="568"/>
                                    <a:pt x="7" y="571"/>
                                  </a:cubicBezTo>
                                  <a:cubicBezTo>
                                    <a:pt x="10" y="574"/>
                                    <a:pt x="14" y="576"/>
                                    <a:pt x="19" y="578"/>
                                  </a:cubicBezTo>
                                  <a:cubicBezTo>
                                    <a:pt x="24" y="581"/>
                                    <a:pt x="28" y="583"/>
                                    <a:pt x="31" y="586"/>
                                  </a:cubicBezTo>
                                  <a:cubicBezTo>
                                    <a:pt x="33" y="589"/>
                                    <a:pt x="35" y="593"/>
                                    <a:pt x="36" y="597"/>
                                  </a:cubicBezTo>
                                  <a:cubicBezTo>
                                    <a:pt x="37" y="599"/>
                                    <a:pt x="37" y="601"/>
                                    <a:pt x="38" y="603"/>
                                  </a:cubicBezTo>
                                  <a:cubicBezTo>
                                    <a:pt x="39" y="611"/>
                                    <a:pt x="41" y="621"/>
                                    <a:pt x="48" y="622"/>
                                  </a:cubicBezTo>
                                  <a:cubicBezTo>
                                    <a:pt x="54" y="624"/>
                                    <a:pt x="61" y="623"/>
                                    <a:pt x="69" y="622"/>
                                  </a:cubicBezTo>
                                  <a:cubicBezTo>
                                    <a:pt x="78" y="621"/>
                                    <a:pt x="87" y="620"/>
                                    <a:pt x="94" y="622"/>
                                  </a:cubicBezTo>
                                  <a:cubicBezTo>
                                    <a:pt x="103" y="625"/>
                                    <a:pt x="110" y="637"/>
                                    <a:pt x="117" y="649"/>
                                  </a:cubicBezTo>
                                  <a:cubicBezTo>
                                    <a:pt x="121" y="655"/>
                                    <a:pt x="125" y="662"/>
                                    <a:pt x="129" y="667"/>
                                  </a:cubicBezTo>
                                  <a:cubicBezTo>
                                    <a:pt x="133" y="672"/>
                                    <a:pt x="136" y="675"/>
                                    <a:pt x="138" y="678"/>
                                  </a:cubicBezTo>
                                  <a:cubicBezTo>
                                    <a:pt x="145" y="685"/>
                                    <a:pt x="148" y="689"/>
                                    <a:pt x="148" y="696"/>
                                  </a:cubicBezTo>
                                  <a:cubicBezTo>
                                    <a:pt x="147" y="702"/>
                                    <a:pt x="142" y="704"/>
                                    <a:pt x="137" y="706"/>
                                  </a:cubicBezTo>
                                  <a:cubicBezTo>
                                    <a:pt x="137" y="706"/>
                                    <a:pt x="137" y="706"/>
                                    <a:pt x="137" y="706"/>
                                  </a:cubicBezTo>
                                  <a:cubicBezTo>
                                    <a:pt x="134" y="707"/>
                                    <a:pt x="132" y="708"/>
                                    <a:pt x="132" y="709"/>
                                  </a:cubicBezTo>
                                  <a:cubicBezTo>
                                    <a:pt x="132" y="712"/>
                                    <a:pt x="133" y="714"/>
                                    <a:pt x="135" y="716"/>
                                  </a:cubicBezTo>
                                  <a:cubicBezTo>
                                    <a:pt x="137" y="718"/>
                                    <a:pt x="140" y="721"/>
                                    <a:pt x="144" y="723"/>
                                  </a:cubicBezTo>
                                  <a:cubicBezTo>
                                    <a:pt x="148" y="726"/>
                                    <a:pt x="155" y="729"/>
                                    <a:pt x="162" y="733"/>
                                  </a:cubicBezTo>
                                  <a:cubicBezTo>
                                    <a:pt x="163" y="726"/>
                                    <a:pt x="167" y="725"/>
                                    <a:pt x="168" y="721"/>
                                  </a:cubicBezTo>
                                  <a:cubicBezTo>
                                    <a:pt x="169" y="716"/>
                                    <a:pt x="177" y="714"/>
                                    <a:pt x="193" y="714"/>
                                  </a:cubicBezTo>
                                  <a:cubicBezTo>
                                    <a:pt x="210" y="714"/>
                                    <a:pt x="212" y="709"/>
                                    <a:pt x="219" y="701"/>
                                  </a:cubicBezTo>
                                  <a:cubicBezTo>
                                    <a:pt x="225" y="692"/>
                                    <a:pt x="247" y="686"/>
                                    <a:pt x="261" y="681"/>
                                  </a:cubicBezTo>
                                  <a:cubicBezTo>
                                    <a:pt x="275" y="675"/>
                                    <a:pt x="294" y="676"/>
                                    <a:pt x="309" y="677"/>
                                  </a:cubicBezTo>
                                  <a:cubicBezTo>
                                    <a:pt x="325" y="677"/>
                                    <a:pt x="330" y="684"/>
                                    <a:pt x="348" y="692"/>
                                  </a:cubicBezTo>
                                  <a:cubicBezTo>
                                    <a:pt x="367" y="699"/>
                                    <a:pt x="357" y="690"/>
                                    <a:pt x="363" y="683"/>
                                  </a:cubicBezTo>
                                  <a:cubicBezTo>
                                    <a:pt x="370" y="676"/>
                                    <a:pt x="373" y="682"/>
                                    <a:pt x="385" y="690"/>
                                  </a:cubicBezTo>
                                  <a:cubicBezTo>
                                    <a:pt x="398" y="697"/>
                                    <a:pt x="394" y="703"/>
                                    <a:pt x="402" y="713"/>
                                  </a:cubicBezTo>
                                  <a:cubicBezTo>
                                    <a:pt x="410" y="724"/>
                                    <a:pt x="414" y="731"/>
                                    <a:pt x="413" y="747"/>
                                  </a:cubicBezTo>
                                  <a:cubicBezTo>
                                    <a:pt x="412" y="762"/>
                                    <a:pt x="409" y="769"/>
                                    <a:pt x="401" y="780"/>
                                  </a:cubicBezTo>
                                  <a:cubicBezTo>
                                    <a:pt x="393" y="790"/>
                                    <a:pt x="400" y="790"/>
                                    <a:pt x="404" y="800"/>
                                  </a:cubicBezTo>
                                  <a:cubicBezTo>
                                    <a:pt x="408" y="809"/>
                                    <a:pt x="419" y="807"/>
                                    <a:pt x="428" y="810"/>
                                  </a:cubicBezTo>
                                  <a:cubicBezTo>
                                    <a:pt x="437" y="813"/>
                                    <a:pt x="442" y="810"/>
                                    <a:pt x="453" y="801"/>
                                  </a:cubicBezTo>
                                  <a:cubicBezTo>
                                    <a:pt x="464" y="793"/>
                                    <a:pt x="467" y="799"/>
                                    <a:pt x="470" y="806"/>
                                  </a:cubicBezTo>
                                  <a:cubicBezTo>
                                    <a:pt x="473" y="812"/>
                                    <a:pt x="471" y="817"/>
                                    <a:pt x="477" y="824"/>
                                  </a:cubicBezTo>
                                  <a:cubicBezTo>
                                    <a:pt x="483" y="831"/>
                                    <a:pt x="476" y="833"/>
                                    <a:pt x="468" y="837"/>
                                  </a:cubicBezTo>
                                  <a:cubicBezTo>
                                    <a:pt x="460" y="840"/>
                                    <a:pt x="453" y="838"/>
                                    <a:pt x="450" y="834"/>
                                  </a:cubicBezTo>
                                  <a:cubicBezTo>
                                    <a:pt x="447" y="831"/>
                                    <a:pt x="455" y="829"/>
                                    <a:pt x="453" y="824"/>
                                  </a:cubicBezTo>
                                  <a:cubicBezTo>
                                    <a:pt x="451" y="819"/>
                                    <a:pt x="447" y="824"/>
                                    <a:pt x="433" y="824"/>
                                  </a:cubicBezTo>
                                  <a:cubicBezTo>
                                    <a:pt x="419" y="824"/>
                                    <a:pt x="417" y="824"/>
                                    <a:pt x="408" y="820"/>
                                  </a:cubicBezTo>
                                  <a:cubicBezTo>
                                    <a:pt x="399" y="816"/>
                                    <a:pt x="401" y="817"/>
                                    <a:pt x="376" y="816"/>
                                  </a:cubicBezTo>
                                  <a:cubicBezTo>
                                    <a:pt x="350" y="816"/>
                                    <a:pt x="358" y="816"/>
                                    <a:pt x="346" y="811"/>
                                  </a:cubicBezTo>
                                  <a:cubicBezTo>
                                    <a:pt x="334" y="806"/>
                                    <a:pt x="320" y="801"/>
                                    <a:pt x="313" y="805"/>
                                  </a:cubicBezTo>
                                  <a:cubicBezTo>
                                    <a:pt x="307" y="808"/>
                                    <a:pt x="299" y="807"/>
                                    <a:pt x="293" y="811"/>
                                  </a:cubicBezTo>
                                  <a:cubicBezTo>
                                    <a:pt x="287" y="814"/>
                                    <a:pt x="293" y="818"/>
                                    <a:pt x="286" y="826"/>
                                  </a:cubicBezTo>
                                  <a:cubicBezTo>
                                    <a:pt x="279" y="835"/>
                                    <a:pt x="275" y="832"/>
                                    <a:pt x="274" y="842"/>
                                  </a:cubicBezTo>
                                  <a:cubicBezTo>
                                    <a:pt x="273" y="852"/>
                                    <a:pt x="281" y="856"/>
                                    <a:pt x="289" y="863"/>
                                  </a:cubicBezTo>
                                  <a:cubicBezTo>
                                    <a:pt x="298" y="869"/>
                                    <a:pt x="304" y="870"/>
                                    <a:pt x="302" y="874"/>
                                  </a:cubicBezTo>
                                  <a:cubicBezTo>
                                    <a:pt x="301" y="879"/>
                                    <a:pt x="287" y="876"/>
                                    <a:pt x="275" y="872"/>
                                  </a:cubicBezTo>
                                  <a:cubicBezTo>
                                    <a:pt x="263" y="868"/>
                                    <a:pt x="260" y="867"/>
                                    <a:pt x="250" y="864"/>
                                  </a:cubicBezTo>
                                  <a:cubicBezTo>
                                    <a:pt x="240" y="861"/>
                                    <a:pt x="229" y="863"/>
                                    <a:pt x="226" y="870"/>
                                  </a:cubicBezTo>
                                  <a:cubicBezTo>
                                    <a:pt x="222" y="877"/>
                                    <a:pt x="226" y="888"/>
                                    <a:pt x="242" y="894"/>
                                  </a:cubicBezTo>
                                  <a:cubicBezTo>
                                    <a:pt x="259" y="901"/>
                                    <a:pt x="258" y="902"/>
                                    <a:pt x="265" y="910"/>
                                  </a:cubicBezTo>
                                  <a:cubicBezTo>
                                    <a:pt x="272" y="918"/>
                                    <a:pt x="281" y="935"/>
                                    <a:pt x="283" y="945"/>
                                  </a:cubicBezTo>
                                  <a:cubicBezTo>
                                    <a:pt x="284" y="954"/>
                                    <a:pt x="283" y="962"/>
                                    <a:pt x="286" y="971"/>
                                  </a:cubicBezTo>
                                  <a:cubicBezTo>
                                    <a:pt x="289" y="980"/>
                                    <a:pt x="298" y="974"/>
                                    <a:pt x="316" y="978"/>
                                  </a:cubicBezTo>
                                  <a:cubicBezTo>
                                    <a:pt x="334" y="982"/>
                                    <a:pt x="328" y="997"/>
                                    <a:pt x="339" y="993"/>
                                  </a:cubicBezTo>
                                  <a:cubicBezTo>
                                    <a:pt x="351" y="988"/>
                                    <a:pt x="368" y="1005"/>
                                    <a:pt x="372" y="1014"/>
                                  </a:cubicBezTo>
                                  <a:cubicBezTo>
                                    <a:pt x="376" y="1023"/>
                                    <a:pt x="370" y="1021"/>
                                    <a:pt x="359" y="1032"/>
                                  </a:cubicBezTo>
                                  <a:cubicBezTo>
                                    <a:pt x="348" y="1043"/>
                                    <a:pt x="356" y="1045"/>
                                    <a:pt x="356" y="1062"/>
                                  </a:cubicBezTo>
                                  <a:cubicBezTo>
                                    <a:pt x="356" y="1068"/>
                                    <a:pt x="357" y="1072"/>
                                    <a:pt x="358" y="1075"/>
                                  </a:cubicBezTo>
                                  <a:cubicBezTo>
                                    <a:pt x="359" y="1074"/>
                                    <a:pt x="361" y="1072"/>
                                    <a:pt x="362" y="1071"/>
                                  </a:cubicBezTo>
                                  <a:cubicBezTo>
                                    <a:pt x="368" y="1066"/>
                                    <a:pt x="374" y="1060"/>
                                    <a:pt x="376" y="1058"/>
                                  </a:cubicBezTo>
                                  <a:cubicBezTo>
                                    <a:pt x="380" y="1054"/>
                                    <a:pt x="388" y="1050"/>
                                    <a:pt x="394" y="1048"/>
                                  </a:cubicBezTo>
                                  <a:cubicBezTo>
                                    <a:pt x="395" y="1047"/>
                                    <a:pt x="396" y="1047"/>
                                    <a:pt x="397" y="1046"/>
                                  </a:cubicBezTo>
                                  <a:cubicBezTo>
                                    <a:pt x="399" y="1045"/>
                                    <a:pt x="409" y="1043"/>
                                    <a:pt x="419" y="1041"/>
                                  </a:cubicBezTo>
                                  <a:cubicBezTo>
                                    <a:pt x="437" y="1038"/>
                                    <a:pt x="459" y="1034"/>
                                    <a:pt x="462" y="1034"/>
                                  </a:cubicBezTo>
                                  <a:cubicBezTo>
                                    <a:pt x="465" y="1034"/>
                                    <a:pt x="477" y="1041"/>
                                    <a:pt x="488" y="1050"/>
                                  </a:cubicBezTo>
                                  <a:cubicBezTo>
                                    <a:pt x="497" y="1058"/>
                                    <a:pt x="507" y="1067"/>
                                    <a:pt x="512" y="1073"/>
                                  </a:cubicBezTo>
                                  <a:cubicBezTo>
                                    <a:pt x="513" y="1075"/>
                                    <a:pt x="513" y="1075"/>
                                    <a:pt x="513" y="1075"/>
                                  </a:cubicBezTo>
                                  <a:cubicBezTo>
                                    <a:pt x="523" y="1087"/>
                                    <a:pt x="538" y="1107"/>
                                    <a:pt x="550" y="1109"/>
                                  </a:cubicBezTo>
                                  <a:cubicBezTo>
                                    <a:pt x="555" y="1109"/>
                                    <a:pt x="567" y="1109"/>
                                    <a:pt x="582" y="1109"/>
                                  </a:cubicBezTo>
                                  <a:cubicBezTo>
                                    <a:pt x="582" y="1073"/>
                                    <a:pt x="579" y="863"/>
                                    <a:pt x="579" y="861"/>
                                  </a:cubicBezTo>
                                  <a:cubicBezTo>
                                    <a:pt x="579" y="855"/>
                                    <a:pt x="580" y="849"/>
                                    <a:pt x="582" y="844"/>
                                  </a:cubicBezTo>
                                  <a:cubicBezTo>
                                    <a:pt x="583" y="839"/>
                                    <a:pt x="586" y="835"/>
                                    <a:pt x="591" y="832"/>
                                  </a:cubicBezTo>
                                  <a:cubicBezTo>
                                    <a:pt x="595" y="830"/>
                                    <a:pt x="617" y="824"/>
                                    <a:pt x="642" y="817"/>
                                  </a:cubicBezTo>
                                  <a:cubicBezTo>
                                    <a:pt x="671" y="810"/>
                                    <a:pt x="705" y="801"/>
                                    <a:pt x="718" y="798"/>
                                  </a:cubicBezTo>
                                  <a:cubicBezTo>
                                    <a:pt x="730" y="796"/>
                                    <a:pt x="736" y="795"/>
                                    <a:pt x="741" y="794"/>
                                  </a:cubicBezTo>
                                  <a:cubicBezTo>
                                    <a:pt x="741" y="794"/>
                                    <a:pt x="741" y="794"/>
                                    <a:pt x="741" y="794"/>
                                  </a:cubicBezTo>
                                  <a:cubicBezTo>
                                    <a:pt x="741" y="794"/>
                                    <a:pt x="741" y="793"/>
                                    <a:pt x="742" y="793"/>
                                  </a:cubicBezTo>
                                  <a:cubicBezTo>
                                    <a:pt x="744" y="786"/>
                                    <a:pt x="744" y="784"/>
                                    <a:pt x="745" y="775"/>
                                  </a:cubicBezTo>
                                  <a:cubicBezTo>
                                    <a:pt x="745" y="766"/>
                                    <a:pt x="750" y="768"/>
                                    <a:pt x="757" y="763"/>
                                  </a:cubicBezTo>
                                  <a:cubicBezTo>
                                    <a:pt x="759" y="762"/>
                                    <a:pt x="761" y="761"/>
                                    <a:pt x="762" y="761"/>
                                  </a:cubicBezTo>
                                  <a:cubicBezTo>
                                    <a:pt x="773" y="760"/>
                                    <a:pt x="773" y="760"/>
                                    <a:pt x="773" y="760"/>
                                  </a:cubicBezTo>
                                  <a:cubicBezTo>
                                    <a:pt x="776" y="761"/>
                                    <a:pt x="779" y="762"/>
                                    <a:pt x="783" y="762"/>
                                  </a:cubicBezTo>
                                  <a:cubicBezTo>
                                    <a:pt x="792" y="765"/>
                                    <a:pt x="788" y="769"/>
                                    <a:pt x="783" y="775"/>
                                  </a:cubicBezTo>
                                  <a:cubicBezTo>
                                    <a:pt x="778" y="781"/>
                                    <a:pt x="771" y="779"/>
                                    <a:pt x="762" y="786"/>
                                  </a:cubicBezTo>
                                  <a:cubicBezTo>
                                    <a:pt x="756" y="791"/>
                                    <a:pt x="758" y="794"/>
                                    <a:pt x="757" y="798"/>
                                  </a:cubicBezTo>
                                  <a:cubicBezTo>
                                    <a:pt x="761" y="800"/>
                                    <a:pt x="765" y="802"/>
                                    <a:pt x="770" y="804"/>
                                  </a:cubicBezTo>
                                  <a:cubicBezTo>
                                    <a:pt x="775" y="807"/>
                                    <a:pt x="781" y="811"/>
                                    <a:pt x="787" y="814"/>
                                  </a:cubicBezTo>
                                  <a:cubicBezTo>
                                    <a:pt x="792" y="818"/>
                                    <a:pt x="806" y="826"/>
                                    <a:pt x="821" y="835"/>
                                  </a:cubicBezTo>
                                  <a:cubicBezTo>
                                    <a:pt x="847" y="851"/>
                                    <a:pt x="879" y="870"/>
                                    <a:pt x="884" y="874"/>
                                  </a:cubicBezTo>
                                  <a:cubicBezTo>
                                    <a:pt x="888" y="877"/>
                                    <a:pt x="893" y="880"/>
                                    <a:pt x="897" y="883"/>
                                  </a:cubicBezTo>
                                  <a:cubicBezTo>
                                    <a:pt x="901" y="887"/>
                                    <a:pt x="905" y="891"/>
                                    <a:pt x="908" y="895"/>
                                  </a:cubicBezTo>
                                  <a:cubicBezTo>
                                    <a:pt x="912" y="900"/>
                                    <a:pt x="919" y="908"/>
                                    <a:pt x="927" y="917"/>
                                  </a:cubicBezTo>
                                  <a:cubicBezTo>
                                    <a:pt x="932" y="922"/>
                                    <a:pt x="937" y="927"/>
                                    <a:pt x="941" y="931"/>
                                  </a:cubicBezTo>
                                  <a:cubicBezTo>
                                    <a:pt x="946" y="935"/>
                                    <a:pt x="950" y="939"/>
                                    <a:pt x="953" y="942"/>
                                  </a:cubicBezTo>
                                  <a:cubicBezTo>
                                    <a:pt x="958" y="947"/>
                                    <a:pt x="961" y="950"/>
                                    <a:pt x="964" y="950"/>
                                  </a:cubicBezTo>
                                  <a:cubicBezTo>
                                    <a:pt x="968" y="950"/>
                                    <a:pt x="982" y="948"/>
                                    <a:pt x="996" y="945"/>
                                  </a:cubicBezTo>
                                  <a:cubicBezTo>
                                    <a:pt x="1007" y="942"/>
                                    <a:pt x="1018" y="940"/>
                                    <a:pt x="1026" y="939"/>
                                  </a:cubicBezTo>
                                  <a:cubicBezTo>
                                    <a:pt x="1039" y="937"/>
                                    <a:pt x="1060" y="940"/>
                                    <a:pt x="1074" y="941"/>
                                  </a:cubicBezTo>
                                  <a:cubicBezTo>
                                    <a:pt x="1078" y="942"/>
                                    <a:pt x="1081" y="942"/>
                                    <a:pt x="1083" y="942"/>
                                  </a:cubicBezTo>
                                  <a:cubicBezTo>
                                    <a:pt x="1090" y="943"/>
                                    <a:pt x="1098" y="943"/>
                                    <a:pt x="1104" y="943"/>
                                  </a:cubicBezTo>
                                  <a:cubicBezTo>
                                    <a:pt x="1109" y="942"/>
                                    <a:pt x="1114" y="942"/>
                                    <a:pt x="1117" y="940"/>
                                  </a:cubicBezTo>
                                  <a:cubicBezTo>
                                    <a:pt x="1119" y="939"/>
                                    <a:pt x="1122" y="938"/>
                                    <a:pt x="1124" y="936"/>
                                  </a:cubicBezTo>
                                  <a:cubicBezTo>
                                    <a:pt x="1129" y="932"/>
                                    <a:pt x="1134" y="929"/>
                                    <a:pt x="1139" y="931"/>
                                  </a:cubicBezTo>
                                  <a:cubicBezTo>
                                    <a:pt x="1144" y="933"/>
                                    <a:pt x="1153" y="944"/>
                                    <a:pt x="1162" y="954"/>
                                  </a:cubicBezTo>
                                  <a:cubicBezTo>
                                    <a:pt x="1167" y="959"/>
                                    <a:pt x="1171" y="964"/>
                                    <a:pt x="1174" y="966"/>
                                  </a:cubicBezTo>
                                  <a:cubicBezTo>
                                    <a:pt x="1176" y="968"/>
                                    <a:pt x="1178" y="971"/>
                                    <a:pt x="1180" y="973"/>
                                  </a:cubicBezTo>
                                  <a:cubicBezTo>
                                    <a:pt x="1187" y="980"/>
                                    <a:pt x="1195" y="989"/>
                                    <a:pt x="1198" y="990"/>
                                  </a:cubicBezTo>
                                  <a:cubicBezTo>
                                    <a:pt x="1199" y="990"/>
                                    <a:pt x="1199" y="990"/>
                                    <a:pt x="1200" y="990"/>
                                  </a:cubicBezTo>
                                  <a:cubicBezTo>
                                    <a:pt x="1206" y="992"/>
                                    <a:pt x="1210" y="993"/>
                                    <a:pt x="1213" y="1010"/>
                                  </a:cubicBezTo>
                                  <a:cubicBezTo>
                                    <a:pt x="1214" y="1017"/>
                                    <a:pt x="1214" y="1026"/>
                                    <a:pt x="1213" y="1035"/>
                                  </a:cubicBezTo>
                                  <a:cubicBezTo>
                                    <a:pt x="1213" y="1048"/>
                                    <a:pt x="1213" y="1060"/>
                                    <a:pt x="1214" y="1060"/>
                                  </a:cubicBezTo>
                                  <a:cubicBezTo>
                                    <a:pt x="1216" y="1061"/>
                                    <a:pt x="1219" y="1061"/>
                                    <a:pt x="1222" y="1061"/>
                                  </a:cubicBezTo>
                                  <a:cubicBezTo>
                                    <a:pt x="1229" y="1061"/>
                                    <a:pt x="1237" y="1061"/>
                                    <a:pt x="1241" y="1067"/>
                                  </a:cubicBezTo>
                                  <a:cubicBezTo>
                                    <a:pt x="1244" y="1071"/>
                                    <a:pt x="1246" y="1080"/>
                                    <a:pt x="1248" y="1088"/>
                                  </a:cubicBezTo>
                                  <a:cubicBezTo>
                                    <a:pt x="1249" y="1094"/>
                                    <a:pt x="1250" y="1100"/>
                                    <a:pt x="1251" y="1104"/>
                                  </a:cubicBezTo>
                                  <a:cubicBezTo>
                                    <a:pt x="1252" y="1106"/>
                                    <a:pt x="1253" y="1109"/>
                                    <a:pt x="1254" y="1111"/>
                                  </a:cubicBezTo>
                                  <a:cubicBezTo>
                                    <a:pt x="1255" y="1116"/>
                                    <a:pt x="1256" y="1119"/>
                                    <a:pt x="1259" y="1120"/>
                                  </a:cubicBezTo>
                                  <a:cubicBezTo>
                                    <a:pt x="1263" y="1122"/>
                                    <a:pt x="1272" y="1121"/>
                                    <a:pt x="1280" y="1121"/>
                                  </a:cubicBezTo>
                                  <a:cubicBezTo>
                                    <a:pt x="1282" y="1120"/>
                                    <a:pt x="1285" y="1120"/>
                                    <a:pt x="1287" y="1120"/>
                                  </a:cubicBezTo>
                                  <a:cubicBezTo>
                                    <a:pt x="1287" y="1120"/>
                                    <a:pt x="1287" y="1120"/>
                                    <a:pt x="1287" y="1120"/>
                                  </a:cubicBezTo>
                                  <a:cubicBezTo>
                                    <a:pt x="1289" y="1120"/>
                                    <a:pt x="1293" y="1120"/>
                                    <a:pt x="1297" y="1119"/>
                                  </a:cubicBezTo>
                                  <a:cubicBezTo>
                                    <a:pt x="1307" y="1118"/>
                                    <a:pt x="1320" y="1116"/>
                                    <a:pt x="1326" y="1120"/>
                                  </a:cubicBezTo>
                                  <a:cubicBezTo>
                                    <a:pt x="1330" y="1122"/>
                                    <a:pt x="1333" y="1125"/>
                                    <a:pt x="1335" y="1128"/>
                                  </a:cubicBezTo>
                                  <a:cubicBezTo>
                                    <a:pt x="1337" y="1131"/>
                                    <a:pt x="1338" y="1134"/>
                                    <a:pt x="1339" y="1137"/>
                                  </a:cubicBezTo>
                                  <a:cubicBezTo>
                                    <a:pt x="1339" y="1141"/>
                                    <a:pt x="1338" y="1144"/>
                                    <a:pt x="1336" y="1147"/>
                                  </a:cubicBezTo>
                                  <a:cubicBezTo>
                                    <a:pt x="1335" y="1149"/>
                                    <a:pt x="1334" y="1149"/>
                                    <a:pt x="1335" y="1150"/>
                                  </a:cubicBezTo>
                                  <a:cubicBezTo>
                                    <a:pt x="1335" y="1151"/>
                                    <a:pt x="1338" y="1153"/>
                                    <a:pt x="1342" y="1156"/>
                                  </a:cubicBezTo>
                                  <a:cubicBezTo>
                                    <a:pt x="1346" y="1159"/>
                                    <a:pt x="1351" y="1162"/>
                                    <a:pt x="1352" y="1163"/>
                                  </a:cubicBezTo>
                                  <a:cubicBezTo>
                                    <a:pt x="1353" y="1164"/>
                                    <a:pt x="1356" y="1164"/>
                                    <a:pt x="1358" y="1164"/>
                                  </a:cubicBezTo>
                                  <a:cubicBezTo>
                                    <a:pt x="1360" y="1164"/>
                                    <a:pt x="1361" y="1163"/>
                                    <a:pt x="1362" y="1163"/>
                                  </a:cubicBezTo>
                                  <a:cubicBezTo>
                                    <a:pt x="1363" y="1162"/>
                                    <a:pt x="1363" y="1158"/>
                                    <a:pt x="1363" y="1154"/>
                                  </a:cubicBezTo>
                                  <a:cubicBezTo>
                                    <a:pt x="1363" y="1154"/>
                                    <a:pt x="1363" y="1154"/>
                                    <a:pt x="1363" y="1154"/>
                                  </a:cubicBezTo>
                                  <a:cubicBezTo>
                                    <a:pt x="1363" y="1150"/>
                                    <a:pt x="1363" y="1145"/>
                                    <a:pt x="1364" y="1142"/>
                                  </a:cubicBezTo>
                                  <a:cubicBezTo>
                                    <a:pt x="1366" y="1138"/>
                                    <a:pt x="1370" y="1135"/>
                                    <a:pt x="1374" y="1132"/>
                                  </a:cubicBezTo>
                                  <a:cubicBezTo>
                                    <a:pt x="1379" y="1128"/>
                                    <a:pt x="1384" y="1125"/>
                                    <a:pt x="1387" y="1120"/>
                                  </a:cubicBezTo>
                                  <a:cubicBezTo>
                                    <a:pt x="1391" y="1114"/>
                                    <a:pt x="1398" y="1107"/>
                                    <a:pt x="1407" y="1100"/>
                                  </a:cubicBezTo>
                                  <a:cubicBezTo>
                                    <a:pt x="1414" y="1094"/>
                                    <a:pt x="1424" y="1087"/>
                                    <a:pt x="1435" y="1081"/>
                                  </a:cubicBezTo>
                                  <a:cubicBezTo>
                                    <a:pt x="1448" y="1074"/>
                                    <a:pt x="1466" y="1065"/>
                                    <a:pt x="1481" y="1058"/>
                                  </a:cubicBezTo>
                                  <a:cubicBezTo>
                                    <a:pt x="1493" y="1052"/>
                                    <a:pt x="1503" y="1048"/>
                                    <a:pt x="1504" y="1046"/>
                                  </a:cubicBezTo>
                                  <a:cubicBezTo>
                                    <a:pt x="1506" y="1045"/>
                                    <a:pt x="1506" y="1040"/>
                                    <a:pt x="1505" y="1037"/>
                                  </a:cubicBezTo>
                                  <a:cubicBezTo>
                                    <a:pt x="1505" y="1037"/>
                                    <a:pt x="1505" y="1036"/>
                                    <a:pt x="1505" y="1036"/>
                                  </a:cubicBezTo>
                                  <a:cubicBezTo>
                                    <a:pt x="1505" y="1033"/>
                                    <a:pt x="1511" y="1026"/>
                                    <a:pt x="1517" y="1019"/>
                                  </a:cubicBezTo>
                                  <a:cubicBezTo>
                                    <a:pt x="1522" y="1013"/>
                                    <a:pt x="1529" y="1007"/>
                                    <a:pt x="1532" y="1006"/>
                                  </a:cubicBezTo>
                                  <a:cubicBezTo>
                                    <a:pt x="1536" y="1004"/>
                                    <a:pt x="1546" y="1004"/>
                                    <a:pt x="1555" y="1004"/>
                                  </a:cubicBezTo>
                                  <a:cubicBezTo>
                                    <a:pt x="1555" y="1004"/>
                                    <a:pt x="1556" y="1004"/>
                                    <a:pt x="1560" y="1004"/>
                                  </a:cubicBezTo>
                                  <a:cubicBezTo>
                                    <a:pt x="1563" y="1004"/>
                                    <a:pt x="1565" y="1004"/>
                                    <a:pt x="1566" y="1004"/>
                                  </a:cubicBezTo>
                                  <a:cubicBezTo>
                                    <a:pt x="1574" y="1004"/>
                                    <a:pt x="1581" y="1004"/>
                                    <a:pt x="1592" y="1006"/>
                                  </a:cubicBezTo>
                                  <a:cubicBezTo>
                                    <a:pt x="1601" y="1007"/>
                                    <a:pt x="1622" y="1014"/>
                                    <a:pt x="1637" y="1020"/>
                                  </a:cubicBezTo>
                                  <a:cubicBezTo>
                                    <a:pt x="1646" y="1024"/>
                                    <a:pt x="1654" y="1026"/>
                                    <a:pt x="1655" y="1026"/>
                                  </a:cubicBezTo>
                                  <a:cubicBezTo>
                                    <a:pt x="1655" y="1026"/>
                                    <a:pt x="1656" y="1026"/>
                                    <a:pt x="1656" y="1027"/>
                                  </a:cubicBezTo>
                                  <a:cubicBezTo>
                                    <a:pt x="1656" y="1027"/>
                                    <a:pt x="1656" y="1027"/>
                                    <a:pt x="1656" y="1027"/>
                                  </a:cubicBezTo>
                                  <a:cubicBezTo>
                                    <a:pt x="1658" y="1027"/>
                                    <a:pt x="1660" y="1027"/>
                                    <a:pt x="1661" y="1026"/>
                                  </a:cubicBezTo>
                                  <a:cubicBezTo>
                                    <a:pt x="1661" y="1026"/>
                                    <a:pt x="1661" y="1026"/>
                                    <a:pt x="1661" y="1026"/>
                                  </a:cubicBezTo>
                                  <a:cubicBezTo>
                                    <a:pt x="1661" y="1026"/>
                                    <a:pt x="1661" y="1026"/>
                                    <a:pt x="1661" y="1026"/>
                                  </a:cubicBezTo>
                                  <a:cubicBezTo>
                                    <a:pt x="1661" y="1026"/>
                                    <a:pt x="1661" y="1026"/>
                                    <a:pt x="1661" y="1026"/>
                                  </a:cubicBezTo>
                                  <a:cubicBezTo>
                                    <a:pt x="1661" y="1025"/>
                                    <a:pt x="1661" y="1024"/>
                                    <a:pt x="1661" y="1023"/>
                                  </a:cubicBezTo>
                                  <a:cubicBezTo>
                                    <a:pt x="1661" y="1018"/>
                                    <a:pt x="1661" y="1012"/>
                                    <a:pt x="1662" y="1007"/>
                                  </a:cubicBezTo>
                                  <a:cubicBezTo>
                                    <a:pt x="1662" y="1003"/>
                                    <a:pt x="1665" y="998"/>
                                    <a:pt x="1668" y="994"/>
                                  </a:cubicBezTo>
                                  <a:cubicBezTo>
                                    <a:pt x="1671" y="989"/>
                                    <a:pt x="1675" y="985"/>
                                    <a:pt x="1678" y="984"/>
                                  </a:cubicBezTo>
                                  <a:cubicBezTo>
                                    <a:pt x="1678" y="984"/>
                                    <a:pt x="1679" y="983"/>
                                    <a:pt x="1680" y="982"/>
                                  </a:cubicBezTo>
                                  <a:cubicBezTo>
                                    <a:pt x="1686" y="978"/>
                                    <a:pt x="1696" y="971"/>
                                    <a:pt x="1710" y="972"/>
                                  </a:cubicBezTo>
                                  <a:cubicBezTo>
                                    <a:pt x="1723" y="972"/>
                                    <a:pt x="1732" y="978"/>
                                    <a:pt x="1740" y="982"/>
                                  </a:cubicBezTo>
                                  <a:cubicBezTo>
                                    <a:pt x="1743" y="984"/>
                                    <a:pt x="1746" y="986"/>
                                    <a:pt x="1748" y="987"/>
                                  </a:cubicBezTo>
                                  <a:cubicBezTo>
                                    <a:pt x="1749" y="987"/>
                                    <a:pt x="1750" y="988"/>
                                    <a:pt x="1751" y="988"/>
                                  </a:cubicBezTo>
                                  <a:cubicBezTo>
                                    <a:pt x="1760" y="992"/>
                                    <a:pt x="1779" y="1000"/>
                                    <a:pt x="1791" y="998"/>
                                  </a:cubicBezTo>
                                  <a:cubicBezTo>
                                    <a:pt x="1795" y="997"/>
                                    <a:pt x="1798" y="996"/>
                                    <a:pt x="1802" y="995"/>
                                  </a:cubicBezTo>
                                  <a:cubicBezTo>
                                    <a:pt x="1811" y="993"/>
                                    <a:pt x="1819" y="991"/>
                                    <a:pt x="1830" y="991"/>
                                  </a:cubicBezTo>
                                  <a:cubicBezTo>
                                    <a:pt x="1838" y="992"/>
                                    <a:pt x="1848" y="992"/>
                                    <a:pt x="1860" y="992"/>
                                  </a:cubicBezTo>
                                  <a:cubicBezTo>
                                    <a:pt x="1869" y="992"/>
                                    <a:pt x="1879" y="992"/>
                                    <a:pt x="1888" y="992"/>
                                  </a:cubicBezTo>
                                  <a:cubicBezTo>
                                    <a:pt x="1898" y="992"/>
                                    <a:pt x="1911" y="993"/>
                                    <a:pt x="1923" y="993"/>
                                  </a:cubicBezTo>
                                  <a:cubicBezTo>
                                    <a:pt x="1939" y="995"/>
                                    <a:pt x="1954" y="996"/>
                                    <a:pt x="1962" y="998"/>
                                  </a:cubicBezTo>
                                  <a:cubicBezTo>
                                    <a:pt x="1967" y="998"/>
                                    <a:pt x="1974" y="999"/>
                                    <a:pt x="1982" y="1000"/>
                                  </a:cubicBezTo>
                                  <a:cubicBezTo>
                                    <a:pt x="1998" y="1001"/>
                                    <a:pt x="2016" y="1003"/>
                                    <a:pt x="2021" y="1007"/>
                                  </a:cubicBezTo>
                                  <a:cubicBezTo>
                                    <a:pt x="2026" y="1010"/>
                                    <a:pt x="2029" y="1016"/>
                                    <a:pt x="2031" y="1021"/>
                                  </a:cubicBezTo>
                                  <a:cubicBezTo>
                                    <a:pt x="2033" y="1024"/>
                                    <a:pt x="2034" y="1027"/>
                                    <a:pt x="2035" y="1028"/>
                                  </a:cubicBezTo>
                                  <a:cubicBezTo>
                                    <a:pt x="2036" y="1029"/>
                                    <a:pt x="2043" y="1028"/>
                                    <a:pt x="2049" y="1027"/>
                                  </a:cubicBezTo>
                                  <a:cubicBezTo>
                                    <a:pt x="2054" y="1027"/>
                                    <a:pt x="2058" y="1026"/>
                                    <a:pt x="2061" y="1027"/>
                                  </a:cubicBezTo>
                                  <a:cubicBezTo>
                                    <a:pt x="2064" y="1027"/>
                                    <a:pt x="2068" y="1030"/>
                                    <a:pt x="2072" y="1033"/>
                                  </a:cubicBezTo>
                                  <a:cubicBezTo>
                                    <a:pt x="2073" y="1034"/>
                                    <a:pt x="2075" y="1036"/>
                                    <a:pt x="2076" y="1037"/>
                                  </a:cubicBezTo>
                                  <a:cubicBezTo>
                                    <a:pt x="2076" y="1035"/>
                                    <a:pt x="2075" y="1033"/>
                                    <a:pt x="2075" y="1030"/>
                                  </a:cubicBezTo>
                                  <a:cubicBezTo>
                                    <a:pt x="2073" y="1024"/>
                                    <a:pt x="2071" y="1017"/>
                                    <a:pt x="2075" y="1010"/>
                                  </a:cubicBezTo>
                                  <a:cubicBezTo>
                                    <a:pt x="2078" y="1002"/>
                                    <a:pt x="2083" y="999"/>
                                    <a:pt x="2086" y="997"/>
                                  </a:cubicBezTo>
                                  <a:cubicBezTo>
                                    <a:pt x="2088" y="997"/>
                                    <a:pt x="2089" y="996"/>
                                    <a:pt x="2090" y="995"/>
                                  </a:cubicBezTo>
                                  <a:cubicBezTo>
                                    <a:pt x="2090" y="994"/>
                                    <a:pt x="2090" y="993"/>
                                    <a:pt x="2089" y="991"/>
                                  </a:cubicBezTo>
                                  <a:cubicBezTo>
                                    <a:pt x="2088" y="988"/>
                                    <a:pt x="2087" y="984"/>
                                    <a:pt x="2092" y="980"/>
                                  </a:cubicBezTo>
                                  <a:cubicBezTo>
                                    <a:pt x="2095" y="978"/>
                                    <a:pt x="2097" y="977"/>
                                    <a:pt x="2099" y="976"/>
                                  </a:cubicBezTo>
                                  <a:cubicBezTo>
                                    <a:pt x="2102" y="975"/>
                                    <a:pt x="2104" y="974"/>
                                    <a:pt x="2106" y="971"/>
                                  </a:cubicBezTo>
                                  <a:cubicBezTo>
                                    <a:pt x="2106" y="971"/>
                                    <a:pt x="2106" y="971"/>
                                    <a:pt x="2106" y="971"/>
                                  </a:cubicBezTo>
                                  <a:cubicBezTo>
                                    <a:pt x="2110" y="965"/>
                                    <a:pt x="2106" y="954"/>
                                    <a:pt x="2101" y="941"/>
                                  </a:cubicBezTo>
                                  <a:cubicBezTo>
                                    <a:pt x="2100" y="939"/>
                                    <a:pt x="2100" y="939"/>
                                    <a:pt x="2100" y="939"/>
                                  </a:cubicBezTo>
                                  <a:cubicBezTo>
                                    <a:pt x="2100" y="939"/>
                                    <a:pt x="2100" y="939"/>
                                    <a:pt x="2100" y="939"/>
                                  </a:cubicBezTo>
                                  <a:cubicBezTo>
                                    <a:pt x="2098" y="934"/>
                                    <a:pt x="2096" y="931"/>
                                    <a:pt x="2095" y="927"/>
                                  </a:cubicBezTo>
                                  <a:cubicBezTo>
                                    <a:pt x="2091" y="919"/>
                                    <a:pt x="2087" y="912"/>
                                    <a:pt x="2086" y="899"/>
                                  </a:cubicBezTo>
                                  <a:cubicBezTo>
                                    <a:pt x="2086" y="891"/>
                                    <a:pt x="2085" y="887"/>
                                    <a:pt x="2084" y="884"/>
                                  </a:cubicBezTo>
                                  <a:cubicBezTo>
                                    <a:pt x="2084" y="878"/>
                                    <a:pt x="2083" y="875"/>
                                    <a:pt x="2085" y="868"/>
                                  </a:cubicBezTo>
                                  <a:cubicBezTo>
                                    <a:pt x="2086" y="863"/>
                                    <a:pt x="2088" y="861"/>
                                    <a:pt x="2089" y="859"/>
                                  </a:cubicBezTo>
                                  <a:cubicBezTo>
                                    <a:pt x="2089" y="858"/>
                                    <a:pt x="2089" y="858"/>
                                    <a:pt x="2089" y="857"/>
                                  </a:cubicBezTo>
                                  <a:cubicBezTo>
                                    <a:pt x="2088" y="855"/>
                                    <a:pt x="2087" y="854"/>
                                    <a:pt x="2086" y="853"/>
                                  </a:cubicBezTo>
                                  <a:cubicBezTo>
                                    <a:pt x="2084" y="853"/>
                                    <a:pt x="2081" y="853"/>
                                    <a:pt x="2077" y="854"/>
                                  </a:cubicBezTo>
                                  <a:cubicBezTo>
                                    <a:pt x="2071" y="855"/>
                                    <a:pt x="2067" y="856"/>
                                    <a:pt x="2064" y="855"/>
                                  </a:cubicBezTo>
                                  <a:cubicBezTo>
                                    <a:pt x="2064" y="855"/>
                                    <a:pt x="2064" y="855"/>
                                    <a:pt x="2064" y="855"/>
                                  </a:cubicBezTo>
                                  <a:cubicBezTo>
                                    <a:pt x="2059" y="854"/>
                                    <a:pt x="2057" y="851"/>
                                    <a:pt x="2056" y="846"/>
                                  </a:cubicBezTo>
                                  <a:cubicBezTo>
                                    <a:pt x="2056" y="841"/>
                                    <a:pt x="2057" y="837"/>
                                    <a:pt x="2060" y="833"/>
                                  </a:cubicBezTo>
                                  <a:cubicBezTo>
                                    <a:pt x="2064" y="830"/>
                                    <a:pt x="2068" y="828"/>
                                    <a:pt x="2075" y="826"/>
                                  </a:cubicBezTo>
                                  <a:cubicBezTo>
                                    <a:pt x="2081" y="825"/>
                                    <a:pt x="2088" y="823"/>
                                    <a:pt x="2096" y="821"/>
                                  </a:cubicBezTo>
                                  <a:cubicBezTo>
                                    <a:pt x="2104" y="819"/>
                                    <a:pt x="2112" y="817"/>
                                    <a:pt x="2120" y="815"/>
                                  </a:cubicBezTo>
                                  <a:cubicBezTo>
                                    <a:pt x="2125" y="814"/>
                                    <a:pt x="2130" y="813"/>
                                    <a:pt x="2135" y="812"/>
                                  </a:cubicBezTo>
                                  <a:cubicBezTo>
                                    <a:pt x="2146" y="810"/>
                                    <a:pt x="2156" y="808"/>
                                    <a:pt x="2164" y="807"/>
                                  </a:cubicBezTo>
                                  <a:cubicBezTo>
                                    <a:pt x="2175" y="806"/>
                                    <a:pt x="2178" y="810"/>
                                    <a:pt x="2180" y="813"/>
                                  </a:cubicBezTo>
                                  <a:cubicBezTo>
                                    <a:pt x="2180" y="814"/>
                                    <a:pt x="2180" y="814"/>
                                    <a:pt x="2180" y="814"/>
                                  </a:cubicBezTo>
                                  <a:cubicBezTo>
                                    <a:pt x="2181" y="815"/>
                                    <a:pt x="2182" y="815"/>
                                    <a:pt x="2184" y="816"/>
                                  </a:cubicBezTo>
                                  <a:cubicBezTo>
                                    <a:pt x="2186" y="817"/>
                                    <a:pt x="2188" y="818"/>
                                    <a:pt x="2191" y="818"/>
                                  </a:cubicBezTo>
                                  <a:cubicBezTo>
                                    <a:pt x="2195" y="818"/>
                                    <a:pt x="2205" y="817"/>
                                    <a:pt x="2213" y="817"/>
                                  </a:cubicBezTo>
                                  <a:cubicBezTo>
                                    <a:pt x="2219" y="816"/>
                                    <a:pt x="2224" y="816"/>
                                    <a:pt x="2225" y="815"/>
                                  </a:cubicBezTo>
                                  <a:cubicBezTo>
                                    <a:pt x="2225" y="815"/>
                                    <a:pt x="2225" y="815"/>
                                    <a:pt x="2225" y="815"/>
                                  </a:cubicBezTo>
                                  <a:cubicBezTo>
                                    <a:pt x="2226" y="815"/>
                                    <a:pt x="2226" y="814"/>
                                    <a:pt x="2226" y="813"/>
                                  </a:cubicBezTo>
                                  <a:cubicBezTo>
                                    <a:pt x="2227" y="812"/>
                                    <a:pt x="2227" y="811"/>
                                    <a:pt x="2226" y="810"/>
                                  </a:cubicBezTo>
                                  <a:cubicBezTo>
                                    <a:pt x="2226" y="809"/>
                                    <a:pt x="2225" y="808"/>
                                    <a:pt x="2224" y="807"/>
                                  </a:cubicBezTo>
                                  <a:cubicBezTo>
                                    <a:pt x="2223" y="805"/>
                                    <a:pt x="2220" y="804"/>
                                    <a:pt x="2217" y="803"/>
                                  </a:cubicBezTo>
                                  <a:cubicBezTo>
                                    <a:pt x="2217" y="803"/>
                                    <a:pt x="2217" y="803"/>
                                    <a:pt x="2217" y="803"/>
                                  </a:cubicBezTo>
                                  <a:cubicBezTo>
                                    <a:pt x="2212" y="802"/>
                                    <a:pt x="2208" y="801"/>
                                    <a:pt x="2207" y="795"/>
                                  </a:cubicBezTo>
                                  <a:cubicBezTo>
                                    <a:pt x="2205" y="788"/>
                                    <a:pt x="2228" y="726"/>
                                    <a:pt x="2238" y="696"/>
                                  </a:cubicBezTo>
                                  <a:cubicBezTo>
                                    <a:pt x="2241" y="688"/>
                                    <a:pt x="2243" y="682"/>
                                    <a:pt x="2244" y="680"/>
                                  </a:cubicBezTo>
                                  <a:cubicBezTo>
                                    <a:pt x="2245" y="676"/>
                                    <a:pt x="2247" y="671"/>
                                    <a:pt x="2250" y="668"/>
                                  </a:cubicBezTo>
                                  <a:cubicBezTo>
                                    <a:pt x="2254" y="664"/>
                                    <a:pt x="2259" y="662"/>
                                    <a:pt x="2266" y="665"/>
                                  </a:cubicBezTo>
                                  <a:cubicBezTo>
                                    <a:pt x="2271" y="666"/>
                                    <a:pt x="2275" y="669"/>
                                    <a:pt x="2280" y="671"/>
                                  </a:cubicBezTo>
                                  <a:cubicBezTo>
                                    <a:pt x="2286" y="675"/>
                                    <a:pt x="2293" y="679"/>
                                    <a:pt x="2299" y="680"/>
                                  </a:cubicBezTo>
                                  <a:cubicBezTo>
                                    <a:pt x="2305" y="680"/>
                                    <a:pt x="2317" y="680"/>
                                    <a:pt x="2328" y="680"/>
                                  </a:cubicBezTo>
                                  <a:cubicBezTo>
                                    <a:pt x="2341" y="679"/>
                                    <a:pt x="2353" y="679"/>
                                    <a:pt x="2358" y="680"/>
                                  </a:cubicBezTo>
                                  <a:cubicBezTo>
                                    <a:pt x="2362" y="681"/>
                                    <a:pt x="2365" y="682"/>
                                    <a:pt x="2367" y="683"/>
                                  </a:cubicBezTo>
                                  <a:cubicBezTo>
                                    <a:pt x="2370" y="684"/>
                                    <a:pt x="2371" y="685"/>
                                    <a:pt x="2374" y="685"/>
                                  </a:cubicBezTo>
                                  <a:cubicBezTo>
                                    <a:pt x="2376" y="685"/>
                                    <a:pt x="2385" y="680"/>
                                    <a:pt x="2394" y="675"/>
                                  </a:cubicBezTo>
                                  <a:cubicBezTo>
                                    <a:pt x="2402" y="671"/>
                                    <a:pt x="2409" y="666"/>
                                    <a:pt x="2410" y="663"/>
                                  </a:cubicBezTo>
                                  <a:cubicBezTo>
                                    <a:pt x="2412" y="660"/>
                                    <a:pt x="2413" y="656"/>
                                    <a:pt x="2414" y="653"/>
                                  </a:cubicBezTo>
                                  <a:cubicBezTo>
                                    <a:pt x="2414" y="649"/>
                                    <a:pt x="2414" y="645"/>
                                    <a:pt x="2413" y="641"/>
                                  </a:cubicBezTo>
                                  <a:cubicBezTo>
                                    <a:pt x="2413" y="638"/>
                                    <a:pt x="2413" y="637"/>
                                    <a:pt x="2413" y="637"/>
                                  </a:cubicBezTo>
                                  <a:cubicBezTo>
                                    <a:pt x="2410" y="627"/>
                                    <a:pt x="2406" y="609"/>
                                    <a:pt x="2407" y="603"/>
                                  </a:cubicBezTo>
                                  <a:cubicBezTo>
                                    <a:pt x="2408" y="599"/>
                                    <a:pt x="2411" y="590"/>
                                    <a:pt x="2415" y="583"/>
                                  </a:cubicBezTo>
                                  <a:cubicBezTo>
                                    <a:pt x="2418" y="576"/>
                                    <a:pt x="2422" y="571"/>
                                    <a:pt x="2426" y="568"/>
                                  </a:cubicBezTo>
                                  <a:cubicBezTo>
                                    <a:pt x="2431" y="564"/>
                                    <a:pt x="2435" y="563"/>
                                    <a:pt x="2441" y="563"/>
                                  </a:cubicBezTo>
                                  <a:cubicBezTo>
                                    <a:pt x="2444" y="563"/>
                                    <a:pt x="2449" y="562"/>
                                    <a:pt x="2454" y="561"/>
                                  </a:cubicBezTo>
                                  <a:cubicBezTo>
                                    <a:pt x="2461" y="559"/>
                                    <a:pt x="2466" y="557"/>
                                    <a:pt x="2470" y="555"/>
                                  </a:cubicBezTo>
                                  <a:cubicBezTo>
                                    <a:pt x="2473" y="553"/>
                                    <a:pt x="2475" y="552"/>
                                    <a:pt x="2476" y="550"/>
                                  </a:cubicBezTo>
                                  <a:cubicBezTo>
                                    <a:pt x="2477" y="547"/>
                                    <a:pt x="2480" y="540"/>
                                    <a:pt x="2482" y="534"/>
                                  </a:cubicBezTo>
                                  <a:cubicBezTo>
                                    <a:pt x="2484" y="528"/>
                                    <a:pt x="2486" y="523"/>
                                    <a:pt x="2486" y="521"/>
                                  </a:cubicBezTo>
                                  <a:cubicBezTo>
                                    <a:pt x="2487" y="513"/>
                                    <a:pt x="2491" y="513"/>
                                    <a:pt x="2508" y="512"/>
                                  </a:cubicBezTo>
                                  <a:cubicBezTo>
                                    <a:pt x="2508" y="512"/>
                                    <a:pt x="2508" y="512"/>
                                    <a:pt x="2508" y="512"/>
                                  </a:cubicBezTo>
                                  <a:cubicBezTo>
                                    <a:pt x="2506" y="510"/>
                                    <a:pt x="2503" y="508"/>
                                    <a:pt x="2499" y="504"/>
                                  </a:cubicBezTo>
                                  <a:close/>
                                  <a:moveTo>
                                    <a:pt x="822" y="750"/>
                                  </a:moveTo>
                                  <a:cubicBezTo>
                                    <a:pt x="822" y="750"/>
                                    <a:pt x="822" y="750"/>
                                    <a:pt x="822" y="750"/>
                                  </a:cubicBezTo>
                                  <a:cubicBezTo>
                                    <a:pt x="822" y="758"/>
                                    <a:pt x="814" y="755"/>
                                    <a:pt x="809" y="751"/>
                                  </a:cubicBezTo>
                                  <a:cubicBezTo>
                                    <a:pt x="804" y="748"/>
                                    <a:pt x="805" y="746"/>
                                    <a:pt x="805" y="739"/>
                                  </a:cubicBezTo>
                                  <a:cubicBezTo>
                                    <a:pt x="808" y="732"/>
                                    <a:pt x="816" y="735"/>
                                    <a:pt x="821" y="736"/>
                                  </a:cubicBezTo>
                                  <a:cubicBezTo>
                                    <a:pt x="826" y="737"/>
                                    <a:pt x="822" y="741"/>
                                    <a:pt x="822" y="750"/>
                                  </a:cubicBezTo>
                                  <a:close/>
                                  <a:moveTo>
                                    <a:pt x="901" y="737"/>
                                  </a:moveTo>
                                  <a:cubicBezTo>
                                    <a:pt x="901" y="737"/>
                                    <a:pt x="901" y="737"/>
                                    <a:pt x="901" y="737"/>
                                  </a:cubicBezTo>
                                  <a:cubicBezTo>
                                    <a:pt x="899" y="743"/>
                                    <a:pt x="892" y="746"/>
                                    <a:pt x="882" y="746"/>
                                  </a:cubicBezTo>
                                  <a:cubicBezTo>
                                    <a:pt x="872" y="745"/>
                                    <a:pt x="876" y="736"/>
                                    <a:pt x="872" y="733"/>
                                  </a:cubicBezTo>
                                  <a:cubicBezTo>
                                    <a:pt x="867" y="729"/>
                                    <a:pt x="865" y="735"/>
                                    <a:pt x="858" y="732"/>
                                  </a:cubicBezTo>
                                  <a:cubicBezTo>
                                    <a:pt x="851" y="728"/>
                                    <a:pt x="852" y="727"/>
                                    <a:pt x="846" y="727"/>
                                  </a:cubicBezTo>
                                  <a:cubicBezTo>
                                    <a:pt x="840" y="726"/>
                                    <a:pt x="836" y="727"/>
                                    <a:pt x="830" y="723"/>
                                  </a:cubicBezTo>
                                  <a:cubicBezTo>
                                    <a:pt x="824" y="719"/>
                                    <a:pt x="831" y="714"/>
                                    <a:pt x="842" y="707"/>
                                  </a:cubicBezTo>
                                  <a:cubicBezTo>
                                    <a:pt x="847" y="704"/>
                                    <a:pt x="846" y="704"/>
                                    <a:pt x="850" y="711"/>
                                  </a:cubicBezTo>
                                  <a:cubicBezTo>
                                    <a:pt x="855" y="717"/>
                                    <a:pt x="855" y="715"/>
                                    <a:pt x="860" y="715"/>
                                  </a:cubicBezTo>
                                  <a:cubicBezTo>
                                    <a:pt x="865" y="714"/>
                                    <a:pt x="868" y="716"/>
                                    <a:pt x="872" y="721"/>
                                  </a:cubicBezTo>
                                  <a:cubicBezTo>
                                    <a:pt x="875" y="727"/>
                                    <a:pt x="878" y="726"/>
                                    <a:pt x="891" y="728"/>
                                  </a:cubicBezTo>
                                  <a:cubicBezTo>
                                    <a:pt x="904" y="729"/>
                                    <a:pt x="903" y="730"/>
                                    <a:pt x="901" y="737"/>
                                  </a:cubicBezTo>
                                  <a:close/>
                                  <a:moveTo>
                                    <a:pt x="2001" y="726"/>
                                  </a:moveTo>
                                  <a:cubicBezTo>
                                    <a:pt x="2001" y="726"/>
                                    <a:pt x="2001" y="726"/>
                                    <a:pt x="2001" y="726"/>
                                  </a:cubicBezTo>
                                  <a:cubicBezTo>
                                    <a:pt x="1995" y="732"/>
                                    <a:pt x="1972" y="736"/>
                                    <a:pt x="1962" y="736"/>
                                  </a:cubicBezTo>
                                  <a:cubicBezTo>
                                    <a:pt x="1951" y="737"/>
                                    <a:pt x="1945" y="736"/>
                                    <a:pt x="1930" y="726"/>
                                  </a:cubicBezTo>
                                  <a:cubicBezTo>
                                    <a:pt x="1915" y="716"/>
                                    <a:pt x="1907" y="725"/>
                                    <a:pt x="1884" y="718"/>
                                  </a:cubicBezTo>
                                  <a:cubicBezTo>
                                    <a:pt x="1861" y="710"/>
                                    <a:pt x="1864" y="717"/>
                                    <a:pt x="1849" y="717"/>
                                  </a:cubicBezTo>
                                  <a:cubicBezTo>
                                    <a:pt x="1834" y="717"/>
                                    <a:pt x="1824" y="717"/>
                                    <a:pt x="1813" y="714"/>
                                  </a:cubicBezTo>
                                  <a:cubicBezTo>
                                    <a:pt x="1801" y="711"/>
                                    <a:pt x="1797" y="711"/>
                                    <a:pt x="1788" y="716"/>
                                  </a:cubicBezTo>
                                  <a:cubicBezTo>
                                    <a:pt x="1778" y="720"/>
                                    <a:pt x="1773" y="722"/>
                                    <a:pt x="1766" y="731"/>
                                  </a:cubicBezTo>
                                  <a:cubicBezTo>
                                    <a:pt x="1760" y="741"/>
                                    <a:pt x="1755" y="742"/>
                                    <a:pt x="1736" y="751"/>
                                  </a:cubicBezTo>
                                  <a:cubicBezTo>
                                    <a:pt x="1717" y="759"/>
                                    <a:pt x="1724" y="756"/>
                                    <a:pt x="1713" y="759"/>
                                  </a:cubicBezTo>
                                  <a:cubicBezTo>
                                    <a:pt x="1702" y="762"/>
                                    <a:pt x="1711" y="764"/>
                                    <a:pt x="1708" y="775"/>
                                  </a:cubicBezTo>
                                  <a:cubicBezTo>
                                    <a:pt x="1705" y="785"/>
                                    <a:pt x="1701" y="785"/>
                                    <a:pt x="1701" y="794"/>
                                  </a:cubicBezTo>
                                  <a:cubicBezTo>
                                    <a:pt x="1701" y="804"/>
                                    <a:pt x="1705" y="813"/>
                                    <a:pt x="1705" y="823"/>
                                  </a:cubicBezTo>
                                  <a:cubicBezTo>
                                    <a:pt x="1706" y="832"/>
                                    <a:pt x="1699" y="832"/>
                                    <a:pt x="1692" y="829"/>
                                  </a:cubicBezTo>
                                  <a:cubicBezTo>
                                    <a:pt x="1685" y="827"/>
                                    <a:pt x="1688" y="819"/>
                                    <a:pt x="1686" y="810"/>
                                  </a:cubicBezTo>
                                  <a:cubicBezTo>
                                    <a:pt x="1685" y="801"/>
                                    <a:pt x="1677" y="802"/>
                                    <a:pt x="1665" y="789"/>
                                  </a:cubicBezTo>
                                  <a:cubicBezTo>
                                    <a:pt x="1653" y="775"/>
                                    <a:pt x="1661" y="777"/>
                                    <a:pt x="1664" y="772"/>
                                  </a:cubicBezTo>
                                  <a:cubicBezTo>
                                    <a:pt x="1666" y="768"/>
                                    <a:pt x="1672" y="765"/>
                                    <a:pt x="1671" y="756"/>
                                  </a:cubicBezTo>
                                  <a:cubicBezTo>
                                    <a:pt x="1670" y="747"/>
                                    <a:pt x="1678" y="746"/>
                                    <a:pt x="1684" y="744"/>
                                  </a:cubicBezTo>
                                  <a:cubicBezTo>
                                    <a:pt x="1690" y="742"/>
                                    <a:pt x="1694" y="744"/>
                                    <a:pt x="1699" y="740"/>
                                  </a:cubicBezTo>
                                  <a:cubicBezTo>
                                    <a:pt x="1704" y="737"/>
                                    <a:pt x="1702" y="730"/>
                                    <a:pt x="1704" y="721"/>
                                  </a:cubicBezTo>
                                  <a:cubicBezTo>
                                    <a:pt x="1707" y="712"/>
                                    <a:pt x="1714" y="709"/>
                                    <a:pt x="1729" y="702"/>
                                  </a:cubicBezTo>
                                  <a:cubicBezTo>
                                    <a:pt x="1743" y="695"/>
                                    <a:pt x="1744" y="700"/>
                                    <a:pt x="1754" y="702"/>
                                  </a:cubicBezTo>
                                  <a:cubicBezTo>
                                    <a:pt x="1763" y="703"/>
                                    <a:pt x="1774" y="701"/>
                                    <a:pt x="1788" y="697"/>
                                  </a:cubicBezTo>
                                  <a:cubicBezTo>
                                    <a:pt x="1798" y="692"/>
                                    <a:pt x="1813" y="693"/>
                                    <a:pt x="1823" y="696"/>
                                  </a:cubicBezTo>
                                  <a:cubicBezTo>
                                    <a:pt x="1834" y="699"/>
                                    <a:pt x="1832" y="702"/>
                                    <a:pt x="1843" y="706"/>
                                  </a:cubicBezTo>
                                  <a:cubicBezTo>
                                    <a:pt x="1854" y="709"/>
                                    <a:pt x="1869" y="706"/>
                                    <a:pt x="1877" y="707"/>
                                  </a:cubicBezTo>
                                  <a:cubicBezTo>
                                    <a:pt x="1885" y="707"/>
                                    <a:pt x="1893" y="711"/>
                                    <a:pt x="1906" y="711"/>
                                  </a:cubicBezTo>
                                  <a:cubicBezTo>
                                    <a:pt x="1918" y="711"/>
                                    <a:pt x="1917" y="714"/>
                                    <a:pt x="1929" y="718"/>
                                  </a:cubicBezTo>
                                  <a:cubicBezTo>
                                    <a:pt x="1941" y="722"/>
                                    <a:pt x="1946" y="721"/>
                                    <a:pt x="1953" y="715"/>
                                  </a:cubicBezTo>
                                  <a:cubicBezTo>
                                    <a:pt x="1959" y="709"/>
                                    <a:pt x="1969" y="708"/>
                                    <a:pt x="1980" y="712"/>
                                  </a:cubicBezTo>
                                  <a:cubicBezTo>
                                    <a:pt x="1992" y="716"/>
                                    <a:pt x="1997" y="708"/>
                                    <a:pt x="1998" y="696"/>
                                  </a:cubicBezTo>
                                  <a:cubicBezTo>
                                    <a:pt x="1998" y="684"/>
                                    <a:pt x="2016" y="696"/>
                                    <a:pt x="2021" y="709"/>
                                  </a:cubicBezTo>
                                  <a:cubicBezTo>
                                    <a:pt x="2026" y="722"/>
                                    <a:pt x="2007" y="719"/>
                                    <a:pt x="2001" y="726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</p:grpSp>
                    </p:grpSp>
                  </p:grpSp>
                </p:grpSp>
              </p:grpSp>
            </p:grpSp>
          </p:grpSp>
        </p:grpSp>
        <p:sp>
          <p:nvSpPr>
            <p:cNvPr id="406" name="Freeform 536"/>
            <p:cNvSpPr>
              <a:spLocks/>
            </p:cNvSpPr>
            <p:nvPr/>
          </p:nvSpPr>
          <p:spPr bwMode="auto">
            <a:xfrm>
              <a:off x="5357925" y="3782113"/>
              <a:ext cx="298847" cy="175022"/>
            </a:xfrm>
            <a:custGeom>
              <a:avLst/>
              <a:gdLst>
                <a:gd name="T0" fmla="*/ 738 w 1040"/>
                <a:gd name="T1" fmla="*/ 571 h 609"/>
                <a:gd name="T2" fmla="*/ 744 w 1040"/>
                <a:gd name="T3" fmla="*/ 523 h 609"/>
                <a:gd name="T4" fmla="*/ 730 w 1040"/>
                <a:gd name="T5" fmla="*/ 484 h 609"/>
                <a:gd name="T6" fmla="*/ 704 w 1040"/>
                <a:gd name="T7" fmla="*/ 443 h 609"/>
                <a:gd name="T8" fmla="*/ 752 w 1040"/>
                <a:gd name="T9" fmla="*/ 437 h 609"/>
                <a:gd name="T10" fmla="*/ 769 w 1040"/>
                <a:gd name="T11" fmla="*/ 428 h 609"/>
                <a:gd name="T12" fmla="*/ 792 w 1040"/>
                <a:gd name="T13" fmla="*/ 394 h 609"/>
                <a:gd name="T14" fmla="*/ 813 w 1040"/>
                <a:gd name="T15" fmla="*/ 359 h 609"/>
                <a:gd name="T16" fmla="*/ 835 w 1040"/>
                <a:gd name="T17" fmla="*/ 353 h 609"/>
                <a:gd name="T18" fmla="*/ 879 w 1040"/>
                <a:gd name="T19" fmla="*/ 336 h 609"/>
                <a:gd name="T20" fmla="*/ 908 w 1040"/>
                <a:gd name="T21" fmla="*/ 353 h 609"/>
                <a:gd name="T22" fmla="*/ 930 w 1040"/>
                <a:gd name="T23" fmla="*/ 383 h 609"/>
                <a:gd name="T24" fmla="*/ 962 w 1040"/>
                <a:gd name="T25" fmla="*/ 390 h 609"/>
                <a:gd name="T26" fmla="*/ 995 w 1040"/>
                <a:gd name="T27" fmla="*/ 372 h 609"/>
                <a:gd name="T28" fmla="*/ 1023 w 1040"/>
                <a:gd name="T29" fmla="*/ 364 h 609"/>
                <a:gd name="T30" fmla="*/ 1031 w 1040"/>
                <a:gd name="T31" fmla="*/ 348 h 609"/>
                <a:gd name="T32" fmla="*/ 991 w 1040"/>
                <a:gd name="T33" fmla="*/ 323 h 609"/>
                <a:gd name="T34" fmla="*/ 964 w 1040"/>
                <a:gd name="T35" fmla="*/ 317 h 609"/>
                <a:gd name="T36" fmla="*/ 915 w 1040"/>
                <a:gd name="T37" fmla="*/ 316 h 609"/>
                <a:gd name="T38" fmla="*/ 895 w 1040"/>
                <a:gd name="T39" fmla="*/ 306 h 609"/>
                <a:gd name="T40" fmla="*/ 900 w 1040"/>
                <a:gd name="T41" fmla="*/ 276 h 609"/>
                <a:gd name="T42" fmla="*/ 934 w 1040"/>
                <a:gd name="T43" fmla="*/ 249 h 609"/>
                <a:gd name="T44" fmla="*/ 922 w 1040"/>
                <a:gd name="T45" fmla="*/ 249 h 609"/>
                <a:gd name="T46" fmla="*/ 807 w 1040"/>
                <a:gd name="T47" fmla="*/ 321 h 609"/>
                <a:gd name="T48" fmla="*/ 780 w 1040"/>
                <a:gd name="T49" fmla="*/ 366 h 609"/>
                <a:gd name="T50" fmla="*/ 741 w 1040"/>
                <a:gd name="T51" fmla="*/ 351 h 609"/>
                <a:gd name="T52" fmla="*/ 735 w 1040"/>
                <a:gd name="T53" fmla="*/ 324 h 609"/>
                <a:gd name="T54" fmla="*/ 669 w 1040"/>
                <a:gd name="T55" fmla="*/ 325 h 609"/>
                <a:gd name="T56" fmla="*/ 648 w 1040"/>
                <a:gd name="T57" fmla="*/ 269 h 609"/>
                <a:gd name="T58" fmla="*/ 618 w 1040"/>
                <a:gd name="T59" fmla="*/ 208 h 609"/>
                <a:gd name="T60" fmla="*/ 581 w 1040"/>
                <a:gd name="T61" fmla="*/ 169 h 609"/>
                <a:gd name="T62" fmla="*/ 533 w 1040"/>
                <a:gd name="T63" fmla="*/ 144 h 609"/>
                <a:gd name="T64" fmla="*/ 440 w 1040"/>
                <a:gd name="T65" fmla="*/ 144 h 609"/>
                <a:gd name="T66" fmla="*/ 349 w 1040"/>
                <a:gd name="T67" fmla="*/ 134 h 609"/>
                <a:gd name="T68" fmla="*/ 292 w 1040"/>
                <a:gd name="T69" fmla="*/ 78 h 609"/>
                <a:gd name="T70" fmla="*/ 167 w 1040"/>
                <a:gd name="T71" fmla="*/ 2 h 609"/>
                <a:gd name="T72" fmla="*/ 135 w 1040"/>
                <a:gd name="T73" fmla="*/ 66 h 609"/>
                <a:gd name="T74" fmla="*/ 148 w 1040"/>
                <a:gd name="T75" fmla="*/ 0 h 609"/>
                <a:gd name="T76" fmla="*/ 2 w 1040"/>
                <a:gd name="T77" fmla="*/ 44 h 609"/>
                <a:gd name="T78" fmla="*/ 59 w 1040"/>
                <a:gd name="T79" fmla="*/ 306 h 609"/>
                <a:gd name="T80" fmla="*/ 65 w 1040"/>
                <a:gd name="T81" fmla="*/ 257 h 609"/>
                <a:gd name="T82" fmla="*/ 96 w 1040"/>
                <a:gd name="T83" fmla="*/ 248 h 609"/>
                <a:gd name="T84" fmla="*/ 107 w 1040"/>
                <a:gd name="T85" fmla="*/ 238 h 609"/>
                <a:gd name="T86" fmla="*/ 144 w 1040"/>
                <a:gd name="T87" fmla="*/ 230 h 609"/>
                <a:gd name="T88" fmla="*/ 151 w 1040"/>
                <a:gd name="T89" fmla="*/ 204 h 609"/>
                <a:gd name="T90" fmla="*/ 188 w 1040"/>
                <a:gd name="T91" fmla="*/ 219 h 609"/>
                <a:gd name="T92" fmla="*/ 233 w 1040"/>
                <a:gd name="T93" fmla="*/ 236 h 609"/>
                <a:gd name="T94" fmla="*/ 253 w 1040"/>
                <a:gd name="T95" fmla="*/ 268 h 609"/>
                <a:gd name="T96" fmla="*/ 259 w 1040"/>
                <a:gd name="T97" fmla="*/ 308 h 609"/>
                <a:gd name="T98" fmla="*/ 322 w 1040"/>
                <a:gd name="T99" fmla="*/ 313 h 609"/>
                <a:gd name="T100" fmla="*/ 370 w 1040"/>
                <a:gd name="T101" fmla="*/ 353 h 609"/>
                <a:gd name="T102" fmla="*/ 403 w 1040"/>
                <a:gd name="T103" fmla="*/ 407 h 609"/>
                <a:gd name="T104" fmla="*/ 513 w 1040"/>
                <a:gd name="T105" fmla="*/ 480 h 609"/>
                <a:gd name="T106" fmla="*/ 599 w 1040"/>
                <a:gd name="T107" fmla="*/ 529 h 609"/>
                <a:gd name="T108" fmla="*/ 646 w 1040"/>
                <a:gd name="T109" fmla="*/ 544 h 609"/>
                <a:gd name="T110" fmla="*/ 651 w 1040"/>
                <a:gd name="T111" fmla="*/ 593 h 609"/>
                <a:gd name="T112" fmla="*/ 706 w 1040"/>
                <a:gd name="T113" fmla="*/ 607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40" h="609">
                  <a:moveTo>
                    <a:pt x="720" y="606"/>
                  </a:moveTo>
                  <a:cubicBezTo>
                    <a:pt x="721" y="601"/>
                    <a:pt x="722" y="597"/>
                    <a:pt x="723" y="594"/>
                  </a:cubicBezTo>
                  <a:cubicBezTo>
                    <a:pt x="724" y="589"/>
                    <a:pt x="727" y="585"/>
                    <a:pt x="732" y="579"/>
                  </a:cubicBezTo>
                  <a:cubicBezTo>
                    <a:pt x="734" y="577"/>
                    <a:pt x="736" y="574"/>
                    <a:pt x="738" y="571"/>
                  </a:cubicBezTo>
                  <a:cubicBezTo>
                    <a:pt x="741" y="568"/>
                    <a:pt x="743" y="565"/>
                    <a:pt x="746" y="562"/>
                  </a:cubicBezTo>
                  <a:cubicBezTo>
                    <a:pt x="752" y="556"/>
                    <a:pt x="757" y="551"/>
                    <a:pt x="756" y="544"/>
                  </a:cubicBezTo>
                  <a:cubicBezTo>
                    <a:pt x="755" y="539"/>
                    <a:pt x="753" y="537"/>
                    <a:pt x="751" y="536"/>
                  </a:cubicBezTo>
                  <a:cubicBezTo>
                    <a:pt x="748" y="533"/>
                    <a:pt x="744" y="531"/>
                    <a:pt x="744" y="523"/>
                  </a:cubicBezTo>
                  <a:cubicBezTo>
                    <a:pt x="743" y="517"/>
                    <a:pt x="744" y="513"/>
                    <a:pt x="745" y="508"/>
                  </a:cubicBezTo>
                  <a:cubicBezTo>
                    <a:pt x="745" y="503"/>
                    <a:pt x="746" y="498"/>
                    <a:pt x="744" y="493"/>
                  </a:cubicBezTo>
                  <a:cubicBezTo>
                    <a:pt x="743" y="491"/>
                    <a:pt x="743" y="491"/>
                    <a:pt x="743" y="491"/>
                  </a:cubicBezTo>
                  <a:cubicBezTo>
                    <a:pt x="740" y="485"/>
                    <a:pt x="740" y="485"/>
                    <a:pt x="730" y="484"/>
                  </a:cubicBezTo>
                  <a:cubicBezTo>
                    <a:pt x="723" y="484"/>
                    <a:pt x="717" y="480"/>
                    <a:pt x="711" y="477"/>
                  </a:cubicBezTo>
                  <a:cubicBezTo>
                    <a:pt x="705" y="472"/>
                    <a:pt x="700" y="465"/>
                    <a:pt x="699" y="461"/>
                  </a:cubicBezTo>
                  <a:cubicBezTo>
                    <a:pt x="699" y="460"/>
                    <a:pt x="699" y="459"/>
                    <a:pt x="699" y="458"/>
                  </a:cubicBezTo>
                  <a:cubicBezTo>
                    <a:pt x="699" y="454"/>
                    <a:pt x="701" y="448"/>
                    <a:pt x="704" y="443"/>
                  </a:cubicBezTo>
                  <a:cubicBezTo>
                    <a:pt x="708" y="439"/>
                    <a:pt x="713" y="434"/>
                    <a:pt x="719" y="433"/>
                  </a:cubicBezTo>
                  <a:cubicBezTo>
                    <a:pt x="721" y="433"/>
                    <a:pt x="722" y="433"/>
                    <a:pt x="723" y="433"/>
                  </a:cubicBezTo>
                  <a:cubicBezTo>
                    <a:pt x="733" y="433"/>
                    <a:pt x="738" y="434"/>
                    <a:pt x="744" y="435"/>
                  </a:cubicBezTo>
                  <a:cubicBezTo>
                    <a:pt x="747" y="436"/>
                    <a:pt x="749" y="436"/>
                    <a:pt x="752" y="437"/>
                  </a:cubicBezTo>
                  <a:cubicBezTo>
                    <a:pt x="756" y="438"/>
                    <a:pt x="760" y="438"/>
                    <a:pt x="763" y="437"/>
                  </a:cubicBezTo>
                  <a:cubicBezTo>
                    <a:pt x="765" y="437"/>
                    <a:pt x="766" y="435"/>
                    <a:pt x="768" y="432"/>
                  </a:cubicBezTo>
                  <a:cubicBezTo>
                    <a:pt x="768" y="432"/>
                    <a:pt x="768" y="432"/>
                    <a:pt x="768" y="432"/>
                  </a:cubicBezTo>
                  <a:cubicBezTo>
                    <a:pt x="768" y="431"/>
                    <a:pt x="769" y="429"/>
                    <a:pt x="769" y="428"/>
                  </a:cubicBezTo>
                  <a:cubicBezTo>
                    <a:pt x="773" y="420"/>
                    <a:pt x="776" y="413"/>
                    <a:pt x="784" y="410"/>
                  </a:cubicBezTo>
                  <a:cubicBezTo>
                    <a:pt x="786" y="409"/>
                    <a:pt x="787" y="406"/>
                    <a:pt x="787" y="404"/>
                  </a:cubicBezTo>
                  <a:cubicBezTo>
                    <a:pt x="787" y="404"/>
                    <a:pt x="787" y="404"/>
                    <a:pt x="787" y="404"/>
                  </a:cubicBezTo>
                  <a:cubicBezTo>
                    <a:pt x="788" y="401"/>
                    <a:pt x="789" y="397"/>
                    <a:pt x="792" y="394"/>
                  </a:cubicBezTo>
                  <a:cubicBezTo>
                    <a:pt x="795" y="392"/>
                    <a:pt x="800" y="391"/>
                    <a:pt x="805" y="390"/>
                  </a:cubicBezTo>
                  <a:cubicBezTo>
                    <a:pt x="808" y="389"/>
                    <a:pt x="811" y="389"/>
                    <a:pt x="811" y="389"/>
                  </a:cubicBezTo>
                  <a:cubicBezTo>
                    <a:pt x="811" y="388"/>
                    <a:pt x="811" y="385"/>
                    <a:pt x="811" y="382"/>
                  </a:cubicBezTo>
                  <a:cubicBezTo>
                    <a:pt x="810" y="375"/>
                    <a:pt x="810" y="366"/>
                    <a:pt x="813" y="359"/>
                  </a:cubicBezTo>
                  <a:cubicBezTo>
                    <a:pt x="813" y="359"/>
                    <a:pt x="813" y="359"/>
                    <a:pt x="813" y="358"/>
                  </a:cubicBezTo>
                  <a:cubicBezTo>
                    <a:pt x="816" y="354"/>
                    <a:pt x="819" y="351"/>
                    <a:pt x="823" y="350"/>
                  </a:cubicBezTo>
                  <a:cubicBezTo>
                    <a:pt x="826" y="350"/>
                    <a:pt x="830" y="350"/>
                    <a:pt x="834" y="352"/>
                  </a:cubicBezTo>
                  <a:cubicBezTo>
                    <a:pt x="834" y="352"/>
                    <a:pt x="835" y="352"/>
                    <a:pt x="835" y="353"/>
                  </a:cubicBezTo>
                  <a:cubicBezTo>
                    <a:pt x="837" y="354"/>
                    <a:pt x="838" y="354"/>
                    <a:pt x="839" y="355"/>
                  </a:cubicBezTo>
                  <a:cubicBezTo>
                    <a:pt x="842" y="357"/>
                    <a:pt x="843" y="357"/>
                    <a:pt x="848" y="354"/>
                  </a:cubicBezTo>
                  <a:cubicBezTo>
                    <a:pt x="857" y="348"/>
                    <a:pt x="871" y="340"/>
                    <a:pt x="878" y="337"/>
                  </a:cubicBezTo>
                  <a:cubicBezTo>
                    <a:pt x="879" y="336"/>
                    <a:pt x="879" y="336"/>
                    <a:pt x="879" y="336"/>
                  </a:cubicBezTo>
                  <a:cubicBezTo>
                    <a:pt x="882" y="334"/>
                    <a:pt x="886" y="334"/>
                    <a:pt x="890" y="335"/>
                  </a:cubicBezTo>
                  <a:cubicBezTo>
                    <a:pt x="894" y="336"/>
                    <a:pt x="897" y="338"/>
                    <a:pt x="901" y="342"/>
                  </a:cubicBezTo>
                  <a:cubicBezTo>
                    <a:pt x="901" y="342"/>
                    <a:pt x="901" y="342"/>
                    <a:pt x="901" y="342"/>
                  </a:cubicBezTo>
                  <a:cubicBezTo>
                    <a:pt x="905" y="346"/>
                    <a:pt x="907" y="349"/>
                    <a:pt x="908" y="353"/>
                  </a:cubicBezTo>
                  <a:cubicBezTo>
                    <a:pt x="908" y="358"/>
                    <a:pt x="907" y="362"/>
                    <a:pt x="904" y="367"/>
                  </a:cubicBezTo>
                  <a:cubicBezTo>
                    <a:pt x="901" y="371"/>
                    <a:pt x="900" y="375"/>
                    <a:pt x="899" y="377"/>
                  </a:cubicBezTo>
                  <a:cubicBezTo>
                    <a:pt x="899" y="380"/>
                    <a:pt x="900" y="382"/>
                    <a:pt x="903" y="384"/>
                  </a:cubicBezTo>
                  <a:cubicBezTo>
                    <a:pt x="908" y="388"/>
                    <a:pt x="922" y="385"/>
                    <a:pt x="930" y="383"/>
                  </a:cubicBezTo>
                  <a:cubicBezTo>
                    <a:pt x="930" y="383"/>
                    <a:pt x="931" y="383"/>
                    <a:pt x="932" y="383"/>
                  </a:cubicBezTo>
                  <a:cubicBezTo>
                    <a:pt x="933" y="383"/>
                    <a:pt x="934" y="383"/>
                    <a:pt x="935" y="382"/>
                  </a:cubicBezTo>
                  <a:cubicBezTo>
                    <a:pt x="941" y="381"/>
                    <a:pt x="944" y="381"/>
                    <a:pt x="953" y="384"/>
                  </a:cubicBezTo>
                  <a:cubicBezTo>
                    <a:pt x="957" y="386"/>
                    <a:pt x="960" y="388"/>
                    <a:pt x="962" y="390"/>
                  </a:cubicBezTo>
                  <a:cubicBezTo>
                    <a:pt x="965" y="392"/>
                    <a:pt x="967" y="393"/>
                    <a:pt x="970" y="393"/>
                  </a:cubicBezTo>
                  <a:cubicBezTo>
                    <a:pt x="975" y="392"/>
                    <a:pt x="980" y="387"/>
                    <a:pt x="983" y="382"/>
                  </a:cubicBezTo>
                  <a:cubicBezTo>
                    <a:pt x="984" y="381"/>
                    <a:pt x="985" y="380"/>
                    <a:pt x="986" y="379"/>
                  </a:cubicBezTo>
                  <a:cubicBezTo>
                    <a:pt x="989" y="376"/>
                    <a:pt x="992" y="374"/>
                    <a:pt x="995" y="372"/>
                  </a:cubicBezTo>
                  <a:cubicBezTo>
                    <a:pt x="997" y="371"/>
                    <a:pt x="1001" y="370"/>
                    <a:pt x="1004" y="369"/>
                  </a:cubicBezTo>
                  <a:cubicBezTo>
                    <a:pt x="1006" y="369"/>
                    <a:pt x="1007" y="368"/>
                    <a:pt x="1008" y="367"/>
                  </a:cubicBezTo>
                  <a:cubicBezTo>
                    <a:pt x="1010" y="366"/>
                    <a:pt x="1012" y="364"/>
                    <a:pt x="1017" y="364"/>
                  </a:cubicBezTo>
                  <a:cubicBezTo>
                    <a:pt x="1019" y="364"/>
                    <a:pt x="1021" y="364"/>
                    <a:pt x="1023" y="364"/>
                  </a:cubicBezTo>
                  <a:cubicBezTo>
                    <a:pt x="1026" y="364"/>
                    <a:pt x="1028" y="364"/>
                    <a:pt x="1031" y="361"/>
                  </a:cubicBezTo>
                  <a:cubicBezTo>
                    <a:pt x="1033" y="358"/>
                    <a:pt x="1035" y="356"/>
                    <a:pt x="1037" y="355"/>
                  </a:cubicBezTo>
                  <a:cubicBezTo>
                    <a:pt x="1038" y="353"/>
                    <a:pt x="1040" y="352"/>
                    <a:pt x="1040" y="351"/>
                  </a:cubicBezTo>
                  <a:cubicBezTo>
                    <a:pt x="1038" y="352"/>
                    <a:pt x="1035" y="351"/>
                    <a:pt x="1031" y="348"/>
                  </a:cubicBezTo>
                  <a:cubicBezTo>
                    <a:pt x="1027" y="346"/>
                    <a:pt x="1023" y="343"/>
                    <a:pt x="1020" y="341"/>
                  </a:cubicBezTo>
                  <a:cubicBezTo>
                    <a:pt x="1017" y="339"/>
                    <a:pt x="1014" y="338"/>
                    <a:pt x="1010" y="337"/>
                  </a:cubicBezTo>
                  <a:cubicBezTo>
                    <a:pt x="1002" y="334"/>
                    <a:pt x="998" y="329"/>
                    <a:pt x="993" y="324"/>
                  </a:cubicBezTo>
                  <a:cubicBezTo>
                    <a:pt x="991" y="323"/>
                    <a:pt x="991" y="323"/>
                    <a:pt x="991" y="323"/>
                  </a:cubicBezTo>
                  <a:cubicBezTo>
                    <a:pt x="990" y="321"/>
                    <a:pt x="988" y="320"/>
                    <a:pt x="987" y="318"/>
                  </a:cubicBezTo>
                  <a:cubicBezTo>
                    <a:pt x="982" y="313"/>
                    <a:pt x="977" y="307"/>
                    <a:pt x="974" y="307"/>
                  </a:cubicBezTo>
                  <a:cubicBezTo>
                    <a:pt x="971" y="307"/>
                    <a:pt x="970" y="309"/>
                    <a:pt x="968" y="311"/>
                  </a:cubicBezTo>
                  <a:cubicBezTo>
                    <a:pt x="967" y="313"/>
                    <a:pt x="966" y="315"/>
                    <a:pt x="964" y="317"/>
                  </a:cubicBezTo>
                  <a:cubicBezTo>
                    <a:pt x="964" y="318"/>
                    <a:pt x="963" y="319"/>
                    <a:pt x="962" y="320"/>
                  </a:cubicBezTo>
                  <a:cubicBezTo>
                    <a:pt x="959" y="325"/>
                    <a:pt x="957" y="328"/>
                    <a:pt x="944" y="327"/>
                  </a:cubicBezTo>
                  <a:cubicBezTo>
                    <a:pt x="942" y="327"/>
                    <a:pt x="942" y="327"/>
                    <a:pt x="942" y="327"/>
                  </a:cubicBezTo>
                  <a:cubicBezTo>
                    <a:pt x="929" y="327"/>
                    <a:pt x="918" y="326"/>
                    <a:pt x="915" y="316"/>
                  </a:cubicBezTo>
                  <a:cubicBezTo>
                    <a:pt x="914" y="314"/>
                    <a:pt x="914" y="312"/>
                    <a:pt x="914" y="310"/>
                  </a:cubicBezTo>
                  <a:cubicBezTo>
                    <a:pt x="914" y="307"/>
                    <a:pt x="914" y="306"/>
                    <a:pt x="912" y="306"/>
                  </a:cubicBezTo>
                  <a:cubicBezTo>
                    <a:pt x="910" y="306"/>
                    <a:pt x="908" y="306"/>
                    <a:pt x="907" y="306"/>
                  </a:cubicBezTo>
                  <a:cubicBezTo>
                    <a:pt x="904" y="307"/>
                    <a:pt x="901" y="307"/>
                    <a:pt x="895" y="306"/>
                  </a:cubicBezTo>
                  <a:cubicBezTo>
                    <a:pt x="889" y="304"/>
                    <a:pt x="886" y="302"/>
                    <a:pt x="885" y="300"/>
                  </a:cubicBezTo>
                  <a:cubicBezTo>
                    <a:pt x="883" y="297"/>
                    <a:pt x="883" y="294"/>
                    <a:pt x="883" y="293"/>
                  </a:cubicBezTo>
                  <a:cubicBezTo>
                    <a:pt x="883" y="290"/>
                    <a:pt x="886" y="287"/>
                    <a:pt x="889" y="284"/>
                  </a:cubicBezTo>
                  <a:cubicBezTo>
                    <a:pt x="892" y="281"/>
                    <a:pt x="897" y="278"/>
                    <a:pt x="900" y="276"/>
                  </a:cubicBezTo>
                  <a:cubicBezTo>
                    <a:pt x="904" y="273"/>
                    <a:pt x="911" y="268"/>
                    <a:pt x="918" y="263"/>
                  </a:cubicBezTo>
                  <a:cubicBezTo>
                    <a:pt x="922" y="260"/>
                    <a:pt x="926" y="258"/>
                    <a:pt x="929" y="255"/>
                  </a:cubicBezTo>
                  <a:cubicBezTo>
                    <a:pt x="935" y="252"/>
                    <a:pt x="934" y="251"/>
                    <a:pt x="934" y="249"/>
                  </a:cubicBezTo>
                  <a:cubicBezTo>
                    <a:pt x="934" y="249"/>
                    <a:pt x="934" y="249"/>
                    <a:pt x="934" y="249"/>
                  </a:cubicBezTo>
                  <a:cubicBezTo>
                    <a:pt x="934" y="248"/>
                    <a:pt x="934" y="248"/>
                    <a:pt x="934" y="248"/>
                  </a:cubicBezTo>
                  <a:cubicBezTo>
                    <a:pt x="934" y="248"/>
                    <a:pt x="934" y="248"/>
                    <a:pt x="934" y="248"/>
                  </a:cubicBezTo>
                  <a:cubicBezTo>
                    <a:pt x="933" y="247"/>
                    <a:pt x="929" y="245"/>
                    <a:pt x="926" y="244"/>
                  </a:cubicBezTo>
                  <a:cubicBezTo>
                    <a:pt x="925" y="246"/>
                    <a:pt x="924" y="248"/>
                    <a:pt x="922" y="249"/>
                  </a:cubicBezTo>
                  <a:cubicBezTo>
                    <a:pt x="920" y="251"/>
                    <a:pt x="910" y="256"/>
                    <a:pt x="897" y="262"/>
                  </a:cubicBezTo>
                  <a:cubicBezTo>
                    <a:pt x="882" y="269"/>
                    <a:pt x="864" y="278"/>
                    <a:pt x="852" y="285"/>
                  </a:cubicBezTo>
                  <a:cubicBezTo>
                    <a:pt x="841" y="291"/>
                    <a:pt x="832" y="297"/>
                    <a:pt x="825" y="303"/>
                  </a:cubicBezTo>
                  <a:cubicBezTo>
                    <a:pt x="816" y="310"/>
                    <a:pt x="810" y="316"/>
                    <a:pt x="807" y="321"/>
                  </a:cubicBezTo>
                  <a:cubicBezTo>
                    <a:pt x="802" y="327"/>
                    <a:pt x="797" y="331"/>
                    <a:pt x="792" y="335"/>
                  </a:cubicBezTo>
                  <a:cubicBezTo>
                    <a:pt x="788" y="338"/>
                    <a:pt x="785" y="340"/>
                    <a:pt x="785" y="342"/>
                  </a:cubicBezTo>
                  <a:cubicBezTo>
                    <a:pt x="784" y="344"/>
                    <a:pt x="784" y="348"/>
                    <a:pt x="784" y="351"/>
                  </a:cubicBezTo>
                  <a:cubicBezTo>
                    <a:pt x="784" y="357"/>
                    <a:pt x="783" y="363"/>
                    <a:pt x="780" y="366"/>
                  </a:cubicBezTo>
                  <a:cubicBezTo>
                    <a:pt x="777" y="368"/>
                    <a:pt x="774" y="369"/>
                    <a:pt x="771" y="369"/>
                  </a:cubicBezTo>
                  <a:cubicBezTo>
                    <a:pt x="768" y="369"/>
                    <a:pt x="764" y="368"/>
                    <a:pt x="762" y="367"/>
                  </a:cubicBezTo>
                  <a:cubicBezTo>
                    <a:pt x="760" y="366"/>
                    <a:pt x="755" y="363"/>
                    <a:pt x="750" y="359"/>
                  </a:cubicBezTo>
                  <a:cubicBezTo>
                    <a:pt x="746" y="356"/>
                    <a:pt x="743" y="353"/>
                    <a:pt x="741" y="351"/>
                  </a:cubicBezTo>
                  <a:cubicBezTo>
                    <a:pt x="738" y="348"/>
                    <a:pt x="740" y="344"/>
                    <a:pt x="742" y="341"/>
                  </a:cubicBezTo>
                  <a:cubicBezTo>
                    <a:pt x="743" y="339"/>
                    <a:pt x="744" y="337"/>
                    <a:pt x="744" y="336"/>
                  </a:cubicBezTo>
                  <a:cubicBezTo>
                    <a:pt x="743" y="334"/>
                    <a:pt x="743" y="331"/>
                    <a:pt x="741" y="330"/>
                  </a:cubicBezTo>
                  <a:cubicBezTo>
                    <a:pt x="740" y="327"/>
                    <a:pt x="738" y="326"/>
                    <a:pt x="735" y="324"/>
                  </a:cubicBezTo>
                  <a:cubicBezTo>
                    <a:pt x="731" y="321"/>
                    <a:pt x="720" y="323"/>
                    <a:pt x="711" y="324"/>
                  </a:cubicBezTo>
                  <a:cubicBezTo>
                    <a:pt x="707" y="325"/>
                    <a:pt x="703" y="325"/>
                    <a:pt x="701" y="325"/>
                  </a:cubicBezTo>
                  <a:cubicBezTo>
                    <a:pt x="699" y="325"/>
                    <a:pt x="696" y="325"/>
                    <a:pt x="693" y="326"/>
                  </a:cubicBezTo>
                  <a:cubicBezTo>
                    <a:pt x="685" y="326"/>
                    <a:pt x="675" y="327"/>
                    <a:pt x="669" y="325"/>
                  </a:cubicBezTo>
                  <a:cubicBezTo>
                    <a:pt x="663" y="322"/>
                    <a:pt x="661" y="318"/>
                    <a:pt x="659" y="311"/>
                  </a:cubicBezTo>
                  <a:cubicBezTo>
                    <a:pt x="658" y="308"/>
                    <a:pt x="658" y="306"/>
                    <a:pt x="657" y="303"/>
                  </a:cubicBezTo>
                  <a:cubicBezTo>
                    <a:pt x="655" y="299"/>
                    <a:pt x="654" y="293"/>
                    <a:pt x="653" y="287"/>
                  </a:cubicBezTo>
                  <a:cubicBezTo>
                    <a:pt x="651" y="279"/>
                    <a:pt x="650" y="272"/>
                    <a:pt x="648" y="269"/>
                  </a:cubicBezTo>
                  <a:cubicBezTo>
                    <a:pt x="646" y="266"/>
                    <a:pt x="640" y="266"/>
                    <a:pt x="635" y="266"/>
                  </a:cubicBezTo>
                  <a:cubicBezTo>
                    <a:pt x="631" y="266"/>
                    <a:pt x="628" y="266"/>
                    <a:pt x="625" y="265"/>
                  </a:cubicBezTo>
                  <a:cubicBezTo>
                    <a:pt x="618" y="263"/>
                    <a:pt x="618" y="247"/>
                    <a:pt x="618" y="232"/>
                  </a:cubicBezTo>
                  <a:cubicBezTo>
                    <a:pt x="619" y="223"/>
                    <a:pt x="619" y="214"/>
                    <a:pt x="618" y="208"/>
                  </a:cubicBezTo>
                  <a:cubicBezTo>
                    <a:pt x="616" y="196"/>
                    <a:pt x="614" y="196"/>
                    <a:pt x="611" y="195"/>
                  </a:cubicBezTo>
                  <a:cubicBezTo>
                    <a:pt x="610" y="194"/>
                    <a:pt x="610" y="194"/>
                    <a:pt x="609" y="194"/>
                  </a:cubicBezTo>
                  <a:cubicBezTo>
                    <a:pt x="604" y="193"/>
                    <a:pt x="595" y="183"/>
                    <a:pt x="588" y="176"/>
                  </a:cubicBezTo>
                  <a:cubicBezTo>
                    <a:pt x="585" y="173"/>
                    <a:pt x="583" y="171"/>
                    <a:pt x="581" y="169"/>
                  </a:cubicBezTo>
                  <a:cubicBezTo>
                    <a:pt x="578" y="167"/>
                    <a:pt x="574" y="161"/>
                    <a:pt x="569" y="156"/>
                  </a:cubicBezTo>
                  <a:cubicBezTo>
                    <a:pt x="561" y="147"/>
                    <a:pt x="552" y="136"/>
                    <a:pt x="550" y="136"/>
                  </a:cubicBezTo>
                  <a:cubicBezTo>
                    <a:pt x="548" y="135"/>
                    <a:pt x="545" y="137"/>
                    <a:pt x="541" y="140"/>
                  </a:cubicBezTo>
                  <a:cubicBezTo>
                    <a:pt x="539" y="141"/>
                    <a:pt x="536" y="143"/>
                    <a:pt x="533" y="144"/>
                  </a:cubicBezTo>
                  <a:cubicBezTo>
                    <a:pt x="529" y="146"/>
                    <a:pt x="524" y="147"/>
                    <a:pt x="518" y="148"/>
                  </a:cubicBezTo>
                  <a:cubicBezTo>
                    <a:pt x="511" y="148"/>
                    <a:pt x="503" y="148"/>
                    <a:pt x="495" y="147"/>
                  </a:cubicBezTo>
                  <a:cubicBezTo>
                    <a:pt x="492" y="147"/>
                    <a:pt x="490" y="146"/>
                    <a:pt x="487" y="146"/>
                  </a:cubicBezTo>
                  <a:cubicBezTo>
                    <a:pt x="473" y="145"/>
                    <a:pt x="453" y="142"/>
                    <a:pt x="440" y="144"/>
                  </a:cubicBezTo>
                  <a:cubicBezTo>
                    <a:pt x="433" y="145"/>
                    <a:pt x="422" y="147"/>
                    <a:pt x="411" y="150"/>
                  </a:cubicBezTo>
                  <a:cubicBezTo>
                    <a:pt x="396" y="153"/>
                    <a:pt x="382" y="155"/>
                    <a:pt x="377" y="155"/>
                  </a:cubicBezTo>
                  <a:cubicBezTo>
                    <a:pt x="370" y="155"/>
                    <a:pt x="366" y="151"/>
                    <a:pt x="360" y="145"/>
                  </a:cubicBezTo>
                  <a:cubicBezTo>
                    <a:pt x="357" y="141"/>
                    <a:pt x="354" y="138"/>
                    <a:pt x="349" y="134"/>
                  </a:cubicBezTo>
                  <a:cubicBezTo>
                    <a:pt x="345" y="130"/>
                    <a:pt x="339" y="125"/>
                    <a:pt x="334" y="119"/>
                  </a:cubicBezTo>
                  <a:cubicBezTo>
                    <a:pt x="326" y="110"/>
                    <a:pt x="319" y="102"/>
                    <a:pt x="315" y="97"/>
                  </a:cubicBezTo>
                  <a:cubicBezTo>
                    <a:pt x="312" y="93"/>
                    <a:pt x="308" y="90"/>
                    <a:pt x="305" y="87"/>
                  </a:cubicBezTo>
                  <a:cubicBezTo>
                    <a:pt x="301" y="83"/>
                    <a:pt x="297" y="80"/>
                    <a:pt x="292" y="78"/>
                  </a:cubicBezTo>
                  <a:cubicBezTo>
                    <a:pt x="287" y="74"/>
                    <a:pt x="256" y="55"/>
                    <a:pt x="230" y="39"/>
                  </a:cubicBezTo>
                  <a:cubicBezTo>
                    <a:pt x="214" y="30"/>
                    <a:pt x="200" y="21"/>
                    <a:pt x="196" y="18"/>
                  </a:cubicBezTo>
                  <a:cubicBezTo>
                    <a:pt x="190" y="15"/>
                    <a:pt x="184" y="11"/>
                    <a:pt x="179" y="8"/>
                  </a:cubicBezTo>
                  <a:cubicBezTo>
                    <a:pt x="174" y="6"/>
                    <a:pt x="170" y="4"/>
                    <a:pt x="167" y="2"/>
                  </a:cubicBezTo>
                  <a:cubicBezTo>
                    <a:pt x="163" y="7"/>
                    <a:pt x="161" y="10"/>
                    <a:pt x="158" y="19"/>
                  </a:cubicBezTo>
                  <a:cubicBezTo>
                    <a:pt x="153" y="30"/>
                    <a:pt x="161" y="39"/>
                    <a:pt x="163" y="52"/>
                  </a:cubicBezTo>
                  <a:cubicBezTo>
                    <a:pt x="166" y="65"/>
                    <a:pt x="151" y="75"/>
                    <a:pt x="142" y="78"/>
                  </a:cubicBezTo>
                  <a:cubicBezTo>
                    <a:pt x="132" y="82"/>
                    <a:pt x="135" y="75"/>
                    <a:pt x="135" y="66"/>
                  </a:cubicBezTo>
                  <a:cubicBezTo>
                    <a:pt x="136" y="57"/>
                    <a:pt x="140" y="56"/>
                    <a:pt x="138" y="49"/>
                  </a:cubicBezTo>
                  <a:cubicBezTo>
                    <a:pt x="137" y="42"/>
                    <a:pt x="138" y="38"/>
                    <a:pt x="136" y="24"/>
                  </a:cubicBezTo>
                  <a:cubicBezTo>
                    <a:pt x="134" y="11"/>
                    <a:pt x="141" y="16"/>
                    <a:pt x="147" y="4"/>
                  </a:cubicBezTo>
                  <a:cubicBezTo>
                    <a:pt x="147" y="2"/>
                    <a:pt x="148" y="1"/>
                    <a:pt x="148" y="0"/>
                  </a:cubicBezTo>
                  <a:cubicBezTo>
                    <a:pt x="144" y="1"/>
                    <a:pt x="139" y="2"/>
                    <a:pt x="132" y="3"/>
                  </a:cubicBezTo>
                  <a:cubicBezTo>
                    <a:pt x="120" y="6"/>
                    <a:pt x="86" y="14"/>
                    <a:pt x="57" y="22"/>
                  </a:cubicBezTo>
                  <a:cubicBezTo>
                    <a:pt x="33" y="29"/>
                    <a:pt x="11" y="35"/>
                    <a:pt x="8" y="36"/>
                  </a:cubicBezTo>
                  <a:cubicBezTo>
                    <a:pt x="5" y="38"/>
                    <a:pt x="3" y="40"/>
                    <a:pt x="2" y="44"/>
                  </a:cubicBezTo>
                  <a:cubicBezTo>
                    <a:pt x="1" y="48"/>
                    <a:pt x="0" y="52"/>
                    <a:pt x="0" y="58"/>
                  </a:cubicBezTo>
                  <a:cubicBezTo>
                    <a:pt x="0" y="76"/>
                    <a:pt x="3" y="271"/>
                    <a:pt x="3" y="307"/>
                  </a:cubicBezTo>
                  <a:cubicBezTo>
                    <a:pt x="5" y="307"/>
                    <a:pt x="7" y="307"/>
                    <a:pt x="9" y="307"/>
                  </a:cubicBezTo>
                  <a:cubicBezTo>
                    <a:pt x="30" y="307"/>
                    <a:pt x="52" y="306"/>
                    <a:pt x="59" y="306"/>
                  </a:cubicBezTo>
                  <a:cubicBezTo>
                    <a:pt x="59" y="305"/>
                    <a:pt x="58" y="305"/>
                    <a:pt x="58" y="304"/>
                  </a:cubicBezTo>
                  <a:cubicBezTo>
                    <a:pt x="56" y="300"/>
                    <a:pt x="53" y="295"/>
                    <a:pt x="52" y="290"/>
                  </a:cubicBezTo>
                  <a:cubicBezTo>
                    <a:pt x="52" y="284"/>
                    <a:pt x="53" y="277"/>
                    <a:pt x="55" y="271"/>
                  </a:cubicBezTo>
                  <a:cubicBezTo>
                    <a:pt x="58" y="266"/>
                    <a:pt x="61" y="260"/>
                    <a:pt x="65" y="257"/>
                  </a:cubicBezTo>
                  <a:cubicBezTo>
                    <a:pt x="70" y="254"/>
                    <a:pt x="74" y="253"/>
                    <a:pt x="79" y="253"/>
                  </a:cubicBezTo>
                  <a:cubicBezTo>
                    <a:pt x="82" y="252"/>
                    <a:pt x="87" y="252"/>
                    <a:pt x="93" y="249"/>
                  </a:cubicBezTo>
                  <a:cubicBezTo>
                    <a:pt x="93" y="249"/>
                    <a:pt x="93" y="249"/>
                    <a:pt x="93" y="249"/>
                  </a:cubicBezTo>
                  <a:cubicBezTo>
                    <a:pt x="96" y="248"/>
                    <a:pt x="96" y="248"/>
                    <a:pt x="96" y="248"/>
                  </a:cubicBezTo>
                  <a:cubicBezTo>
                    <a:pt x="101" y="246"/>
                    <a:pt x="103" y="246"/>
                    <a:pt x="105" y="245"/>
                  </a:cubicBezTo>
                  <a:cubicBezTo>
                    <a:pt x="105" y="244"/>
                    <a:pt x="106" y="243"/>
                    <a:pt x="107" y="240"/>
                  </a:cubicBezTo>
                  <a:cubicBezTo>
                    <a:pt x="107" y="240"/>
                    <a:pt x="107" y="240"/>
                    <a:pt x="107" y="240"/>
                  </a:cubicBezTo>
                  <a:cubicBezTo>
                    <a:pt x="107" y="238"/>
                    <a:pt x="107" y="238"/>
                    <a:pt x="107" y="238"/>
                  </a:cubicBezTo>
                  <a:cubicBezTo>
                    <a:pt x="107" y="237"/>
                    <a:pt x="108" y="235"/>
                    <a:pt x="108" y="234"/>
                  </a:cubicBezTo>
                  <a:cubicBezTo>
                    <a:pt x="110" y="225"/>
                    <a:pt x="112" y="219"/>
                    <a:pt x="122" y="220"/>
                  </a:cubicBezTo>
                  <a:cubicBezTo>
                    <a:pt x="128" y="220"/>
                    <a:pt x="133" y="224"/>
                    <a:pt x="137" y="227"/>
                  </a:cubicBezTo>
                  <a:cubicBezTo>
                    <a:pt x="140" y="228"/>
                    <a:pt x="143" y="230"/>
                    <a:pt x="144" y="230"/>
                  </a:cubicBezTo>
                  <a:cubicBezTo>
                    <a:pt x="144" y="230"/>
                    <a:pt x="144" y="230"/>
                    <a:pt x="144" y="230"/>
                  </a:cubicBezTo>
                  <a:cubicBezTo>
                    <a:pt x="145" y="230"/>
                    <a:pt x="142" y="229"/>
                    <a:pt x="142" y="228"/>
                  </a:cubicBezTo>
                  <a:cubicBezTo>
                    <a:pt x="141" y="224"/>
                    <a:pt x="141" y="218"/>
                    <a:pt x="144" y="213"/>
                  </a:cubicBezTo>
                  <a:cubicBezTo>
                    <a:pt x="146" y="209"/>
                    <a:pt x="149" y="206"/>
                    <a:pt x="151" y="204"/>
                  </a:cubicBezTo>
                  <a:cubicBezTo>
                    <a:pt x="155" y="201"/>
                    <a:pt x="158" y="200"/>
                    <a:pt x="163" y="203"/>
                  </a:cubicBezTo>
                  <a:cubicBezTo>
                    <a:pt x="166" y="204"/>
                    <a:pt x="169" y="207"/>
                    <a:pt x="171" y="210"/>
                  </a:cubicBezTo>
                  <a:cubicBezTo>
                    <a:pt x="174" y="213"/>
                    <a:pt x="177" y="217"/>
                    <a:pt x="182" y="218"/>
                  </a:cubicBezTo>
                  <a:cubicBezTo>
                    <a:pt x="185" y="219"/>
                    <a:pt x="187" y="219"/>
                    <a:pt x="188" y="219"/>
                  </a:cubicBezTo>
                  <a:cubicBezTo>
                    <a:pt x="192" y="220"/>
                    <a:pt x="194" y="220"/>
                    <a:pt x="202" y="226"/>
                  </a:cubicBezTo>
                  <a:cubicBezTo>
                    <a:pt x="206" y="229"/>
                    <a:pt x="211" y="231"/>
                    <a:pt x="215" y="233"/>
                  </a:cubicBezTo>
                  <a:cubicBezTo>
                    <a:pt x="220" y="234"/>
                    <a:pt x="224" y="235"/>
                    <a:pt x="227" y="236"/>
                  </a:cubicBezTo>
                  <a:cubicBezTo>
                    <a:pt x="229" y="236"/>
                    <a:pt x="231" y="236"/>
                    <a:pt x="233" y="236"/>
                  </a:cubicBezTo>
                  <a:cubicBezTo>
                    <a:pt x="239" y="235"/>
                    <a:pt x="245" y="235"/>
                    <a:pt x="247" y="244"/>
                  </a:cubicBezTo>
                  <a:cubicBezTo>
                    <a:pt x="248" y="249"/>
                    <a:pt x="247" y="252"/>
                    <a:pt x="245" y="254"/>
                  </a:cubicBezTo>
                  <a:cubicBezTo>
                    <a:pt x="244" y="256"/>
                    <a:pt x="244" y="257"/>
                    <a:pt x="246" y="261"/>
                  </a:cubicBezTo>
                  <a:cubicBezTo>
                    <a:pt x="249" y="265"/>
                    <a:pt x="251" y="267"/>
                    <a:pt x="253" y="268"/>
                  </a:cubicBezTo>
                  <a:cubicBezTo>
                    <a:pt x="257" y="271"/>
                    <a:pt x="259" y="272"/>
                    <a:pt x="257" y="281"/>
                  </a:cubicBezTo>
                  <a:cubicBezTo>
                    <a:pt x="256" y="284"/>
                    <a:pt x="255" y="287"/>
                    <a:pt x="254" y="289"/>
                  </a:cubicBezTo>
                  <a:cubicBezTo>
                    <a:pt x="252" y="292"/>
                    <a:pt x="251" y="294"/>
                    <a:pt x="255" y="299"/>
                  </a:cubicBezTo>
                  <a:cubicBezTo>
                    <a:pt x="259" y="303"/>
                    <a:pt x="259" y="306"/>
                    <a:pt x="259" y="308"/>
                  </a:cubicBezTo>
                  <a:cubicBezTo>
                    <a:pt x="259" y="308"/>
                    <a:pt x="259" y="308"/>
                    <a:pt x="276" y="310"/>
                  </a:cubicBezTo>
                  <a:cubicBezTo>
                    <a:pt x="290" y="312"/>
                    <a:pt x="297" y="314"/>
                    <a:pt x="302" y="316"/>
                  </a:cubicBezTo>
                  <a:cubicBezTo>
                    <a:pt x="307" y="318"/>
                    <a:pt x="309" y="318"/>
                    <a:pt x="314" y="317"/>
                  </a:cubicBezTo>
                  <a:cubicBezTo>
                    <a:pt x="317" y="316"/>
                    <a:pt x="320" y="314"/>
                    <a:pt x="322" y="313"/>
                  </a:cubicBezTo>
                  <a:cubicBezTo>
                    <a:pt x="328" y="311"/>
                    <a:pt x="331" y="309"/>
                    <a:pt x="337" y="311"/>
                  </a:cubicBezTo>
                  <a:cubicBezTo>
                    <a:pt x="341" y="312"/>
                    <a:pt x="348" y="316"/>
                    <a:pt x="355" y="322"/>
                  </a:cubicBezTo>
                  <a:cubicBezTo>
                    <a:pt x="359" y="327"/>
                    <a:pt x="364" y="333"/>
                    <a:pt x="366" y="340"/>
                  </a:cubicBezTo>
                  <a:cubicBezTo>
                    <a:pt x="369" y="346"/>
                    <a:pt x="369" y="350"/>
                    <a:pt x="370" y="353"/>
                  </a:cubicBezTo>
                  <a:cubicBezTo>
                    <a:pt x="371" y="358"/>
                    <a:pt x="371" y="360"/>
                    <a:pt x="378" y="367"/>
                  </a:cubicBezTo>
                  <a:cubicBezTo>
                    <a:pt x="381" y="369"/>
                    <a:pt x="383" y="371"/>
                    <a:pt x="385" y="372"/>
                  </a:cubicBezTo>
                  <a:cubicBezTo>
                    <a:pt x="392" y="379"/>
                    <a:pt x="394" y="380"/>
                    <a:pt x="397" y="393"/>
                  </a:cubicBezTo>
                  <a:cubicBezTo>
                    <a:pt x="399" y="399"/>
                    <a:pt x="400" y="403"/>
                    <a:pt x="403" y="407"/>
                  </a:cubicBezTo>
                  <a:cubicBezTo>
                    <a:pt x="405" y="410"/>
                    <a:pt x="409" y="413"/>
                    <a:pt x="415" y="417"/>
                  </a:cubicBezTo>
                  <a:cubicBezTo>
                    <a:pt x="420" y="420"/>
                    <a:pt x="430" y="427"/>
                    <a:pt x="442" y="435"/>
                  </a:cubicBezTo>
                  <a:cubicBezTo>
                    <a:pt x="462" y="449"/>
                    <a:pt x="488" y="467"/>
                    <a:pt x="503" y="475"/>
                  </a:cubicBezTo>
                  <a:cubicBezTo>
                    <a:pt x="506" y="476"/>
                    <a:pt x="510" y="478"/>
                    <a:pt x="513" y="480"/>
                  </a:cubicBezTo>
                  <a:cubicBezTo>
                    <a:pt x="527" y="487"/>
                    <a:pt x="531" y="489"/>
                    <a:pt x="543" y="498"/>
                  </a:cubicBezTo>
                  <a:cubicBezTo>
                    <a:pt x="548" y="502"/>
                    <a:pt x="552" y="506"/>
                    <a:pt x="557" y="510"/>
                  </a:cubicBezTo>
                  <a:cubicBezTo>
                    <a:pt x="567" y="519"/>
                    <a:pt x="577" y="528"/>
                    <a:pt x="585" y="529"/>
                  </a:cubicBezTo>
                  <a:cubicBezTo>
                    <a:pt x="591" y="530"/>
                    <a:pt x="595" y="529"/>
                    <a:pt x="599" y="529"/>
                  </a:cubicBezTo>
                  <a:cubicBezTo>
                    <a:pt x="603" y="528"/>
                    <a:pt x="607" y="527"/>
                    <a:pt x="614" y="529"/>
                  </a:cubicBezTo>
                  <a:cubicBezTo>
                    <a:pt x="619" y="531"/>
                    <a:pt x="626" y="533"/>
                    <a:pt x="631" y="536"/>
                  </a:cubicBezTo>
                  <a:cubicBezTo>
                    <a:pt x="637" y="538"/>
                    <a:pt x="642" y="542"/>
                    <a:pt x="646" y="544"/>
                  </a:cubicBezTo>
                  <a:cubicBezTo>
                    <a:pt x="646" y="544"/>
                    <a:pt x="646" y="544"/>
                    <a:pt x="646" y="544"/>
                  </a:cubicBezTo>
                  <a:cubicBezTo>
                    <a:pt x="646" y="545"/>
                    <a:pt x="646" y="545"/>
                    <a:pt x="648" y="546"/>
                  </a:cubicBezTo>
                  <a:cubicBezTo>
                    <a:pt x="648" y="546"/>
                    <a:pt x="648" y="546"/>
                    <a:pt x="648" y="546"/>
                  </a:cubicBezTo>
                  <a:cubicBezTo>
                    <a:pt x="655" y="551"/>
                    <a:pt x="656" y="552"/>
                    <a:pt x="654" y="565"/>
                  </a:cubicBezTo>
                  <a:cubicBezTo>
                    <a:pt x="653" y="573"/>
                    <a:pt x="652" y="586"/>
                    <a:pt x="651" y="593"/>
                  </a:cubicBezTo>
                  <a:cubicBezTo>
                    <a:pt x="659" y="593"/>
                    <a:pt x="667" y="593"/>
                    <a:pt x="673" y="594"/>
                  </a:cubicBezTo>
                  <a:cubicBezTo>
                    <a:pt x="680" y="595"/>
                    <a:pt x="681" y="598"/>
                    <a:pt x="682" y="601"/>
                  </a:cubicBezTo>
                  <a:cubicBezTo>
                    <a:pt x="682" y="603"/>
                    <a:pt x="683" y="604"/>
                    <a:pt x="690" y="605"/>
                  </a:cubicBezTo>
                  <a:cubicBezTo>
                    <a:pt x="697" y="606"/>
                    <a:pt x="702" y="606"/>
                    <a:pt x="706" y="607"/>
                  </a:cubicBezTo>
                  <a:cubicBezTo>
                    <a:pt x="712" y="607"/>
                    <a:pt x="716" y="607"/>
                    <a:pt x="720" y="609"/>
                  </a:cubicBezTo>
                  <a:cubicBezTo>
                    <a:pt x="720" y="608"/>
                    <a:pt x="720" y="607"/>
                    <a:pt x="720" y="60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7" name="Freeform 537"/>
            <p:cNvSpPr>
              <a:spLocks/>
            </p:cNvSpPr>
            <p:nvPr/>
          </p:nvSpPr>
          <p:spPr bwMode="auto">
            <a:xfrm>
              <a:off x="5594859" y="3832119"/>
              <a:ext cx="190500" cy="83344"/>
            </a:xfrm>
            <a:custGeom>
              <a:avLst/>
              <a:gdLst>
                <a:gd name="T0" fmla="*/ 648 w 663"/>
                <a:gd name="T1" fmla="*/ 56 h 287"/>
                <a:gd name="T2" fmla="*/ 612 w 663"/>
                <a:gd name="T3" fmla="*/ 46 h 287"/>
                <a:gd name="T4" fmla="*/ 549 w 663"/>
                <a:gd name="T5" fmla="*/ 27 h 287"/>
                <a:gd name="T6" fmla="*/ 448 w 663"/>
                <a:gd name="T7" fmla="*/ 21 h 287"/>
                <a:gd name="T8" fmla="*/ 380 w 663"/>
                <a:gd name="T9" fmla="*/ 26 h 287"/>
                <a:gd name="T10" fmla="*/ 323 w 663"/>
                <a:gd name="T11" fmla="*/ 10 h 287"/>
                <a:gd name="T12" fmla="*/ 269 w 663"/>
                <a:gd name="T13" fmla="*/ 12 h 287"/>
                <a:gd name="T14" fmla="*/ 257 w 663"/>
                <a:gd name="T15" fmla="*/ 44 h 287"/>
                <a:gd name="T16" fmla="*/ 257 w 663"/>
                <a:gd name="T17" fmla="*/ 49 h 287"/>
                <a:gd name="T18" fmla="*/ 244 w 663"/>
                <a:gd name="T19" fmla="*/ 55 h 287"/>
                <a:gd name="T20" fmla="*/ 222 w 663"/>
                <a:gd name="T21" fmla="*/ 49 h 287"/>
                <a:gd name="T22" fmla="*/ 148 w 663"/>
                <a:gd name="T23" fmla="*/ 33 h 287"/>
                <a:gd name="T24" fmla="*/ 111 w 663"/>
                <a:gd name="T25" fmla="*/ 45 h 287"/>
                <a:gd name="T26" fmla="*/ 101 w 663"/>
                <a:gd name="T27" fmla="*/ 57 h 287"/>
                <a:gd name="T28" fmla="*/ 117 w 663"/>
                <a:gd name="T29" fmla="*/ 70 h 287"/>
                <a:gd name="T30" fmla="*/ 109 w 663"/>
                <a:gd name="T31" fmla="*/ 86 h 287"/>
                <a:gd name="T32" fmla="*/ 69 w 663"/>
                <a:gd name="T33" fmla="*/ 114 h 287"/>
                <a:gd name="T34" fmla="*/ 71 w 663"/>
                <a:gd name="T35" fmla="*/ 122 h 287"/>
                <a:gd name="T36" fmla="*/ 97 w 663"/>
                <a:gd name="T37" fmla="*/ 133 h 287"/>
                <a:gd name="T38" fmla="*/ 119 w 663"/>
                <a:gd name="T39" fmla="*/ 143 h 287"/>
                <a:gd name="T40" fmla="*/ 133 w 663"/>
                <a:gd name="T41" fmla="*/ 136 h 287"/>
                <a:gd name="T42" fmla="*/ 168 w 663"/>
                <a:gd name="T43" fmla="*/ 137 h 287"/>
                <a:gd name="T44" fmla="*/ 187 w 663"/>
                <a:gd name="T45" fmla="*/ 153 h 287"/>
                <a:gd name="T46" fmla="*/ 216 w 663"/>
                <a:gd name="T47" fmla="*/ 167 h 287"/>
                <a:gd name="T48" fmla="*/ 212 w 663"/>
                <a:gd name="T49" fmla="*/ 190 h 287"/>
                <a:gd name="T50" fmla="*/ 188 w 663"/>
                <a:gd name="T51" fmla="*/ 197 h 287"/>
                <a:gd name="T52" fmla="*/ 167 w 663"/>
                <a:gd name="T53" fmla="*/ 208 h 287"/>
                <a:gd name="T54" fmla="*/ 132 w 663"/>
                <a:gd name="T55" fmla="*/ 220 h 287"/>
                <a:gd name="T56" fmla="*/ 109 w 663"/>
                <a:gd name="T57" fmla="*/ 215 h 287"/>
                <a:gd name="T58" fmla="*/ 86 w 663"/>
                <a:gd name="T59" fmla="*/ 225 h 287"/>
                <a:gd name="T60" fmla="*/ 62 w 663"/>
                <a:gd name="T61" fmla="*/ 230 h 287"/>
                <a:gd name="T62" fmla="*/ 17 w 663"/>
                <a:gd name="T63" fmla="*/ 226 h 287"/>
                <a:gd name="T64" fmla="*/ 0 w 663"/>
                <a:gd name="T65" fmla="*/ 251 h 287"/>
                <a:gd name="T66" fmla="*/ 22 w 663"/>
                <a:gd name="T67" fmla="*/ 262 h 287"/>
                <a:gd name="T68" fmla="*/ 85 w 663"/>
                <a:gd name="T69" fmla="*/ 264 h 287"/>
                <a:gd name="T70" fmla="*/ 119 w 663"/>
                <a:gd name="T71" fmla="*/ 267 h 287"/>
                <a:gd name="T72" fmla="*/ 147 w 663"/>
                <a:gd name="T73" fmla="*/ 277 h 287"/>
                <a:gd name="T74" fmla="*/ 181 w 663"/>
                <a:gd name="T75" fmla="*/ 285 h 287"/>
                <a:gd name="T76" fmla="*/ 236 w 663"/>
                <a:gd name="T77" fmla="*/ 271 h 287"/>
                <a:gd name="T78" fmla="*/ 255 w 663"/>
                <a:gd name="T79" fmla="*/ 272 h 287"/>
                <a:gd name="T80" fmla="*/ 275 w 663"/>
                <a:gd name="T81" fmla="*/ 257 h 287"/>
                <a:gd name="T82" fmla="*/ 284 w 663"/>
                <a:gd name="T83" fmla="*/ 225 h 287"/>
                <a:gd name="T84" fmla="*/ 329 w 663"/>
                <a:gd name="T85" fmla="*/ 204 h 287"/>
                <a:gd name="T86" fmla="*/ 332 w 663"/>
                <a:gd name="T87" fmla="*/ 196 h 287"/>
                <a:gd name="T88" fmla="*/ 340 w 663"/>
                <a:gd name="T89" fmla="*/ 190 h 287"/>
                <a:gd name="T90" fmla="*/ 348 w 663"/>
                <a:gd name="T91" fmla="*/ 192 h 287"/>
                <a:gd name="T92" fmla="*/ 360 w 663"/>
                <a:gd name="T93" fmla="*/ 195 h 287"/>
                <a:gd name="T94" fmla="*/ 383 w 663"/>
                <a:gd name="T95" fmla="*/ 181 h 287"/>
                <a:gd name="T96" fmla="*/ 391 w 663"/>
                <a:gd name="T97" fmla="*/ 200 h 287"/>
                <a:gd name="T98" fmla="*/ 442 w 663"/>
                <a:gd name="T99" fmla="*/ 178 h 287"/>
                <a:gd name="T100" fmla="*/ 512 w 663"/>
                <a:gd name="T101" fmla="*/ 145 h 287"/>
                <a:gd name="T102" fmla="*/ 551 w 663"/>
                <a:gd name="T103" fmla="*/ 133 h 287"/>
                <a:gd name="T104" fmla="*/ 612 w 663"/>
                <a:gd name="T105" fmla="*/ 97 h 287"/>
                <a:gd name="T106" fmla="*/ 659 w 663"/>
                <a:gd name="T107" fmla="*/ 82 h 287"/>
                <a:gd name="T108" fmla="*/ 663 w 663"/>
                <a:gd name="T109" fmla="*/ 6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63" h="287">
                  <a:moveTo>
                    <a:pt x="663" y="68"/>
                  </a:moveTo>
                  <a:cubicBezTo>
                    <a:pt x="660" y="65"/>
                    <a:pt x="657" y="62"/>
                    <a:pt x="655" y="60"/>
                  </a:cubicBezTo>
                  <a:cubicBezTo>
                    <a:pt x="652" y="58"/>
                    <a:pt x="649" y="56"/>
                    <a:pt x="648" y="56"/>
                  </a:cubicBezTo>
                  <a:cubicBezTo>
                    <a:pt x="646" y="55"/>
                    <a:pt x="642" y="56"/>
                    <a:pt x="638" y="56"/>
                  </a:cubicBezTo>
                  <a:cubicBezTo>
                    <a:pt x="629" y="57"/>
                    <a:pt x="620" y="58"/>
                    <a:pt x="617" y="54"/>
                  </a:cubicBezTo>
                  <a:cubicBezTo>
                    <a:pt x="615" y="52"/>
                    <a:pt x="614" y="49"/>
                    <a:pt x="612" y="46"/>
                  </a:cubicBezTo>
                  <a:cubicBezTo>
                    <a:pt x="610" y="41"/>
                    <a:pt x="608" y="36"/>
                    <a:pt x="605" y="34"/>
                  </a:cubicBezTo>
                  <a:cubicBezTo>
                    <a:pt x="601" y="32"/>
                    <a:pt x="584" y="30"/>
                    <a:pt x="569" y="29"/>
                  </a:cubicBezTo>
                  <a:cubicBezTo>
                    <a:pt x="562" y="28"/>
                    <a:pt x="554" y="27"/>
                    <a:pt x="549" y="27"/>
                  </a:cubicBezTo>
                  <a:cubicBezTo>
                    <a:pt x="541" y="25"/>
                    <a:pt x="526" y="24"/>
                    <a:pt x="510" y="22"/>
                  </a:cubicBezTo>
                  <a:cubicBezTo>
                    <a:pt x="498" y="21"/>
                    <a:pt x="486" y="21"/>
                    <a:pt x="476" y="21"/>
                  </a:cubicBezTo>
                  <a:cubicBezTo>
                    <a:pt x="467" y="21"/>
                    <a:pt x="457" y="21"/>
                    <a:pt x="448" y="21"/>
                  </a:cubicBezTo>
                  <a:cubicBezTo>
                    <a:pt x="436" y="21"/>
                    <a:pt x="426" y="21"/>
                    <a:pt x="418" y="20"/>
                  </a:cubicBezTo>
                  <a:cubicBezTo>
                    <a:pt x="408" y="20"/>
                    <a:pt x="400" y="22"/>
                    <a:pt x="392" y="24"/>
                  </a:cubicBezTo>
                  <a:cubicBezTo>
                    <a:pt x="388" y="25"/>
                    <a:pt x="384" y="26"/>
                    <a:pt x="380" y="26"/>
                  </a:cubicBezTo>
                  <a:cubicBezTo>
                    <a:pt x="366" y="29"/>
                    <a:pt x="346" y="21"/>
                    <a:pt x="336" y="17"/>
                  </a:cubicBezTo>
                  <a:cubicBezTo>
                    <a:pt x="335" y="16"/>
                    <a:pt x="334" y="16"/>
                    <a:pt x="333" y="15"/>
                  </a:cubicBezTo>
                  <a:cubicBezTo>
                    <a:pt x="330" y="14"/>
                    <a:pt x="327" y="12"/>
                    <a:pt x="323" y="10"/>
                  </a:cubicBezTo>
                  <a:cubicBezTo>
                    <a:pt x="317" y="6"/>
                    <a:pt x="308" y="1"/>
                    <a:pt x="298" y="1"/>
                  </a:cubicBezTo>
                  <a:cubicBezTo>
                    <a:pt x="286" y="0"/>
                    <a:pt x="278" y="6"/>
                    <a:pt x="273" y="10"/>
                  </a:cubicBezTo>
                  <a:cubicBezTo>
                    <a:pt x="271" y="11"/>
                    <a:pt x="270" y="12"/>
                    <a:pt x="269" y="12"/>
                  </a:cubicBezTo>
                  <a:cubicBezTo>
                    <a:pt x="267" y="13"/>
                    <a:pt x="265" y="16"/>
                    <a:pt x="262" y="20"/>
                  </a:cubicBezTo>
                  <a:cubicBezTo>
                    <a:pt x="260" y="23"/>
                    <a:pt x="258" y="27"/>
                    <a:pt x="258" y="29"/>
                  </a:cubicBezTo>
                  <a:cubicBezTo>
                    <a:pt x="257" y="34"/>
                    <a:pt x="257" y="39"/>
                    <a:pt x="257" y="44"/>
                  </a:cubicBezTo>
                  <a:cubicBezTo>
                    <a:pt x="257" y="46"/>
                    <a:pt x="257" y="48"/>
                    <a:pt x="257" y="49"/>
                  </a:cubicBezTo>
                  <a:cubicBezTo>
                    <a:pt x="257" y="49"/>
                    <a:pt x="257" y="49"/>
                    <a:pt x="257" y="49"/>
                  </a:cubicBezTo>
                  <a:cubicBezTo>
                    <a:pt x="257" y="49"/>
                    <a:pt x="257" y="49"/>
                    <a:pt x="257" y="49"/>
                  </a:cubicBezTo>
                  <a:cubicBezTo>
                    <a:pt x="257" y="49"/>
                    <a:pt x="257" y="49"/>
                    <a:pt x="257" y="49"/>
                  </a:cubicBezTo>
                  <a:cubicBezTo>
                    <a:pt x="256" y="52"/>
                    <a:pt x="254" y="54"/>
                    <a:pt x="251" y="55"/>
                  </a:cubicBezTo>
                  <a:cubicBezTo>
                    <a:pt x="249" y="56"/>
                    <a:pt x="246" y="56"/>
                    <a:pt x="244" y="55"/>
                  </a:cubicBezTo>
                  <a:cubicBezTo>
                    <a:pt x="244" y="55"/>
                    <a:pt x="244" y="55"/>
                    <a:pt x="244" y="55"/>
                  </a:cubicBezTo>
                  <a:cubicBezTo>
                    <a:pt x="243" y="55"/>
                    <a:pt x="243" y="55"/>
                    <a:pt x="242" y="55"/>
                  </a:cubicBezTo>
                  <a:cubicBezTo>
                    <a:pt x="240" y="55"/>
                    <a:pt x="232" y="52"/>
                    <a:pt x="222" y="49"/>
                  </a:cubicBezTo>
                  <a:cubicBezTo>
                    <a:pt x="207" y="43"/>
                    <a:pt x="187" y="36"/>
                    <a:pt x="179" y="35"/>
                  </a:cubicBezTo>
                  <a:cubicBezTo>
                    <a:pt x="168" y="33"/>
                    <a:pt x="161" y="33"/>
                    <a:pt x="154" y="33"/>
                  </a:cubicBezTo>
                  <a:cubicBezTo>
                    <a:pt x="152" y="33"/>
                    <a:pt x="149" y="33"/>
                    <a:pt x="148" y="33"/>
                  </a:cubicBezTo>
                  <a:cubicBezTo>
                    <a:pt x="147" y="33"/>
                    <a:pt x="146" y="33"/>
                    <a:pt x="143" y="33"/>
                  </a:cubicBezTo>
                  <a:cubicBezTo>
                    <a:pt x="135" y="33"/>
                    <a:pt x="126" y="33"/>
                    <a:pt x="122" y="35"/>
                  </a:cubicBezTo>
                  <a:cubicBezTo>
                    <a:pt x="121" y="35"/>
                    <a:pt x="115" y="40"/>
                    <a:pt x="111" y="45"/>
                  </a:cubicBezTo>
                  <a:cubicBezTo>
                    <a:pt x="106" y="51"/>
                    <a:pt x="101" y="56"/>
                    <a:pt x="101" y="56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8"/>
                    <a:pt x="101" y="59"/>
                    <a:pt x="101" y="60"/>
                  </a:cubicBezTo>
                  <a:cubicBezTo>
                    <a:pt x="106" y="61"/>
                    <a:pt x="115" y="65"/>
                    <a:pt x="117" y="70"/>
                  </a:cubicBezTo>
                  <a:cubicBezTo>
                    <a:pt x="117" y="70"/>
                    <a:pt x="117" y="70"/>
                    <a:pt x="117" y="70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18" y="77"/>
                    <a:pt x="119" y="79"/>
                    <a:pt x="109" y="86"/>
                  </a:cubicBezTo>
                  <a:cubicBezTo>
                    <a:pt x="106" y="88"/>
                    <a:pt x="102" y="91"/>
                    <a:pt x="98" y="94"/>
                  </a:cubicBezTo>
                  <a:cubicBezTo>
                    <a:pt x="91" y="99"/>
                    <a:pt x="84" y="104"/>
                    <a:pt x="80" y="107"/>
                  </a:cubicBezTo>
                  <a:cubicBezTo>
                    <a:pt x="76" y="109"/>
                    <a:pt x="72" y="112"/>
                    <a:pt x="69" y="114"/>
                  </a:cubicBezTo>
                  <a:cubicBezTo>
                    <a:pt x="67" y="116"/>
                    <a:pt x="66" y="117"/>
                    <a:pt x="66" y="117"/>
                  </a:cubicBezTo>
                  <a:cubicBezTo>
                    <a:pt x="66" y="118"/>
                    <a:pt x="66" y="119"/>
                    <a:pt x="66" y="119"/>
                  </a:cubicBezTo>
                  <a:cubicBezTo>
                    <a:pt x="67" y="120"/>
                    <a:pt x="68" y="121"/>
                    <a:pt x="71" y="122"/>
                  </a:cubicBezTo>
                  <a:cubicBezTo>
                    <a:pt x="76" y="123"/>
                    <a:pt x="78" y="123"/>
                    <a:pt x="81" y="122"/>
                  </a:cubicBezTo>
                  <a:cubicBezTo>
                    <a:pt x="83" y="122"/>
                    <a:pt x="85" y="122"/>
                    <a:pt x="88" y="122"/>
                  </a:cubicBezTo>
                  <a:cubicBezTo>
                    <a:pt x="96" y="122"/>
                    <a:pt x="96" y="126"/>
                    <a:pt x="97" y="133"/>
                  </a:cubicBezTo>
                  <a:cubicBezTo>
                    <a:pt x="97" y="134"/>
                    <a:pt x="97" y="136"/>
                    <a:pt x="98" y="138"/>
                  </a:cubicBezTo>
                  <a:cubicBezTo>
                    <a:pt x="99" y="143"/>
                    <a:pt x="107" y="143"/>
                    <a:pt x="117" y="143"/>
                  </a:cubicBezTo>
                  <a:cubicBezTo>
                    <a:pt x="119" y="143"/>
                    <a:pt x="119" y="143"/>
                    <a:pt x="119" y="143"/>
                  </a:cubicBezTo>
                  <a:cubicBezTo>
                    <a:pt x="119" y="143"/>
                    <a:pt x="119" y="143"/>
                    <a:pt x="119" y="143"/>
                  </a:cubicBezTo>
                  <a:cubicBezTo>
                    <a:pt x="128" y="144"/>
                    <a:pt x="129" y="142"/>
                    <a:pt x="131" y="139"/>
                  </a:cubicBezTo>
                  <a:cubicBezTo>
                    <a:pt x="132" y="138"/>
                    <a:pt x="132" y="137"/>
                    <a:pt x="133" y="136"/>
                  </a:cubicBezTo>
                  <a:cubicBezTo>
                    <a:pt x="134" y="135"/>
                    <a:pt x="135" y="133"/>
                    <a:pt x="136" y="131"/>
                  </a:cubicBezTo>
                  <a:cubicBezTo>
                    <a:pt x="139" y="127"/>
                    <a:pt x="141" y="123"/>
                    <a:pt x="148" y="123"/>
                  </a:cubicBezTo>
                  <a:cubicBezTo>
                    <a:pt x="156" y="122"/>
                    <a:pt x="162" y="130"/>
                    <a:pt x="168" y="137"/>
                  </a:cubicBezTo>
                  <a:cubicBezTo>
                    <a:pt x="169" y="138"/>
                    <a:pt x="170" y="140"/>
                    <a:pt x="172" y="141"/>
                  </a:cubicBezTo>
                  <a:cubicBezTo>
                    <a:pt x="172" y="141"/>
                    <a:pt x="172" y="142"/>
                    <a:pt x="173" y="143"/>
                  </a:cubicBezTo>
                  <a:cubicBezTo>
                    <a:pt x="178" y="147"/>
                    <a:pt x="182" y="151"/>
                    <a:pt x="187" y="153"/>
                  </a:cubicBezTo>
                  <a:cubicBezTo>
                    <a:pt x="192" y="154"/>
                    <a:pt x="195" y="156"/>
                    <a:pt x="199" y="158"/>
                  </a:cubicBezTo>
                  <a:cubicBezTo>
                    <a:pt x="203" y="160"/>
                    <a:pt x="206" y="163"/>
                    <a:pt x="210" y="166"/>
                  </a:cubicBezTo>
                  <a:cubicBezTo>
                    <a:pt x="213" y="168"/>
                    <a:pt x="215" y="167"/>
                    <a:pt x="216" y="167"/>
                  </a:cubicBezTo>
                  <a:cubicBezTo>
                    <a:pt x="220" y="166"/>
                    <a:pt x="223" y="166"/>
                    <a:pt x="224" y="172"/>
                  </a:cubicBezTo>
                  <a:cubicBezTo>
                    <a:pt x="225" y="178"/>
                    <a:pt x="221" y="181"/>
                    <a:pt x="217" y="185"/>
                  </a:cubicBezTo>
                  <a:cubicBezTo>
                    <a:pt x="215" y="186"/>
                    <a:pt x="213" y="188"/>
                    <a:pt x="212" y="190"/>
                  </a:cubicBezTo>
                  <a:cubicBezTo>
                    <a:pt x="207" y="196"/>
                    <a:pt x="203" y="196"/>
                    <a:pt x="198" y="196"/>
                  </a:cubicBezTo>
                  <a:cubicBezTo>
                    <a:pt x="196" y="196"/>
                    <a:pt x="195" y="196"/>
                    <a:pt x="193" y="196"/>
                  </a:cubicBezTo>
                  <a:cubicBezTo>
                    <a:pt x="190" y="196"/>
                    <a:pt x="189" y="197"/>
                    <a:pt x="188" y="197"/>
                  </a:cubicBezTo>
                  <a:cubicBezTo>
                    <a:pt x="187" y="199"/>
                    <a:pt x="185" y="200"/>
                    <a:pt x="181" y="201"/>
                  </a:cubicBezTo>
                  <a:cubicBezTo>
                    <a:pt x="178" y="202"/>
                    <a:pt x="175" y="202"/>
                    <a:pt x="173" y="203"/>
                  </a:cubicBezTo>
                  <a:cubicBezTo>
                    <a:pt x="171" y="204"/>
                    <a:pt x="169" y="206"/>
                    <a:pt x="167" y="208"/>
                  </a:cubicBezTo>
                  <a:cubicBezTo>
                    <a:pt x="166" y="209"/>
                    <a:pt x="165" y="210"/>
                    <a:pt x="164" y="211"/>
                  </a:cubicBezTo>
                  <a:cubicBezTo>
                    <a:pt x="160" y="217"/>
                    <a:pt x="155" y="223"/>
                    <a:pt x="147" y="225"/>
                  </a:cubicBezTo>
                  <a:cubicBezTo>
                    <a:pt x="140" y="226"/>
                    <a:pt x="137" y="224"/>
                    <a:pt x="132" y="220"/>
                  </a:cubicBezTo>
                  <a:cubicBezTo>
                    <a:pt x="130" y="219"/>
                    <a:pt x="128" y="217"/>
                    <a:pt x="125" y="216"/>
                  </a:cubicBezTo>
                  <a:cubicBezTo>
                    <a:pt x="118" y="213"/>
                    <a:pt x="116" y="213"/>
                    <a:pt x="111" y="214"/>
                  </a:cubicBezTo>
                  <a:cubicBezTo>
                    <a:pt x="111" y="214"/>
                    <a:pt x="110" y="215"/>
                    <a:pt x="109" y="215"/>
                  </a:cubicBezTo>
                  <a:cubicBezTo>
                    <a:pt x="106" y="215"/>
                    <a:pt x="106" y="215"/>
                    <a:pt x="106" y="215"/>
                  </a:cubicBezTo>
                  <a:cubicBezTo>
                    <a:pt x="102" y="216"/>
                    <a:pt x="96" y="217"/>
                    <a:pt x="90" y="218"/>
                  </a:cubicBezTo>
                  <a:cubicBezTo>
                    <a:pt x="89" y="220"/>
                    <a:pt x="88" y="222"/>
                    <a:pt x="86" y="225"/>
                  </a:cubicBezTo>
                  <a:cubicBezTo>
                    <a:pt x="84" y="227"/>
                    <a:pt x="82" y="229"/>
                    <a:pt x="79" y="231"/>
                  </a:cubicBezTo>
                  <a:cubicBezTo>
                    <a:pt x="76" y="233"/>
                    <a:pt x="73" y="233"/>
                    <a:pt x="69" y="233"/>
                  </a:cubicBezTo>
                  <a:cubicBezTo>
                    <a:pt x="67" y="232"/>
                    <a:pt x="64" y="231"/>
                    <a:pt x="62" y="230"/>
                  </a:cubicBezTo>
                  <a:cubicBezTo>
                    <a:pt x="53" y="223"/>
                    <a:pt x="39" y="223"/>
                    <a:pt x="31" y="223"/>
                  </a:cubicBezTo>
                  <a:cubicBezTo>
                    <a:pt x="28" y="223"/>
                    <a:pt x="28" y="223"/>
                    <a:pt x="28" y="223"/>
                  </a:cubicBezTo>
                  <a:cubicBezTo>
                    <a:pt x="25" y="223"/>
                    <a:pt x="21" y="224"/>
                    <a:pt x="17" y="226"/>
                  </a:cubicBezTo>
                  <a:cubicBezTo>
                    <a:pt x="13" y="227"/>
                    <a:pt x="9" y="229"/>
                    <a:pt x="6" y="231"/>
                  </a:cubicBezTo>
                  <a:cubicBezTo>
                    <a:pt x="5" y="232"/>
                    <a:pt x="3" y="235"/>
                    <a:pt x="3" y="238"/>
                  </a:cubicBezTo>
                  <a:cubicBezTo>
                    <a:pt x="1" y="242"/>
                    <a:pt x="1" y="247"/>
                    <a:pt x="0" y="251"/>
                  </a:cubicBezTo>
                  <a:cubicBezTo>
                    <a:pt x="0" y="255"/>
                    <a:pt x="0" y="258"/>
                    <a:pt x="0" y="260"/>
                  </a:cubicBezTo>
                  <a:cubicBezTo>
                    <a:pt x="1" y="261"/>
                    <a:pt x="2" y="262"/>
                    <a:pt x="4" y="262"/>
                  </a:cubicBezTo>
                  <a:cubicBezTo>
                    <a:pt x="8" y="262"/>
                    <a:pt x="15" y="262"/>
                    <a:pt x="22" y="262"/>
                  </a:cubicBezTo>
                  <a:cubicBezTo>
                    <a:pt x="30" y="261"/>
                    <a:pt x="39" y="261"/>
                    <a:pt x="46" y="261"/>
                  </a:cubicBezTo>
                  <a:cubicBezTo>
                    <a:pt x="50" y="261"/>
                    <a:pt x="53" y="262"/>
                    <a:pt x="56" y="262"/>
                  </a:cubicBezTo>
                  <a:cubicBezTo>
                    <a:pt x="66" y="262"/>
                    <a:pt x="76" y="262"/>
                    <a:pt x="85" y="264"/>
                  </a:cubicBezTo>
                  <a:cubicBezTo>
                    <a:pt x="88" y="265"/>
                    <a:pt x="90" y="265"/>
                    <a:pt x="92" y="266"/>
                  </a:cubicBezTo>
                  <a:cubicBezTo>
                    <a:pt x="101" y="268"/>
                    <a:pt x="108" y="270"/>
                    <a:pt x="114" y="269"/>
                  </a:cubicBezTo>
                  <a:cubicBezTo>
                    <a:pt x="116" y="268"/>
                    <a:pt x="117" y="268"/>
                    <a:pt x="119" y="267"/>
                  </a:cubicBezTo>
                  <a:cubicBezTo>
                    <a:pt x="119" y="267"/>
                    <a:pt x="119" y="267"/>
                    <a:pt x="119" y="267"/>
                  </a:cubicBezTo>
                  <a:cubicBezTo>
                    <a:pt x="124" y="265"/>
                    <a:pt x="128" y="264"/>
                    <a:pt x="134" y="264"/>
                  </a:cubicBezTo>
                  <a:cubicBezTo>
                    <a:pt x="140" y="265"/>
                    <a:pt x="143" y="271"/>
                    <a:pt x="147" y="277"/>
                  </a:cubicBezTo>
                  <a:cubicBezTo>
                    <a:pt x="148" y="279"/>
                    <a:pt x="150" y="282"/>
                    <a:pt x="151" y="284"/>
                  </a:cubicBezTo>
                  <a:cubicBezTo>
                    <a:pt x="153" y="285"/>
                    <a:pt x="157" y="286"/>
                    <a:pt x="162" y="287"/>
                  </a:cubicBezTo>
                  <a:cubicBezTo>
                    <a:pt x="168" y="287"/>
                    <a:pt x="175" y="286"/>
                    <a:pt x="181" y="285"/>
                  </a:cubicBezTo>
                  <a:cubicBezTo>
                    <a:pt x="188" y="283"/>
                    <a:pt x="190" y="281"/>
                    <a:pt x="192" y="280"/>
                  </a:cubicBezTo>
                  <a:cubicBezTo>
                    <a:pt x="194" y="278"/>
                    <a:pt x="196" y="276"/>
                    <a:pt x="201" y="274"/>
                  </a:cubicBezTo>
                  <a:cubicBezTo>
                    <a:pt x="211" y="271"/>
                    <a:pt x="224" y="271"/>
                    <a:pt x="236" y="271"/>
                  </a:cubicBezTo>
                  <a:cubicBezTo>
                    <a:pt x="239" y="271"/>
                    <a:pt x="239" y="271"/>
                    <a:pt x="239" y="271"/>
                  </a:cubicBezTo>
                  <a:cubicBezTo>
                    <a:pt x="239" y="271"/>
                    <a:pt x="239" y="271"/>
                    <a:pt x="239" y="271"/>
                  </a:cubicBezTo>
                  <a:cubicBezTo>
                    <a:pt x="245" y="271"/>
                    <a:pt x="250" y="272"/>
                    <a:pt x="255" y="272"/>
                  </a:cubicBezTo>
                  <a:cubicBezTo>
                    <a:pt x="255" y="272"/>
                    <a:pt x="256" y="272"/>
                    <a:pt x="257" y="273"/>
                  </a:cubicBezTo>
                  <a:cubicBezTo>
                    <a:pt x="258" y="269"/>
                    <a:pt x="262" y="267"/>
                    <a:pt x="266" y="264"/>
                  </a:cubicBezTo>
                  <a:cubicBezTo>
                    <a:pt x="270" y="262"/>
                    <a:pt x="274" y="259"/>
                    <a:pt x="275" y="257"/>
                  </a:cubicBezTo>
                  <a:cubicBezTo>
                    <a:pt x="278" y="252"/>
                    <a:pt x="279" y="244"/>
                    <a:pt x="280" y="238"/>
                  </a:cubicBezTo>
                  <a:cubicBezTo>
                    <a:pt x="280" y="237"/>
                    <a:pt x="281" y="235"/>
                    <a:pt x="281" y="234"/>
                  </a:cubicBezTo>
                  <a:cubicBezTo>
                    <a:pt x="281" y="231"/>
                    <a:pt x="282" y="228"/>
                    <a:pt x="284" y="225"/>
                  </a:cubicBezTo>
                  <a:cubicBezTo>
                    <a:pt x="286" y="221"/>
                    <a:pt x="289" y="218"/>
                    <a:pt x="293" y="217"/>
                  </a:cubicBezTo>
                  <a:cubicBezTo>
                    <a:pt x="295" y="216"/>
                    <a:pt x="297" y="215"/>
                    <a:pt x="300" y="215"/>
                  </a:cubicBezTo>
                  <a:cubicBezTo>
                    <a:pt x="310" y="212"/>
                    <a:pt x="326" y="206"/>
                    <a:pt x="329" y="204"/>
                  </a:cubicBezTo>
                  <a:cubicBezTo>
                    <a:pt x="330" y="204"/>
                    <a:pt x="330" y="203"/>
                    <a:pt x="330" y="203"/>
                  </a:cubicBezTo>
                  <a:cubicBezTo>
                    <a:pt x="330" y="201"/>
                    <a:pt x="330" y="199"/>
                    <a:pt x="332" y="196"/>
                  </a:cubicBezTo>
                  <a:cubicBezTo>
                    <a:pt x="332" y="196"/>
                    <a:pt x="332" y="196"/>
                    <a:pt x="332" y="196"/>
                  </a:cubicBezTo>
                  <a:cubicBezTo>
                    <a:pt x="332" y="196"/>
                    <a:pt x="332" y="196"/>
                    <a:pt x="332" y="196"/>
                  </a:cubicBezTo>
                  <a:cubicBezTo>
                    <a:pt x="332" y="196"/>
                    <a:pt x="332" y="196"/>
                    <a:pt x="332" y="196"/>
                  </a:cubicBezTo>
                  <a:cubicBezTo>
                    <a:pt x="333" y="192"/>
                    <a:pt x="337" y="191"/>
                    <a:pt x="340" y="190"/>
                  </a:cubicBezTo>
                  <a:cubicBezTo>
                    <a:pt x="343" y="190"/>
                    <a:pt x="346" y="191"/>
                    <a:pt x="348" y="191"/>
                  </a:cubicBezTo>
                  <a:cubicBezTo>
                    <a:pt x="348" y="191"/>
                    <a:pt x="348" y="191"/>
                    <a:pt x="348" y="191"/>
                  </a:cubicBezTo>
                  <a:cubicBezTo>
                    <a:pt x="348" y="192"/>
                    <a:pt x="348" y="192"/>
                    <a:pt x="348" y="192"/>
                  </a:cubicBezTo>
                  <a:cubicBezTo>
                    <a:pt x="348" y="192"/>
                    <a:pt x="348" y="192"/>
                    <a:pt x="348" y="192"/>
                  </a:cubicBezTo>
                  <a:cubicBezTo>
                    <a:pt x="349" y="192"/>
                    <a:pt x="350" y="192"/>
                    <a:pt x="350" y="193"/>
                  </a:cubicBezTo>
                  <a:cubicBezTo>
                    <a:pt x="353" y="194"/>
                    <a:pt x="357" y="196"/>
                    <a:pt x="360" y="195"/>
                  </a:cubicBezTo>
                  <a:cubicBezTo>
                    <a:pt x="363" y="194"/>
                    <a:pt x="365" y="191"/>
                    <a:pt x="366" y="188"/>
                  </a:cubicBezTo>
                  <a:cubicBezTo>
                    <a:pt x="369" y="184"/>
                    <a:pt x="371" y="181"/>
                    <a:pt x="374" y="180"/>
                  </a:cubicBezTo>
                  <a:cubicBezTo>
                    <a:pt x="378" y="178"/>
                    <a:pt x="381" y="179"/>
                    <a:pt x="383" y="181"/>
                  </a:cubicBezTo>
                  <a:cubicBezTo>
                    <a:pt x="386" y="183"/>
                    <a:pt x="388" y="186"/>
                    <a:pt x="389" y="188"/>
                  </a:cubicBezTo>
                  <a:cubicBezTo>
                    <a:pt x="390" y="190"/>
                    <a:pt x="389" y="192"/>
                    <a:pt x="389" y="195"/>
                  </a:cubicBezTo>
                  <a:cubicBezTo>
                    <a:pt x="389" y="197"/>
                    <a:pt x="388" y="199"/>
                    <a:pt x="391" y="200"/>
                  </a:cubicBezTo>
                  <a:cubicBezTo>
                    <a:pt x="397" y="202"/>
                    <a:pt x="409" y="200"/>
                    <a:pt x="417" y="199"/>
                  </a:cubicBezTo>
                  <a:cubicBezTo>
                    <a:pt x="420" y="198"/>
                    <a:pt x="422" y="197"/>
                    <a:pt x="424" y="197"/>
                  </a:cubicBezTo>
                  <a:cubicBezTo>
                    <a:pt x="426" y="197"/>
                    <a:pt x="434" y="188"/>
                    <a:pt x="442" y="178"/>
                  </a:cubicBezTo>
                  <a:cubicBezTo>
                    <a:pt x="450" y="169"/>
                    <a:pt x="458" y="159"/>
                    <a:pt x="463" y="155"/>
                  </a:cubicBezTo>
                  <a:cubicBezTo>
                    <a:pt x="469" y="151"/>
                    <a:pt x="477" y="148"/>
                    <a:pt x="486" y="147"/>
                  </a:cubicBezTo>
                  <a:cubicBezTo>
                    <a:pt x="494" y="146"/>
                    <a:pt x="503" y="145"/>
                    <a:pt x="512" y="145"/>
                  </a:cubicBezTo>
                  <a:cubicBezTo>
                    <a:pt x="520" y="145"/>
                    <a:pt x="528" y="145"/>
                    <a:pt x="535" y="144"/>
                  </a:cubicBezTo>
                  <a:cubicBezTo>
                    <a:pt x="541" y="143"/>
                    <a:pt x="546" y="141"/>
                    <a:pt x="548" y="138"/>
                  </a:cubicBezTo>
                  <a:cubicBezTo>
                    <a:pt x="549" y="136"/>
                    <a:pt x="550" y="135"/>
                    <a:pt x="551" y="133"/>
                  </a:cubicBezTo>
                  <a:cubicBezTo>
                    <a:pt x="554" y="129"/>
                    <a:pt x="556" y="124"/>
                    <a:pt x="568" y="116"/>
                  </a:cubicBezTo>
                  <a:cubicBezTo>
                    <a:pt x="575" y="111"/>
                    <a:pt x="581" y="108"/>
                    <a:pt x="588" y="105"/>
                  </a:cubicBezTo>
                  <a:cubicBezTo>
                    <a:pt x="595" y="102"/>
                    <a:pt x="602" y="100"/>
                    <a:pt x="612" y="97"/>
                  </a:cubicBezTo>
                  <a:cubicBezTo>
                    <a:pt x="625" y="94"/>
                    <a:pt x="632" y="91"/>
                    <a:pt x="639" y="89"/>
                  </a:cubicBezTo>
                  <a:cubicBezTo>
                    <a:pt x="643" y="87"/>
                    <a:pt x="646" y="86"/>
                    <a:pt x="650" y="85"/>
                  </a:cubicBezTo>
                  <a:cubicBezTo>
                    <a:pt x="654" y="83"/>
                    <a:pt x="657" y="83"/>
                    <a:pt x="659" y="82"/>
                  </a:cubicBezTo>
                  <a:cubicBezTo>
                    <a:pt x="662" y="81"/>
                    <a:pt x="663" y="81"/>
                    <a:pt x="663" y="78"/>
                  </a:cubicBezTo>
                  <a:cubicBezTo>
                    <a:pt x="663" y="75"/>
                    <a:pt x="663" y="73"/>
                    <a:pt x="663" y="71"/>
                  </a:cubicBezTo>
                  <a:cubicBezTo>
                    <a:pt x="663" y="70"/>
                    <a:pt x="663" y="69"/>
                    <a:pt x="663" y="6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8" name="Freeform 538"/>
            <p:cNvSpPr>
              <a:spLocks/>
            </p:cNvSpPr>
            <p:nvPr/>
          </p:nvSpPr>
          <p:spPr bwMode="auto">
            <a:xfrm>
              <a:off x="5560331" y="3879744"/>
              <a:ext cx="134541" cy="85725"/>
            </a:xfrm>
            <a:custGeom>
              <a:avLst/>
              <a:gdLst>
                <a:gd name="T0" fmla="*/ 453 w 467"/>
                <a:gd name="T1" fmla="*/ 207 h 297"/>
                <a:gd name="T2" fmla="*/ 424 w 467"/>
                <a:gd name="T3" fmla="*/ 167 h 297"/>
                <a:gd name="T4" fmla="*/ 401 w 467"/>
                <a:gd name="T5" fmla="*/ 168 h 297"/>
                <a:gd name="T6" fmla="*/ 380 w 467"/>
                <a:gd name="T7" fmla="*/ 147 h 297"/>
                <a:gd name="T8" fmla="*/ 379 w 467"/>
                <a:gd name="T9" fmla="*/ 127 h 297"/>
                <a:gd name="T10" fmla="*/ 372 w 467"/>
                <a:gd name="T11" fmla="*/ 114 h 297"/>
                <a:gd name="T12" fmla="*/ 354 w 467"/>
                <a:gd name="T13" fmla="*/ 113 h 297"/>
                <a:gd name="T14" fmla="*/ 301 w 467"/>
                <a:gd name="T15" fmla="*/ 126 h 297"/>
                <a:gd name="T16" fmla="*/ 258 w 467"/>
                <a:gd name="T17" fmla="*/ 115 h 297"/>
                <a:gd name="T18" fmla="*/ 239 w 467"/>
                <a:gd name="T19" fmla="*/ 109 h 297"/>
                <a:gd name="T20" fmla="*/ 201 w 467"/>
                <a:gd name="T21" fmla="*/ 106 h 297"/>
                <a:gd name="T22" fmla="*/ 141 w 467"/>
                <a:gd name="T23" fmla="*/ 104 h 297"/>
                <a:gd name="T24" fmla="*/ 110 w 467"/>
                <a:gd name="T25" fmla="*/ 84 h 297"/>
                <a:gd name="T26" fmla="*/ 133 w 467"/>
                <a:gd name="T27" fmla="*/ 52 h 297"/>
                <a:gd name="T28" fmla="*/ 185 w 467"/>
                <a:gd name="T29" fmla="*/ 57 h 297"/>
                <a:gd name="T30" fmla="*/ 198 w 467"/>
                <a:gd name="T31" fmla="*/ 54 h 297"/>
                <a:gd name="T32" fmla="*/ 184 w 467"/>
                <a:gd name="T33" fmla="*/ 35 h 297"/>
                <a:gd name="T34" fmla="*/ 188 w 467"/>
                <a:gd name="T35" fmla="*/ 5 h 297"/>
                <a:gd name="T36" fmla="*/ 175 w 467"/>
                <a:gd name="T37" fmla="*/ 2 h 297"/>
                <a:gd name="T38" fmla="*/ 128 w 467"/>
                <a:gd name="T39" fmla="*/ 20 h 297"/>
                <a:gd name="T40" fmla="*/ 117 w 467"/>
                <a:gd name="T41" fmla="*/ 16 h 297"/>
                <a:gd name="T42" fmla="*/ 112 w 467"/>
                <a:gd name="T43" fmla="*/ 39 h 297"/>
                <a:gd name="T44" fmla="*/ 90 w 467"/>
                <a:gd name="T45" fmla="*/ 58 h 297"/>
                <a:gd name="T46" fmla="*/ 80 w 467"/>
                <a:gd name="T47" fmla="*/ 75 h 297"/>
                <a:gd name="T48" fmla="*/ 68 w 467"/>
                <a:gd name="T49" fmla="*/ 93 h 297"/>
                <a:gd name="T50" fmla="*/ 36 w 467"/>
                <a:gd name="T51" fmla="*/ 101 h 297"/>
                <a:gd name="T52" fmla="*/ 4 w 467"/>
                <a:gd name="T53" fmla="*/ 106 h 297"/>
                <a:gd name="T54" fmla="*/ 9 w 467"/>
                <a:gd name="T55" fmla="*/ 128 h 297"/>
                <a:gd name="T56" fmla="*/ 44 w 467"/>
                <a:gd name="T57" fmla="*/ 148 h 297"/>
                <a:gd name="T58" fmla="*/ 49 w 467"/>
                <a:gd name="T59" fmla="*/ 188 h 297"/>
                <a:gd name="T60" fmla="*/ 38 w 467"/>
                <a:gd name="T61" fmla="*/ 234 h 297"/>
                <a:gd name="T62" fmla="*/ 21 w 467"/>
                <a:gd name="T63" fmla="*/ 265 h 297"/>
                <a:gd name="T64" fmla="*/ 22 w 467"/>
                <a:gd name="T65" fmla="*/ 274 h 297"/>
                <a:gd name="T66" fmla="*/ 66 w 467"/>
                <a:gd name="T67" fmla="*/ 261 h 297"/>
                <a:gd name="T68" fmla="*/ 98 w 467"/>
                <a:gd name="T69" fmla="*/ 262 h 297"/>
                <a:gd name="T70" fmla="*/ 117 w 467"/>
                <a:gd name="T71" fmla="*/ 250 h 297"/>
                <a:gd name="T72" fmla="*/ 152 w 467"/>
                <a:gd name="T73" fmla="*/ 236 h 297"/>
                <a:gd name="T74" fmla="*/ 163 w 467"/>
                <a:gd name="T75" fmla="*/ 221 h 297"/>
                <a:gd name="T76" fmla="*/ 188 w 467"/>
                <a:gd name="T77" fmla="*/ 185 h 297"/>
                <a:gd name="T78" fmla="*/ 229 w 467"/>
                <a:gd name="T79" fmla="*/ 181 h 297"/>
                <a:gd name="T80" fmla="*/ 241 w 467"/>
                <a:gd name="T81" fmla="*/ 205 h 297"/>
                <a:gd name="T82" fmla="*/ 252 w 467"/>
                <a:gd name="T83" fmla="*/ 228 h 297"/>
                <a:gd name="T84" fmla="*/ 252 w 467"/>
                <a:gd name="T85" fmla="*/ 286 h 297"/>
                <a:gd name="T86" fmla="*/ 282 w 467"/>
                <a:gd name="T87" fmla="*/ 291 h 297"/>
                <a:gd name="T88" fmla="*/ 325 w 467"/>
                <a:gd name="T89" fmla="*/ 264 h 297"/>
                <a:gd name="T90" fmla="*/ 374 w 467"/>
                <a:gd name="T91" fmla="*/ 249 h 297"/>
                <a:gd name="T92" fmla="*/ 411 w 467"/>
                <a:gd name="T93" fmla="*/ 248 h 297"/>
                <a:gd name="T94" fmla="*/ 444 w 467"/>
                <a:gd name="T95" fmla="*/ 258 h 297"/>
                <a:gd name="T96" fmla="*/ 464 w 467"/>
                <a:gd name="T97" fmla="*/ 254 h 297"/>
                <a:gd name="T98" fmla="*/ 462 w 467"/>
                <a:gd name="T99" fmla="*/ 245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67" h="297">
                  <a:moveTo>
                    <a:pt x="462" y="245"/>
                  </a:moveTo>
                  <a:cubicBezTo>
                    <a:pt x="459" y="241"/>
                    <a:pt x="455" y="236"/>
                    <a:pt x="455" y="230"/>
                  </a:cubicBezTo>
                  <a:cubicBezTo>
                    <a:pt x="455" y="226"/>
                    <a:pt x="454" y="216"/>
                    <a:pt x="453" y="207"/>
                  </a:cubicBezTo>
                  <a:cubicBezTo>
                    <a:pt x="452" y="199"/>
                    <a:pt x="451" y="192"/>
                    <a:pt x="450" y="188"/>
                  </a:cubicBezTo>
                  <a:cubicBezTo>
                    <a:pt x="449" y="185"/>
                    <a:pt x="446" y="181"/>
                    <a:pt x="441" y="178"/>
                  </a:cubicBezTo>
                  <a:cubicBezTo>
                    <a:pt x="436" y="173"/>
                    <a:pt x="429" y="169"/>
                    <a:pt x="424" y="167"/>
                  </a:cubicBezTo>
                  <a:cubicBezTo>
                    <a:pt x="419" y="165"/>
                    <a:pt x="415" y="166"/>
                    <a:pt x="411" y="167"/>
                  </a:cubicBezTo>
                  <a:cubicBezTo>
                    <a:pt x="411" y="167"/>
                    <a:pt x="411" y="167"/>
                    <a:pt x="411" y="167"/>
                  </a:cubicBezTo>
                  <a:cubicBezTo>
                    <a:pt x="408" y="167"/>
                    <a:pt x="405" y="168"/>
                    <a:pt x="401" y="168"/>
                  </a:cubicBezTo>
                  <a:cubicBezTo>
                    <a:pt x="394" y="168"/>
                    <a:pt x="390" y="168"/>
                    <a:pt x="386" y="166"/>
                  </a:cubicBezTo>
                  <a:cubicBezTo>
                    <a:pt x="382" y="165"/>
                    <a:pt x="379" y="162"/>
                    <a:pt x="378" y="157"/>
                  </a:cubicBezTo>
                  <a:cubicBezTo>
                    <a:pt x="378" y="153"/>
                    <a:pt x="378" y="150"/>
                    <a:pt x="380" y="147"/>
                  </a:cubicBezTo>
                  <a:cubicBezTo>
                    <a:pt x="381" y="144"/>
                    <a:pt x="383" y="142"/>
                    <a:pt x="386" y="139"/>
                  </a:cubicBezTo>
                  <a:cubicBezTo>
                    <a:pt x="387" y="138"/>
                    <a:pt x="384" y="134"/>
                    <a:pt x="382" y="131"/>
                  </a:cubicBezTo>
                  <a:cubicBezTo>
                    <a:pt x="381" y="130"/>
                    <a:pt x="380" y="128"/>
                    <a:pt x="379" y="127"/>
                  </a:cubicBezTo>
                  <a:cubicBezTo>
                    <a:pt x="377" y="124"/>
                    <a:pt x="376" y="121"/>
                    <a:pt x="375" y="118"/>
                  </a:cubicBezTo>
                  <a:cubicBezTo>
                    <a:pt x="375" y="117"/>
                    <a:pt x="374" y="116"/>
                    <a:pt x="374" y="115"/>
                  </a:cubicBezTo>
                  <a:cubicBezTo>
                    <a:pt x="373" y="114"/>
                    <a:pt x="372" y="114"/>
                    <a:pt x="372" y="114"/>
                  </a:cubicBezTo>
                  <a:cubicBezTo>
                    <a:pt x="368" y="114"/>
                    <a:pt x="363" y="113"/>
                    <a:pt x="357" y="113"/>
                  </a:cubicBezTo>
                  <a:cubicBezTo>
                    <a:pt x="357" y="113"/>
                    <a:pt x="357" y="113"/>
                    <a:pt x="357" y="113"/>
                  </a:cubicBezTo>
                  <a:cubicBezTo>
                    <a:pt x="354" y="113"/>
                    <a:pt x="354" y="113"/>
                    <a:pt x="354" y="113"/>
                  </a:cubicBezTo>
                  <a:cubicBezTo>
                    <a:pt x="343" y="113"/>
                    <a:pt x="330" y="113"/>
                    <a:pt x="322" y="116"/>
                  </a:cubicBezTo>
                  <a:cubicBezTo>
                    <a:pt x="318" y="117"/>
                    <a:pt x="317" y="118"/>
                    <a:pt x="315" y="120"/>
                  </a:cubicBezTo>
                  <a:cubicBezTo>
                    <a:pt x="312" y="122"/>
                    <a:pt x="310" y="124"/>
                    <a:pt x="301" y="126"/>
                  </a:cubicBezTo>
                  <a:cubicBezTo>
                    <a:pt x="294" y="128"/>
                    <a:pt x="286" y="129"/>
                    <a:pt x="279" y="129"/>
                  </a:cubicBezTo>
                  <a:cubicBezTo>
                    <a:pt x="272" y="128"/>
                    <a:pt x="266" y="126"/>
                    <a:pt x="263" y="123"/>
                  </a:cubicBezTo>
                  <a:cubicBezTo>
                    <a:pt x="261" y="121"/>
                    <a:pt x="260" y="118"/>
                    <a:pt x="258" y="115"/>
                  </a:cubicBezTo>
                  <a:cubicBezTo>
                    <a:pt x="256" y="111"/>
                    <a:pt x="253" y="106"/>
                    <a:pt x="251" y="106"/>
                  </a:cubicBezTo>
                  <a:cubicBezTo>
                    <a:pt x="247" y="106"/>
                    <a:pt x="244" y="107"/>
                    <a:pt x="239" y="109"/>
                  </a:cubicBezTo>
                  <a:cubicBezTo>
                    <a:pt x="239" y="109"/>
                    <a:pt x="239" y="109"/>
                    <a:pt x="239" y="109"/>
                  </a:cubicBezTo>
                  <a:cubicBezTo>
                    <a:pt x="237" y="109"/>
                    <a:pt x="236" y="110"/>
                    <a:pt x="234" y="110"/>
                  </a:cubicBezTo>
                  <a:cubicBezTo>
                    <a:pt x="227" y="113"/>
                    <a:pt x="218" y="110"/>
                    <a:pt x="208" y="108"/>
                  </a:cubicBezTo>
                  <a:cubicBezTo>
                    <a:pt x="206" y="107"/>
                    <a:pt x="204" y="107"/>
                    <a:pt x="201" y="106"/>
                  </a:cubicBezTo>
                  <a:cubicBezTo>
                    <a:pt x="193" y="104"/>
                    <a:pt x="184" y="104"/>
                    <a:pt x="174" y="104"/>
                  </a:cubicBezTo>
                  <a:cubicBezTo>
                    <a:pt x="171" y="104"/>
                    <a:pt x="167" y="103"/>
                    <a:pt x="164" y="103"/>
                  </a:cubicBezTo>
                  <a:cubicBezTo>
                    <a:pt x="157" y="103"/>
                    <a:pt x="149" y="103"/>
                    <a:pt x="141" y="104"/>
                  </a:cubicBezTo>
                  <a:cubicBezTo>
                    <a:pt x="133" y="104"/>
                    <a:pt x="125" y="104"/>
                    <a:pt x="121" y="104"/>
                  </a:cubicBezTo>
                  <a:cubicBezTo>
                    <a:pt x="116" y="103"/>
                    <a:pt x="113" y="101"/>
                    <a:pt x="111" y="97"/>
                  </a:cubicBezTo>
                  <a:cubicBezTo>
                    <a:pt x="110" y="94"/>
                    <a:pt x="110" y="90"/>
                    <a:pt x="110" y="84"/>
                  </a:cubicBezTo>
                  <a:cubicBezTo>
                    <a:pt x="111" y="79"/>
                    <a:pt x="112" y="74"/>
                    <a:pt x="113" y="70"/>
                  </a:cubicBezTo>
                  <a:cubicBezTo>
                    <a:pt x="114" y="65"/>
                    <a:pt x="116" y="61"/>
                    <a:pt x="120" y="58"/>
                  </a:cubicBezTo>
                  <a:cubicBezTo>
                    <a:pt x="122" y="56"/>
                    <a:pt x="127" y="54"/>
                    <a:pt x="133" y="52"/>
                  </a:cubicBezTo>
                  <a:cubicBezTo>
                    <a:pt x="137" y="50"/>
                    <a:pt x="142" y="49"/>
                    <a:pt x="146" y="49"/>
                  </a:cubicBezTo>
                  <a:cubicBezTo>
                    <a:pt x="148" y="49"/>
                    <a:pt x="148" y="49"/>
                    <a:pt x="149" y="49"/>
                  </a:cubicBezTo>
                  <a:cubicBezTo>
                    <a:pt x="158" y="49"/>
                    <a:pt x="174" y="49"/>
                    <a:pt x="185" y="57"/>
                  </a:cubicBezTo>
                  <a:cubicBezTo>
                    <a:pt x="186" y="58"/>
                    <a:pt x="187" y="59"/>
                    <a:pt x="188" y="59"/>
                  </a:cubicBezTo>
                  <a:cubicBezTo>
                    <a:pt x="190" y="59"/>
                    <a:pt x="192" y="59"/>
                    <a:pt x="193" y="58"/>
                  </a:cubicBezTo>
                  <a:cubicBezTo>
                    <a:pt x="195" y="57"/>
                    <a:pt x="196" y="56"/>
                    <a:pt x="198" y="54"/>
                  </a:cubicBezTo>
                  <a:cubicBezTo>
                    <a:pt x="198" y="53"/>
                    <a:pt x="199" y="52"/>
                    <a:pt x="199" y="51"/>
                  </a:cubicBezTo>
                  <a:cubicBezTo>
                    <a:pt x="196" y="51"/>
                    <a:pt x="193" y="50"/>
                    <a:pt x="190" y="48"/>
                  </a:cubicBezTo>
                  <a:cubicBezTo>
                    <a:pt x="186" y="44"/>
                    <a:pt x="184" y="40"/>
                    <a:pt x="184" y="35"/>
                  </a:cubicBezTo>
                  <a:cubicBezTo>
                    <a:pt x="185" y="30"/>
                    <a:pt x="187" y="26"/>
                    <a:pt x="190" y="21"/>
                  </a:cubicBezTo>
                  <a:cubicBezTo>
                    <a:pt x="192" y="18"/>
                    <a:pt x="193" y="15"/>
                    <a:pt x="193" y="13"/>
                  </a:cubicBezTo>
                  <a:cubicBezTo>
                    <a:pt x="192" y="10"/>
                    <a:pt x="191" y="8"/>
                    <a:pt x="188" y="5"/>
                  </a:cubicBezTo>
                  <a:cubicBezTo>
                    <a:pt x="188" y="5"/>
                    <a:pt x="188" y="5"/>
                    <a:pt x="188" y="5"/>
                  </a:cubicBezTo>
                  <a:cubicBezTo>
                    <a:pt x="186" y="3"/>
                    <a:pt x="183" y="1"/>
                    <a:pt x="181" y="1"/>
                  </a:cubicBezTo>
                  <a:cubicBezTo>
                    <a:pt x="179" y="0"/>
                    <a:pt x="177" y="0"/>
                    <a:pt x="175" y="2"/>
                  </a:cubicBezTo>
                  <a:cubicBezTo>
                    <a:pt x="175" y="2"/>
                    <a:pt x="175" y="2"/>
                    <a:pt x="175" y="2"/>
                  </a:cubicBezTo>
                  <a:cubicBezTo>
                    <a:pt x="168" y="5"/>
                    <a:pt x="154" y="13"/>
                    <a:pt x="145" y="19"/>
                  </a:cubicBezTo>
                  <a:cubicBezTo>
                    <a:pt x="136" y="25"/>
                    <a:pt x="133" y="23"/>
                    <a:pt x="128" y="20"/>
                  </a:cubicBezTo>
                  <a:cubicBezTo>
                    <a:pt x="127" y="19"/>
                    <a:pt x="126" y="18"/>
                    <a:pt x="125" y="18"/>
                  </a:cubicBezTo>
                  <a:cubicBezTo>
                    <a:pt x="124" y="18"/>
                    <a:pt x="124" y="17"/>
                    <a:pt x="124" y="17"/>
                  </a:cubicBezTo>
                  <a:cubicBezTo>
                    <a:pt x="121" y="16"/>
                    <a:pt x="119" y="16"/>
                    <a:pt x="117" y="16"/>
                  </a:cubicBezTo>
                  <a:cubicBezTo>
                    <a:pt x="116" y="16"/>
                    <a:pt x="114" y="18"/>
                    <a:pt x="113" y="20"/>
                  </a:cubicBezTo>
                  <a:cubicBezTo>
                    <a:pt x="113" y="20"/>
                    <a:pt x="113" y="20"/>
                    <a:pt x="113" y="21"/>
                  </a:cubicBezTo>
                  <a:cubicBezTo>
                    <a:pt x="111" y="25"/>
                    <a:pt x="111" y="33"/>
                    <a:pt x="112" y="39"/>
                  </a:cubicBezTo>
                  <a:cubicBezTo>
                    <a:pt x="112" y="44"/>
                    <a:pt x="112" y="47"/>
                    <a:pt x="111" y="49"/>
                  </a:cubicBezTo>
                  <a:cubicBezTo>
                    <a:pt x="110" y="54"/>
                    <a:pt x="105" y="55"/>
                    <a:pt x="99" y="56"/>
                  </a:cubicBezTo>
                  <a:cubicBezTo>
                    <a:pt x="96" y="56"/>
                    <a:pt x="92" y="57"/>
                    <a:pt x="90" y="58"/>
                  </a:cubicBezTo>
                  <a:cubicBezTo>
                    <a:pt x="89" y="60"/>
                    <a:pt x="89" y="62"/>
                    <a:pt x="88" y="64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87" y="68"/>
                    <a:pt x="86" y="73"/>
                    <a:pt x="80" y="75"/>
                  </a:cubicBezTo>
                  <a:cubicBezTo>
                    <a:pt x="75" y="77"/>
                    <a:pt x="73" y="83"/>
                    <a:pt x="70" y="89"/>
                  </a:cubicBezTo>
                  <a:cubicBezTo>
                    <a:pt x="69" y="90"/>
                    <a:pt x="69" y="92"/>
                    <a:pt x="68" y="93"/>
                  </a:cubicBezTo>
                  <a:cubicBezTo>
                    <a:pt x="68" y="93"/>
                    <a:pt x="68" y="93"/>
                    <a:pt x="68" y="93"/>
                  </a:cubicBezTo>
                  <a:cubicBezTo>
                    <a:pt x="66" y="99"/>
                    <a:pt x="62" y="102"/>
                    <a:pt x="58" y="103"/>
                  </a:cubicBezTo>
                  <a:cubicBezTo>
                    <a:pt x="54" y="104"/>
                    <a:pt x="49" y="104"/>
                    <a:pt x="44" y="103"/>
                  </a:cubicBezTo>
                  <a:cubicBezTo>
                    <a:pt x="41" y="102"/>
                    <a:pt x="38" y="102"/>
                    <a:pt x="36" y="101"/>
                  </a:cubicBezTo>
                  <a:cubicBezTo>
                    <a:pt x="30" y="100"/>
                    <a:pt x="25" y="99"/>
                    <a:pt x="16" y="99"/>
                  </a:cubicBezTo>
                  <a:cubicBezTo>
                    <a:pt x="16" y="99"/>
                    <a:pt x="15" y="99"/>
                    <a:pt x="14" y="99"/>
                  </a:cubicBezTo>
                  <a:cubicBezTo>
                    <a:pt x="10" y="100"/>
                    <a:pt x="6" y="103"/>
                    <a:pt x="4" y="106"/>
                  </a:cubicBezTo>
                  <a:cubicBezTo>
                    <a:pt x="1" y="110"/>
                    <a:pt x="0" y="113"/>
                    <a:pt x="0" y="116"/>
                  </a:cubicBezTo>
                  <a:cubicBezTo>
                    <a:pt x="0" y="116"/>
                    <a:pt x="0" y="117"/>
                    <a:pt x="0" y="117"/>
                  </a:cubicBezTo>
                  <a:cubicBezTo>
                    <a:pt x="0" y="120"/>
                    <a:pt x="4" y="124"/>
                    <a:pt x="9" y="128"/>
                  </a:cubicBezTo>
                  <a:cubicBezTo>
                    <a:pt x="13" y="131"/>
                    <a:pt x="19" y="134"/>
                    <a:pt x="24" y="134"/>
                  </a:cubicBezTo>
                  <a:cubicBezTo>
                    <a:pt x="38" y="135"/>
                    <a:pt x="39" y="136"/>
                    <a:pt x="43" y="145"/>
                  </a:cubicBezTo>
                  <a:cubicBezTo>
                    <a:pt x="44" y="148"/>
                    <a:pt x="44" y="148"/>
                    <a:pt x="44" y="148"/>
                  </a:cubicBezTo>
                  <a:cubicBezTo>
                    <a:pt x="47" y="155"/>
                    <a:pt x="46" y="160"/>
                    <a:pt x="45" y="167"/>
                  </a:cubicBezTo>
                  <a:cubicBezTo>
                    <a:pt x="45" y="171"/>
                    <a:pt x="44" y="175"/>
                    <a:pt x="45" y="180"/>
                  </a:cubicBezTo>
                  <a:cubicBezTo>
                    <a:pt x="45" y="185"/>
                    <a:pt x="47" y="186"/>
                    <a:pt x="49" y="188"/>
                  </a:cubicBezTo>
                  <a:cubicBezTo>
                    <a:pt x="52" y="190"/>
                    <a:pt x="55" y="193"/>
                    <a:pt x="57" y="201"/>
                  </a:cubicBezTo>
                  <a:cubicBezTo>
                    <a:pt x="58" y="212"/>
                    <a:pt x="52" y="218"/>
                    <a:pt x="45" y="226"/>
                  </a:cubicBezTo>
                  <a:cubicBezTo>
                    <a:pt x="42" y="228"/>
                    <a:pt x="40" y="231"/>
                    <a:pt x="38" y="234"/>
                  </a:cubicBezTo>
                  <a:cubicBezTo>
                    <a:pt x="35" y="237"/>
                    <a:pt x="33" y="240"/>
                    <a:pt x="31" y="242"/>
                  </a:cubicBezTo>
                  <a:cubicBezTo>
                    <a:pt x="27" y="247"/>
                    <a:pt x="24" y="251"/>
                    <a:pt x="23" y="254"/>
                  </a:cubicBezTo>
                  <a:cubicBezTo>
                    <a:pt x="23" y="257"/>
                    <a:pt x="22" y="261"/>
                    <a:pt x="21" y="265"/>
                  </a:cubicBezTo>
                  <a:cubicBezTo>
                    <a:pt x="21" y="268"/>
                    <a:pt x="20" y="270"/>
                    <a:pt x="20" y="273"/>
                  </a:cubicBezTo>
                  <a:cubicBezTo>
                    <a:pt x="21" y="273"/>
                    <a:pt x="21" y="274"/>
                    <a:pt x="22" y="274"/>
                  </a:cubicBezTo>
                  <a:cubicBezTo>
                    <a:pt x="22" y="274"/>
                    <a:pt x="22" y="274"/>
                    <a:pt x="22" y="274"/>
                  </a:cubicBezTo>
                  <a:cubicBezTo>
                    <a:pt x="24" y="277"/>
                    <a:pt x="26" y="279"/>
                    <a:pt x="32" y="278"/>
                  </a:cubicBezTo>
                  <a:cubicBezTo>
                    <a:pt x="37" y="278"/>
                    <a:pt x="43" y="274"/>
                    <a:pt x="48" y="270"/>
                  </a:cubicBezTo>
                  <a:cubicBezTo>
                    <a:pt x="54" y="266"/>
                    <a:pt x="59" y="262"/>
                    <a:pt x="66" y="261"/>
                  </a:cubicBezTo>
                  <a:cubicBezTo>
                    <a:pt x="70" y="260"/>
                    <a:pt x="73" y="258"/>
                    <a:pt x="74" y="258"/>
                  </a:cubicBezTo>
                  <a:cubicBezTo>
                    <a:pt x="79" y="255"/>
                    <a:pt x="81" y="255"/>
                    <a:pt x="88" y="257"/>
                  </a:cubicBezTo>
                  <a:cubicBezTo>
                    <a:pt x="92" y="259"/>
                    <a:pt x="95" y="261"/>
                    <a:pt x="98" y="262"/>
                  </a:cubicBezTo>
                  <a:cubicBezTo>
                    <a:pt x="100" y="264"/>
                    <a:pt x="103" y="266"/>
                    <a:pt x="106" y="266"/>
                  </a:cubicBezTo>
                  <a:cubicBezTo>
                    <a:pt x="108" y="266"/>
                    <a:pt x="110" y="265"/>
                    <a:pt x="112" y="263"/>
                  </a:cubicBezTo>
                  <a:cubicBezTo>
                    <a:pt x="114" y="260"/>
                    <a:pt x="116" y="255"/>
                    <a:pt x="117" y="250"/>
                  </a:cubicBezTo>
                  <a:cubicBezTo>
                    <a:pt x="119" y="243"/>
                    <a:pt x="123" y="239"/>
                    <a:pt x="127" y="236"/>
                  </a:cubicBezTo>
                  <a:cubicBezTo>
                    <a:pt x="132" y="234"/>
                    <a:pt x="137" y="234"/>
                    <a:pt x="142" y="235"/>
                  </a:cubicBezTo>
                  <a:cubicBezTo>
                    <a:pt x="146" y="235"/>
                    <a:pt x="149" y="236"/>
                    <a:pt x="152" y="236"/>
                  </a:cubicBezTo>
                  <a:cubicBezTo>
                    <a:pt x="157" y="237"/>
                    <a:pt x="160" y="238"/>
                    <a:pt x="162" y="236"/>
                  </a:cubicBezTo>
                  <a:cubicBezTo>
                    <a:pt x="164" y="235"/>
                    <a:pt x="165" y="233"/>
                    <a:pt x="165" y="231"/>
                  </a:cubicBezTo>
                  <a:cubicBezTo>
                    <a:pt x="165" y="228"/>
                    <a:pt x="165" y="225"/>
                    <a:pt x="163" y="221"/>
                  </a:cubicBezTo>
                  <a:cubicBezTo>
                    <a:pt x="160" y="213"/>
                    <a:pt x="164" y="209"/>
                    <a:pt x="170" y="205"/>
                  </a:cubicBezTo>
                  <a:cubicBezTo>
                    <a:pt x="172" y="203"/>
                    <a:pt x="175" y="201"/>
                    <a:pt x="177" y="198"/>
                  </a:cubicBezTo>
                  <a:cubicBezTo>
                    <a:pt x="181" y="193"/>
                    <a:pt x="185" y="188"/>
                    <a:pt x="188" y="185"/>
                  </a:cubicBezTo>
                  <a:cubicBezTo>
                    <a:pt x="192" y="181"/>
                    <a:pt x="196" y="178"/>
                    <a:pt x="201" y="176"/>
                  </a:cubicBezTo>
                  <a:cubicBezTo>
                    <a:pt x="206" y="174"/>
                    <a:pt x="211" y="173"/>
                    <a:pt x="215" y="174"/>
                  </a:cubicBezTo>
                  <a:cubicBezTo>
                    <a:pt x="220" y="175"/>
                    <a:pt x="224" y="177"/>
                    <a:pt x="229" y="181"/>
                  </a:cubicBezTo>
                  <a:cubicBezTo>
                    <a:pt x="235" y="188"/>
                    <a:pt x="236" y="194"/>
                    <a:pt x="237" y="199"/>
                  </a:cubicBezTo>
                  <a:cubicBezTo>
                    <a:pt x="237" y="201"/>
                    <a:pt x="237" y="202"/>
                    <a:pt x="237" y="203"/>
                  </a:cubicBezTo>
                  <a:cubicBezTo>
                    <a:pt x="237" y="204"/>
                    <a:pt x="239" y="205"/>
                    <a:pt x="241" y="205"/>
                  </a:cubicBezTo>
                  <a:cubicBezTo>
                    <a:pt x="244" y="207"/>
                    <a:pt x="248" y="208"/>
                    <a:pt x="249" y="213"/>
                  </a:cubicBezTo>
                  <a:cubicBezTo>
                    <a:pt x="251" y="216"/>
                    <a:pt x="252" y="221"/>
                    <a:pt x="252" y="228"/>
                  </a:cubicBezTo>
                  <a:cubicBezTo>
                    <a:pt x="252" y="228"/>
                    <a:pt x="252" y="228"/>
                    <a:pt x="252" y="228"/>
                  </a:cubicBezTo>
                  <a:cubicBezTo>
                    <a:pt x="253" y="233"/>
                    <a:pt x="252" y="239"/>
                    <a:pt x="251" y="247"/>
                  </a:cubicBezTo>
                  <a:cubicBezTo>
                    <a:pt x="251" y="250"/>
                    <a:pt x="250" y="253"/>
                    <a:pt x="250" y="256"/>
                  </a:cubicBezTo>
                  <a:cubicBezTo>
                    <a:pt x="248" y="268"/>
                    <a:pt x="246" y="278"/>
                    <a:pt x="252" y="286"/>
                  </a:cubicBezTo>
                  <a:cubicBezTo>
                    <a:pt x="255" y="292"/>
                    <a:pt x="257" y="295"/>
                    <a:pt x="259" y="296"/>
                  </a:cubicBezTo>
                  <a:cubicBezTo>
                    <a:pt x="261" y="297"/>
                    <a:pt x="264" y="296"/>
                    <a:pt x="270" y="294"/>
                  </a:cubicBezTo>
                  <a:cubicBezTo>
                    <a:pt x="274" y="293"/>
                    <a:pt x="278" y="292"/>
                    <a:pt x="282" y="291"/>
                  </a:cubicBezTo>
                  <a:cubicBezTo>
                    <a:pt x="288" y="289"/>
                    <a:pt x="294" y="287"/>
                    <a:pt x="299" y="283"/>
                  </a:cubicBezTo>
                  <a:cubicBezTo>
                    <a:pt x="303" y="279"/>
                    <a:pt x="306" y="277"/>
                    <a:pt x="310" y="275"/>
                  </a:cubicBezTo>
                  <a:cubicBezTo>
                    <a:pt x="315" y="272"/>
                    <a:pt x="319" y="269"/>
                    <a:pt x="325" y="264"/>
                  </a:cubicBezTo>
                  <a:cubicBezTo>
                    <a:pt x="331" y="259"/>
                    <a:pt x="336" y="255"/>
                    <a:pt x="341" y="252"/>
                  </a:cubicBezTo>
                  <a:cubicBezTo>
                    <a:pt x="346" y="249"/>
                    <a:pt x="352" y="246"/>
                    <a:pt x="358" y="245"/>
                  </a:cubicBezTo>
                  <a:cubicBezTo>
                    <a:pt x="367" y="243"/>
                    <a:pt x="370" y="246"/>
                    <a:pt x="374" y="249"/>
                  </a:cubicBezTo>
                  <a:cubicBezTo>
                    <a:pt x="376" y="250"/>
                    <a:pt x="378" y="252"/>
                    <a:pt x="382" y="253"/>
                  </a:cubicBezTo>
                  <a:cubicBezTo>
                    <a:pt x="390" y="254"/>
                    <a:pt x="394" y="252"/>
                    <a:pt x="401" y="251"/>
                  </a:cubicBezTo>
                  <a:cubicBezTo>
                    <a:pt x="404" y="250"/>
                    <a:pt x="407" y="249"/>
                    <a:pt x="411" y="248"/>
                  </a:cubicBezTo>
                  <a:cubicBezTo>
                    <a:pt x="419" y="247"/>
                    <a:pt x="424" y="247"/>
                    <a:pt x="428" y="248"/>
                  </a:cubicBezTo>
                  <a:cubicBezTo>
                    <a:pt x="433" y="249"/>
                    <a:pt x="436" y="251"/>
                    <a:pt x="439" y="253"/>
                  </a:cubicBezTo>
                  <a:cubicBezTo>
                    <a:pt x="441" y="255"/>
                    <a:pt x="443" y="257"/>
                    <a:pt x="444" y="258"/>
                  </a:cubicBezTo>
                  <a:cubicBezTo>
                    <a:pt x="447" y="257"/>
                    <a:pt x="449" y="257"/>
                    <a:pt x="452" y="257"/>
                  </a:cubicBezTo>
                  <a:cubicBezTo>
                    <a:pt x="455" y="257"/>
                    <a:pt x="458" y="257"/>
                    <a:pt x="461" y="255"/>
                  </a:cubicBezTo>
                  <a:cubicBezTo>
                    <a:pt x="462" y="255"/>
                    <a:pt x="463" y="255"/>
                    <a:pt x="464" y="254"/>
                  </a:cubicBezTo>
                  <a:cubicBezTo>
                    <a:pt x="464" y="254"/>
                    <a:pt x="464" y="254"/>
                    <a:pt x="464" y="254"/>
                  </a:cubicBezTo>
                  <a:cubicBezTo>
                    <a:pt x="466" y="253"/>
                    <a:pt x="467" y="253"/>
                    <a:pt x="466" y="251"/>
                  </a:cubicBezTo>
                  <a:cubicBezTo>
                    <a:pt x="465" y="249"/>
                    <a:pt x="464" y="247"/>
                    <a:pt x="462" y="2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9" name="Freeform 539"/>
            <p:cNvSpPr>
              <a:spLocks/>
            </p:cNvSpPr>
            <p:nvPr/>
          </p:nvSpPr>
          <p:spPr bwMode="auto">
            <a:xfrm>
              <a:off x="4982878" y="4051194"/>
              <a:ext cx="9525" cy="22622"/>
            </a:xfrm>
            <a:custGeom>
              <a:avLst/>
              <a:gdLst>
                <a:gd name="T0" fmla="*/ 23 w 31"/>
                <a:gd name="T1" fmla="*/ 78 h 78"/>
                <a:gd name="T2" fmla="*/ 11 w 31"/>
                <a:gd name="T3" fmla="*/ 76 h 78"/>
                <a:gd name="T4" fmla="*/ 2 w 31"/>
                <a:gd name="T5" fmla="*/ 71 h 78"/>
                <a:gd name="T6" fmla="*/ 2 w 31"/>
                <a:gd name="T7" fmla="*/ 63 h 78"/>
                <a:gd name="T8" fmla="*/ 8 w 31"/>
                <a:gd name="T9" fmla="*/ 55 h 78"/>
                <a:gd name="T10" fmla="*/ 5 w 31"/>
                <a:gd name="T11" fmla="*/ 41 h 78"/>
                <a:gd name="T12" fmla="*/ 0 w 31"/>
                <a:gd name="T13" fmla="*/ 22 h 78"/>
                <a:gd name="T14" fmla="*/ 3 w 31"/>
                <a:gd name="T15" fmla="*/ 12 h 78"/>
                <a:gd name="T16" fmla="*/ 10 w 31"/>
                <a:gd name="T17" fmla="*/ 5 h 78"/>
                <a:gd name="T18" fmla="*/ 31 w 31"/>
                <a:gd name="T19" fmla="*/ 4 h 78"/>
                <a:gd name="T20" fmla="*/ 31 w 31"/>
                <a:gd name="T21" fmla="*/ 30 h 78"/>
                <a:gd name="T22" fmla="*/ 30 w 31"/>
                <a:gd name="T23" fmla="*/ 52 h 78"/>
                <a:gd name="T24" fmla="*/ 23 w 31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78">
                  <a:moveTo>
                    <a:pt x="23" y="78"/>
                  </a:moveTo>
                  <a:cubicBezTo>
                    <a:pt x="23" y="78"/>
                    <a:pt x="14" y="78"/>
                    <a:pt x="11" y="76"/>
                  </a:cubicBezTo>
                  <a:cubicBezTo>
                    <a:pt x="8" y="75"/>
                    <a:pt x="3" y="73"/>
                    <a:pt x="2" y="71"/>
                  </a:cubicBezTo>
                  <a:cubicBezTo>
                    <a:pt x="1" y="69"/>
                    <a:pt x="0" y="66"/>
                    <a:pt x="2" y="63"/>
                  </a:cubicBezTo>
                  <a:cubicBezTo>
                    <a:pt x="4" y="60"/>
                    <a:pt x="7" y="59"/>
                    <a:pt x="8" y="55"/>
                  </a:cubicBezTo>
                  <a:cubicBezTo>
                    <a:pt x="9" y="50"/>
                    <a:pt x="6" y="43"/>
                    <a:pt x="5" y="41"/>
                  </a:cubicBezTo>
                  <a:cubicBezTo>
                    <a:pt x="4" y="38"/>
                    <a:pt x="1" y="26"/>
                    <a:pt x="0" y="22"/>
                  </a:cubicBezTo>
                  <a:cubicBezTo>
                    <a:pt x="0" y="19"/>
                    <a:pt x="2" y="14"/>
                    <a:pt x="3" y="12"/>
                  </a:cubicBezTo>
                  <a:cubicBezTo>
                    <a:pt x="4" y="11"/>
                    <a:pt x="8" y="7"/>
                    <a:pt x="10" y="5"/>
                  </a:cubicBezTo>
                  <a:cubicBezTo>
                    <a:pt x="18" y="0"/>
                    <a:pt x="23" y="2"/>
                    <a:pt x="31" y="4"/>
                  </a:cubicBezTo>
                  <a:cubicBezTo>
                    <a:pt x="31" y="4"/>
                    <a:pt x="30" y="25"/>
                    <a:pt x="31" y="30"/>
                  </a:cubicBezTo>
                  <a:cubicBezTo>
                    <a:pt x="31" y="35"/>
                    <a:pt x="30" y="45"/>
                    <a:pt x="30" y="52"/>
                  </a:cubicBezTo>
                  <a:cubicBezTo>
                    <a:pt x="29" y="59"/>
                    <a:pt x="23" y="78"/>
                    <a:pt x="23" y="7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</p:grpSp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649138"/>
              </p:ext>
            </p:extLst>
          </p:nvPr>
        </p:nvGraphicFramePr>
        <p:xfrm>
          <a:off x="1144191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/>
              <a:t>Компания </a:t>
            </a:r>
            <a:r>
              <a:rPr lang="en-GB" sz="1800" dirty="0"/>
              <a:t>The Linde Group </a:t>
            </a:r>
            <a:r>
              <a:rPr lang="ru-RU" sz="1800" dirty="0"/>
              <a:t>в мире</a:t>
            </a:r>
            <a:br>
              <a:rPr lang="en-GB" dirty="0"/>
            </a:br>
            <a:r>
              <a:rPr lang="ru-RU" sz="1800" dirty="0"/>
              <a:t>Глобальное присутствие в более чем 100 странах, включая Россию</a:t>
            </a:r>
            <a:endParaRPr lang="de-DE" sz="1800" b="0" dirty="0"/>
          </a:p>
        </p:txBody>
      </p:sp>
      <p:graphicFrame>
        <p:nvGraphicFramePr>
          <p:cNvPr id="572" name="Group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4453552"/>
              </p:ext>
            </p:extLst>
          </p:nvPr>
        </p:nvGraphicFramePr>
        <p:xfrm>
          <a:off x="168963" y="1980790"/>
          <a:ext cx="8749925" cy="4166980"/>
        </p:xfrm>
        <a:graphic>
          <a:graphicData uri="http://schemas.openxmlformats.org/drawingml/2006/table">
            <a:tbl>
              <a:tblPr/>
              <a:tblGrid>
                <a:gridCol w="39462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4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70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43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43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297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02972">
                  <a:extLst>
                    <a:ext uri="{9D8B030D-6E8A-4147-A177-3AD203B41FA5}">
                      <a16:colId xmlns:a16="http://schemas.microsoft.com/office/drawing/2014/main" val="3708726950"/>
                    </a:ext>
                  </a:extLst>
                </a:gridCol>
                <a:gridCol w="1138279">
                  <a:extLst>
                    <a:ext uri="{9D8B030D-6E8A-4147-A177-3AD203B41FA5}">
                      <a16:colId xmlns:a16="http://schemas.microsoft.com/office/drawing/2014/main" val="1281685460"/>
                    </a:ext>
                  </a:extLst>
                </a:gridCol>
                <a:gridCol w="9828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Финансовые показатели компании </a:t>
                      </a:r>
                      <a:r>
                        <a:rPr kumimoji="0" lang="en-GB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Linde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 в 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2016 году</a:t>
                      </a:r>
                      <a:endParaRPr kumimoji="0" lang="en-GB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1" u="none" strike="noStrike" cap="none" normalizeH="0" baseline="3000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1" u="none" strike="noStrike" cap="none" normalizeH="0" baseline="3000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1" u="none" strike="noStrike" cap="none" normalizeH="0" baseline="3000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1" u="none" strike="noStrike" cap="none" normalizeH="0" baseline="3000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Групп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компаний</a:t>
                      </a:r>
                      <a:endParaRPr kumimoji="0" lang="de-DE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Газовы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бизнес</a:t>
                      </a:r>
                      <a:endParaRPr kumimoji="0" lang="de-DE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Инжиниринг-овый бизнес</a:t>
                      </a:r>
                      <a:endParaRPr kumimoji="0" lang="de-DE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Доходы</a:t>
                      </a: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млн. евро</a:t>
                      </a:r>
                      <a:endParaRPr kumimoji="0" lang="en-GB" sz="14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16,948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14,597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2,351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Кап. затраты 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(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Газовое подразделение, искл. 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 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Финансовые активы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)</a:t>
                      </a: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млн. евро</a:t>
                      </a:r>
                      <a:endParaRPr kumimoji="0" lang="en-GB" sz="14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1,660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Принятые заказы 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(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Инжиниринговое подразделение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)</a:t>
                      </a: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млн. евро</a:t>
                      </a:r>
                      <a:endParaRPr kumimoji="0" lang="en-GB" sz="14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2,257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Портфель заказов 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(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Инжиниринговое подразделение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)</a:t>
                      </a: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млн. евро</a:t>
                      </a:r>
                      <a:endParaRPr kumimoji="0" lang="en-GB" sz="14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4,386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Число сотрудников 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(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на 31.12.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2016)</a:t>
                      </a:r>
                      <a:endParaRPr kumimoji="0" lang="en-GB" sz="1400" b="0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59,715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53,283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6,432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endParaRPr kumimoji="0" lang="en-GB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2504112"/>
                  </a:ext>
                </a:extLst>
              </a:tr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Компания </a:t>
                      </a:r>
                      <a:r>
                        <a:rPr kumimoji="0" lang="en-GB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Linde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 на территории РФ</a:t>
                      </a:r>
                      <a:r>
                        <a:rPr kumimoji="0" lang="en-GB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, 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последние</a:t>
                      </a:r>
                      <a:r>
                        <a:rPr kumimoji="0" lang="en-GB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 ~ 10 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лет</a:t>
                      </a:r>
                      <a:endParaRPr kumimoji="0" lang="en-GB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7520448"/>
                  </a:ext>
                </a:extLst>
              </a:tr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Принятые заказы от Перерабатывающих Предприятий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/EPC</a:t>
                      </a: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млн. евро</a:t>
                      </a:r>
                      <a:endParaRPr kumimoji="0" lang="en-GB" sz="14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прибл</a:t>
                      </a: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. 3,500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2573486"/>
                  </a:ext>
                </a:extLst>
              </a:tr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Капитальные затраты 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(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вкл. Совместн. Предприятия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)</a:t>
                      </a: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млн. евро</a:t>
                      </a:r>
                      <a:endParaRPr kumimoji="0" lang="en-GB" sz="14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Прибл</a:t>
                      </a: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. 500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7401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93200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 bwMode="auto">
          <a:xfrm>
            <a:off x="1143000" y="857250"/>
            <a:ext cx="685800" cy="0"/>
          </a:xfrm>
          <a:prstGeom prst="line">
            <a:avLst/>
          </a:prstGeom>
          <a:solidFill>
            <a:schemeClr val="bg1"/>
          </a:solidFill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34820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4765381"/>
              </p:ext>
            </p:extLst>
          </p:nvPr>
        </p:nvGraphicFramePr>
        <p:xfrm>
          <a:off x="1143000" y="85725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482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0" y="857250"/>
                        <a:ext cx="119063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Text Box 218"/>
          <p:cNvSpPr txBox="1">
            <a:spLocks noChangeArrowheads="1"/>
          </p:cNvSpPr>
          <p:nvPr/>
        </p:nvSpPr>
        <p:spPr bwMode="gray">
          <a:xfrm>
            <a:off x="3869531" y="3789040"/>
            <a:ext cx="1404938" cy="5750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0" tIns="0" rIns="0" bIns="0" anchor="ctr" anchorCtr="0"/>
          <a:lstStyle/>
          <a:p>
            <a:pPr algn="ctr" defTabSz="21193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kern="0" dirty="0">
                <a:solidFill>
                  <a:schemeClr val="bg1"/>
                </a:solidFill>
              </a:rPr>
              <a:t>Использование синергии</a:t>
            </a:r>
            <a:endParaRPr lang="en-GB" sz="1500" b="1" kern="0" dirty="0">
              <a:solidFill>
                <a:schemeClr val="bg1"/>
              </a:solidFill>
            </a:endParaRPr>
          </a:p>
        </p:txBody>
      </p:sp>
      <p:sp>
        <p:nvSpPr>
          <p:cNvPr id="34822" name="Rectangle 21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altLang="de-DE" sz="1800" dirty="0">
                <a:ea typeface="ＭＳ Ｐゴシック" pitchFamily="34" charset="-128"/>
              </a:rPr>
              <a:t>Газовое и Инжиниринговое подразделения компании </a:t>
            </a:r>
            <a:r>
              <a:rPr lang="de-DE" altLang="de-DE" sz="1800" dirty="0">
                <a:ea typeface="ＭＳ Ｐゴシック" pitchFamily="34" charset="-128"/>
              </a:rPr>
              <a:t>Linde</a:t>
            </a:r>
            <a:br>
              <a:rPr lang="en-GB" altLang="de-DE" dirty="0">
                <a:ea typeface="ＭＳ Ｐゴシック" pitchFamily="34" charset="-128"/>
              </a:rPr>
            </a:br>
            <a:r>
              <a:rPr lang="ru-RU" altLang="de-DE" b="0" dirty="0">
                <a:ea typeface="ＭＳ Ｐゴシック" pitchFamily="34" charset="-128"/>
              </a:rPr>
              <a:t>Синергия инжиниринга и эксплуатации</a:t>
            </a:r>
            <a:endParaRPr lang="en-GB" altLang="de-DE" b="0" dirty="0">
              <a:ea typeface="ＭＳ Ｐゴシック" pitchFamily="34" charset="-128"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4080B5D-0E3F-4C79-A8EA-7418B42F0173}"/>
              </a:ext>
            </a:extLst>
          </p:cNvPr>
          <p:cNvGrpSpPr/>
          <p:nvPr/>
        </p:nvGrpSpPr>
        <p:grpSpPr>
          <a:xfrm>
            <a:off x="4082655" y="2220593"/>
            <a:ext cx="1060652" cy="1069106"/>
            <a:chOff x="4082655" y="2386013"/>
            <a:chExt cx="896540" cy="903686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031" name="AutoShape 250"/>
            <p:cNvSpPr>
              <a:spLocks noChangeArrowheads="1"/>
            </p:cNvSpPr>
            <p:nvPr/>
          </p:nvSpPr>
          <p:spPr bwMode="gray">
            <a:xfrm rot="10800000">
              <a:off x="4082655" y="2386013"/>
              <a:ext cx="896540" cy="864393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47483647 h 21600"/>
                <a:gd name="T10" fmla="*/ 2147483647 w 21600"/>
                <a:gd name="T11" fmla="*/ 2147483647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3 w 21600"/>
                <a:gd name="T19" fmla="*/ 3163 h 21600"/>
                <a:gd name="T20" fmla="*/ 18437 w 21600"/>
                <a:gd name="T21" fmla="*/ 18437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18040" y="10798"/>
                  </a:moveTo>
                  <a:cubicBezTo>
                    <a:pt x="18040" y="6800"/>
                    <a:pt x="14798" y="3559"/>
                    <a:pt x="10800" y="3559"/>
                  </a:cubicBezTo>
                  <a:cubicBezTo>
                    <a:pt x="8785" y="3558"/>
                    <a:pt x="6862" y="4397"/>
                    <a:pt x="5492" y="5874"/>
                  </a:cubicBezTo>
                  <a:lnTo>
                    <a:pt x="2884" y="3452"/>
                  </a:lnTo>
                  <a:cubicBezTo>
                    <a:pt x="4927" y="1251"/>
                    <a:pt x="7795" y="-1"/>
                    <a:pt x="10800" y="0"/>
                  </a:cubicBezTo>
                  <a:cubicBezTo>
                    <a:pt x="16764" y="0"/>
                    <a:pt x="21599" y="4834"/>
                    <a:pt x="21599" y="10798"/>
                  </a:cubicBezTo>
                  <a:lnTo>
                    <a:pt x="24299" y="10798"/>
                  </a:lnTo>
                  <a:lnTo>
                    <a:pt x="19821" y="15278"/>
                  </a:lnTo>
                  <a:lnTo>
                    <a:pt x="15340" y="10799"/>
                  </a:lnTo>
                  <a:lnTo>
                    <a:pt x="18040" y="10798"/>
                  </a:lnTo>
                  <a:close/>
                </a:path>
              </a:pathLst>
            </a:custGeom>
            <a:grpFill/>
            <a:ln w="2857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rot="10800000" wrap="none" lIns="67500" tIns="62100" rIns="67500" bIns="35100" anchor="ctr"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32" name="AutoShape 251"/>
            <p:cNvSpPr>
              <a:spLocks noChangeArrowheads="1"/>
            </p:cNvSpPr>
            <p:nvPr/>
          </p:nvSpPr>
          <p:spPr bwMode="gray">
            <a:xfrm>
              <a:off x="4082655" y="2386014"/>
              <a:ext cx="896540" cy="903685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47483647 h 21600"/>
                <a:gd name="T10" fmla="*/ 2147483647 w 21600"/>
                <a:gd name="T11" fmla="*/ 2147483647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3 w 21600"/>
                <a:gd name="T19" fmla="*/ 3163 h 21600"/>
                <a:gd name="T20" fmla="*/ 18437 w 21600"/>
                <a:gd name="T21" fmla="*/ 18437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18017" y="10800"/>
                  </a:moveTo>
                  <a:cubicBezTo>
                    <a:pt x="18017" y="6814"/>
                    <a:pt x="14785" y="3583"/>
                    <a:pt x="10800" y="3583"/>
                  </a:cubicBezTo>
                  <a:cubicBezTo>
                    <a:pt x="8721" y="3582"/>
                    <a:pt x="6743" y="4479"/>
                    <a:pt x="5373" y="6042"/>
                  </a:cubicBezTo>
                  <a:lnTo>
                    <a:pt x="2679" y="3680"/>
                  </a:lnTo>
                  <a:cubicBezTo>
                    <a:pt x="4729" y="1341"/>
                    <a:pt x="7689" y="-1"/>
                    <a:pt x="10800" y="0"/>
                  </a:cubicBezTo>
                  <a:cubicBezTo>
                    <a:pt x="16764" y="0"/>
                    <a:pt x="21599" y="4835"/>
                    <a:pt x="21600" y="10799"/>
                  </a:cubicBezTo>
                  <a:lnTo>
                    <a:pt x="21600" y="10800"/>
                  </a:lnTo>
                  <a:lnTo>
                    <a:pt x="24300" y="10800"/>
                  </a:lnTo>
                  <a:lnTo>
                    <a:pt x="19809" y="15292"/>
                  </a:lnTo>
                  <a:lnTo>
                    <a:pt x="15317" y="10800"/>
                  </a:lnTo>
                  <a:lnTo>
                    <a:pt x="18017" y="10800"/>
                  </a:lnTo>
                  <a:close/>
                </a:path>
              </a:pathLst>
            </a:custGeom>
            <a:grpFill/>
            <a:ln w="2857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67500" tIns="62100" rIns="67500" bIns="35100" anchor="ctr"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chemeClr val="tx2"/>
                </a:solidFill>
              </a:endParaRPr>
            </a:p>
          </p:txBody>
        </p:sp>
      </p:grpSp>
      <p:sp>
        <p:nvSpPr>
          <p:cNvPr id="1082" name="AutoShape 4"/>
          <p:cNvSpPr>
            <a:spLocks noChangeAspect="1" noChangeArrowheads="1" noTextEdit="1"/>
          </p:cNvSpPr>
          <p:nvPr/>
        </p:nvSpPr>
        <p:spPr bwMode="auto">
          <a:xfrm>
            <a:off x="5835226" y="1970954"/>
            <a:ext cx="3201270" cy="3546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9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A5D19B65-138B-436D-85D8-7C3F68E75C2F}"/>
              </a:ext>
            </a:extLst>
          </p:cNvPr>
          <p:cNvGrpSpPr/>
          <p:nvPr/>
        </p:nvGrpSpPr>
        <p:grpSpPr>
          <a:xfrm>
            <a:off x="5547829" y="1556792"/>
            <a:ext cx="3421871" cy="816075"/>
            <a:chOff x="227039" y="1969295"/>
            <a:chExt cx="3421871" cy="816075"/>
          </a:xfrm>
        </p:grpSpPr>
        <p:sp>
          <p:nvSpPr>
            <p:cNvPr id="1084" name="Rectangle 7"/>
            <p:cNvSpPr>
              <a:spLocks noChangeArrowheads="1"/>
            </p:cNvSpPr>
            <p:nvPr/>
          </p:nvSpPr>
          <p:spPr bwMode="auto">
            <a:xfrm>
              <a:off x="227039" y="1969295"/>
              <a:ext cx="3421871" cy="816075"/>
            </a:xfrm>
            <a:prstGeom prst="rect">
              <a:avLst/>
            </a:prstGeom>
            <a:solidFill>
              <a:srgbClr val="D1D4C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85" name="Rectangle 8"/>
            <p:cNvSpPr>
              <a:spLocks noChangeArrowheads="1"/>
            </p:cNvSpPr>
            <p:nvPr/>
          </p:nvSpPr>
          <p:spPr bwMode="auto">
            <a:xfrm>
              <a:off x="1055533" y="2053682"/>
              <a:ext cx="1785746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800" b="1" kern="0" dirty="0">
                  <a:solidFill>
                    <a:srgbClr val="0D5C91">
                      <a:lumMod val="75000"/>
                    </a:srgbClr>
                  </a:solidFill>
                </a:rPr>
                <a:t>Linde Engineering</a:t>
              </a:r>
              <a:endParaRPr lang="en-GB" sz="18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86" name="Rectangle 10"/>
            <p:cNvSpPr>
              <a:spLocks noChangeArrowheads="1"/>
            </p:cNvSpPr>
            <p:nvPr/>
          </p:nvSpPr>
          <p:spPr bwMode="auto">
            <a:xfrm>
              <a:off x="279287" y="2420888"/>
              <a:ext cx="3342262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kern="0" dirty="0">
                  <a:solidFill>
                    <a:srgbClr val="0D5C91">
                      <a:lumMod val="75000"/>
                    </a:srgbClr>
                  </a:solidFill>
                </a:rPr>
                <a:t>Инжиниринг</a:t>
              </a:r>
              <a:r>
                <a:rPr lang="en-GB" kern="0" dirty="0">
                  <a:solidFill>
                    <a:srgbClr val="0D5C91">
                      <a:lumMod val="75000"/>
                    </a:srgbClr>
                  </a:solidFill>
                </a:rPr>
                <a:t>, </a:t>
              </a:r>
              <a:r>
                <a:rPr lang="ru-RU" kern="0" dirty="0">
                  <a:solidFill>
                    <a:srgbClr val="0D5C91">
                      <a:lumMod val="75000"/>
                    </a:srgbClr>
                  </a:solidFill>
                </a:rPr>
                <a:t>Технологии</a:t>
              </a:r>
              <a:r>
                <a:rPr lang="en-GB" kern="0" dirty="0">
                  <a:solidFill>
                    <a:srgbClr val="0D5C91">
                      <a:lumMod val="75000"/>
                    </a:srgbClr>
                  </a:solidFill>
                </a:rPr>
                <a:t>, </a:t>
              </a:r>
              <a:r>
                <a:rPr lang="ru-RU" kern="0" dirty="0">
                  <a:solidFill>
                    <a:srgbClr val="0D5C91">
                      <a:lumMod val="75000"/>
                    </a:srgbClr>
                  </a:solidFill>
                </a:rPr>
                <a:t>Реализация</a:t>
              </a:r>
              <a:endParaRPr lang="en-GB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87" name="Rectangle 11"/>
            <p:cNvSpPr>
              <a:spLocks noChangeArrowheads="1"/>
            </p:cNvSpPr>
            <p:nvPr/>
          </p:nvSpPr>
          <p:spPr bwMode="auto">
            <a:xfrm>
              <a:off x="2232389" y="2438704"/>
              <a:ext cx="0" cy="225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05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00E645A6-C6D9-4E4E-97F7-CC2278D815A8}"/>
              </a:ext>
            </a:extLst>
          </p:cNvPr>
          <p:cNvGrpSpPr/>
          <p:nvPr/>
        </p:nvGrpSpPr>
        <p:grpSpPr>
          <a:xfrm>
            <a:off x="5547194" y="2492895"/>
            <a:ext cx="1669532" cy="1363997"/>
            <a:chOff x="469203" y="2873281"/>
            <a:chExt cx="1550874" cy="1273874"/>
          </a:xfrm>
        </p:grpSpPr>
        <p:sp>
          <p:nvSpPr>
            <p:cNvPr id="1088" name="Rectangle 13"/>
            <p:cNvSpPr>
              <a:spLocks noChangeArrowheads="1"/>
            </p:cNvSpPr>
            <p:nvPr/>
          </p:nvSpPr>
          <p:spPr bwMode="auto">
            <a:xfrm>
              <a:off x="470861" y="2873281"/>
              <a:ext cx="1547557" cy="376523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89" name="Rectangle 14"/>
            <p:cNvSpPr>
              <a:spLocks noChangeArrowheads="1"/>
            </p:cNvSpPr>
            <p:nvPr/>
          </p:nvSpPr>
          <p:spPr bwMode="auto">
            <a:xfrm>
              <a:off x="834114" y="2964509"/>
              <a:ext cx="897351" cy="177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25" b="1" kern="0" dirty="0">
                  <a:solidFill>
                    <a:srgbClr val="0D5C91">
                      <a:lumMod val="75000"/>
                    </a:srgbClr>
                  </a:solidFill>
                </a:rPr>
                <a:t>Air Separation</a:t>
              </a: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90" name="Rectangle 15"/>
            <p:cNvSpPr>
              <a:spLocks noChangeArrowheads="1"/>
            </p:cNvSpPr>
            <p:nvPr/>
          </p:nvSpPr>
          <p:spPr bwMode="auto">
            <a:xfrm>
              <a:off x="469203" y="3958064"/>
              <a:ext cx="1549216" cy="189091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91" name="Rectangle 16"/>
            <p:cNvSpPr>
              <a:spLocks noChangeArrowheads="1"/>
            </p:cNvSpPr>
            <p:nvPr/>
          </p:nvSpPr>
          <p:spPr bwMode="auto">
            <a:xfrm>
              <a:off x="600239" y="3969675"/>
              <a:ext cx="603763" cy="177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25" b="1" kern="0" dirty="0">
                  <a:solidFill>
                    <a:srgbClr val="0D5C91">
                      <a:lumMod val="75000"/>
                    </a:srgbClr>
                  </a:solidFill>
                </a:rPr>
                <a:t>Global #1</a:t>
              </a: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pic>
          <p:nvPicPr>
            <p:cNvPr id="34884" name="Picture 17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9203" y="3248145"/>
              <a:ext cx="1550874" cy="7115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93" name="Rectangle 18"/>
            <p:cNvSpPr>
              <a:spLocks noChangeArrowheads="1"/>
            </p:cNvSpPr>
            <p:nvPr/>
          </p:nvSpPr>
          <p:spPr bwMode="auto">
            <a:xfrm>
              <a:off x="470861" y="2873281"/>
              <a:ext cx="1547557" cy="376523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94" name="Rectangle 19"/>
            <p:cNvSpPr>
              <a:spLocks noChangeArrowheads="1"/>
            </p:cNvSpPr>
            <p:nvPr/>
          </p:nvSpPr>
          <p:spPr bwMode="auto">
            <a:xfrm>
              <a:off x="523365" y="2964509"/>
              <a:ext cx="1456315" cy="20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kern="0" dirty="0">
                  <a:solidFill>
                    <a:schemeClr val="bg1"/>
                  </a:solidFill>
                </a:rPr>
                <a:t>Воздухоразделение</a:t>
              </a:r>
              <a:endParaRPr lang="en-GB" sz="1400" kern="0" dirty="0">
                <a:solidFill>
                  <a:schemeClr val="bg1"/>
                </a:solidFill>
              </a:endParaRPr>
            </a:p>
          </p:txBody>
        </p:sp>
        <p:sp>
          <p:nvSpPr>
            <p:cNvPr id="1095" name="Rectangle 20"/>
            <p:cNvSpPr>
              <a:spLocks noChangeArrowheads="1"/>
            </p:cNvSpPr>
            <p:nvPr/>
          </p:nvSpPr>
          <p:spPr bwMode="auto">
            <a:xfrm>
              <a:off x="469203" y="3958064"/>
              <a:ext cx="1549216" cy="189091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pic>
          <p:nvPicPr>
            <p:cNvPr id="34888" name="Picture 2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9203" y="3248145"/>
              <a:ext cx="1550874" cy="7115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D44E67C-1A27-4E41-9E67-55894C076E07}"/>
              </a:ext>
            </a:extLst>
          </p:cNvPr>
          <p:cNvGrpSpPr/>
          <p:nvPr/>
        </p:nvGrpSpPr>
        <p:grpSpPr>
          <a:xfrm>
            <a:off x="7278545" y="2506289"/>
            <a:ext cx="1696132" cy="1350603"/>
            <a:chOff x="2101353" y="2874940"/>
            <a:chExt cx="1552533" cy="1272215"/>
          </a:xfrm>
        </p:grpSpPr>
        <p:sp>
          <p:nvSpPr>
            <p:cNvPr id="1097" name="Rectangle 23"/>
            <p:cNvSpPr>
              <a:spLocks noChangeArrowheads="1"/>
            </p:cNvSpPr>
            <p:nvPr/>
          </p:nvSpPr>
          <p:spPr bwMode="auto">
            <a:xfrm>
              <a:off x="2101353" y="2874940"/>
              <a:ext cx="1552533" cy="374864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98" name="Rectangle 24"/>
            <p:cNvSpPr>
              <a:spLocks noChangeArrowheads="1"/>
            </p:cNvSpPr>
            <p:nvPr/>
          </p:nvSpPr>
          <p:spPr bwMode="auto">
            <a:xfrm>
              <a:off x="2321958" y="2966167"/>
              <a:ext cx="1190939" cy="177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25" b="1" kern="0" dirty="0">
                  <a:solidFill>
                    <a:srgbClr val="0D5C91">
                      <a:lumMod val="75000"/>
                    </a:srgbClr>
                  </a:solidFill>
                </a:rPr>
                <a:t>Hydrogen/</a:t>
              </a:r>
              <a:r>
                <a:rPr lang="en-GB" sz="825" b="1" kern="0" dirty="0" err="1">
                  <a:solidFill>
                    <a:srgbClr val="0D5C91">
                      <a:lumMod val="75000"/>
                    </a:srgbClr>
                  </a:solidFill>
                </a:rPr>
                <a:t>Syn</a:t>
              </a:r>
              <a:r>
                <a:rPr lang="en-GB" sz="825" b="1" kern="0" dirty="0">
                  <a:solidFill>
                    <a:srgbClr val="0D5C91">
                      <a:lumMod val="75000"/>
                    </a:srgbClr>
                  </a:solidFill>
                </a:rPr>
                <a:t> Gas</a:t>
              </a: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99" name="Rectangle 25"/>
            <p:cNvSpPr>
              <a:spLocks noChangeArrowheads="1"/>
            </p:cNvSpPr>
            <p:nvPr/>
          </p:nvSpPr>
          <p:spPr bwMode="auto">
            <a:xfrm>
              <a:off x="2101353" y="3958064"/>
              <a:ext cx="1552533" cy="189091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00" name="Rectangle 26"/>
            <p:cNvSpPr>
              <a:spLocks noChangeArrowheads="1"/>
            </p:cNvSpPr>
            <p:nvPr/>
          </p:nvSpPr>
          <p:spPr bwMode="auto">
            <a:xfrm>
              <a:off x="2234048" y="3969675"/>
              <a:ext cx="603763" cy="177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25" b="1" kern="0" dirty="0">
                  <a:solidFill>
                    <a:srgbClr val="0D5C91">
                      <a:lumMod val="75000"/>
                    </a:srgbClr>
                  </a:solidFill>
                </a:rPr>
                <a:t>Global #2</a:t>
              </a: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pic>
          <p:nvPicPr>
            <p:cNvPr id="34893" name="Picture 27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1353" y="3249803"/>
              <a:ext cx="1552533" cy="7099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02" name="Rectangle 28"/>
            <p:cNvSpPr>
              <a:spLocks noChangeArrowheads="1"/>
            </p:cNvSpPr>
            <p:nvPr/>
          </p:nvSpPr>
          <p:spPr bwMode="auto">
            <a:xfrm>
              <a:off x="2101353" y="2874940"/>
              <a:ext cx="1552533" cy="374864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03" name="Rectangle 29"/>
            <p:cNvSpPr>
              <a:spLocks noChangeArrowheads="1"/>
            </p:cNvSpPr>
            <p:nvPr/>
          </p:nvSpPr>
          <p:spPr bwMode="auto">
            <a:xfrm>
              <a:off x="2158301" y="2966167"/>
              <a:ext cx="1480494" cy="2029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kern="0" dirty="0">
                  <a:solidFill>
                    <a:schemeClr val="bg1"/>
                  </a:solidFill>
                </a:rPr>
                <a:t>Водород</a:t>
              </a:r>
              <a:r>
                <a:rPr lang="en-GB" sz="1400" b="1" kern="0" dirty="0">
                  <a:solidFill>
                    <a:schemeClr val="bg1"/>
                  </a:solidFill>
                </a:rPr>
                <a:t>/</a:t>
              </a:r>
              <a:r>
                <a:rPr lang="ru-RU" sz="1400" b="1" kern="0" dirty="0">
                  <a:solidFill>
                    <a:schemeClr val="bg1"/>
                  </a:solidFill>
                </a:rPr>
                <a:t>Синтез-газ</a:t>
              </a:r>
              <a:endParaRPr lang="en-GB" sz="1400" kern="0" dirty="0">
                <a:solidFill>
                  <a:schemeClr val="bg1"/>
                </a:solidFill>
              </a:endParaRPr>
            </a:p>
          </p:txBody>
        </p:sp>
        <p:sp>
          <p:nvSpPr>
            <p:cNvPr id="1104" name="Rectangle 30"/>
            <p:cNvSpPr>
              <a:spLocks noChangeArrowheads="1"/>
            </p:cNvSpPr>
            <p:nvPr/>
          </p:nvSpPr>
          <p:spPr bwMode="auto">
            <a:xfrm>
              <a:off x="2101353" y="3958064"/>
              <a:ext cx="1552533" cy="189091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pic>
          <p:nvPicPr>
            <p:cNvPr id="34897" name="Picture 3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1353" y="3249803"/>
              <a:ext cx="1552533" cy="7099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5923DD30-6381-4D1C-986F-6987F2C6A8A9}"/>
              </a:ext>
            </a:extLst>
          </p:cNvPr>
          <p:cNvGrpSpPr/>
          <p:nvPr/>
        </p:nvGrpSpPr>
        <p:grpSpPr>
          <a:xfrm>
            <a:off x="5541659" y="3917963"/>
            <a:ext cx="1669532" cy="1405752"/>
            <a:chOff x="469203" y="4228430"/>
            <a:chExt cx="1554192" cy="1273874"/>
          </a:xfrm>
        </p:grpSpPr>
        <p:sp>
          <p:nvSpPr>
            <p:cNvPr id="1106" name="Rectangle 33"/>
            <p:cNvSpPr>
              <a:spLocks noChangeArrowheads="1"/>
            </p:cNvSpPr>
            <p:nvPr/>
          </p:nvSpPr>
          <p:spPr bwMode="auto">
            <a:xfrm>
              <a:off x="469203" y="4228430"/>
              <a:ext cx="1554192" cy="376523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07" name="Rectangle 34"/>
            <p:cNvSpPr>
              <a:spLocks noChangeArrowheads="1"/>
            </p:cNvSpPr>
            <p:nvPr/>
          </p:nvSpPr>
          <p:spPr bwMode="auto">
            <a:xfrm>
              <a:off x="1063013" y="4319658"/>
              <a:ext cx="437894" cy="177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25" b="1" kern="0" dirty="0">
                  <a:solidFill>
                    <a:srgbClr val="0D5C91">
                      <a:lumMod val="75000"/>
                    </a:srgbClr>
                  </a:solidFill>
                </a:rPr>
                <a:t>Olefins</a:t>
              </a: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08" name="Rectangle 35"/>
            <p:cNvSpPr>
              <a:spLocks noChangeArrowheads="1"/>
            </p:cNvSpPr>
            <p:nvPr/>
          </p:nvSpPr>
          <p:spPr bwMode="auto">
            <a:xfrm>
              <a:off x="469203" y="5313213"/>
              <a:ext cx="1554192" cy="189091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09" name="Rectangle 36"/>
            <p:cNvSpPr>
              <a:spLocks noChangeArrowheads="1"/>
            </p:cNvSpPr>
            <p:nvPr/>
          </p:nvSpPr>
          <p:spPr bwMode="auto">
            <a:xfrm>
              <a:off x="600239" y="5324824"/>
              <a:ext cx="603763" cy="177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25" b="1" kern="0" dirty="0">
                  <a:solidFill>
                    <a:srgbClr val="0D5C91">
                      <a:lumMod val="75000"/>
                    </a:srgbClr>
                  </a:solidFill>
                </a:rPr>
                <a:t>Global #2</a:t>
              </a: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pic>
          <p:nvPicPr>
            <p:cNvPr id="34902" name="Picture 37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9203" y="4604953"/>
              <a:ext cx="1554192" cy="7082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11" name="Rectangle 38"/>
            <p:cNvSpPr>
              <a:spLocks noChangeArrowheads="1"/>
            </p:cNvSpPr>
            <p:nvPr/>
          </p:nvSpPr>
          <p:spPr bwMode="auto">
            <a:xfrm>
              <a:off x="469203" y="4228430"/>
              <a:ext cx="1554192" cy="376523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12" name="Rectangle 39"/>
            <p:cNvSpPr>
              <a:spLocks noChangeArrowheads="1"/>
            </p:cNvSpPr>
            <p:nvPr/>
          </p:nvSpPr>
          <p:spPr bwMode="auto">
            <a:xfrm>
              <a:off x="884277" y="4319658"/>
              <a:ext cx="701361" cy="195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kern="0" dirty="0">
                  <a:solidFill>
                    <a:schemeClr val="bg1"/>
                  </a:solidFill>
                </a:rPr>
                <a:t>Олефины</a:t>
              </a:r>
              <a:endParaRPr lang="en-GB" sz="1400" kern="0" dirty="0">
                <a:solidFill>
                  <a:schemeClr val="bg1"/>
                </a:solidFill>
              </a:endParaRPr>
            </a:p>
          </p:txBody>
        </p:sp>
        <p:sp>
          <p:nvSpPr>
            <p:cNvPr id="1113" name="Rectangle 40"/>
            <p:cNvSpPr>
              <a:spLocks noChangeArrowheads="1"/>
            </p:cNvSpPr>
            <p:nvPr/>
          </p:nvSpPr>
          <p:spPr bwMode="auto">
            <a:xfrm>
              <a:off x="469203" y="5313213"/>
              <a:ext cx="1554192" cy="189091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pic>
          <p:nvPicPr>
            <p:cNvPr id="34906" name="Picture 42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9203" y="4604953"/>
              <a:ext cx="1554192" cy="7082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C6C5AF3F-AE13-4AA4-B6AD-679063F22BC5}"/>
              </a:ext>
            </a:extLst>
          </p:cNvPr>
          <p:cNvGrpSpPr/>
          <p:nvPr/>
        </p:nvGrpSpPr>
        <p:grpSpPr>
          <a:xfrm>
            <a:off x="7279139" y="3918486"/>
            <a:ext cx="1708920" cy="1399201"/>
            <a:chOff x="2099694" y="4228430"/>
            <a:chExt cx="1555851" cy="1273874"/>
          </a:xfrm>
        </p:grpSpPr>
        <p:sp>
          <p:nvSpPr>
            <p:cNvPr id="1083" name="Rectangle 6"/>
            <p:cNvSpPr>
              <a:spLocks noChangeArrowheads="1"/>
            </p:cNvSpPr>
            <p:nvPr/>
          </p:nvSpPr>
          <p:spPr bwMode="auto">
            <a:xfrm>
              <a:off x="3366933" y="5236913"/>
              <a:ext cx="64689" cy="1443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75" kern="0" dirty="0">
                  <a:solidFill>
                    <a:srgbClr val="0D5C91">
                      <a:lumMod val="75000"/>
                    </a:srgbClr>
                  </a:solidFill>
                </a:rPr>
                <a:t>1</a:t>
              </a: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15" name="Rectangle 43"/>
            <p:cNvSpPr>
              <a:spLocks noChangeArrowheads="1"/>
            </p:cNvSpPr>
            <p:nvPr/>
          </p:nvSpPr>
          <p:spPr bwMode="auto">
            <a:xfrm>
              <a:off x="2099694" y="4228430"/>
              <a:ext cx="1554192" cy="376523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16" name="Rectangle 44"/>
            <p:cNvSpPr>
              <a:spLocks noChangeArrowheads="1"/>
            </p:cNvSpPr>
            <p:nvPr/>
          </p:nvSpPr>
          <p:spPr bwMode="auto">
            <a:xfrm>
              <a:off x="2549199" y="4319658"/>
              <a:ext cx="728165" cy="177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25" b="1" kern="0" dirty="0">
                  <a:solidFill>
                    <a:srgbClr val="0D5C91">
                      <a:lumMod val="75000"/>
                    </a:srgbClr>
                  </a:solidFill>
                </a:rPr>
                <a:t>Natural Gas</a:t>
              </a: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17" name="Rectangle 45"/>
            <p:cNvSpPr>
              <a:spLocks noChangeArrowheads="1"/>
            </p:cNvSpPr>
            <p:nvPr/>
          </p:nvSpPr>
          <p:spPr bwMode="auto">
            <a:xfrm>
              <a:off x="2099694" y="5313213"/>
              <a:ext cx="1554192" cy="189091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18" name="Rectangle 46"/>
            <p:cNvSpPr>
              <a:spLocks noChangeArrowheads="1"/>
            </p:cNvSpPr>
            <p:nvPr/>
          </p:nvSpPr>
          <p:spPr bwMode="auto">
            <a:xfrm>
              <a:off x="2232389" y="5324824"/>
              <a:ext cx="603763" cy="177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25" b="1" kern="0" dirty="0">
                  <a:solidFill>
                    <a:srgbClr val="0D5C91">
                      <a:lumMod val="75000"/>
                    </a:srgbClr>
                  </a:solidFill>
                </a:rPr>
                <a:t>Global #3</a:t>
              </a: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pic>
          <p:nvPicPr>
            <p:cNvPr id="34911" name="Picture 47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1353" y="4604953"/>
              <a:ext cx="1554192" cy="7082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20" name="Rectangle 48"/>
            <p:cNvSpPr>
              <a:spLocks noChangeArrowheads="1"/>
            </p:cNvSpPr>
            <p:nvPr/>
          </p:nvSpPr>
          <p:spPr bwMode="auto">
            <a:xfrm>
              <a:off x="2099694" y="4228430"/>
              <a:ext cx="1554192" cy="376523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21" name="Rectangle 49"/>
            <p:cNvSpPr>
              <a:spLocks noChangeArrowheads="1"/>
            </p:cNvSpPr>
            <p:nvPr/>
          </p:nvSpPr>
          <p:spPr bwMode="auto">
            <a:xfrm>
              <a:off x="2308043" y="4319658"/>
              <a:ext cx="1100404" cy="196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kern="0" dirty="0">
                  <a:solidFill>
                    <a:schemeClr val="bg1"/>
                  </a:solidFill>
                </a:rPr>
                <a:t>Природный газ</a:t>
              </a:r>
              <a:endParaRPr lang="en-GB" sz="1400" kern="0" dirty="0">
                <a:solidFill>
                  <a:schemeClr val="bg1"/>
                </a:solidFill>
              </a:endParaRPr>
            </a:p>
          </p:txBody>
        </p:sp>
        <p:sp>
          <p:nvSpPr>
            <p:cNvPr id="1122" name="Rectangle 50"/>
            <p:cNvSpPr>
              <a:spLocks noChangeArrowheads="1"/>
            </p:cNvSpPr>
            <p:nvPr/>
          </p:nvSpPr>
          <p:spPr bwMode="auto">
            <a:xfrm>
              <a:off x="2099694" y="5313213"/>
              <a:ext cx="1554192" cy="189091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pic>
          <p:nvPicPr>
            <p:cNvPr id="34915" name="Picture 52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1353" y="4604953"/>
              <a:ext cx="1554192" cy="7082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34" name="AutoShape 58"/>
          <p:cNvSpPr>
            <a:spLocks noChangeAspect="1" noChangeArrowheads="1" noTextEdit="1"/>
          </p:cNvSpPr>
          <p:nvPr/>
        </p:nvSpPr>
        <p:spPr bwMode="auto">
          <a:xfrm>
            <a:off x="86733" y="1978099"/>
            <a:ext cx="3196628" cy="3544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9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pic>
        <p:nvPicPr>
          <p:cNvPr id="34827" name="Picture 6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890" y="2561262"/>
            <a:ext cx="1637131" cy="1163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4828" name="Group 65"/>
          <p:cNvGrpSpPr>
            <a:grpSpLocks/>
          </p:cNvGrpSpPr>
          <p:nvPr/>
        </p:nvGrpSpPr>
        <p:grpSpPr bwMode="auto">
          <a:xfrm>
            <a:off x="212130" y="2504934"/>
            <a:ext cx="1638892" cy="1376600"/>
            <a:chOff x="3583" y="1689"/>
            <a:chExt cx="931" cy="782"/>
          </a:xfrm>
        </p:grpSpPr>
        <p:sp>
          <p:nvSpPr>
            <p:cNvPr id="1078" name="Rectangle 61"/>
            <p:cNvSpPr>
              <a:spLocks noChangeArrowheads="1"/>
            </p:cNvSpPr>
            <p:nvPr/>
          </p:nvSpPr>
          <p:spPr bwMode="auto">
            <a:xfrm>
              <a:off x="3584" y="1689"/>
              <a:ext cx="930" cy="227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4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80" name="Rectangle 63"/>
            <p:cNvSpPr>
              <a:spLocks noChangeArrowheads="1"/>
            </p:cNvSpPr>
            <p:nvPr/>
          </p:nvSpPr>
          <p:spPr bwMode="auto">
            <a:xfrm>
              <a:off x="3583" y="2342"/>
              <a:ext cx="931" cy="113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4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81" name="Rectangle 64"/>
            <p:cNvSpPr>
              <a:spLocks noChangeArrowheads="1"/>
            </p:cNvSpPr>
            <p:nvPr/>
          </p:nvSpPr>
          <p:spPr bwMode="auto">
            <a:xfrm>
              <a:off x="3633" y="2349"/>
              <a:ext cx="462" cy="1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b="1" kern="0" dirty="0">
                  <a:solidFill>
                    <a:srgbClr val="0D5C91">
                      <a:lumMod val="75000"/>
                    </a:srgbClr>
                  </a:solidFill>
                </a:rPr>
                <a:t>&gt;70 plants</a:t>
              </a:r>
              <a:endParaRPr lang="en-GB" sz="14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</p:grpSp>
      <p:pic>
        <p:nvPicPr>
          <p:cNvPr id="34829" name="Picture 6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890" y="2561262"/>
            <a:ext cx="1637131" cy="1163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8" name="Rectangle 67"/>
          <p:cNvSpPr>
            <a:spLocks noChangeArrowheads="1"/>
          </p:cNvSpPr>
          <p:nvPr/>
        </p:nvSpPr>
        <p:spPr bwMode="auto">
          <a:xfrm>
            <a:off x="213890" y="2504930"/>
            <a:ext cx="1637131" cy="399601"/>
          </a:xfrm>
          <a:prstGeom prst="rect">
            <a:avLst/>
          </a:prstGeom>
          <a:solidFill>
            <a:srgbClr val="00305C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39" name="Rectangle 68"/>
          <p:cNvSpPr>
            <a:spLocks noChangeArrowheads="1"/>
          </p:cNvSpPr>
          <p:nvPr/>
        </p:nvSpPr>
        <p:spPr bwMode="auto">
          <a:xfrm>
            <a:off x="1080830" y="2603512"/>
            <a:ext cx="6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40" name="Rectangle 69"/>
          <p:cNvSpPr>
            <a:spLocks noChangeArrowheads="1"/>
          </p:cNvSpPr>
          <p:nvPr/>
        </p:nvSpPr>
        <p:spPr bwMode="auto">
          <a:xfrm>
            <a:off x="212129" y="3654442"/>
            <a:ext cx="1638892" cy="198921"/>
          </a:xfrm>
          <a:prstGeom prst="rect">
            <a:avLst/>
          </a:prstGeom>
          <a:solidFill>
            <a:srgbClr val="008AC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41" name="Rectangle 70"/>
          <p:cNvSpPr>
            <a:spLocks noChangeArrowheads="1"/>
          </p:cNvSpPr>
          <p:nvPr/>
        </p:nvSpPr>
        <p:spPr bwMode="auto">
          <a:xfrm>
            <a:off x="299548" y="3666766"/>
            <a:ext cx="81272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kern="0" dirty="0">
                <a:solidFill>
                  <a:srgbClr val="0D5C91">
                    <a:lumMod val="75000"/>
                  </a:srgbClr>
                </a:solidFill>
              </a:rPr>
              <a:t>&gt;70 plants</a:t>
            </a: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42" name="Rectangle 71"/>
          <p:cNvSpPr>
            <a:spLocks noChangeArrowheads="1"/>
          </p:cNvSpPr>
          <p:nvPr/>
        </p:nvSpPr>
        <p:spPr bwMode="auto">
          <a:xfrm>
            <a:off x="213890" y="2504930"/>
            <a:ext cx="1637131" cy="399601"/>
          </a:xfrm>
          <a:prstGeom prst="rect">
            <a:avLst/>
          </a:prstGeom>
          <a:solidFill>
            <a:srgbClr val="00305C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43" name="Rectangle 72"/>
          <p:cNvSpPr>
            <a:spLocks noChangeArrowheads="1"/>
          </p:cNvSpPr>
          <p:nvPr/>
        </p:nvSpPr>
        <p:spPr bwMode="auto">
          <a:xfrm>
            <a:off x="276915" y="2603512"/>
            <a:ext cx="148758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chemeClr val="bg1"/>
                </a:solidFill>
              </a:rPr>
              <a:t>Установки синтез-газа</a:t>
            </a:r>
            <a:endParaRPr lang="en-GB" sz="1200" kern="0" dirty="0">
              <a:solidFill>
                <a:schemeClr val="bg1"/>
              </a:solidFill>
            </a:endParaRPr>
          </a:p>
        </p:txBody>
      </p:sp>
      <p:sp>
        <p:nvSpPr>
          <p:cNvPr id="1044" name="Rectangle 73"/>
          <p:cNvSpPr>
            <a:spLocks noChangeArrowheads="1"/>
          </p:cNvSpPr>
          <p:nvPr/>
        </p:nvSpPr>
        <p:spPr bwMode="auto">
          <a:xfrm>
            <a:off x="212129" y="3654442"/>
            <a:ext cx="1638892" cy="198921"/>
          </a:xfrm>
          <a:prstGeom prst="rect">
            <a:avLst/>
          </a:prstGeom>
          <a:solidFill>
            <a:srgbClr val="008AC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45" name="Rectangle 74"/>
          <p:cNvSpPr>
            <a:spLocks noChangeArrowheads="1"/>
          </p:cNvSpPr>
          <p:nvPr/>
        </p:nvSpPr>
        <p:spPr bwMode="auto">
          <a:xfrm>
            <a:off x="256568" y="3666766"/>
            <a:ext cx="92333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>
                <a:solidFill>
                  <a:schemeClr val="bg1"/>
                </a:solidFill>
              </a:rPr>
              <a:t>&gt;100 </a:t>
            </a:r>
            <a:r>
              <a:rPr lang="ru-RU" sz="1200" b="1" kern="0" dirty="0">
                <a:solidFill>
                  <a:schemeClr val="bg1"/>
                </a:solidFill>
              </a:rPr>
              <a:t>заводов</a:t>
            </a:r>
            <a:endParaRPr lang="en-GB" sz="1200" kern="0" dirty="0">
              <a:solidFill>
                <a:schemeClr val="bg1"/>
              </a:solidFill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1F98406-F053-4850-A8E2-A7181F6A41C4}"/>
              </a:ext>
            </a:extLst>
          </p:cNvPr>
          <p:cNvGrpSpPr/>
          <p:nvPr/>
        </p:nvGrpSpPr>
        <p:grpSpPr>
          <a:xfrm>
            <a:off x="1921098" y="2504927"/>
            <a:ext cx="1636110" cy="1396898"/>
            <a:chOff x="7140493" y="2879073"/>
            <a:chExt cx="1550939" cy="1297193"/>
          </a:xfrm>
        </p:grpSpPr>
        <p:pic>
          <p:nvPicPr>
            <p:cNvPr id="34838" name="Picture 75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0493" y="2908997"/>
              <a:ext cx="1550939" cy="122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47" name="Rectangle 76"/>
            <p:cNvSpPr>
              <a:spLocks noChangeArrowheads="1"/>
            </p:cNvSpPr>
            <p:nvPr/>
          </p:nvSpPr>
          <p:spPr bwMode="auto">
            <a:xfrm>
              <a:off x="7142159" y="2879073"/>
              <a:ext cx="1545951" cy="377345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4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48" name="Rectangle 77"/>
            <p:cNvSpPr>
              <a:spLocks noChangeArrowheads="1"/>
            </p:cNvSpPr>
            <p:nvPr/>
          </p:nvSpPr>
          <p:spPr bwMode="auto">
            <a:xfrm>
              <a:off x="7247640" y="2972164"/>
              <a:ext cx="1423090" cy="200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b="1" kern="0" dirty="0">
                  <a:solidFill>
                    <a:srgbClr val="0D5C91">
                      <a:lumMod val="75000"/>
                    </a:srgbClr>
                  </a:solidFill>
                </a:rPr>
                <a:t>ASU Tonnage Plants</a:t>
              </a:r>
              <a:endParaRPr lang="en-GB" sz="14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49" name="Rectangle 78"/>
            <p:cNvSpPr>
              <a:spLocks noChangeArrowheads="1"/>
            </p:cNvSpPr>
            <p:nvPr/>
          </p:nvSpPr>
          <p:spPr bwMode="auto">
            <a:xfrm>
              <a:off x="7140496" y="3964563"/>
              <a:ext cx="1547614" cy="187842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4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50" name="Rectangle 79"/>
            <p:cNvSpPr>
              <a:spLocks noChangeArrowheads="1"/>
            </p:cNvSpPr>
            <p:nvPr/>
          </p:nvSpPr>
          <p:spPr bwMode="auto">
            <a:xfrm>
              <a:off x="7223912" y="3976200"/>
              <a:ext cx="845518" cy="200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b="1" kern="0" dirty="0">
                  <a:solidFill>
                    <a:srgbClr val="0D5C91">
                      <a:lumMod val="75000"/>
                    </a:srgbClr>
                  </a:solidFill>
                </a:rPr>
                <a:t>&gt;300 plants</a:t>
              </a:r>
              <a:endParaRPr lang="en-GB" sz="14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pic>
          <p:nvPicPr>
            <p:cNvPr id="34843" name="Picture 80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0493" y="2908997"/>
              <a:ext cx="1550939" cy="122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52" name="Rectangle 81"/>
            <p:cNvSpPr>
              <a:spLocks noChangeArrowheads="1"/>
            </p:cNvSpPr>
            <p:nvPr/>
          </p:nvSpPr>
          <p:spPr bwMode="auto">
            <a:xfrm>
              <a:off x="7142159" y="2879073"/>
              <a:ext cx="1545951" cy="377345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4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53" name="Rectangle 82"/>
            <p:cNvSpPr>
              <a:spLocks noChangeArrowheads="1"/>
            </p:cNvSpPr>
            <p:nvPr/>
          </p:nvSpPr>
          <p:spPr bwMode="auto">
            <a:xfrm>
              <a:off x="7372012" y="2972164"/>
              <a:ext cx="1084963" cy="200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kern="0" dirty="0">
                  <a:solidFill>
                    <a:schemeClr val="bg1"/>
                  </a:solidFill>
                </a:rPr>
                <a:t>Установки ВРУ</a:t>
              </a:r>
              <a:endParaRPr lang="en-GB" sz="1400" kern="0" dirty="0">
                <a:solidFill>
                  <a:schemeClr val="bg1"/>
                </a:solidFill>
              </a:endParaRPr>
            </a:p>
          </p:txBody>
        </p:sp>
        <p:sp>
          <p:nvSpPr>
            <p:cNvPr id="1054" name="Rectangle 83"/>
            <p:cNvSpPr>
              <a:spLocks noChangeArrowheads="1"/>
            </p:cNvSpPr>
            <p:nvPr/>
          </p:nvSpPr>
          <p:spPr bwMode="auto">
            <a:xfrm>
              <a:off x="7140496" y="3964563"/>
              <a:ext cx="1547614" cy="187842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4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55" name="Rectangle 84"/>
            <p:cNvSpPr>
              <a:spLocks noChangeArrowheads="1"/>
            </p:cNvSpPr>
            <p:nvPr/>
          </p:nvSpPr>
          <p:spPr bwMode="auto">
            <a:xfrm>
              <a:off x="7209038" y="3976200"/>
              <a:ext cx="875265" cy="171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b="1" kern="0" dirty="0">
                  <a:solidFill>
                    <a:schemeClr val="bg1"/>
                  </a:solidFill>
                </a:rPr>
                <a:t>&gt;300 </a:t>
              </a:r>
              <a:r>
                <a:rPr lang="ru-RU" sz="1200" b="1" kern="0" dirty="0">
                  <a:solidFill>
                    <a:schemeClr val="bg1"/>
                  </a:solidFill>
                </a:rPr>
                <a:t>заводов</a:t>
              </a:r>
              <a:endParaRPr lang="en-GB" sz="1200" kern="0" dirty="0">
                <a:solidFill>
                  <a:schemeClr val="bg1"/>
                </a:solidFill>
              </a:endParaRPr>
            </a:p>
          </p:txBody>
        </p:sp>
      </p:grpSp>
      <p:pic>
        <p:nvPicPr>
          <p:cNvPr id="34848" name="Picture 85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7216" y="4273768"/>
            <a:ext cx="1620185" cy="991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57" name="Rectangle 86"/>
          <p:cNvSpPr>
            <a:spLocks noChangeArrowheads="1"/>
          </p:cNvSpPr>
          <p:nvPr/>
        </p:nvSpPr>
        <p:spPr bwMode="auto">
          <a:xfrm>
            <a:off x="1916951" y="3921024"/>
            <a:ext cx="1640260" cy="400364"/>
          </a:xfrm>
          <a:prstGeom prst="rect">
            <a:avLst/>
          </a:prstGeom>
          <a:solidFill>
            <a:srgbClr val="00305C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58" name="Rectangle 87"/>
          <p:cNvSpPr>
            <a:spLocks noChangeArrowheads="1"/>
          </p:cNvSpPr>
          <p:nvPr/>
        </p:nvSpPr>
        <p:spPr bwMode="auto">
          <a:xfrm>
            <a:off x="2083225" y="4018028"/>
            <a:ext cx="139942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kern="0" dirty="0">
                <a:solidFill>
                  <a:srgbClr val="0D5C91">
                    <a:lumMod val="75000"/>
                  </a:srgbClr>
                </a:solidFill>
              </a:rPr>
              <a:t>ECOVAR </a:t>
            </a:r>
            <a:r>
              <a:rPr lang="en-GB" sz="1400" b="1" kern="0" dirty="0" err="1">
                <a:solidFill>
                  <a:srgbClr val="0D5C91">
                    <a:lumMod val="75000"/>
                  </a:srgbClr>
                </a:solidFill>
              </a:rPr>
              <a:t>Std</a:t>
            </a:r>
            <a:r>
              <a:rPr lang="en-GB" sz="1400" b="1" kern="0" dirty="0">
                <a:solidFill>
                  <a:srgbClr val="0D5C91">
                    <a:lumMod val="75000"/>
                  </a:srgbClr>
                </a:solidFill>
              </a:rPr>
              <a:t> Plants</a:t>
            </a: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59" name="Rectangle 88"/>
          <p:cNvSpPr>
            <a:spLocks noChangeArrowheads="1"/>
          </p:cNvSpPr>
          <p:nvPr/>
        </p:nvSpPr>
        <p:spPr bwMode="auto">
          <a:xfrm>
            <a:off x="1915184" y="5070970"/>
            <a:ext cx="1642024" cy="201063"/>
          </a:xfrm>
          <a:prstGeom prst="rect">
            <a:avLst/>
          </a:prstGeom>
          <a:solidFill>
            <a:srgbClr val="008AC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60" name="Rectangle 89"/>
          <p:cNvSpPr>
            <a:spLocks noChangeArrowheads="1"/>
          </p:cNvSpPr>
          <p:nvPr/>
        </p:nvSpPr>
        <p:spPr bwMode="auto">
          <a:xfrm>
            <a:off x="1986821" y="5085078"/>
            <a:ext cx="105958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kern="0" dirty="0">
                <a:solidFill>
                  <a:srgbClr val="0D5C91">
                    <a:lumMod val="75000"/>
                  </a:srgbClr>
                </a:solidFill>
              </a:rPr>
              <a:t>&gt;1,000 plants</a:t>
            </a: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61" name="Rectangle 91"/>
          <p:cNvSpPr>
            <a:spLocks noChangeArrowheads="1"/>
          </p:cNvSpPr>
          <p:nvPr/>
        </p:nvSpPr>
        <p:spPr bwMode="auto">
          <a:xfrm>
            <a:off x="1916951" y="3921024"/>
            <a:ext cx="1640260" cy="400364"/>
          </a:xfrm>
          <a:prstGeom prst="rect">
            <a:avLst/>
          </a:prstGeom>
          <a:solidFill>
            <a:srgbClr val="00305C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62" name="Rectangle 92"/>
          <p:cNvSpPr>
            <a:spLocks noChangeArrowheads="1"/>
          </p:cNvSpPr>
          <p:nvPr/>
        </p:nvSpPr>
        <p:spPr bwMode="auto">
          <a:xfrm>
            <a:off x="1991818" y="4018028"/>
            <a:ext cx="14859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chemeClr val="bg1"/>
                </a:solidFill>
              </a:rPr>
              <a:t>Установки </a:t>
            </a:r>
            <a:r>
              <a:rPr lang="en-GB" sz="1400" b="1" kern="0" dirty="0">
                <a:solidFill>
                  <a:schemeClr val="bg1"/>
                </a:solidFill>
              </a:rPr>
              <a:t>ECOVAR </a:t>
            </a:r>
            <a:endParaRPr lang="en-GB" sz="1400" kern="0" dirty="0">
              <a:solidFill>
                <a:schemeClr val="bg1"/>
              </a:solidFill>
            </a:endParaRPr>
          </a:p>
        </p:txBody>
      </p:sp>
      <p:sp>
        <p:nvSpPr>
          <p:cNvPr id="1063" name="Rectangle 93"/>
          <p:cNvSpPr>
            <a:spLocks noChangeArrowheads="1"/>
          </p:cNvSpPr>
          <p:nvPr/>
        </p:nvSpPr>
        <p:spPr bwMode="auto">
          <a:xfrm>
            <a:off x="1915184" y="5070970"/>
            <a:ext cx="1642024" cy="201063"/>
          </a:xfrm>
          <a:prstGeom prst="rect">
            <a:avLst/>
          </a:prstGeom>
          <a:solidFill>
            <a:srgbClr val="008AC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64" name="Rectangle 94"/>
          <p:cNvSpPr>
            <a:spLocks noChangeArrowheads="1"/>
          </p:cNvSpPr>
          <p:nvPr/>
        </p:nvSpPr>
        <p:spPr bwMode="auto">
          <a:xfrm>
            <a:off x="1960592" y="5085078"/>
            <a:ext cx="92333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>
                <a:solidFill>
                  <a:schemeClr val="bg1"/>
                </a:solidFill>
              </a:rPr>
              <a:t>&gt;950 </a:t>
            </a:r>
            <a:r>
              <a:rPr lang="ru-RU" sz="1200" b="1" kern="0" dirty="0">
                <a:solidFill>
                  <a:schemeClr val="bg1"/>
                </a:solidFill>
              </a:rPr>
              <a:t>заводов</a:t>
            </a:r>
            <a:endParaRPr lang="en-GB" sz="1200" kern="0" dirty="0">
              <a:solidFill>
                <a:schemeClr val="bg1"/>
              </a:solidFill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550165F0-6CF2-44D5-80D3-F5D0F2D86973}"/>
              </a:ext>
            </a:extLst>
          </p:cNvPr>
          <p:cNvGrpSpPr/>
          <p:nvPr/>
        </p:nvGrpSpPr>
        <p:grpSpPr>
          <a:xfrm>
            <a:off x="196686" y="1547991"/>
            <a:ext cx="3367194" cy="824997"/>
            <a:chOff x="5509765" y="1967638"/>
            <a:chExt cx="3428602" cy="824997"/>
          </a:xfrm>
        </p:grpSpPr>
        <p:sp>
          <p:nvSpPr>
            <p:cNvPr id="1027" name="Rectangle 95"/>
            <p:cNvSpPr>
              <a:spLocks noChangeArrowheads="1"/>
            </p:cNvSpPr>
            <p:nvPr/>
          </p:nvSpPr>
          <p:spPr bwMode="auto">
            <a:xfrm>
              <a:off x="5509765" y="1976439"/>
              <a:ext cx="3428602" cy="816196"/>
            </a:xfrm>
            <a:prstGeom prst="rect">
              <a:avLst/>
            </a:prstGeom>
            <a:solidFill>
              <a:srgbClr val="D1D4C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65" name="Rectangle 96"/>
            <p:cNvSpPr>
              <a:spLocks noChangeArrowheads="1"/>
            </p:cNvSpPr>
            <p:nvPr/>
          </p:nvSpPr>
          <p:spPr bwMode="auto">
            <a:xfrm>
              <a:off x="5664564" y="1967638"/>
              <a:ext cx="3163698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800" b="1" kern="0" dirty="0">
                  <a:solidFill>
                    <a:srgbClr val="0D5C91">
                      <a:lumMod val="75000"/>
                    </a:srgbClr>
                  </a:solidFill>
                </a:rPr>
                <a:t>Бизнес поставок газа </a:t>
              </a:r>
            </a:p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800" b="1" kern="0" dirty="0">
                  <a:solidFill>
                    <a:srgbClr val="0D5C91">
                      <a:lumMod val="75000"/>
                    </a:srgbClr>
                  </a:solidFill>
                </a:rPr>
                <a:t>компании </a:t>
              </a:r>
              <a:r>
                <a:rPr lang="en-GB" sz="1800" b="1" kern="0" dirty="0">
                  <a:solidFill>
                    <a:srgbClr val="0D5C91">
                      <a:lumMod val="75000"/>
                    </a:srgbClr>
                  </a:solidFill>
                </a:rPr>
                <a:t>Linde</a:t>
              </a:r>
              <a:endParaRPr lang="en-GB" sz="18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66" name="Rectangle 98"/>
            <p:cNvSpPr>
              <a:spLocks noChangeArrowheads="1"/>
            </p:cNvSpPr>
            <p:nvPr/>
          </p:nvSpPr>
          <p:spPr bwMode="auto">
            <a:xfrm>
              <a:off x="7290057" y="2001373"/>
              <a:ext cx="91" cy="1933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67" name="Rectangle 100"/>
            <p:cNvSpPr>
              <a:spLocks noChangeArrowheads="1"/>
            </p:cNvSpPr>
            <p:nvPr/>
          </p:nvSpPr>
          <p:spPr bwMode="auto">
            <a:xfrm>
              <a:off x="6342572" y="2506701"/>
              <a:ext cx="1717113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kern="0" dirty="0">
                  <a:solidFill>
                    <a:srgbClr val="0D5C91">
                      <a:lumMod val="75000"/>
                    </a:srgbClr>
                  </a:solidFill>
                </a:rPr>
                <a:t>Опыт эксплуатации</a:t>
              </a:r>
              <a:endParaRPr lang="en-GB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68" name="Rectangle 101"/>
            <p:cNvSpPr>
              <a:spLocks noChangeArrowheads="1"/>
            </p:cNvSpPr>
            <p:nvPr/>
          </p:nvSpPr>
          <p:spPr bwMode="auto">
            <a:xfrm>
              <a:off x="6422330" y="2446872"/>
              <a:ext cx="91" cy="1933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</p:grpSp>
      <p:pic>
        <p:nvPicPr>
          <p:cNvPr id="34861" name="Picture 10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4380" y="4185798"/>
            <a:ext cx="1631345" cy="914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70" name="Rectangle 104"/>
          <p:cNvSpPr>
            <a:spLocks noChangeArrowheads="1"/>
          </p:cNvSpPr>
          <p:nvPr/>
        </p:nvSpPr>
        <p:spPr bwMode="auto">
          <a:xfrm>
            <a:off x="204114" y="3921023"/>
            <a:ext cx="1641612" cy="400694"/>
          </a:xfrm>
          <a:prstGeom prst="rect">
            <a:avLst/>
          </a:prstGeom>
          <a:solidFill>
            <a:srgbClr val="00305C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71" name="Rectangle 105"/>
          <p:cNvSpPr>
            <a:spLocks noChangeArrowheads="1"/>
          </p:cNvSpPr>
          <p:nvPr/>
        </p:nvSpPr>
        <p:spPr bwMode="auto">
          <a:xfrm>
            <a:off x="575945" y="4018107"/>
            <a:ext cx="9345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chemeClr val="bg1"/>
                </a:solidFill>
              </a:rPr>
              <a:t>Заводы </a:t>
            </a:r>
            <a:r>
              <a:rPr lang="en-GB" sz="1400" b="1" kern="0" dirty="0">
                <a:solidFill>
                  <a:schemeClr val="bg1"/>
                </a:solidFill>
              </a:rPr>
              <a:t>CO2</a:t>
            </a:r>
            <a:endParaRPr lang="en-GB" sz="1400" kern="0" dirty="0">
              <a:solidFill>
                <a:schemeClr val="bg1"/>
              </a:solidFill>
            </a:endParaRPr>
          </a:p>
        </p:txBody>
      </p:sp>
      <p:sp>
        <p:nvSpPr>
          <p:cNvPr id="1072" name="Rectangle 106"/>
          <p:cNvSpPr>
            <a:spLocks noChangeArrowheads="1"/>
          </p:cNvSpPr>
          <p:nvPr/>
        </p:nvSpPr>
        <p:spPr bwMode="auto">
          <a:xfrm>
            <a:off x="214380" y="5071916"/>
            <a:ext cx="1643377" cy="201229"/>
          </a:xfrm>
          <a:prstGeom prst="rect">
            <a:avLst/>
          </a:prstGeom>
          <a:solidFill>
            <a:srgbClr val="008AC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73" name="Rectangle 107"/>
          <p:cNvSpPr>
            <a:spLocks noChangeArrowheads="1"/>
          </p:cNvSpPr>
          <p:nvPr/>
        </p:nvSpPr>
        <p:spPr bwMode="auto">
          <a:xfrm>
            <a:off x="278179" y="5086036"/>
            <a:ext cx="92333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>
                <a:solidFill>
                  <a:schemeClr val="bg1"/>
                </a:solidFill>
              </a:rPr>
              <a:t>&gt;100 </a:t>
            </a:r>
            <a:r>
              <a:rPr lang="ru-RU" sz="1200" b="1" kern="0" dirty="0">
                <a:solidFill>
                  <a:schemeClr val="bg1"/>
                </a:solidFill>
              </a:rPr>
              <a:t>заводов</a:t>
            </a:r>
            <a:endParaRPr lang="en-GB" sz="1200" kern="0" dirty="0">
              <a:solidFill>
                <a:schemeClr val="bg1"/>
              </a:solidFill>
            </a:endParaRPr>
          </a:p>
        </p:txBody>
      </p:sp>
      <p:sp>
        <p:nvSpPr>
          <p:cNvPr id="1075" name="TextBox 4"/>
          <p:cNvSpPr txBox="1">
            <a:spLocks noChangeArrowheads="1"/>
          </p:cNvSpPr>
          <p:nvPr/>
        </p:nvSpPr>
        <p:spPr bwMode="auto">
          <a:xfrm>
            <a:off x="3907631" y="1700808"/>
            <a:ext cx="1296591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kern="0" dirty="0">
                <a:solidFill>
                  <a:srgbClr val="0D5C91">
                    <a:lumMod val="75000"/>
                  </a:srgbClr>
                </a:solidFill>
              </a:rPr>
              <a:t>6,400 </a:t>
            </a:r>
            <a:r>
              <a:rPr lang="ru-RU" sz="1400" kern="0" dirty="0">
                <a:solidFill>
                  <a:srgbClr val="0D5C91">
                    <a:lumMod val="75000"/>
                  </a:srgbClr>
                </a:solidFill>
              </a:rPr>
              <a:t>инженеров</a:t>
            </a: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76" name="TextBox 106"/>
          <p:cNvSpPr txBox="1">
            <a:spLocks noChangeArrowheads="1"/>
          </p:cNvSpPr>
          <p:nvPr/>
        </p:nvSpPr>
        <p:spPr bwMode="auto">
          <a:xfrm>
            <a:off x="3924300" y="3217258"/>
            <a:ext cx="12954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kern="0" dirty="0">
                <a:solidFill>
                  <a:srgbClr val="0D5C91">
                    <a:lumMod val="75000"/>
                  </a:srgbClr>
                </a:solidFill>
              </a:rPr>
              <a:t>5,600 </a:t>
            </a:r>
            <a:r>
              <a:rPr lang="ru-RU" sz="1400" kern="0" dirty="0">
                <a:solidFill>
                  <a:srgbClr val="0D5C91">
                    <a:lumMod val="75000"/>
                  </a:srgbClr>
                </a:solidFill>
              </a:rPr>
              <a:t>операторов</a:t>
            </a: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416598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F29E8A2-1724-45C7-B9A9-5DA5114AC68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37798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F29E8A2-1724-45C7-B9A9-5DA5114AC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5" name="Group 181">
            <a:extLst>
              <a:ext uri="{FF2B5EF4-FFF2-40B4-BE49-F238E27FC236}">
                <a16:creationId xmlns:a16="http://schemas.microsoft.com/office/drawing/2014/main" id="{2068E979-8680-4F45-A602-554BEF163AF9}"/>
              </a:ext>
            </a:extLst>
          </p:cNvPr>
          <p:cNvGrpSpPr>
            <a:grpSpLocks/>
          </p:cNvGrpSpPr>
          <p:nvPr/>
        </p:nvGrpSpPr>
        <p:grpSpPr bwMode="auto">
          <a:xfrm>
            <a:off x="373260" y="1326977"/>
            <a:ext cx="8231188" cy="5132388"/>
            <a:chOff x="86" y="942"/>
            <a:chExt cx="5185" cy="3233"/>
          </a:xfrm>
        </p:grpSpPr>
        <p:sp>
          <p:nvSpPr>
            <p:cNvPr id="136" name="Freeform 3">
              <a:extLst>
                <a:ext uri="{FF2B5EF4-FFF2-40B4-BE49-F238E27FC236}">
                  <a16:creationId xmlns:a16="http://schemas.microsoft.com/office/drawing/2014/main" id="{C106A57B-F72A-45A8-B427-4FFBA531D8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6" y="2986"/>
              <a:ext cx="27" cy="43"/>
            </a:xfrm>
            <a:custGeom>
              <a:avLst/>
              <a:gdLst>
                <a:gd name="T0" fmla="*/ 5 w 30"/>
                <a:gd name="T1" fmla="*/ 4 h 48"/>
                <a:gd name="T2" fmla="*/ 0 w 30"/>
                <a:gd name="T3" fmla="*/ 4 h 48"/>
                <a:gd name="T4" fmla="*/ 0 w 30"/>
                <a:gd name="T5" fmla="*/ 4 h 48"/>
                <a:gd name="T6" fmla="*/ 0 w 30"/>
                <a:gd name="T7" fmla="*/ 4 h 48"/>
                <a:gd name="T8" fmla="*/ 0 w 30"/>
                <a:gd name="T9" fmla="*/ 4 h 48"/>
                <a:gd name="T10" fmla="*/ 5 w 30"/>
                <a:gd name="T11" fmla="*/ 0 h 48"/>
                <a:gd name="T12" fmla="*/ 5 w 30"/>
                <a:gd name="T13" fmla="*/ 0 h 48"/>
                <a:gd name="T14" fmla="*/ 5 w 30"/>
                <a:gd name="T15" fmla="*/ 4 h 48"/>
                <a:gd name="T16" fmla="*/ 5 w 30"/>
                <a:gd name="T17" fmla="*/ 4 h 48"/>
                <a:gd name="T18" fmla="*/ 5 w 30"/>
                <a:gd name="T19" fmla="*/ 4 h 48"/>
                <a:gd name="T20" fmla="*/ 5 w 30"/>
                <a:gd name="T21" fmla="*/ 4 h 48"/>
                <a:gd name="T22" fmla="*/ 5 w 30"/>
                <a:gd name="T23" fmla="*/ 4 h 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0" h="48">
                  <a:moveTo>
                    <a:pt x="12" y="48"/>
                  </a:moveTo>
                  <a:lnTo>
                    <a:pt x="0" y="48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30" y="12"/>
                  </a:lnTo>
                  <a:lnTo>
                    <a:pt x="30" y="24"/>
                  </a:lnTo>
                  <a:lnTo>
                    <a:pt x="30" y="36"/>
                  </a:lnTo>
                  <a:lnTo>
                    <a:pt x="18" y="48"/>
                  </a:lnTo>
                  <a:lnTo>
                    <a:pt x="12" y="4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37" name="Freeform 4">
              <a:extLst>
                <a:ext uri="{FF2B5EF4-FFF2-40B4-BE49-F238E27FC236}">
                  <a16:creationId xmlns:a16="http://schemas.microsoft.com/office/drawing/2014/main" id="{69B1043C-0916-4F92-8273-9C5E4FD64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7" y="2960"/>
              <a:ext cx="322" cy="491"/>
            </a:xfrm>
            <a:custGeom>
              <a:avLst/>
              <a:gdLst>
                <a:gd name="T0" fmla="*/ 4 w 366"/>
                <a:gd name="T1" fmla="*/ 4 h 558"/>
                <a:gd name="T2" fmla="*/ 4 w 366"/>
                <a:gd name="T3" fmla="*/ 4 h 558"/>
                <a:gd name="T4" fmla="*/ 4 w 366"/>
                <a:gd name="T5" fmla="*/ 4 h 558"/>
                <a:gd name="T6" fmla="*/ 4 w 366"/>
                <a:gd name="T7" fmla="*/ 0 h 558"/>
                <a:gd name="T8" fmla="*/ 4 w 366"/>
                <a:gd name="T9" fmla="*/ 4 h 558"/>
                <a:gd name="T10" fmla="*/ 4 w 366"/>
                <a:gd name="T11" fmla="*/ 4 h 558"/>
                <a:gd name="T12" fmla="*/ 4 w 366"/>
                <a:gd name="T13" fmla="*/ 4 h 558"/>
                <a:gd name="T14" fmla="*/ 4 w 366"/>
                <a:gd name="T15" fmla="*/ 4 h 558"/>
                <a:gd name="T16" fmla="*/ 4 w 366"/>
                <a:gd name="T17" fmla="*/ 4 h 558"/>
                <a:gd name="T18" fmla="*/ 4 w 366"/>
                <a:gd name="T19" fmla="*/ 4 h 558"/>
                <a:gd name="T20" fmla="*/ 4 w 366"/>
                <a:gd name="T21" fmla="*/ 4 h 558"/>
                <a:gd name="T22" fmla="*/ 4 w 366"/>
                <a:gd name="T23" fmla="*/ 4 h 558"/>
                <a:gd name="T24" fmla="*/ 4 w 366"/>
                <a:gd name="T25" fmla="*/ 4 h 558"/>
                <a:gd name="T26" fmla="*/ 4 w 366"/>
                <a:gd name="T27" fmla="*/ 4 h 558"/>
                <a:gd name="T28" fmla="*/ 4 w 366"/>
                <a:gd name="T29" fmla="*/ 4 h 558"/>
                <a:gd name="T30" fmla="*/ 4 w 366"/>
                <a:gd name="T31" fmla="*/ 4 h 558"/>
                <a:gd name="T32" fmla="*/ 4 w 366"/>
                <a:gd name="T33" fmla="*/ 4 h 558"/>
                <a:gd name="T34" fmla="*/ 4 w 366"/>
                <a:gd name="T35" fmla="*/ 4 h 558"/>
                <a:gd name="T36" fmla="*/ 4 w 366"/>
                <a:gd name="T37" fmla="*/ 4 h 558"/>
                <a:gd name="T38" fmla="*/ 4 w 366"/>
                <a:gd name="T39" fmla="*/ 4 h 558"/>
                <a:gd name="T40" fmla="*/ 4 w 366"/>
                <a:gd name="T41" fmla="*/ 4 h 558"/>
                <a:gd name="T42" fmla="*/ 4 w 366"/>
                <a:gd name="T43" fmla="*/ 5 h 558"/>
                <a:gd name="T44" fmla="*/ 4 w 366"/>
                <a:gd name="T45" fmla="*/ 6 h 558"/>
                <a:gd name="T46" fmla="*/ 4 w 366"/>
                <a:gd name="T47" fmla="*/ 6 h 558"/>
                <a:gd name="T48" fmla="*/ 4 w 366"/>
                <a:gd name="T49" fmla="*/ 6 h 558"/>
                <a:gd name="T50" fmla="*/ 4 w 366"/>
                <a:gd name="T51" fmla="*/ 6 h 558"/>
                <a:gd name="T52" fmla="*/ 4 w 366"/>
                <a:gd name="T53" fmla="*/ 6 h 558"/>
                <a:gd name="T54" fmla="*/ 5 w 366"/>
                <a:gd name="T55" fmla="*/ 7 h 558"/>
                <a:gd name="T56" fmla="*/ 4 w 366"/>
                <a:gd name="T57" fmla="*/ 7 h 558"/>
                <a:gd name="T58" fmla="*/ 4 w 366"/>
                <a:gd name="T59" fmla="*/ 7 h 558"/>
                <a:gd name="T60" fmla="*/ 4 w 366"/>
                <a:gd name="T61" fmla="*/ 7 h 558"/>
                <a:gd name="T62" fmla="*/ 4 w 366"/>
                <a:gd name="T63" fmla="*/ 7 h 558"/>
                <a:gd name="T64" fmla="*/ 4 w 366"/>
                <a:gd name="T65" fmla="*/ 7 h 558"/>
                <a:gd name="T66" fmla="*/ 4 w 366"/>
                <a:gd name="T67" fmla="*/ 8 h 558"/>
                <a:gd name="T68" fmla="*/ 4 w 366"/>
                <a:gd name="T69" fmla="*/ 8 h 558"/>
                <a:gd name="T70" fmla="*/ 4 w 366"/>
                <a:gd name="T71" fmla="*/ 7 h 558"/>
                <a:gd name="T72" fmla="*/ 4 w 366"/>
                <a:gd name="T73" fmla="*/ 7 h 558"/>
                <a:gd name="T74" fmla="*/ 4 w 366"/>
                <a:gd name="T75" fmla="*/ 7 h 558"/>
                <a:gd name="T76" fmla="*/ 4 w 366"/>
                <a:gd name="T77" fmla="*/ 6 h 558"/>
                <a:gd name="T78" fmla="*/ 4 w 366"/>
                <a:gd name="T79" fmla="*/ 5 h 558"/>
                <a:gd name="T80" fmla="*/ 4 w 366"/>
                <a:gd name="T81" fmla="*/ 5 h 558"/>
                <a:gd name="T82" fmla="*/ 4 w 366"/>
                <a:gd name="T83" fmla="*/ 4 h 558"/>
                <a:gd name="T84" fmla="*/ 4 w 366"/>
                <a:gd name="T85" fmla="*/ 4 h 558"/>
                <a:gd name="T86" fmla="*/ 4 w 366"/>
                <a:gd name="T87" fmla="*/ 4 h 558"/>
                <a:gd name="T88" fmla="*/ 4 w 366"/>
                <a:gd name="T89" fmla="*/ 4 h 558"/>
                <a:gd name="T90" fmla="*/ 4 w 366"/>
                <a:gd name="T91" fmla="*/ 4 h 558"/>
                <a:gd name="T92" fmla="*/ 4 w 366"/>
                <a:gd name="T93" fmla="*/ 4 h 558"/>
                <a:gd name="T94" fmla="*/ 4 w 366"/>
                <a:gd name="T95" fmla="*/ 4 h 558"/>
                <a:gd name="T96" fmla="*/ 4 w 366"/>
                <a:gd name="T97" fmla="*/ 4 h 558"/>
                <a:gd name="T98" fmla="*/ 4 w 366"/>
                <a:gd name="T99" fmla="*/ 4 h 55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66" h="558">
                  <a:moveTo>
                    <a:pt x="12" y="84"/>
                  </a:moveTo>
                  <a:lnTo>
                    <a:pt x="24" y="66"/>
                  </a:lnTo>
                  <a:lnTo>
                    <a:pt x="36" y="54"/>
                  </a:lnTo>
                  <a:lnTo>
                    <a:pt x="36" y="42"/>
                  </a:lnTo>
                  <a:lnTo>
                    <a:pt x="24" y="30"/>
                  </a:lnTo>
                  <a:lnTo>
                    <a:pt x="12" y="24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4" y="24"/>
                  </a:lnTo>
                  <a:lnTo>
                    <a:pt x="36" y="30"/>
                  </a:lnTo>
                  <a:lnTo>
                    <a:pt x="48" y="42"/>
                  </a:lnTo>
                  <a:lnTo>
                    <a:pt x="66" y="54"/>
                  </a:lnTo>
                  <a:lnTo>
                    <a:pt x="78" y="78"/>
                  </a:lnTo>
                  <a:lnTo>
                    <a:pt x="90" y="84"/>
                  </a:lnTo>
                  <a:lnTo>
                    <a:pt x="102" y="108"/>
                  </a:lnTo>
                  <a:lnTo>
                    <a:pt x="114" y="132"/>
                  </a:lnTo>
                  <a:lnTo>
                    <a:pt x="126" y="144"/>
                  </a:lnTo>
                  <a:lnTo>
                    <a:pt x="144" y="162"/>
                  </a:lnTo>
                  <a:lnTo>
                    <a:pt x="180" y="186"/>
                  </a:lnTo>
                  <a:lnTo>
                    <a:pt x="180" y="210"/>
                  </a:lnTo>
                  <a:lnTo>
                    <a:pt x="198" y="216"/>
                  </a:lnTo>
                  <a:lnTo>
                    <a:pt x="210" y="216"/>
                  </a:lnTo>
                  <a:lnTo>
                    <a:pt x="222" y="240"/>
                  </a:lnTo>
                  <a:lnTo>
                    <a:pt x="234" y="252"/>
                  </a:lnTo>
                  <a:lnTo>
                    <a:pt x="246" y="264"/>
                  </a:lnTo>
                  <a:lnTo>
                    <a:pt x="276" y="276"/>
                  </a:lnTo>
                  <a:lnTo>
                    <a:pt x="276" y="282"/>
                  </a:lnTo>
                  <a:lnTo>
                    <a:pt x="300" y="294"/>
                  </a:lnTo>
                  <a:lnTo>
                    <a:pt x="312" y="306"/>
                  </a:lnTo>
                  <a:lnTo>
                    <a:pt x="330" y="318"/>
                  </a:lnTo>
                  <a:lnTo>
                    <a:pt x="324" y="318"/>
                  </a:lnTo>
                  <a:lnTo>
                    <a:pt x="312" y="318"/>
                  </a:lnTo>
                  <a:lnTo>
                    <a:pt x="300" y="306"/>
                  </a:lnTo>
                  <a:lnTo>
                    <a:pt x="276" y="294"/>
                  </a:lnTo>
                  <a:lnTo>
                    <a:pt x="270" y="294"/>
                  </a:lnTo>
                  <a:lnTo>
                    <a:pt x="258" y="294"/>
                  </a:lnTo>
                  <a:lnTo>
                    <a:pt x="246" y="306"/>
                  </a:lnTo>
                  <a:lnTo>
                    <a:pt x="234" y="318"/>
                  </a:lnTo>
                  <a:lnTo>
                    <a:pt x="222" y="330"/>
                  </a:lnTo>
                  <a:lnTo>
                    <a:pt x="234" y="336"/>
                  </a:lnTo>
                  <a:lnTo>
                    <a:pt x="246" y="354"/>
                  </a:lnTo>
                  <a:lnTo>
                    <a:pt x="246" y="360"/>
                  </a:lnTo>
                  <a:lnTo>
                    <a:pt x="246" y="372"/>
                  </a:lnTo>
                  <a:lnTo>
                    <a:pt x="246" y="396"/>
                  </a:lnTo>
                  <a:lnTo>
                    <a:pt x="258" y="408"/>
                  </a:lnTo>
                  <a:lnTo>
                    <a:pt x="270" y="414"/>
                  </a:lnTo>
                  <a:lnTo>
                    <a:pt x="276" y="414"/>
                  </a:lnTo>
                  <a:lnTo>
                    <a:pt x="276" y="426"/>
                  </a:lnTo>
                  <a:lnTo>
                    <a:pt x="288" y="438"/>
                  </a:lnTo>
                  <a:lnTo>
                    <a:pt x="300" y="438"/>
                  </a:lnTo>
                  <a:lnTo>
                    <a:pt x="312" y="450"/>
                  </a:lnTo>
                  <a:lnTo>
                    <a:pt x="312" y="462"/>
                  </a:lnTo>
                  <a:lnTo>
                    <a:pt x="342" y="462"/>
                  </a:lnTo>
                  <a:lnTo>
                    <a:pt x="354" y="462"/>
                  </a:lnTo>
                  <a:lnTo>
                    <a:pt x="354" y="474"/>
                  </a:lnTo>
                  <a:lnTo>
                    <a:pt x="366" y="480"/>
                  </a:lnTo>
                  <a:lnTo>
                    <a:pt x="366" y="492"/>
                  </a:lnTo>
                  <a:lnTo>
                    <a:pt x="354" y="504"/>
                  </a:lnTo>
                  <a:lnTo>
                    <a:pt x="354" y="492"/>
                  </a:lnTo>
                  <a:lnTo>
                    <a:pt x="354" y="480"/>
                  </a:lnTo>
                  <a:lnTo>
                    <a:pt x="342" y="492"/>
                  </a:lnTo>
                  <a:lnTo>
                    <a:pt x="330" y="492"/>
                  </a:lnTo>
                  <a:lnTo>
                    <a:pt x="312" y="480"/>
                  </a:lnTo>
                  <a:lnTo>
                    <a:pt x="312" y="492"/>
                  </a:lnTo>
                  <a:lnTo>
                    <a:pt x="312" y="504"/>
                  </a:lnTo>
                  <a:lnTo>
                    <a:pt x="312" y="516"/>
                  </a:lnTo>
                  <a:lnTo>
                    <a:pt x="324" y="528"/>
                  </a:lnTo>
                  <a:lnTo>
                    <a:pt x="324" y="546"/>
                  </a:lnTo>
                  <a:lnTo>
                    <a:pt x="312" y="558"/>
                  </a:lnTo>
                  <a:lnTo>
                    <a:pt x="300" y="558"/>
                  </a:lnTo>
                  <a:lnTo>
                    <a:pt x="288" y="540"/>
                  </a:lnTo>
                  <a:lnTo>
                    <a:pt x="276" y="528"/>
                  </a:lnTo>
                  <a:lnTo>
                    <a:pt x="270" y="516"/>
                  </a:lnTo>
                  <a:lnTo>
                    <a:pt x="270" y="504"/>
                  </a:lnTo>
                  <a:lnTo>
                    <a:pt x="258" y="480"/>
                  </a:lnTo>
                  <a:lnTo>
                    <a:pt x="246" y="474"/>
                  </a:lnTo>
                  <a:lnTo>
                    <a:pt x="234" y="450"/>
                  </a:lnTo>
                  <a:lnTo>
                    <a:pt x="234" y="438"/>
                  </a:lnTo>
                  <a:lnTo>
                    <a:pt x="234" y="426"/>
                  </a:lnTo>
                  <a:lnTo>
                    <a:pt x="222" y="408"/>
                  </a:lnTo>
                  <a:lnTo>
                    <a:pt x="210" y="396"/>
                  </a:lnTo>
                  <a:lnTo>
                    <a:pt x="192" y="384"/>
                  </a:lnTo>
                  <a:lnTo>
                    <a:pt x="192" y="372"/>
                  </a:lnTo>
                  <a:lnTo>
                    <a:pt x="180" y="354"/>
                  </a:lnTo>
                  <a:lnTo>
                    <a:pt x="180" y="330"/>
                  </a:lnTo>
                  <a:lnTo>
                    <a:pt x="168" y="318"/>
                  </a:lnTo>
                  <a:lnTo>
                    <a:pt x="156" y="294"/>
                  </a:lnTo>
                  <a:lnTo>
                    <a:pt x="132" y="28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26" y="210"/>
                  </a:lnTo>
                  <a:lnTo>
                    <a:pt x="102" y="198"/>
                  </a:lnTo>
                  <a:lnTo>
                    <a:pt x="66" y="186"/>
                  </a:lnTo>
                  <a:lnTo>
                    <a:pt x="60" y="174"/>
                  </a:lnTo>
                  <a:lnTo>
                    <a:pt x="48" y="150"/>
                  </a:lnTo>
                  <a:lnTo>
                    <a:pt x="36" y="144"/>
                  </a:lnTo>
                  <a:lnTo>
                    <a:pt x="36" y="132"/>
                  </a:lnTo>
                  <a:lnTo>
                    <a:pt x="36" y="120"/>
                  </a:lnTo>
                  <a:lnTo>
                    <a:pt x="24" y="108"/>
                  </a:lnTo>
                  <a:lnTo>
                    <a:pt x="12" y="8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38" name="Freeform 5">
              <a:extLst>
                <a:ext uri="{FF2B5EF4-FFF2-40B4-BE49-F238E27FC236}">
                  <a16:creationId xmlns:a16="http://schemas.microsoft.com/office/drawing/2014/main" id="{60F73320-0D20-497A-9F19-D53966996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1577"/>
              <a:ext cx="90" cy="69"/>
            </a:xfrm>
            <a:custGeom>
              <a:avLst/>
              <a:gdLst>
                <a:gd name="T0" fmla="*/ 4 w 102"/>
                <a:gd name="T1" fmla="*/ 4 h 78"/>
                <a:gd name="T2" fmla="*/ 4 w 102"/>
                <a:gd name="T3" fmla="*/ 4 h 78"/>
                <a:gd name="T4" fmla="*/ 0 w 102"/>
                <a:gd name="T5" fmla="*/ 4 h 78"/>
                <a:gd name="T6" fmla="*/ 0 w 102"/>
                <a:gd name="T7" fmla="*/ 4 h 78"/>
                <a:gd name="T8" fmla="*/ 4 w 102"/>
                <a:gd name="T9" fmla="*/ 4 h 78"/>
                <a:gd name="T10" fmla="*/ 4 w 102"/>
                <a:gd name="T11" fmla="*/ 4 h 78"/>
                <a:gd name="T12" fmla="*/ 4 w 102"/>
                <a:gd name="T13" fmla="*/ 4 h 78"/>
                <a:gd name="T14" fmla="*/ 4 w 102"/>
                <a:gd name="T15" fmla="*/ 4 h 78"/>
                <a:gd name="T16" fmla="*/ 4 w 102"/>
                <a:gd name="T17" fmla="*/ 4 h 78"/>
                <a:gd name="T18" fmla="*/ 4 w 102"/>
                <a:gd name="T19" fmla="*/ 0 h 78"/>
                <a:gd name="T20" fmla="*/ 4 w 102"/>
                <a:gd name="T21" fmla="*/ 0 h 78"/>
                <a:gd name="T22" fmla="*/ 4 w 102"/>
                <a:gd name="T23" fmla="*/ 4 h 78"/>
                <a:gd name="T24" fmla="*/ 4 w 102"/>
                <a:gd name="T25" fmla="*/ 4 h 78"/>
                <a:gd name="T26" fmla="*/ 4 w 102"/>
                <a:gd name="T27" fmla="*/ 4 h 78"/>
                <a:gd name="T28" fmla="*/ 4 w 102"/>
                <a:gd name="T29" fmla="*/ 4 h 78"/>
                <a:gd name="T30" fmla="*/ 4 w 102"/>
                <a:gd name="T31" fmla="*/ 4 h 78"/>
                <a:gd name="T32" fmla="*/ 4 w 102"/>
                <a:gd name="T33" fmla="*/ 4 h 78"/>
                <a:gd name="T34" fmla="*/ 4 w 102"/>
                <a:gd name="T35" fmla="*/ 4 h 78"/>
                <a:gd name="T36" fmla="*/ 4 w 102"/>
                <a:gd name="T37" fmla="*/ 4 h 78"/>
                <a:gd name="T38" fmla="*/ 4 w 102"/>
                <a:gd name="T39" fmla="*/ 4 h 78"/>
                <a:gd name="T40" fmla="*/ 4 w 102"/>
                <a:gd name="T41" fmla="*/ 4 h 7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02" h="78">
                  <a:moveTo>
                    <a:pt x="24" y="78"/>
                  </a:moveTo>
                  <a:lnTo>
                    <a:pt x="24" y="66"/>
                  </a:lnTo>
                  <a:lnTo>
                    <a:pt x="0" y="66"/>
                  </a:lnTo>
                  <a:lnTo>
                    <a:pt x="0" y="54"/>
                  </a:lnTo>
                  <a:lnTo>
                    <a:pt x="12" y="42"/>
                  </a:lnTo>
                  <a:lnTo>
                    <a:pt x="24" y="30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60" y="12"/>
                  </a:lnTo>
                  <a:lnTo>
                    <a:pt x="66" y="0"/>
                  </a:lnTo>
                  <a:lnTo>
                    <a:pt x="78" y="0"/>
                  </a:lnTo>
                  <a:lnTo>
                    <a:pt x="78" y="12"/>
                  </a:lnTo>
                  <a:lnTo>
                    <a:pt x="90" y="18"/>
                  </a:lnTo>
                  <a:lnTo>
                    <a:pt x="102" y="30"/>
                  </a:lnTo>
                  <a:lnTo>
                    <a:pt x="90" y="42"/>
                  </a:lnTo>
                  <a:lnTo>
                    <a:pt x="90" y="54"/>
                  </a:lnTo>
                  <a:lnTo>
                    <a:pt x="78" y="66"/>
                  </a:lnTo>
                  <a:lnTo>
                    <a:pt x="66" y="66"/>
                  </a:lnTo>
                  <a:lnTo>
                    <a:pt x="48" y="66"/>
                  </a:lnTo>
                  <a:lnTo>
                    <a:pt x="48" y="78"/>
                  </a:lnTo>
                  <a:lnTo>
                    <a:pt x="24" y="7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39" name="Freeform 6">
              <a:extLst>
                <a:ext uri="{FF2B5EF4-FFF2-40B4-BE49-F238E27FC236}">
                  <a16:creationId xmlns:a16="http://schemas.microsoft.com/office/drawing/2014/main" id="{E8575F34-998A-4CD9-A83F-DA8A64EC25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1" y="3849"/>
              <a:ext cx="218" cy="324"/>
            </a:xfrm>
            <a:custGeom>
              <a:avLst/>
              <a:gdLst>
                <a:gd name="T0" fmla="*/ 4 w 218"/>
                <a:gd name="T1" fmla="*/ 240 h 324"/>
                <a:gd name="T2" fmla="*/ 16 w 218"/>
                <a:gd name="T3" fmla="*/ 250 h 324"/>
                <a:gd name="T4" fmla="*/ 6 w 218"/>
                <a:gd name="T5" fmla="*/ 262 h 324"/>
                <a:gd name="T6" fmla="*/ 0 w 218"/>
                <a:gd name="T7" fmla="*/ 274 h 324"/>
                <a:gd name="T8" fmla="*/ 6 w 218"/>
                <a:gd name="T9" fmla="*/ 284 h 324"/>
                <a:gd name="T10" fmla="*/ 34 w 218"/>
                <a:gd name="T11" fmla="*/ 282 h 324"/>
                <a:gd name="T12" fmla="*/ 46 w 218"/>
                <a:gd name="T13" fmla="*/ 280 h 324"/>
                <a:gd name="T14" fmla="*/ 62 w 218"/>
                <a:gd name="T15" fmla="*/ 296 h 324"/>
                <a:gd name="T16" fmla="*/ 72 w 218"/>
                <a:gd name="T17" fmla="*/ 324 h 324"/>
                <a:gd name="T18" fmla="*/ 218 w 218"/>
                <a:gd name="T19" fmla="*/ 324 h 324"/>
                <a:gd name="T20" fmla="*/ 194 w 218"/>
                <a:gd name="T21" fmla="*/ 288 h 324"/>
                <a:gd name="T22" fmla="*/ 176 w 218"/>
                <a:gd name="T23" fmla="*/ 268 h 324"/>
                <a:gd name="T24" fmla="*/ 172 w 218"/>
                <a:gd name="T25" fmla="*/ 228 h 324"/>
                <a:gd name="T26" fmla="*/ 176 w 218"/>
                <a:gd name="T27" fmla="*/ 194 h 324"/>
                <a:gd name="T28" fmla="*/ 176 w 218"/>
                <a:gd name="T29" fmla="*/ 162 h 324"/>
                <a:gd name="T30" fmla="*/ 160 w 218"/>
                <a:gd name="T31" fmla="*/ 140 h 324"/>
                <a:gd name="T32" fmla="*/ 176 w 218"/>
                <a:gd name="T33" fmla="*/ 106 h 324"/>
                <a:gd name="T34" fmla="*/ 170 w 218"/>
                <a:gd name="T35" fmla="*/ 60 h 324"/>
                <a:gd name="T36" fmla="*/ 186 w 218"/>
                <a:gd name="T37" fmla="*/ 24 h 324"/>
                <a:gd name="T38" fmla="*/ 188 w 218"/>
                <a:gd name="T39" fmla="*/ 0 h 324"/>
                <a:gd name="T40" fmla="*/ 170 w 218"/>
                <a:gd name="T41" fmla="*/ 12 h 324"/>
                <a:gd name="T42" fmla="*/ 142 w 218"/>
                <a:gd name="T43" fmla="*/ 54 h 324"/>
                <a:gd name="T44" fmla="*/ 130 w 218"/>
                <a:gd name="T45" fmla="*/ 92 h 324"/>
                <a:gd name="T46" fmla="*/ 106 w 218"/>
                <a:gd name="T47" fmla="*/ 108 h 324"/>
                <a:gd name="T48" fmla="*/ 102 w 218"/>
                <a:gd name="T49" fmla="*/ 120 h 324"/>
                <a:gd name="T50" fmla="*/ 82 w 218"/>
                <a:gd name="T51" fmla="*/ 138 h 324"/>
                <a:gd name="T52" fmla="*/ 58 w 218"/>
                <a:gd name="T53" fmla="*/ 182 h 324"/>
                <a:gd name="T54" fmla="*/ 50 w 218"/>
                <a:gd name="T55" fmla="*/ 194 h 324"/>
                <a:gd name="T56" fmla="*/ 20 w 218"/>
                <a:gd name="T57" fmla="*/ 214 h 324"/>
                <a:gd name="T58" fmla="*/ 8 w 218"/>
                <a:gd name="T59" fmla="*/ 226 h 324"/>
                <a:gd name="T60" fmla="*/ 4 w 218"/>
                <a:gd name="T61" fmla="*/ 240 h 32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18" h="324">
                  <a:moveTo>
                    <a:pt x="4" y="240"/>
                  </a:moveTo>
                  <a:lnTo>
                    <a:pt x="16" y="250"/>
                  </a:lnTo>
                  <a:lnTo>
                    <a:pt x="6" y="262"/>
                  </a:lnTo>
                  <a:lnTo>
                    <a:pt x="0" y="274"/>
                  </a:lnTo>
                  <a:lnTo>
                    <a:pt x="6" y="284"/>
                  </a:lnTo>
                  <a:lnTo>
                    <a:pt x="34" y="282"/>
                  </a:lnTo>
                  <a:lnTo>
                    <a:pt x="46" y="280"/>
                  </a:lnTo>
                  <a:lnTo>
                    <a:pt x="62" y="296"/>
                  </a:lnTo>
                  <a:lnTo>
                    <a:pt x="72" y="324"/>
                  </a:lnTo>
                  <a:lnTo>
                    <a:pt x="218" y="324"/>
                  </a:lnTo>
                  <a:lnTo>
                    <a:pt x="194" y="288"/>
                  </a:lnTo>
                  <a:lnTo>
                    <a:pt x="176" y="268"/>
                  </a:lnTo>
                  <a:lnTo>
                    <a:pt x="172" y="228"/>
                  </a:lnTo>
                  <a:lnTo>
                    <a:pt x="176" y="194"/>
                  </a:lnTo>
                  <a:lnTo>
                    <a:pt x="176" y="162"/>
                  </a:lnTo>
                  <a:lnTo>
                    <a:pt x="160" y="140"/>
                  </a:lnTo>
                  <a:lnTo>
                    <a:pt x="176" y="106"/>
                  </a:lnTo>
                  <a:lnTo>
                    <a:pt x="170" y="60"/>
                  </a:lnTo>
                  <a:lnTo>
                    <a:pt x="186" y="24"/>
                  </a:lnTo>
                  <a:lnTo>
                    <a:pt x="188" y="0"/>
                  </a:lnTo>
                  <a:lnTo>
                    <a:pt x="170" y="12"/>
                  </a:lnTo>
                  <a:lnTo>
                    <a:pt x="142" y="54"/>
                  </a:lnTo>
                  <a:lnTo>
                    <a:pt x="130" y="92"/>
                  </a:lnTo>
                  <a:lnTo>
                    <a:pt x="106" y="108"/>
                  </a:lnTo>
                  <a:lnTo>
                    <a:pt x="102" y="120"/>
                  </a:lnTo>
                  <a:lnTo>
                    <a:pt x="82" y="138"/>
                  </a:lnTo>
                  <a:lnTo>
                    <a:pt x="58" y="182"/>
                  </a:lnTo>
                  <a:lnTo>
                    <a:pt x="50" y="194"/>
                  </a:lnTo>
                  <a:lnTo>
                    <a:pt x="20" y="214"/>
                  </a:lnTo>
                  <a:lnTo>
                    <a:pt x="8" y="226"/>
                  </a:lnTo>
                  <a:lnTo>
                    <a:pt x="4" y="240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0" name="Freeform 7">
              <a:extLst>
                <a:ext uri="{FF2B5EF4-FFF2-40B4-BE49-F238E27FC236}">
                  <a16:creationId xmlns:a16="http://schemas.microsoft.com/office/drawing/2014/main" id="{0506803A-A466-4787-9536-2D26BBD3D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" y="2627"/>
              <a:ext cx="179" cy="349"/>
            </a:xfrm>
            <a:custGeom>
              <a:avLst/>
              <a:gdLst>
                <a:gd name="T0" fmla="*/ 4 w 204"/>
                <a:gd name="T1" fmla="*/ 5 h 396"/>
                <a:gd name="T2" fmla="*/ 4 w 204"/>
                <a:gd name="T3" fmla="*/ 4 h 396"/>
                <a:gd name="T4" fmla="*/ 4 w 204"/>
                <a:gd name="T5" fmla="*/ 4 h 396"/>
                <a:gd name="T6" fmla="*/ 4 w 204"/>
                <a:gd name="T7" fmla="*/ 4 h 396"/>
                <a:gd name="T8" fmla="*/ 4 w 204"/>
                <a:gd name="T9" fmla="*/ 4 h 396"/>
                <a:gd name="T10" fmla="*/ 4 w 204"/>
                <a:gd name="T11" fmla="*/ 4 h 396"/>
                <a:gd name="T12" fmla="*/ 4 w 204"/>
                <a:gd name="T13" fmla="*/ 4 h 396"/>
                <a:gd name="T14" fmla="*/ 4 w 204"/>
                <a:gd name="T15" fmla="*/ 4 h 396"/>
                <a:gd name="T16" fmla="*/ 4 w 204"/>
                <a:gd name="T17" fmla="*/ 4 h 396"/>
                <a:gd name="T18" fmla="*/ 4 w 204"/>
                <a:gd name="T19" fmla="*/ 4 h 396"/>
                <a:gd name="T20" fmla="*/ 4 w 204"/>
                <a:gd name="T21" fmla="*/ 4 h 396"/>
                <a:gd name="T22" fmla="*/ 4 w 204"/>
                <a:gd name="T23" fmla="*/ 4 h 396"/>
                <a:gd name="T24" fmla="*/ 4 w 204"/>
                <a:gd name="T25" fmla="*/ 4 h 396"/>
                <a:gd name="T26" fmla="*/ 4 w 204"/>
                <a:gd name="T27" fmla="*/ 0 h 396"/>
                <a:gd name="T28" fmla="*/ 4 w 204"/>
                <a:gd name="T29" fmla="*/ 4 h 396"/>
                <a:gd name="T30" fmla="*/ 4 w 204"/>
                <a:gd name="T31" fmla="*/ 4 h 396"/>
                <a:gd name="T32" fmla="*/ 4 w 204"/>
                <a:gd name="T33" fmla="*/ 4 h 396"/>
                <a:gd name="T34" fmla="*/ 4 w 204"/>
                <a:gd name="T35" fmla="*/ 4 h 396"/>
                <a:gd name="T36" fmla="*/ 4 w 204"/>
                <a:gd name="T37" fmla="*/ 4 h 396"/>
                <a:gd name="T38" fmla="*/ 4 w 204"/>
                <a:gd name="T39" fmla="*/ 4 h 396"/>
                <a:gd name="T40" fmla="*/ 4 w 204"/>
                <a:gd name="T41" fmla="*/ 4 h 396"/>
                <a:gd name="T42" fmla="*/ 4 w 204"/>
                <a:gd name="T43" fmla="*/ 4 h 396"/>
                <a:gd name="T44" fmla="*/ 4 w 204"/>
                <a:gd name="T45" fmla="*/ 4 h 396"/>
                <a:gd name="T46" fmla="*/ 4 w 204"/>
                <a:gd name="T47" fmla="*/ 4 h 396"/>
                <a:gd name="T48" fmla="*/ 4 w 204"/>
                <a:gd name="T49" fmla="*/ 4 h 396"/>
                <a:gd name="T50" fmla="*/ 4 w 204"/>
                <a:gd name="T51" fmla="*/ 4 h 396"/>
                <a:gd name="T52" fmla="*/ 0 w 204"/>
                <a:gd name="T53" fmla="*/ 4 h 396"/>
                <a:gd name="T54" fmla="*/ 4 w 204"/>
                <a:gd name="T55" fmla="*/ 4 h 396"/>
                <a:gd name="T56" fmla="*/ 4 w 204"/>
                <a:gd name="T57" fmla="*/ 4 h 396"/>
                <a:gd name="T58" fmla="*/ 4 w 204"/>
                <a:gd name="T59" fmla="*/ 4 h 396"/>
                <a:gd name="T60" fmla="*/ 4 w 204"/>
                <a:gd name="T61" fmla="*/ 4 h 396"/>
                <a:gd name="T62" fmla="*/ 4 w 204"/>
                <a:gd name="T63" fmla="*/ 4 h 396"/>
                <a:gd name="T64" fmla="*/ 4 w 204"/>
                <a:gd name="T65" fmla="*/ 4 h 396"/>
                <a:gd name="T66" fmla="*/ 4 w 204"/>
                <a:gd name="T67" fmla="*/ 4 h 396"/>
                <a:gd name="T68" fmla="*/ 4 w 204"/>
                <a:gd name="T69" fmla="*/ 4 h 396"/>
                <a:gd name="T70" fmla="*/ 4 w 204"/>
                <a:gd name="T71" fmla="*/ 4 h 396"/>
                <a:gd name="T72" fmla="*/ 4 w 204"/>
                <a:gd name="T73" fmla="*/ 4 h 396"/>
                <a:gd name="T74" fmla="*/ 4 w 204"/>
                <a:gd name="T75" fmla="*/ 4 h 396"/>
                <a:gd name="T76" fmla="*/ 4 w 204"/>
                <a:gd name="T77" fmla="*/ 4 h 396"/>
                <a:gd name="T78" fmla="*/ 4 w 204"/>
                <a:gd name="T79" fmla="*/ 4 h 396"/>
                <a:gd name="T80" fmla="*/ 4 w 204"/>
                <a:gd name="T81" fmla="*/ 4 h 396"/>
                <a:gd name="T82" fmla="*/ 4 w 204"/>
                <a:gd name="T83" fmla="*/ 5 h 396"/>
                <a:gd name="T84" fmla="*/ 4 w 204"/>
                <a:gd name="T85" fmla="*/ 5 h 396"/>
                <a:gd name="T86" fmla="*/ 4 w 204"/>
                <a:gd name="T87" fmla="*/ 5 h 396"/>
                <a:gd name="T88" fmla="*/ 4 w 204"/>
                <a:gd name="T89" fmla="*/ 6 h 396"/>
                <a:gd name="T90" fmla="*/ 4 w 204"/>
                <a:gd name="T91" fmla="*/ 6 h 396"/>
                <a:gd name="T92" fmla="*/ 4 w 204"/>
                <a:gd name="T93" fmla="*/ 5 h 396"/>
                <a:gd name="T94" fmla="*/ 4 w 204"/>
                <a:gd name="T95" fmla="*/ 5 h 396"/>
                <a:gd name="T96" fmla="*/ 4 w 204"/>
                <a:gd name="T97" fmla="*/ 5 h 396"/>
                <a:gd name="T98" fmla="*/ 4 w 204"/>
                <a:gd name="T99" fmla="*/ 5 h 39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204" h="396">
                  <a:moveTo>
                    <a:pt x="204" y="354"/>
                  </a:moveTo>
                  <a:lnTo>
                    <a:pt x="192" y="336"/>
                  </a:lnTo>
                  <a:lnTo>
                    <a:pt x="192" y="324"/>
                  </a:lnTo>
                  <a:lnTo>
                    <a:pt x="198" y="300"/>
                  </a:lnTo>
                  <a:lnTo>
                    <a:pt x="186" y="264"/>
                  </a:lnTo>
                  <a:lnTo>
                    <a:pt x="186" y="240"/>
                  </a:lnTo>
                  <a:lnTo>
                    <a:pt x="168" y="210"/>
                  </a:lnTo>
                  <a:lnTo>
                    <a:pt x="162" y="192"/>
                  </a:lnTo>
                  <a:lnTo>
                    <a:pt x="144" y="168"/>
                  </a:lnTo>
                  <a:lnTo>
                    <a:pt x="132" y="120"/>
                  </a:lnTo>
                  <a:lnTo>
                    <a:pt x="108" y="90"/>
                  </a:lnTo>
                  <a:lnTo>
                    <a:pt x="96" y="54"/>
                  </a:lnTo>
                  <a:lnTo>
                    <a:pt x="84" y="24"/>
                  </a:lnTo>
                  <a:lnTo>
                    <a:pt x="78" y="0"/>
                  </a:lnTo>
                  <a:lnTo>
                    <a:pt x="66" y="24"/>
                  </a:lnTo>
                  <a:lnTo>
                    <a:pt x="66" y="36"/>
                  </a:lnTo>
                  <a:lnTo>
                    <a:pt x="66" y="48"/>
                  </a:lnTo>
                  <a:lnTo>
                    <a:pt x="78" y="54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66" y="90"/>
                  </a:lnTo>
                  <a:lnTo>
                    <a:pt x="66" y="114"/>
                  </a:lnTo>
                  <a:lnTo>
                    <a:pt x="42" y="120"/>
                  </a:lnTo>
                  <a:lnTo>
                    <a:pt x="42" y="132"/>
                  </a:lnTo>
                  <a:lnTo>
                    <a:pt x="30" y="144"/>
                  </a:lnTo>
                  <a:lnTo>
                    <a:pt x="18" y="156"/>
                  </a:lnTo>
                  <a:lnTo>
                    <a:pt x="0" y="156"/>
                  </a:lnTo>
                  <a:lnTo>
                    <a:pt x="12" y="168"/>
                  </a:lnTo>
                  <a:lnTo>
                    <a:pt x="18" y="192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42" y="264"/>
                  </a:lnTo>
                  <a:lnTo>
                    <a:pt x="54" y="276"/>
                  </a:lnTo>
                  <a:lnTo>
                    <a:pt x="72" y="288"/>
                  </a:lnTo>
                  <a:lnTo>
                    <a:pt x="72" y="300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26" y="324"/>
                  </a:lnTo>
                  <a:lnTo>
                    <a:pt x="126" y="360"/>
                  </a:lnTo>
                  <a:lnTo>
                    <a:pt x="144" y="354"/>
                  </a:lnTo>
                  <a:lnTo>
                    <a:pt x="162" y="384"/>
                  </a:lnTo>
                  <a:lnTo>
                    <a:pt x="162" y="396"/>
                  </a:lnTo>
                  <a:lnTo>
                    <a:pt x="174" y="396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86" y="366"/>
                  </a:lnTo>
                  <a:lnTo>
                    <a:pt x="204" y="35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1" name="Freeform 8">
              <a:extLst>
                <a:ext uri="{FF2B5EF4-FFF2-40B4-BE49-F238E27FC236}">
                  <a16:creationId xmlns:a16="http://schemas.microsoft.com/office/drawing/2014/main" id="{BE6D1F3E-194D-4C81-B26F-994B86BDF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" y="2522"/>
              <a:ext cx="4513" cy="1652"/>
            </a:xfrm>
            <a:custGeom>
              <a:avLst/>
              <a:gdLst>
                <a:gd name="T0" fmla="*/ 4513 w 4513"/>
                <a:gd name="T1" fmla="*/ 1082 h 1652"/>
                <a:gd name="T2" fmla="*/ 4244 w 4513"/>
                <a:gd name="T3" fmla="*/ 771 h 1652"/>
                <a:gd name="T4" fmla="*/ 3473 w 4513"/>
                <a:gd name="T5" fmla="*/ 707 h 1652"/>
                <a:gd name="T6" fmla="*/ 913 w 4513"/>
                <a:gd name="T7" fmla="*/ 955 h 1652"/>
                <a:gd name="T8" fmla="*/ 480 w 4513"/>
                <a:gd name="T9" fmla="*/ 908 h 1652"/>
                <a:gd name="T10" fmla="*/ 464 w 4513"/>
                <a:gd name="T11" fmla="*/ 924 h 1652"/>
                <a:gd name="T12" fmla="*/ 443 w 4513"/>
                <a:gd name="T13" fmla="*/ 929 h 1652"/>
                <a:gd name="T14" fmla="*/ 422 w 4513"/>
                <a:gd name="T15" fmla="*/ 918 h 1652"/>
                <a:gd name="T16" fmla="*/ 412 w 4513"/>
                <a:gd name="T17" fmla="*/ 903 h 1652"/>
                <a:gd name="T18" fmla="*/ 422 w 4513"/>
                <a:gd name="T19" fmla="*/ 897 h 1652"/>
                <a:gd name="T20" fmla="*/ 417 w 4513"/>
                <a:gd name="T21" fmla="*/ 892 h 1652"/>
                <a:gd name="T22" fmla="*/ 391 w 4513"/>
                <a:gd name="T23" fmla="*/ 881 h 1652"/>
                <a:gd name="T24" fmla="*/ 369 w 4513"/>
                <a:gd name="T25" fmla="*/ 881 h 1652"/>
                <a:gd name="T26" fmla="*/ 348 w 4513"/>
                <a:gd name="T27" fmla="*/ 876 h 1652"/>
                <a:gd name="T28" fmla="*/ 317 w 4513"/>
                <a:gd name="T29" fmla="*/ 839 h 1652"/>
                <a:gd name="T30" fmla="*/ 327 w 4513"/>
                <a:gd name="T31" fmla="*/ 797 h 1652"/>
                <a:gd name="T32" fmla="*/ 317 w 4513"/>
                <a:gd name="T33" fmla="*/ 765 h 1652"/>
                <a:gd name="T34" fmla="*/ 306 w 4513"/>
                <a:gd name="T35" fmla="*/ 749 h 1652"/>
                <a:gd name="T36" fmla="*/ 296 w 4513"/>
                <a:gd name="T37" fmla="*/ 749 h 1652"/>
                <a:gd name="T38" fmla="*/ 296 w 4513"/>
                <a:gd name="T39" fmla="*/ 744 h 1652"/>
                <a:gd name="T40" fmla="*/ 290 w 4513"/>
                <a:gd name="T41" fmla="*/ 728 h 1652"/>
                <a:gd name="T42" fmla="*/ 301 w 4513"/>
                <a:gd name="T43" fmla="*/ 713 h 1652"/>
                <a:gd name="T44" fmla="*/ 301 w 4513"/>
                <a:gd name="T45" fmla="*/ 702 h 1652"/>
                <a:gd name="T46" fmla="*/ 306 w 4513"/>
                <a:gd name="T47" fmla="*/ 691 h 1652"/>
                <a:gd name="T48" fmla="*/ 317 w 4513"/>
                <a:gd name="T49" fmla="*/ 681 h 1652"/>
                <a:gd name="T50" fmla="*/ 333 w 4513"/>
                <a:gd name="T51" fmla="*/ 623 h 1652"/>
                <a:gd name="T52" fmla="*/ 301 w 4513"/>
                <a:gd name="T53" fmla="*/ 417 h 1652"/>
                <a:gd name="T54" fmla="*/ 238 w 4513"/>
                <a:gd name="T55" fmla="*/ 243 h 1652"/>
                <a:gd name="T56" fmla="*/ 201 w 4513"/>
                <a:gd name="T57" fmla="*/ 232 h 1652"/>
                <a:gd name="T58" fmla="*/ 185 w 4513"/>
                <a:gd name="T59" fmla="*/ 222 h 1652"/>
                <a:gd name="T60" fmla="*/ 158 w 4513"/>
                <a:gd name="T61" fmla="*/ 222 h 1652"/>
                <a:gd name="T62" fmla="*/ 132 w 4513"/>
                <a:gd name="T63" fmla="*/ 216 h 1652"/>
                <a:gd name="T64" fmla="*/ 116 w 4513"/>
                <a:gd name="T65" fmla="*/ 211 h 1652"/>
                <a:gd name="T66" fmla="*/ 106 w 4513"/>
                <a:gd name="T67" fmla="*/ 169 h 1652"/>
                <a:gd name="T68" fmla="*/ 74 w 4513"/>
                <a:gd name="T69" fmla="*/ 158 h 1652"/>
                <a:gd name="T70" fmla="*/ 63 w 4513"/>
                <a:gd name="T71" fmla="*/ 137 h 1652"/>
                <a:gd name="T72" fmla="*/ 42 w 4513"/>
                <a:gd name="T73" fmla="*/ 106 h 1652"/>
                <a:gd name="T74" fmla="*/ 42 w 4513"/>
                <a:gd name="T75" fmla="*/ 53 h 1652"/>
                <a:gd name="T76" fmla="*/ 0 w 4513"/>
                <a:gd name="T77" fmla="*/ 0 h 1652"/>
                <a:gd name="T78" fmla="*/ 4139 w 4513"/>
                <a:gd name="T79" fmla="*/ 1651 h 1652"/>
                <a:gd name="T80" fmla="*/ 4157 w 4513"/>
                <a:gd name="T81" fmla="*/ 1631 h 1652"/>
                <a:gd name="T82" fmla="*/ 4177 w 4513"/>
                <a:gd name="T83" fmla="*/ 1603 h 1652"/>
                <a:gd name="T84" fmla="*/ 4217 w 4513"/>
                <a:gd name="T85" fmla="*/ 1567 h 1652"/>
                <a:gd name="T86" fmla="*/ 4253 w 4513"/>
                <a:gd name="T87" fmla="*/ 1537 h 1652"/>
                <a:gd name="T88" fmla="*/ 4279 w 4513"/>
                <a:gd name="T89" fmla="*/ 1503 h 1652"/>
                <a:gd name="T90" fmla="*/ 4311 w 4513"/>
                <a:gd name="T91" fmla="*/ 1453 h 1652"/>
                <a:gd name="T92" fmla="*/ 4331 w 4513"/>
                <a:gd name="T93" fmla="*/ 1429 h 1652"/>
                <a:gd name="T94" fmla="*/ 4353 w 4513"/>
                <a:gd name="T95" fmla="*/ 1399 h 1652"/>
                <a:gd name="T96" fmla="*/ 4415 w 4513"/>
                <a:gd name="T97" fmla="*/ 1263 h 165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13" h="1652">
                  <a:moveTo>
                    <a:pt x="4415" y="1263"/>
                  </a:moveTo>
                  <a:lnTo>
                    <a:pt x="4513" y="1082"/>
                  </a:lnTo>
                  <a:lnTo>
                    <a:pt x="4439" y="903"/>
                  </a:lnTo>
                  <a:lnTo>
                    <a:pt x="4244" y="771"/>
                  </a:lnTo>
                  <a:lnTo>
                    <a:pt x="3785" y="602"/>
                  </a:lnTo>
                  <a:lnTo>
                    <a:pt x="3473" y="707"/>
                  </a:lnTo>
                  <a:lnTo>
                    <a:pt x="2096" y="844"/>
                  </a:lnTo>
                  <a:lnTo>
                    <a:pt x="913" y="955"/>
                  </a:lnTo>
                  <a:lnTo>
                    <a:pt x="486" y="892"/>
                  </a:lnTo>
                  <a:lnTo>
                    <a:pt x="480" y="908"/>
                  </a:lnTo>
                  <a:lnTo>
                    <a:pt x="480" y="913"/>
                  </a:lnTo>
                  <a:lnTo>
                    <a:pt x="464" y="924"/>
                  </a:lnTo>
                  <a:lnTo>
                    <a:pt x="459" y="929"/>
                  </a:lnTo>
                  <a:lnTo>
                    <a:pt x="443" y="929"/>
                  </a:lnTo>
                  <a:lnTo>
                    <a:pt x="428" y="924"/>
                  </a:lnTo>
                  <a:lnTo>
                    <a:pt x="422" y="918"/>
                  </a:lnTo>
                  <a:lnTo>
                    <a:pt x="412" y="903"/>
                  </a:lnTo>
                  <a:lnTo>
                    <a:pt x="422" y="897"/>
                  </a:lnTo>
                  <a:lnTo>
                    <a:pt x="422" y="892"/>
                  </a:lnTo>
                  <a:lnTo>
                    <a:pt x="417" y="892"/>
                  </a:lnTo>
                  <a:lnTo>
                    <a:pt x="401" y="887"/>
                  </a:lnTo>
                  <a:lnTo>
                    <a:pt x="391" y="881"/>
                  </a:lnTo>
                  <a:lnTo>
                    <a:pt x="380" y="881"/>
                  </a:lnTo>
                  <a:lnTo>
                    <a:pt x="369" y="881"/>
                  </a:lnTo>
                  <a:lnTo>
                    <a:pt x="359" y="881"/>
                  </a:lnTo>
                  <a:lnTo>
                    <a:pt x="348" y="876"/>
                  </a:lnTo>
                  <a:lnTo>
                    <a:pt x="333" y="855"/>
                  </a:lnTo>
                  <a:lnTo>
                    <a:pt x="317" y="839"/>
                  </a:lnTo>
                  <a:lnTo>
                    <a:pt x="317" y="829"/>
                  </a:lnTo>
                  <a:lnTo>
                    <a:pt x="327" y="797"/>
                  </a:lnTo>
                  <a:lnTo>
                    <a:pt x="322" y="776"/>
                  </a:lnTo>
                  <a:lnTo>
                    <a:pt x="317" y="765"/>
                  </a:lnTo>
                  <a:lnTo>
                    <a:pt x="306" y="755"/>
                  </a:lnTo>
                  <a:lnTo>
                    <a:pt x="306" y="749"/>
                  </a:lnTo>
                  <a:lnTo>
                    <a:pt x="301" y="749"/>
                  </a:lnTo>
                  <a:lnTo>
                    <a:pt x="296" y="749"/>
                  </a:lnTo>
                  <a:lnTo>
                    <a:pt x="296" y="744"/>
                  </a:lnTo>
                  <a:lnTo>
                    <a:pt x="285" y="728"/>
                  </a:lnTo>
                  <a:lnTo>
                    <a:pt x="290" y="728"/>
                  </a:lnTo>
                  <a:lnTo>
                    <a:pt x="296" y="723"/>
                  </a:lnTo>
                  <a:lnTo>
                    <a:pt x="301" y="713"/>
                  </a:lnTo>
                  <a:lnTo>
                    <a:pt x="296" y="707"/>
                  </a:lnTo>
                  <a:lnTo>
                    <a:pt x="301" y="702"/>
                  </a:lnTo>
                  <a:lnTo>
                    <a:pt x="306" y="697"/>
                  </a:lnTo>
                  <a:lnTo>
                    <a:pt x="306" y="691"/>
                  </a:lnTo>
                  <a:lnTo>
                    <a:pt x="311" y="686"/>
                  </a:lnTo>
                  <a:lnTo>
                    <a:pt x="317" y="681"/>
                  </a:lnTo>
                  <a:lnTo>
                    <a:pt x="333" y="665"/>
                  </a:lnTo>
                  <a:lnTo>
                    <a:pt x="333" y="623"/>
                  </a:lnTo>
                  <a:lnTo>
                    <a:pt x="385" y="581"/>
                  </a:lnTo>
                  <a:lnTo>
                    <a:pt x="301" y="417"/>
                  </a:lnTo>
                  <a:lnTo>
                    <a:pt x="290" y="259"/>
                  </a:lnTo>
                  <a:lnTo>
                    <a:pt x="238" y="243"/>
                  </a:lnTo>
                  <a:lnTo>
                    <a:pt x="216" y="238"/>
                  </a:lnTo>
                  <a:lnTo>
                    <a:pt x="201" y="232"/>
                  </a:lnTo>
                  <a:lnTo>
                    <a:pt x="201" y="227"/>
                  </a:lnTo>
                  <a:lnTo>
                    <a:pt x="185" y="222"/>
                  </a:lnTo>
                  <a:lnTo>
                    <a:pt x="179" y="222"/>
                  </a:lnTo>
                  <a:lnTo>
                    <a:pt x="158" y="222"/>
                  </a:lnTo>
                  <a:lnTo>
                    <a:pt x="137" y="216"/>
                  </a:lnTo>
                  <a:lnTo>
                    <a:pt x="132" y="216"/>
                  </a:lnTo>
                  <a:lnTo>
                    <a:pt x="121" y="211"/>
                  </a:lnTo>
                  <a:lnTo>
                    <a:pt x="116" y="211"/>
                  </a:lnTo>
                  <a:lnTo>
                    <a:pt x="116" y="190"/>
                  </a:lnTo>
                  <a:lnTo>
                    <a:pt x="106" y="169"/>
                  </a:lnTo>
                  <a:lnTo>
                    <a:pt x="84" y="169"/>
                  </a:lnTo>
                  <a:lnTo>
                    <a:pt x="74" y="158"/>
                  </a:lnTo>
                  <a:lnTo>
                    <a:pt x="74" y="148"/>
                  </a:lnTo>
                  <a:lnTo>
                    <a:pt x="63" y="137"/>
                  </a:lnTo>
                  <a:lnTo>
                    <a:pt x="53" y="116"/>
                  </a:lnTo>
                  <a:lnTo>
                    <a:pt x="42" y="106"/>
                  </a:lnTo>
                  <a:lnTo>
                    <a:pt x="42" y="84"/>
                  </a:lnTo>
                  <a:lnTo>
                    <a:pt x="42" y="53"/>
                  </a:lnTo>
                  <a:lnTo>
                    <a:pt x="21" y="42"/>
                  </a:lnTo>
                  <a:lnTo>
                    <a:pt x="0" y="0"/>
                  </a:lnTo>
                  <a:lnTo>
                    <a:pt x="0" y="1652"/>
                  </a:lnTo>
                  <a:lnTo>
                    <a:pt x="4139" y="1651"/>
                  </a:lnTo>
                  <a:lnTo>
                    <a:pt x="4143" y="1639"/>
                  </a:lnTo>
                  <a:lnTo>
                    <a:pt x="4157" y="1631"/>
                  </a:lnTo>
                  <a:lnTo>
                    <a:pt x="4171" y="1619"/>
                  </a:lnTo>
                  <a:lnTo>
                    <a:pt x="4177" y="1603"/>
                  </a:lnTo>
                  <a:lnTo>
                    <a:pt x="4189" y="1577"/>
                  </a:lnTo>
                  <a:lnTo>
                    <a:pt x="4217" y="1567"/>
                  </a:lnTo>
                  <a:lnTo>
                    <a:pt x="4241" y="1545"/>
                  </a:lnTo>
                  <a:lnTo>
                    <a:pt x="4253" y="1537"/>
                  </a:lnTo>
                  <a:lnTo>
                    <a:pt x="4271" y="1521"/>
                  </a:lnTo>
                  <a:lnTo>
                    <a:pt x="4279" y="1503"/>
                  </a:lnTo>
                  <a:lnTo>
                    <a:pt x="4291" y="1479"/>
                  </a:lnTo>
                  <a:lnTo>
                    <a:pt x="4311" y="1453"/>
                  </a:lnTo>
                  <a:lnTo>
                    <a:pt x="4323" y="1447"/>
                  </a:lnTo>
                  <a:lnTo>
                    <a:pt x="4331" y="1429"/>
                  </a:lnTo>
                  <a:lnTo>
                    <a:pt x="4349" y="1421"/>
                  </a:lnTo>
                  <a:lnTo>
                    <a:pt x="4353" y="1399"/>
                  </a:lnTo>
                  <a:lnTo>
                    <a:pt x="4373" y="1361"/>
                  </a:lnTo>
                  <a:lnTo>
                    <a:pt x="4415" y="1263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2" name="Freeform 9">
              <a:extLst>
                <a:ext uri="{FF2B5EF4-FFF2-40B4-BE49-F238E27FC236}">
                  <a16:creationId xmlns:a16="http://schemas.microsoft.com/office/drawing/2014/main" id="{9CD806C4-C0F6-476A-A139-CB6E5C331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" y="2607"/>
              <a:ext cx="1694" cy="1267"/>
            </a:xfrm>
            <a:custGeom>
              <a:avLst/>
              <a:gdLst>
                <a:gd name="T0" fmla="*/ 343 w 1694"/>
                <a:gd name="T1" fmla="*/ 517 h 1267"/>
                <a:gd name="T2" fmla="*/ 459 w 1694"/>
                <a:gd name="T3" fmla="*/ 676 h 1267"/>
                <a:gd name="T4" fmla="*/ 580 w 1694"/>
                <a:gd name="T5" fmla="*/ 808 h 1267"/>
                <a:gd name="T6" fmla="*/ 591 w 1694"/>
                <a:gd name="T7" fmla="*/ 913 h 1267"/>
                <a:gd name="T8" fmla="*/ 554 w 1694"/>
                <a:gd name="T9" fmla="*/ 1014 h 1267"/>
                <a:gd name="T10" fmla="*/ 649 w 1694"/>
                <a:gd name="T11" fmla="*/ 1072 h 1267"/>
                <a:gd name="T12" fmla="*/ 813 w 1694"/>
                <a:gd name="T13" fmla="*/ 1051 h 1267"/>
                <a:gd name="T14" fmla="*/ 902 w 1694"/>
                <a:gd name="T15" fmla="*/ 1088 h 1267"/>
                <a:gd name="T16" fmla="*/ 977 w 1694"/>
                <a:gd name="T17" fmla="*/ 1076 h 1267"/>
                <a:gd name="T18" fmla="*/ 1077 w 1694"/>
                <a:gd name="T19" fmla="*/ 1151 h 1267"/>
                <a:gd name="T20" fmla="*/ 1193 w 1694"/>
                <a:gd name="T21" fmla="*/ 1225 h 1267"/>
                <a:gd name="T22" fmla="*/ 1261 w 1694"/>
                <a:gd name="T23" fmla="*/ 1225 h 1267"/>
                <a:gd name="T24" fmla="*/ 1267 w 1694"/>
                <a:gd name="T25" fmla="*/ 1088 h 1267"/>
                <a:gd name="T26" fmla="*/ 1393 w 1694"/>
                <a:gd name="T27" fmla="*/ 1109 h 1267"/>
                <a:gd name="T28" fmla="*/ 1472 w 1694"/>
                <a:gd name="T29" fmla="*/ 1003 h 1267"/>
                <a:gd name="T30" fmla="*/ 1567 w 1694"/>
                <a:gd name="T31" fmla="*/ 1029 h 1267"/>
                <a:gd name="T32" fmla="*/ 1657 w 1694"/>
                <a:gd name="T33" fmla="*/ 956 h 1267"/>
                <a:gd name="T34" fmla="*/ 1625 w 1694"/>
                <a:gd name="T35" fmla="*/ 876 h 1267"/>
                <a:gd name="T36" fmla="*/ 1562 w 1694"/>
                <a:gd name="T37" fmla="*/ 760 h 1267"/>
                <a:gd name="T38" fmla="*/ 1464 w 1694"/>
                <a:gd name="T39" fmla="*/ 707 h 1267"/>
                <a:gd name="T40" fmla="*/ 1414 w 1694"/>
                <a:gd name="T41" fmla="*/ 586 h 1267"/>
                <a:gd name="T42" fmla="*/ 1346 w 1694"/>
                <a:gd name="T43" fmla="*/ 470 h 1267"/>
                <a:gd name="T44" fmla="*/ 1267 w 1694"/>
                <a:gd name="T45" fmla="*/ 459 h 1267"/>
                <a:gd name="T46" fmla="*/ 1193 w 1694"/>
                <a:gd name="T47" fmla="*/ 412 h 1267"/>
                <a:gd name="T48" fmla="*/ 1166 w 1694"/>
                <a:gd name="T49" fmla="*/ 296 h 1267"/>
                <a:gd name="T50" fmla="*/ 1066 w 1694"/>
                <a:gd name="T51" fmla="*/ 269 h 1267"/>
                <a:gd name="T52" fmla="*/ 982 w 1694"/>
                <a:gd name="T53" fmla="*/ 248 h 1267"/>
                <a:gd name="T54" fmla="*/ 834 w 1694"/>
                <a:gd name="T55" fmla="*/ 211 h 1267"/>
                <a:gd name="T56" fmla="*/ 786 w 1694"/>
                <a:gd name="T57" fmla="*/ 248 h 1267"/>
                <a:gd name="T58" fmla="*/ 728 w 1694"/>
                <a:gd name="T59" fmla="*/ 296 h 1267"/>
                <a:gd name="T60" fmla="*/ 687 w 1694"/>
                <a:gd name="T61" fmla="*/ 329 h 1267"/>
                <a:gd name="T62" fmla="*/ 633 w 1694"/>
                <a:gd name="T63" fmla="*/ 275 h 1267"/>
                <a:gd name="T64" fmla="*/ 507 w 1694"/>
                <a:gd name="T65" fmla="*/ 201 h 1267"/>
                <a:gd name="T66" fmla="*/ 475 w 1694"/>
                <a:gd name="T67" fmla="*/ 95 h 1267"/>
                <a:gd name="T68" fmla="*/ 332 w 1694"/>
                <a:gd name="T69" fmla="*/ 48 h 1267"/>
                <a:gd name="T70" fmla="*/ 253 w 1694"/>
                <a:gd name="T71" fmla="*/ 53 h 1267"/>
                <a:gd name="T72" fmla="*/ 185 w 1694"/>
                <a:gd name="T73" fmla="*/ 27 h 1267"/>
                <a:gd name="T74" fmla="*/ 137 w 1694"/>
                <a:gd name="T75" fmla="*/ 85 h 1267"/>
                <a:gd name="T76" fmla="*/ 127 w 1694"/>
                <a:gd name="T77" fmla="*/ 201 h 1267"/>
                <a:gd name="T78" fmla="*/ 174 w 1694"/>
                <a:gd name="T79" fmla="*/ 248 h 1267"/>
                <a:gd name="T80" fmla="*/ 243 w 1694"/>
                <a:gd name="T81" fmla="*/ 317 h 1267"/>
                <a:gd name="T82" fmla="*/ 206 w 1694"/>
                <a:gd name="T83" fmla="*/ 385 h 1267"/>
                <a:gd name="T84" fmla="*/ 100 w 1694"/>
                <a:gd name="T85" fmla="*/ 364 h 1267"/>
                <a:gd name="T86" fmla="*/ 53 w 1694"/>
                <a:gd name="T87" fmla="*/ 354 h 1267"/>
                <a:gd name="T88" fmla="*/ 32 w 1694"/>
                <a:gd name="T89" fmla="*/ 459 h 1267"/>
                <a:gd name="T90" fmla="*/ 0 w 1694"/>
                <a:gd name="T91" fmla="*/ 539 h 1267"/>
                <a:gd name="T92" fmla="*/ 84 w 1694"/>
                <a:gd name="T93" fmla="*/ 656 h 126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94" h="1267">
                  <a:moveTo>
                    <a:pt x="116" y="681"/>
                  </a:moveTo>
                  <a:lnTo>
                    <a:pt x="274" y="507"/>
                  </a:lnTo>
                  <a:lnTo>
                    <a:pt x="343" y="517"/>
                  </a:lnTo>
                  <a:lnTo>
                    <a:pt x="396" y="549"/>
                  </a:lnTo>
                  <a:lnTo>
                    <a:pt x="427" y="560"/>
                  </a:lnTo>
                  <a:lnTo>
                    <a:pt x="459" y="676"/>
                  </a:lnTo>
                  <a:lnTo>
                    <a:pt x="459" y="729"/>
                  </a:lnTo>
                  <a:lnTo>
                    <a:pt x="554" y="818"/>
                  </a:lnTo>
                  <a:lnTo>
                    <a:pt x="580" y="808"/>
                  </a:lnTo>
                  <a:lnTo>
                    <a:pt x="591" y="850"/>
                  </a:lnTo>
                  <a:lnTo>
                    <a:pt x="602" y="876"/>
                  </a:lnTo>
                  <a:lnTo>
                    <a:pt x="591" y="913"/>
                  </a:lnTo>
                  <a:lnTo>
                    <a:pt x="565" y="934"/>
                  </a:lnTo>
                  <a:lnTo>
                    <a:pt x="580" y="961"/>
                  </a:lnTo>
                  <a:lnTo>
                    <a:pt x="554" y="1014"/>
                  </a:lnTo>
                  <a:lnTo>
                    <a:pt x="623" y="1040"/>
                  </a:lnTo>
                  <a:lnTo>
                    <a:pt x="612" y="1072"/>
                  </a:lnTo>
                  <a:lnTo>
                    <a:pt x="649" y="1072"/>
                  </a:lnTo>
                  <a:lnTo>
                    <a:pt x="749" y="1061"/>
                  </a:lnTo>
                  <a:lnTo>
                    <a:pt x="786" y="1061"/>
                  </a:lnTo>
                  <a:lnTo>
                    <a:pt x="813" y="1051"/>
                  </a:lnTo>
                  <a:lnTo>
                    <a:pt x="844" y="1051"/>
                  </a:lnTo>
                  <a:lnTo>
                    <a:pt x="871" y="1061"/>
                  </a:lnTo>
                  <a:lnTo>
                    <a:pt x="902" y="1088"/>
                  </a:lnTo>
                  <a:lnTo>
                    <a:pt x="929" y="1082"/>
                  </a:lnTo>
                  <a:lnTo>
                    <a:pt x="952" y="1078"/>
                  </a:lnTo>
                  <a:lnTo>
                    <a:pt x="977" y="1076"/>
                  </a:lnTo>
                  <a:lnTo>
                    <a:pt x="1008" y="1119"/>
                  </a:lnTo>
                  <a:lnTo>
                    <a:pt x="1040" y="1130"/>
                  </a:lnTo>
                  <a:lnTo>
                    <a:pt x="1077" y="1151"/>
                  </a:lnTo>
                  <a:lnTo>
                    <a:pt x="1124" y="1177"/>
                  </a:lnTo>
                  <a:lnTo>
                    <a:pt x="1172" y="1198"/>
                  </a:lnTo>
                  <a:lnTo>
                    <a:pt x="1193" y="1225"/>
                  </a:lnTo>
                  <a:lnTo>
                    <a:pt x="1219" y="1235"/>
                  </a:lnTo>
                  <a:lnTo>
                    <a:pt x="1240" y="1267"/>
                  </a:lnTo>
                  <a:lnTo>
                    <a:pt x="1261" y="1225"/>
                  </a:lnTo>
                  <a:lnTo>
                    <a:pt x="1277" y="1167"/>
                  </a:lnTo>
                  <a:lnTo>
                    <a:pt x="1277" y="1119"/>
                  </a:lnTo>
                  <a:lnTo>
                    <a:pt x="1267" y="1088"/>
                  </a:lnTo>
                  <a:lnTo>
                    <a:pt x="1325" y="1082"/>
                  </a:lnTo>
                  <a:lnTo>
                    <a:pt x="1367" y="1082"/>
                  </a:lnTo>
                  <a:lnTo>
                    <a:pt x="1393" y="1109"/>
                  </a:lnTo>
                  <a:lnTo>
                    <a:pt x="1404" y="1082"/>
                  </a:lnTo>
                  <a:lnTo>
                    <a:pt x="1435" y="1024"/>
                  </a:lnTo>
                  <a:lnTo>
                    <a:pt x="1472" y="1003"/>
                  </a:lnTo>
                  <a:lnTo>
                    <a:pt x="1499" y="1014"/>
                  </a:lnTo>
                  <a:lnTo>
                    <a:pt x="1541" y="1040"/>
                  </a:lnTo>
                  <a:lnTo>
                    <a:pt x="1567" y="1029"/>
                  </a:lnTo>
                  <a:lnTo>
                    <a:pt x="1599" y="993"/>
                  </a:lnTo>
                  <a:lnTo>
                    <a:pt x="1620" y="966"/>
                  </a:lnTo>
                  <a:lnTo>
                    <a:pt x="1657" y="956"/>
                  </a:lnTo>
                  <a:lnTo>
                    <a:pt x="1694" y="919"/>
                  </a:lnTo>
                  <a:lnTo>
                    <a:pt x="1678" y="887"/>
                  </a:lnTo>
                  <a:lnTo>
                    <a:pt x="1625" y="876"/>
                  </a:lnTo>
                  <a:lnTo>
                    <a:pt x="1620" y="829"/>
                  </a:lnTo>
                  <a:lnTo>
                    <a:pt x="1599" y="797"/>
                  </a:lnTo>
                  <a:lnTo>
                    <a:pt x="1562" y="760"/>
                  </a:lnTo>
                  <a:lnTo>
                    <a:pt x="1506" y="747"/>
                  </a:lnTo>
                  <a:lnTo>
                    <a:pt x="1472" y="729"/>
                  </a:lnTo>
                  <a:lnTo>
                    <a:pt x="1464" y="707"/>
                  </a:lnTo>
                  <a:lnTo>
                    <a:pt x="1425" y="681"/>
                  </a:lnTo>
                  <a:lnTo>
                    <a:pt x="1425" y="634"/>
                  </a:lnTo>
                  <a:lnTo>
                    <a:pt x="1414" y="586"/>
                  </a:lnTo>
                  <a:lnTo>
                    <a:pt x="1404" y="549"/>
                  </a:lnTo>
                  <a:lnTo>
                    <a:pt x="1392" y="483"/>
                  </a:lnTo>
                  <a:lnTo>
                    <a:pt x="1346" y="470"/>
                  </a:lnTo>
                  <a:lnTo>
                    <a:pt x="1319" y="481"/>
                  </a:lnTo>
                  <a:lnTo>
                    <a:pt x="1288" y="491"/>
                  </a:lnTo>
                  <a:lnTo>
                    <a:pt x="1267" y="459"/>
                  </a:lnTo>
                  <a:lnTo>
                    <a:pt x="1251" y="433"/>
                  </a:lnTo>
                  <a:lnTo>
                    <a:pt x="1219" y="401"/>
                  </a:lnTo>
                  <a:lnTo>
                    <a:pt x="1193" y="412"/>
                  </a:lnTo>
                  <a:lnTo>
                    <a:pt x="1193" y="375"/>
                  </a:lnTo>
                  <a:lnTo>
                    <a:pt x="1213" y="315"/>
                  </a:lnTo>
                  <a:lnTo>
                    <a:pt x="1166" y="296"/>
                  </a:lnTo>
                  <a:lnTo>
                    <a:pt x="1124" y="285"/>
                  </a:lnTo>
                  <a:lnTo>
                    <a:pt x="1098" y="296"/>
                  </a:lnTo>
                  <a:lnTo>
                    <a:pt x="1066" y="269"/>
                  </a:lnTo>
                  <a:lnTo>
                    <a:pt x="1040" y="248"/>
                  </a:lnTo>
                  <a:lnTo>
                    <a:pt x="1008" y="259"/>
                  </a:lnTo>
                  <a:lnTo>
                    <a:pt x="982" y="248"/>
                  </a:lnTo>
                  <a:lnTo>
                    <a:pt x="929" y="227"/>
                  </a:lnTo>
                  <a:lnTo>
                    <a:pt x="865" y="201"/>
                  </a:lnTo>
                  <a:lnTo>
                    <a:pt x="834" y="211"/>
                  </a:lnTo>
                  <a:lnTo>
                    <a:pt x="834" y="238"/>
                  </a:lnTo>
                  <a:lnTo>
                    <a:pt x="810" y="266"/>
                  </a:lnTo>
                  <a:lnTo>
                    <a:pt x="786" y="248"/>
                  </a:lnTo>
                  <a:lnTo>
                    <a:pt x="776" y="275"/>
                  </a:lnTo>
                  <a:lnTo>
                    <a:pt x="739" y="269"/>
                  </a:lnTo>
                  <a:lnTo>
                    <a:pt x="728" y="296"/>
                  </a:lnTo>
                  <a:lnTo>
                    <a:pt x="749" y="338"/>
                  </a:lnTo>
                  <a:lnTo>
                    <a:pt x="714" y="359"/>
                  </a:lnTo>
                  <a:lnTo>
                    <a:pt x="687" y="329"/>
                  </a:lnTo>
                  <a:lnTo>
                    <a:pt x="655" y="330"/>
                  </a:lnTo>
                  <a:lnTo>
                    <a:pt x="639" y="306"/>
                  </a:lnTo>
                  <a:lnTo>
                    <a:pt x="633" y="275"/>
                  </a:lnTo>
                  <a:lnTo>
                    <a:pt x="591" y="248"/>
                  </a:lnTo>
                  <a:lnTo>
                    <a:pt x="522" y="227"/>
                  </a:lnTo>
                  <a:lnTo>
                    <a:pt x="507" y="201"/>
                  </a:lnTo>
                  <a:lnTo>
                    <a:pt x="496" y="169"/>
                  </a:lnTo>
                  <a:lnTo>
                    <a:pt x="486" y="143"/>
                  </a:lnTo>
                  <a:lnTo>
                    <a:pt x="475" y="95"/>
                  </a:lnTo>
                  <a:lnTo>
                    <a:pt x="441" y="53"/>
                  </a:lnTo>
                  <a:lnTo>
                    <a:pt x="380" y="53"/>
                  </a:lnTo>
                  <a:lnTo>
                    <a:pt x="332" y="48"/>
                  </a:lnTo>
                  <a:lnTo>
                    <a:pt x="301" y="37"/>
                  </a:lnTo>
                  <a:lnTo>
                    <a:pt x="282" y="63"/>
                  </a:lnTo>
                  <a:lnTo>
                    <a:pt x="253" y="53"/>
                  </a:lnTo>
                  <a:lnTo>
                    <a:pt x="270" y="0"/>
                  </a:lnTo>
                  <a:lnTo>
                    <a:pt x="227" y="16"/>
                  </a:lnTo>
                  <a:lnTo>
                    <a:pt x="185" y="27"/>
                  </a:lnTo>
                  <a:lnTo>
                    <a:pt x="174" y="53"/>
                  </a:lnTo>
                  <a:lnTo>
                    <a:pt x="132" y="45"/>
                  </a:lnTo>
                  <a:lnTo>
                    <a:pt x="137" y="85"/>
                  </a:lnTo>
                  <a:lnTo>
                    <a:pt x="127" y="111"/>
                  </a:lnTo>
                  <a:lnTo>
                    <a:pt x="137" y="143"/>
                  </a:lnTo>
                  <a:lnTo>
                    <a:pt x="127" y="201"/>
                  </a:lnTo>
                  <a:lnTo>
                    <a:pt x="116" y="232"/>
                  </a:lnTo>
                  <a:lnTo>
                    <a:pt x="148" y="259"/>
                  </a:lnTo>
                  <a:lnTo>
                    <a:pt x="174" y="248"/>
                  </a:lnTo>
                  <a:lnTo>
                    <a:pt x="206" y="259"/>
                  </a:lnTo>
                  <a:lnTo>
                    <a:pt x="232" y="285"/>
                  </a:lnTo>
                  <a:lnTo>
                    <a:pt x="243" y="317"/>
                  </a:lnTo>
                  <a:lnTo>
                    <a:pt x="264" y="343"/>
                  </a:lnTo>
                  <a:lnTo>
                    <a:pt x="232" y="375"/>
                  </a:lnTo>
                  <a:lnTo>
                    <a:pt x="206" y="385"/>
                  </a:lnTo>
                  <a:lnTo>
                    <a:pt x="169" y="385"/>
                  </a:lnTo>
                  <a:lnTo>
                    <a:pt x="127" y="364"/>
                  </a:lnTo>
                  <a:lnTo>
                    <a:pt x="100" y="364"/>
                  </a:lnTo>
                  <a:lnTo>
                    <a:pt x="100" y="396"/>
                  </a:lnTo>
                  <a:lnTo>
                    <a:pt x="79" y="364"/>
                  </a:lnTo>
                  <a:lnTo>
                    <a:pt x="53" y="354"/>
                  </a:lnTo>
                  <a:lnTo>
                    <a:pt x="53" y="396"/>
                  </a:lnTo>
                  <a:lnTo>
                    <a:pt x="21" y="433"/>
                  </a:lnTo>
                  <a:lnTo>
                    <a:pt x="32" y="459"/>
                  </a:lnTo>
                  <a:lnTo>
                    <a:pt x="42" y="491"/>
                  </a:lnTo>
                  <a:lnTo>
                    <a:pt x="32" y="517"/>
                  </a:lnTo>
                  <a:lnTo>
                    <a:pt x="0" y="539"/>
                  </a:lnTo>
                  <a:lnTo>
                    <a:pt x="47" y="544"/>
                  </a:lnTo>
                  <a:lnTo>
                    <a:pt x="100" y="586"/>
                  </a:lnTo>
                  <a:lnTo>
                    <a:pt x="84" y="656"/>
                  </a:lnTo>
                  <a:lnTo>
                    <a:pt x="111" y="681"/>
                  </a:lnTo>
                  <a:lnTo>
                    <a:pt x="116" y="681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3" name="Freeform 10">
              <a:extLst>
                <a:ext uri="{FF2B5EF4-FFF2-40B4-BE49-F238E27FC236}">
                  <a16:creationId xmlns:a16="http://schemas.microsoft.com/office/drawing/2014/main" id="{03D323C9-A7C9-4BC5-B68E-6DD786192B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" y="942"/>
              <a:ext cx="1695" cy="1349"/>
            </a:xfrm>
            <a:custGeom>
              <a:avLst/>
              <a:gdLst>
                <a:gd name="T0" fmla="*/ 893 w 1695"/>
                <a:gd name="T1" fmla="*/ 1096 h 1349"/>
                <a:gd name="T2" fmla="*/ 191 w 1695"/>
                <a:gd name="T3" fmla="*/ 1212 h 1349"/>
                <a:gd name="T4" fmla="*/ 54 w 1695"/>
                <a:gd name="T5" fmla="*/ 1233 h 1349"/>
                <a:gd name="T6" fmla="*/ 85 w 1695"/>
                <a:gd name="T7" fmla="*/ 40 h 1349"/>
                <a:gd name="T8" fmla="*/ 191 w 1695"/>
                <a:gd name="T9" fmla="*/ 66 h 1349"/>
                <a:gd name="T10" fmla="*/ 286 w 1695"/>
                <a:gd name="T11" fmla="*/ 98 h 1349"/>
                <a:gd name="T12" fmla="*/ 354 w 1695"/>
                <a:gd name="T13" fmla="*/ 203 h 1349"/>
                <a:gd name="T14" fmla="*/ 497 w 1695"/>
                <a:gd name="T15" fmla="*/ 177 h 1349"/>
                <a:gd name="T16" fmla="*/ 597 w 1695"/>
                <a:gd name="T17" fmla="*/ 193 h 1349"/>
                <a:gd name="T18" fmla="*/ 508 w 1695"/>
                <a:gd name="T19" fmla="*/ 230 h 1349"/>
                <a:gd name="T20" fmla="*/ 428 w 1695"/>
                <a:gd name="T21" fmla="*/ 309 h 1349"/>
                <a:gd name="T22" fmla="*/ 413 w 1695"/>
                <a:gd name="T23" fmla="*/ 436 h 1349"/>
                <a:gd name="T24" fmla="*/ 508 w 1695"/>
                <a:gd name="T25" fmla="*/ 494 h 1349"/>
                <a:gd name="T26" fmla="*/ 529 w 1695"/>
                <a:gd name="T27" fmla="*/ 573 h 1349"/>
                <a:gd name="T28" fmla="*/ 666 w 1695"/>
                <a:gd name="T29" fmla="*/ 705 h 1349"/>
                <a:gd name="T30" fmla="*/ 956 w 1695"/>
                <a:gd name="T31" fmla="*/ 837 h 1349"/>
                <a:gd name="T32" fmla="*/ 1083 w 1695"/>
                <a:gd name="T33" fmla="*/ 726 h 1349"/>
                <a:gd name="T34" fmla="*/ 1157 w 1695"/>
                <a:gd name="T35" fmla="*/ 700 h 1349"/>
                <a:gd name="T36" fmla="*/ 1146 w 1695"/>
                <a:gd name="T37" fmla="*/ 689 h 1349"/>
                <a:gd name="T38" fmla="*/ 1056 w 1695"/>
                <a:gd name="T39" fmla="*/ 715 h 1349"/>
                <a:gd name="T40" fmla="*/ 951 w 1695"/>
                <a:gd name="T41" fmla="*/ 610 h 1349"/>
                <a:gd name="T42" fmla="*/ 1004 w 1695"/>
                <a:gd name="T43" fmla="*/ 525 h 1349"/>
                <a:gd name="T44" fmla="*/ 1130 w 1695"/>
                <a:gd name="T45" fmla="*/ 473 h 1349"/>
                <a:gd name="T46" fmla="*/ 1262 w 1695"/>
                <a:gd name="T47" fmla="*/ 515 h 1349"/>
                <a:gd name="T48" fmla="*/ 1310 w 1695"/>
                <a:gd name="T49" fmla="*/ 436 h 1349"/>
                <a:gd name="T50" fmla="*/ 1178 w 1695"/>
                <a:gd name="T51" fmla="*/ 436 h 1349"/>
                <a:gd name="T52" fmla="*/ 1030 w 1695"/>
                <a:gd name="T53" fmla="*/ 367 h 1349"/>
                <a:gd name="T54" fmla="*/ 914 w 1695"/>
                <a:gd name="T55" fmla="*/ 415 h 1349"/>
                <a:gd name="T56" fmla="*/ 835 w 1695"/>
                <a:gd name="T57" fmla="*/ 415 h 1349"/>
                <a:gd name="T58" fmla="*/ 808 w 1695"/>
                <a:gd name="T59" fmla="*/ 457 h 1349"/>
                <a:gd name="T60" fmla="*/ 655 w 1695"/>
                <a:gd name="T61" fmla="*/ 436 h 1349"/>
                <a:gd name="T62" fmla="*/ 555 w 1695"/>
                <a:gd name="T63" fmla="*/ 388 h 1349"/>
                <a:gd name="T64" fmla="*/ 597 w 1695"/>
                <a:gd name="T65" fmla="*/ 330 h 1349"/>
                <a:gd name="T66" fmla="*/ 703 w 1695"/>
                <a:gd name="T67" fmla="*/ 272 h 1349"/>
                <a:gd name="T68" fmla="*/ 740 w 1695"/>
                <a:gd name="T69" fmla="*/ 203 h 1349"/>
                <a:gd name="T70" fmla="*/ 655 w 1695"/>
                <a:gd name="T71" fmla="*/ 98 h 1349"/>
                <a:gd name="T72" fmla="*/ 771 w 1695"/>
                <a:gd name="T73" fmla="*/ 56 h 1349"/>
                <a:gd name="T74" fmla="*/ 903 w 1695"/>
                <a:gd name="T75" fmla="*/ 19 h 1349"/>
                <a:gd name="T76" fmla="*/ 1009 w 1695"/>
                <a:gd name="T77" fmla="*/ 98 h 1349"/>
                <a:gd name="T78" fmla="*/ 1051 w 1695"/>
                <a:gd name="T79" fmla="*/ 124 h 1349"/>
                <a:gd name="T80" fmla="*/ 1178 w 1695"/>
                <a:gd name="T81" fmla="*/ 182 h 1349"/>
                <a:gd name="T82" fmla="*/ 1299 w 1695"/>
                <a:gd name="T83" fmla="*/ 203 h 1349"/>
                <a:gd name="T84" fmla="*/ 1458 w 1695"/>
                <a:gd name="T85" fmla="*/ 230 h 1349"/>
                <a:gd name="T86" fmla="*/ 1531 w 1695"/>
                <a:gd name="T87" fmla="*/ 298 h 1349"/>
                <a:gd name="T88" fmla="*/ 1648 w 1695"/>
                <a:gd name="T89" fmla="*/ 346 h 1349"/>
                <a:gd name="T90" fmla="*/ 1642 w 1695"/>
                <a:gd name="T91" fmla="*/ 404 h 1349"/>
                <a:gd name="T92" fmla="*/ 1695 w 1695"/>
                <a:gd name="T93" fmla="*/ 483 h 1349"/>
                <a:gd name="T94" fmla="*/ 1658 w 1695"/>
                <a:gd name="T95" fmla="*/ 525 h 134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695" h="1349">
                  <a:moveTo>
                    <a:pt x="1621" y="547"/>
                  </a:moveTo>
                  <a:lnTo>
                    <a:pt x="1494" y="620"/>
                  </a:lnTo>
                  <a:lnTo>
                    <a:pt x="1257" y="816"/>
                  </a:lnTo>
                  <a:lnTo>
                    <a:pt x="893" y="1096"/>
                  </a:lnTo>
                  <a:lnTo>
                    <a:pt x="687" y="1349"/>
                  </a:lnTo>
                  <a:lnTo>
                    <a:pt x="407" y="1265"/>
                  </a:lnTo>
                  <a:lnTo>
                    <a:pt x="312" y="1212"/>
                  </a:lnTo>
                  <a:lnTo>
                    <a:pt x="191" y="1212"/>
                  </a:lnTo>
                  <a:lnTo>
                    <a:pt x="164" y="1243"/>
                  </a:lnTo>
                  <a:lnTo>
                    <a:pt x="128" y="1254"/>
                  </a:lnTo>
                  <a:lnTo>
                    <a:pt x="96" y="1222"/>
                  </a:lnTo>
                  <a:lnTo>
                    <a:pt x="54" y="1233"/>
                  </a:lnTo>
                  <a:lnTo>
                    <a:pt x="0" y="1250"/>
                  </a:lnTo>
                  <a:lnTo>
                    <a:pt x="0" y="0"/>
                  </a:lnTo>
                  <a:lnTo>
                    <a:pt x="54" y="29"/>
                  </a:lnTo>
                  <a:lnTo>
                    <a:pt x="85" y="40"/>
                  </a:lnTo>
                  <a:lnTo>
                    <a:pt x="117" y="29"/>
                  </a:lnTo>
                  <a:lnTo>
                    <a:pt x="117" y="61"/>
                  </a:lnTo>
                  <a:lnTo>
                    <a:pt x="149" y="71"/>
                  </a:lnTo>
                  <a:lnTo>
                    <a:pt x="191" y="66"/>
                  </a:lnTo>
                  <a:lnTo>
                    <a:pt x="217" y="77"/>
                  </a:lnTo>
                  <a:lnTo>
                    <a:pt x="228" y="108"/>
                  </a:lnTo>
                  <a:lnTo>
                    <a:pt x="254" y="77"/>
                  </a:lnTo>
                  <a:lnTo>
                    <a:pt x="286" y="98"/>
                  </a:lnTo>
                  <a:lnTo>
                    <a:pt x="312" y="119"/>
                  </a:lnTo>
                  <a:lnTo>
                    <a:pt x="323" y="145"/>
                  </a:lnTo>
                  <a:lnTo>
                    <a:pt x="370" y="156"/>
                  </a:lnTo>
                  <a:lnTo>
                    <a:pt x="354" y="203"/>
                  </a:lnTo>
                  <a:lnTo>
                    <a:pt x="381" y="214"/>
                  </a:lnTo>
                  <a:lnTo>
                    <a:pt x="413" y="193"/>
                  </a:lnTo>
                  <a:lnTo>
                    <a:pt x="449" y="182"/>
                  </a:lnTo>
                  <a:lnTo>
                    <a:pt x="497" y="177"/>
                  </a:lnTo>
                  <a:lnTo>
                    <a:pt x="529" y="177"/>
                  </a:lnTo>
                  <a:lnTo>
                    <a:pt x="555" y="156"/>
                  </a:lnTo>
                  <a:lnTo>
                    <a:pt x="555" y="182"/>
                  </a:lnTo>
                  <a:lnTo>
                    <a:pt x="597" y="193"/>
                  </a:lnTo>
                  <a:lnTo>
                    <a:pt x="603" y="224"/>
                  </a:lnTo>
                  <a:lnTo>
                    <a:pt x="576" y="230"/>
                  </a:lnTo>
                  <a:lnTo>
                    <a:pt x="550" y="251"/>
                  </a:lnTo>
                  <a:lnTo>
                    <a:pt x="508" y="230"/>
                  </a:lnTo>
                  <a:lnTo>
                    <a:pt x="471" y="224"/>
                  </a:lnTo>
                  <a:lnTo>
                    <a:pt x="428" y="251"/>
                  </a:lnTo>
                  <a:lnTo>
                    <a:pt x="428" y="283"/>
                  </a:lnTo>
                  <a:lnTo>
                    <a:pt x="428" y="309"/>
                  </a:lnTo>
                  <a:lnTo>
                    <a:pt x="449" y="341"/>
                  </a:lnTo>
                  <a:lnTo>
                    <a:pt x="460" y="367"/>
                  </a:lnTo>
                  <a:lnTo>
                    <a:pt x="428" y="388"/>
                  </a:lnTo>
                  <a:lnTo>
                    <a:pt x="413" y="436"/>
                  </a:lnTo>
                  <a:lnTo>
                    <a:pt x="439" y="425"/>
                  </a:lnTo>
                  <a:lnTo>
                    <a:pt x="471" y="446"/>
                  </a:lnTo>
                  <a:lnTo>
                    <a:pt x="481" y="483"/>
                  </a:lnTo>
                  <a:lnTo>
                    <a:pt x="508" y="494"/>
                  </a:lnTo>
                  <a:lnTo>
                    <a:pt x="539" y="483"/>
                  </a:lnTo>
                  <a:lnTo>
                    <a:pt x="550" y="515"/>
                  </a:lnTo>
                  <a:lnTo>
                    <a:pt x="550" y="541"/>
                  </a:lnTo>
                  <a:lnTo>
                    <a:pt x="529" y="573"/>
                  </a:lnTo>
                  <a:lnTo>
                    <a:pt x="539" y="599"/>
                  </a:lnTo>
                  <a:lnTo>
                    <a:pt x="550" y="631"/>
                  </a:lnTo>
                  <a:lnTo>
                    <a:pt x="603" y="726"/>
                  </a:lnTo>
                  <a:lnTo>
                    <a:pt x="666" y="705"/>
                  </a:lnTo>
                  <a:lnTo>
                    <a:pt x="756" y="747"/>
                  </a:lnTo>
                  <a:lnTo>
                    <a:pt x="829" y="795"/>
                  </a:lnTo>
                  <a:lnTo>
                    <a:pt x="903" y="837"/>
                  </a:lnTo>
                  <a:lnTo>
                    <a:pt x="956" y="837"/>
                  </a:lnTo>
                  <a:lnTo>
                    <a:pt x="1019" y="847"/>
                  </a:lnTo>
                  <a:lnTo>
                    <a:pt x="1051" y="837"/>
                  </a:lnTo>
                  <a:lnTo>
                    <a:pt x="1109" y="816"/>
                  </a:lnTo>
                  <a:lnTo>
                    <a:pt x="1083" y="726"/>
                  </a:lnTo>
                  <a:lnTo>
                    <a:pt x="1120" y="705"/>
                  </a:lnTo>
                  <a:lnTo>
                    <a:pt x="1167" y="726"/>
                  </a:lnTo>
                  <a:lnTo>
                    <a:pt x="1183" y="700"/>
                  </a:lnTo>
                  <a:lnTo>
                    <a:pt x="1157" y="700"/>
                  </a:lnTo>
                  <a:lnTo>
                    <a:pt x="1167" y="668"/>
                  </a:lnTo>
                  <a:lnTo>
                    <a:pt x="1194" y="631"/>
                  </a:lnTo>
                  <a:lnTo>
                    <a:pt x="1167" y="647"/>
                  </a:lnTo>
                  <a:lnTo>
                    <a:pt x="1146" y="689"/>
                  </a:lnTo>
                  <a:lnTo>
                    <a:pt x="1136" y="657"/>
                  </a:lnTo>
                  <a:lnTo>
                    <a:pt x="1109" y="668"/>
                  </a:lnTo>
                  <a:lnTo>
                    <a:pt x="1088" y="694"/>
                  </a:lnTo>
                  <a:lnTo>
                    <a:pt x="1056" y="715"/>
                  </a:lnTo>
                  <a:lnTo>
                    <a:pt x="1041" y="689"/>
                  </a:lnTo>
                  <a:lnTo>
                    <a:pt x="1009" y="668"/>
                  </a:lnTo>
                  <a:lnTo>
                    <a:pt x="972" y="642"/>
                  </a:lnTo>
                  <a:lnTo>
                    <a:pt x="951" y="610"/>
                  </a:lnTo>
                  <a:lnTo>
                    <a:pt x="951" y="578"/>
                  </a:lnTo>
                  <a:lnTo>
                    <a:pt x="940" y="552"/>
                  </a:lnTo>
                  <a:lnTo>
                    <a:pt x="961" y="525"/>
                  </a:lnTo>
                  <a:lnTo>
                    <a:pt x="1004" y="525"/>
                  </a:lnTo>
                  <a:lnTo>
                    <a:pt x="1030" y="504"/>
                  </a:lnTo>
                  <a:lnTo>
                    <a:pt x="1062" y="494"/>
                  </a:lnTo>
                  <a:lnTo>
                    <a:pt x="1088" y="473"/>
                  </a:lnTo>
                  <a:lnTo>
                    <a:pt x="1130" y="473"/>
                  </a:lnTo>
                  <a:lnTo>
                    <a:pt x="1157" y="494"/>
                  </a:lnTo>
                  <a:lnTo>
                    <a:pt x="1183" y="494"/>
                  </a:lnTo>
                  <a:lnTo>
                    <a:pt x="1225" y="504"/>
                  </a:lnTo>
                  <a:lnTo>
                    <a:pt x="1262" y="515"/>
                  </a:lnTo>
                  <a:lnTo>
                    <a:pt x="1299" y="525"/>
                  </a:lnTo>
                  <a:lnTo>
                    <a:pt x="1331" y="504"/>
                  </a:lnTo>
                  <a:lnTo>
                    <a:pt x="1331" y="467"/>
                  </a:lnTo>
                  <a:lnTo>
                    <a:pt x="1310" y="436"/>
                  </a:lnTo>
                  <a:lnTo>
                    <a:pt x="1283" y="436"/>
                  </a:lnTo>
                  <a:lnTo>
                    <a:pt x="1241" y="425"/>
                  </a:lnTo>
                  <a:lnTo>
                    <a:pt x="1215" y="446"/>
                  </a:lnTo>
                  <a:lnTo>
                    <a:pt x="1178" y="436"/>
                  </a:lnTo>
                  <a:lnTo>
                    <a:pt x="1146" y="425"/>
                  </a:lnTo>
                  <a:lnTo>
                    <a:pt x="1120" y="415"/>
                  </a:lnTo>
                  <a:lnTo>
                    <a:pt x="1067" y="378"/>
                  </a:lnTo>
                  <a:lnTo>
                    <a:pt x="1030" y="367"/>
                  </a:lnTo>
                  <a:lnTo>
                    <a:pt x="993" y="378"/>
                  </a:lnTo>
                  <a:lnTo>
                    <a:pt x="951" y="388"/>
                  </a:lnTo>
                  <a:lnTo>
                    <a:pt x="924" y="388"/>
                  </a:lnTo>
                  <a:lnTo>
                    <a:pt x="914" y="415"/>
                  </a:lnTo>
                  <a:lnTo>
                    <a:pt x="903" y="446"/>
                  </a:lnTo>
                  <a:lnTo>
                    <a:pt x="866" y="473"/>
                  </a:lnTo>
                  <a:lnTo>
                    <a:pt x="835" y="446"/>
                  </a:lnTo>
                  <a:lnTo>
                    <a:pt x="835" y="415"/>
                  </a:lnTo>
                  <a:lnTo>
                    <a:pt x="808" y="378"/>
                  </a:lnTo>
                  <a:lnTo>
                    <a:pt x="808" y="404"/>
                  </a:lnTo>
                  <a:lnTo>
                    <a:pt x="835" y="436"/>
                  </a:lnTo>
                  <a:lnTo>
                    <a:pt x="808" y="457"/>
                  </a:lnTo>
                  <a:lnTo>
                    <a:pt x="787" y="425"/>
                  </a:lnTo>
                  <a:lnTo>
                    <a:pt x="740" y="425"/>
                  </a:lnTo>
                  <a:lnTo>
                    <a:pt x="703" y="446"/>
                  </a:lnTo>
                  <a:lnTo>
                    <a:pt x="655" y="436"/>
                  </a:lnTo>
                  <a:lnTo>
                    <a:pt x="624" y="446"/>
                  </a:lnTo>
                  <a:lnTo>
                    <a:pt x="597" y="425"/>
                  </a:lnTo>
                  <a:lnTo>
                    <a:pt x="587" y="399"/>
                  </a:lnTo>
                  <a:lnTo>
                    <a:pt x="555" y="388"/>
                  </a:lnTo>
                  <a:lnTo>
                    <a:pt x="529" y="378"/>
                  </a:lnTo>
                  <a:lnTo>
                    <a:pt x="529" y="341"/>
                  </a:lnTo>
                  <a:lnTo>
                    <a:pt x="566" y="330"/>
                  </a:lnTo>
                  <a:lnTo>
                    <a:pt x="597" y="330"/>
                  </a:lnTo>
                  <a:lnTo>
                    <a:pt x="613" y="298"/>
                  </a:lnTo>
                  <a:lnTo>
                    <a:pt x="645" y="288"/>
                  </a:lnTo>
                  <a:lnTo>
                    <a:pt x="671" y="272"/>
                  </a:lnTo>
                  <a:lnTo>
                    <a:pt x="703" y="272"/>
                  </a:lnTo>
                  <a:lnTo>
                    <a:pt x="713" y="240"/>
                  </a:lnTo>
                  <a:lnTo>
                    <a:pt x="750" y="230"/>
                  </a:lnTo>
                  <a:lnTo>
                    <a:pt x="777" y="214"/>
                  </a:lnTo>
                  <a:lnTo>
                    <a:pt x="740" y="203"/>
                  </a:lnTo>
                  <a:lnTo>
                    <a:pt x="719" y="177"/>
                  </a:lnTo>
                  <a:lnTo>
                    <a:pt x="692" y="156"/>
                  </a:lnTo>
                  <a:lnTo>
                    <a:pt x="645" y="124"/>
                  </a:lnTo>
                  <a:lnTo>
                    <a:pt x="655" y="98"/>
                  </a:lnTo>
                  <a:lnTo>
                    <a:pt x="666" y="66"/>
                  </a:lnTo>
                  <a:lnTo>
                    <a:pt x="713" y="50"/>
                  </a:lnTo>
                  <a:lnTo>
                    <a:pt x="740" y="56"/>
                  </a:lnTo>
                  <a:lnTo>
                    <a:pt x="771" y="56"/>
                  </a:lnTo>
                  <a:lnTo>
                    <a:pt x="798" y="29"/>
                  </a:lnTo>
                  <a:lnTo>
                    <a:pt x="829" y="19"/>
                  </a:lnTo>
                  <a:lnTo>
                    <a:pt x="877" y="19"/>
                  </a:lnTo>
                  <a:lnTo>
                    <a:pt x="903" y="19"/>
                  </a:lnTo>
                  <a:lnTo>
                    <a:pt x="940" y="40"/>
                  </a:lnTo>
                  <a:lnTo>
                    <a:pt x="972" y="56"/>
                  </a:lnTo>
                  <a:lnTo>
                    <a:pt x="1004" y="66"/>
                  </a:lnTo>
                  <a:lnTo>
                    <a:pt x="1009" y="98"/>
                  </a:lnTo>
                  <a:lnTo>
                    <a:pt x="1041" y="119"/>
                  </a:lnTo>
                  <a:lnTo>
                    <a:pt x="1030" y="145"/>
                  </a:lnTo>
                  <a:lnTo>
                    <a:pt x="1067" y="166"/>
                  </a:lnTo>
                  <a:lnTo>
                    <a:pt x="1051" y="124"/>
                  </a:lnTo>
                  <a:lnTo>
                    <a:pt x="1088" y="135"/>
                  </a:lnTo>
                  <a:lnTo>
                    <a:pt x="1120" y="145"/>
                  </a:lnTo>
                  <a:lnTo>
                    <a:pt x="1146" y="166"/>
                  </a:lnTo>
                  <a:lnTo>
                    <a:pt x="1178" y="182"/>
                  </a:lnTo>
                  <a:lnTo>
                    <a:pt x="1204" y="182"/>
                  </a:lnTo>
                  <a:lnTo>
                    <a:pt x="1236" y="182"/>
                  </a:lnTo>
                  <a:lnTo>
                    <a:pt x="1262" y="182"/>
                  </a:lnTo>
                  <a:lnTo>
                    <a:pt x="1299" y="203"/>
                  </a:lnTo>
                  <a:lnTo>
                    <a:pt x="1331" y="203"/>
                  </a:lnTo>
                  <a:lnTo>
                    <a:pt x="1378" y="214"/>
                  </a:lnTo>
                  <a:lnTo>
                    <a:pt x="1415" y="230"/>
                  </a:lnTo>
                  <a:lnTo>
                    <a:pt x="1458" y="230"/>
                  </a:lnTo>
                  <a:lnTo>
                    <a:pt x="1484" y="240"/>
                  </a:lnTo>
                  <a:lnTo>
                    <a:pt x="1494" y="272"/>
                  </a:lnTo>
                  <a:lnTo>
                    <a:pt x="1526" y="272"/>
                  </a:lnTo>
                  <a:lnTo>
                    <a:pt x="1531" y="298"/>
                  </a:lnTo>
                  <a:lnTo>
                    <a:pt x="1563" y="330"/>
                  </a:lnTo>
                  <a:lnTo>
                    <a:pt x="1584" y="356"/>
                  </a:lnTo>
                  <a:lnTo>
                    <a:pt x="1611" y="346"/>
                  </a:lnTo>
                  <a:lnTo>
                    <a:pt x="1648" y="346"/>
                  </a:lnTo>
                  <a:lnTo>
                    <a:pt x="1611" y="388"/>
                  </a:lnTo>
                  <a:lnTo>
                    <a:pt x="1642" y="388"/>
                  </a:lnTo>
                  <a:lnTo>
                    <a:pt x="1669" y="388"/>
                  </a:lnTo>
                  <a:lnTo>
                    <a:pt x="1642" y="404"/>
                  </a:lnTo>
                  <a:lnTo>
                    <a:pt x="1679" y="415"/>
                  </a:lnTo>
                  <a:lnTo>
                    <a:pt x="1658" y="446"/>
                  </a:lnTo>
                  <a:lnTo>
                    <a:pt x="1690" y="446"/>
                  </a:lnTo>
                  <a:lnTo>
                    <a:pt x="1695" y="483"/>
                  </a:lnTo>
                  <a:lnTo>
                    <a:pt x="1669" y="504"/>
                  </a:lnTo>
                  <a:lnTo>
                    <a:pt x="1642" y="473"/>
                  </a:lnTo>
                  <a:lnTo>
                    <a:pt x="1632" y="504"/>
                  </a:lnTo>
                  <a:lnTo>
                    <a:pt x="1658" y="525"/>
                  </a:lnTo>
                  <a:lnTo>
                    <a:pt x="1621" y="547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4" name="Freeform 11">
              <a:extLst>
                <a:ext uri="{FF2B5EF4-FFF2-40B4-BE49-F238E27FC236}">
                  <a16:creationId xmlns:a16="http://schemas.microsoft.com/office/drawing/2014/main" id="{FBE69939-1D9B-4E5E-B9D5-03D2A3F3E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" y="1367"/>
              <a:ext cx="4874" cy="2505"/>
            </a:xfrm>
            <a:custGeom>
              <a:avLst/>
              <a:gdLst>
                <a:gd name="T0" fmla="*/ 2147483647 w 687"/>
                <a:gd name="T1" fmla="*/ 2147483647 h 353"/>
                <a:gd name="T2" fmla="*/ 2147483647 w 687"/>
                <a:gd name="T3" fmla="*/ 2147483647 h 353"/>
                <a:gd name="T4" fmla="*/ 2147483647 w 687"/>
                <a:gd name="T5" fmla="*/ 2147483647 h 353"/>
                <a:gd name="T6" fmla="*/ 2147483647 w 687"/>
                <a:gd name="T7" fmla="*/ 2147483647 h 353"/>
                <a:gd name="T8" fmla="*/ 2147483647 w 687"/>
                <a:gd name="T9" fmla="*/ 2147483647 h 353"/>
                <a:gd name="T10" fmla="*/ 2147483647 w 687"/>
                <a:gd name="T11" fmla="*/ 2147483647 h 353"/>
                <a:gd name="T12" fmla="*/ 2147483647 w 687"/>
                <a:gd name="T13" fmla="*/ 2147483647 h 353"/>
                <a:gd name="T14" fmla="*/ 2147483647 w 687"/>
                <a:gd name="T15" fmla="*/ 2147483647 h 353"/>
                <a:gd name="T16" fmla="*/ 2147483647 w 687"/>
                <a:gd name="T17" fmla="*/ 2147483647 h 353"/>
                <a:gd name="T18" fmla="*/ 2147483647 w 687"/>
                <a:gd name="T19" fmla="*/ 2147483647 h 353"/>
                <a:gd name="T20" fmla="*/ 2147483647 w 687"/>
                <a:gd name="T21" fmla="*/ 2147483647 h 353"/>
                <a:gd name="T22" fmla="*/ 2147483647 w 687"/>
                <a:gd name="T23" fmla="*/ 2147483647 h 353"/>
                <a:gd name="T24" fmla="*/ 2147483647 w 687"/>
                <a:gd name="T25" fmla="*/ 2147483647 h 353"/>
                <a:gd name="T26" fmla="*/ 2147483647 w 687"/>
                <a:gd name="T27" fmla="*/ 2147483647 h 353"/>
                <a:gd name="T28" fmla="*/ 2147483647 w 687"/>
                <a:gd name="T29" fmla="*/ 2147483647 h 353"/>
                <a:gd name="T30" fmla="*/ 2147483647 w 687"/>
                <a:gd name="T31" fmla="*/ 2147483647 h 353"/>
                <a:gd name="T32" fmla="*/ 2147483647 w 687"/>
                <a:gd name="T33" fmla="*/ 2147483647 h 353"/>
                <a:gd name="T34" fmla="*/ 2147483647 w 687"/>
                <a:gd name="T35" fmla="*/ 2147483647 h 353"/>
                <a:gd name="T36" fmla="*/ 2147483647 w 687"/>
                <a:gd name="T37" fmla="*/ 2147483647 h 353"/>
                <a:gd name="T38" fmla="*/ 2147483647 w 687"/>
                <a:gd name="T39" fmla="*/ 2147483647 h 353"/>
                <a:gd name="T40" fmla="*/ 2147483647 w 687"/>
                <a:gd name="T41" fmla="*/ 2147483647 h 353"/>
                <a:gd name="T42" fmla="*/ 2147483647 w 687"/>
                <a:gd name="T43" fmla="*/ 2147483647 h 353"/>
                <a:gd name="T44" fmla="*/ 2147483647 w 687"/>
                <a:gd name="T45" fmla="*/ 2147483647 h 353"/>
                <a:gd name="T46" fmla="*/ 2147483647 w 687"/>
                <a:gd name="T47" fmla="*/ 0 h 353"/>
                <a:gd name="T48" fmla="*/ 2147483647 w 687"/>
                <a:gd name="T49" fmla="*/ 2147483647 h 353"/>
                <a:gd name="T50" fmla="*/ 2147483647 w 687"/>
                <a:gd name="T51" fmla="*/ 2147483647 h 353"/>
                <a:gd name="T52" fmla="*/ 2147483647 w 687"/>
                <a:gd name="T53" fmla="*/ 2147483647 h 353"/>
                <a:gd name="T54" fmla="*/ 2147483647 w 687"/>
                <a:gd name="T55" fmla="*/ 2147483647 h 353"/>
                <a:gd name="T56" fmla="*/ 2147483647 w 687"/>
                <a:gd name="T57" fmla="*/ 2147483647 h 353"/>
                <a:gd name="T58" fmla="*/ 2147483647 w 687"/>
                <a:gd name="T59" fmla="*/ 2147483647 h 353"/>
                <a:gd name="T60" fmla="*/ 2147483647 w 687"/>
                <a:gd name="T61" fmla="*/ 2147483647 h 353"/>
                <a:gd name="T62" fmla="*/ 2147483647 w 687"/>
                <a:gd name="T63" fmla="*/ 2147483647 h 353"/>
                <a:gd name="T64" fmla="*/ 2147483647 w 687"/>
                <a:gd name="T65" fmla="*/ 2147483647 h 353"/>
                <a:gd name="T66" fmla="*/ 2147483647 w 687"/>
                <a:gd name="T67" fmla="*/ 2147483647 h 353"/>
                <a:gd name="T68" fmla="*/ 2147483647 w 687"/>
                <a:gd name="T69" fmla="*/ 2147483647 h 353"/>
                <a:gd name="T70" fmla="*/ 2147483647 w 687"/>
                <a:gd name="T71" fmla="*/ 2147483647 h 353"/>
                <a:gd name="T72" fmla="*/ 2147483647 w 687"/>
                <a:gd name="T73" fmla="*/ 2147483647 h 353"/>
                <a:gd name="T74" fmla="*/ 2147483647 w 687"/>
                <a:gd name="T75" fmla="*/ 2147483647 h 353"/>
                <a:gd name="T76" fmla="*/ 2147483647 w 687"/>
                <a:gd name="T77" fmla="*/ 2147483647 h 353"/>
                <a:gd name="T78" fmla="*/ 2147483647 w 687"/>
                <a:gd name="T79" fmla="*/ 2147483647 h 353"/>
                <a:gd name="T80" fmla="*/ 2147483647 w 687"/>
                <a:gd name="T81" fmla="*/ 2147483647 h 353"/>
                <a:gd name="T82" fmla="*/ 2147483647 w 687"/>
                <a:gd name="T83" fmla="*/ 2147483647 h 353"/>
                <a:gd name="T84" fmla="*/ 2147483647 w 687"/>
                <a:gd name="T85" fmla="*/ 2147483647 h 353"/>
                <a:gd name="T86" fmla="*/ 2147483647 w 687"/>
                <a:gd name="T87" fmla="*/ 2147483647 h 353"/>
                <a:gd name="T88" fmla="*/ 2147483647 w 687"/>
                <a:gd name="T89" fmla="*/ 2147483647 h 353"/>
                <a:gd name="T90" fmla="*/ 2147483647 w 687"/>
                <a:gd name="T91" fmla="*/ 2147483647 h 353"/>
                <a:gd name="T92" fmla="*/ 2147483647 w 687"/>
                <a:gd name="T93" fmla="*/ 2147483647 h 353"/>
                <a:gd name="T94" fmla="*/ 2147483647 w 687"/>
                <a:gd name="T95" fmla="*/ 2147483647 h 353"/>
                <a:gd name="T96" fmla="*/ 2147483647 w 687"/>
                <a:gd name="T97" fmla="*/ 2147483647 h 353"/>
                <a:gd name="T98" fmla="*/ 2147483647 w 687"/>
                <a:gd name="T99" fmla="*/ 2147483647 h 353"/>
                <a:gd name="T100" fmla="*/ 2147483647 w 687"/>
                <a:gd name="T101" fmla="*/ 2147483647 h 353"/>
                <a:gd name="T102" fmla="*/ 2147483647 w 687"/>
                <a:gd name="T103" fmla="*/ 2147483647 h 353"/>
                <a:gd name="T104" fmla="*/ 2147483647 w 687"/>
                <a:gd name="T105" fmla="*/ 2147483647 h 353"/>
                <a:gd name="T106" fmla="*/ 2147483647 w 687"/>
                <a:gd name="T107" fmla="*/ 2147483647 h 353"/>
                <a:gd name="T108" fmla="*/ 2147483647 w 687"/>
                <a:gd name="T109" fmla="*/ 2147483647 h 353"/>
                <a:gd name="T110" fmla="*/ 2147483647 w 687"/>
                <a:gd name="T111" fmla="*/ 2147483647 h 353"/>
                <a:gd name="T112" fmla="*/ 2147483647 w 687"/>
                <a:gd name="T113" fmla="*/ 2147483647 h 353"/>
                <a:gd name="T114" fmla="*/ 2147483647 w 687"/>
                <a:gd name="T115" fmla="*/ 2147483647 h 353"/>
                <a:gd name="T116" fmla="*/ 2147483647 w 687"/>
                <a:gd name="T117" fmla="*/ 2147483647 h 353"/>
                <a:gd name="T118" fmla="*/ 2147483647 w 687"/>
                <a:gd name="T119" fmla="*/ 2147483647 h 353"/>
                <a:gd name="T120" fmla="*/ 2147483647 w 687"/>
                <a:gd name="T121" fmla="*/ 2147483647 h 35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687" h="353">
                  <a:moveTo>
                    <a:pt x="286" y="304"/>
                  </a:moveTo>
                  <a:lnTo>
                    <a:pt x="290" y="304"/>
                  </a:lnTo>
                  <a:lnTo>
                    <a:pt x="294" y="304"/>
                  </a:lnTo>
                  <a:lnTo>
                    <a:pt x="301" y="303"/>
                  </a:lnTo>
                  <a:lnTo>
                    <a:pt x="306" y="301"/>
                  </a:lnTo>
                  <a:lnTo>
                    <a:pt x="311" y="300"/>
                  </a:lnTo>
                  <a:lnTo>
                    <a:pt x="316" y="296"/>
                  </a:lnTo>
                  <a:lnTo>
                    <a:pt x="319" y="296"/>
                  </a:lnTo>
                  <a:lnTo>
                    <a:pt x="324" y="297"/>
                  </a:lnTo>
                  <a:lnTo>
                    <a:pt x="328" y="299"/>
                  </a:lnTo>
                  <a:lnTo>
                    <a:pt x="332" y="299"/>
                  </a:lnTo>
                  <a:lnTo>
                    <a:pt x="333" y="303"/>
                  </a:lnTo>
                  <a:lnTo>
                    <a:pt x="337" y="307"/>
                  </a:lnTo>
                  <a:lnTo>
                    <a:pt x="342" y="308"/>
                  </a:lnTo>
                  <a:lnTo>
                    <a:pt x="345" y="308"/>
                  </a:lnTo>
                  <a:lnTo>
                    <a:pt x="350" y="310"/>
                  </a:lnTo>
                  <a:lnTo>
                    <a:pt x="354" y="308"/>
                  </a:lnTo>
                  <a:lnTo>
                    <a:pt x="358" y="308"/>
                  </a:lnTo>
                  <a:lnTo>
                    <a:pt x="359" y="304"/>
                  </a:lnTo>
                  <a:lnTo>
                    <a:pt x="355" y="301"/>
                  </a:lnTo>
                  <a:lnTo>
                    <a:pt x="359" y="299"/>
                  </a:lnTo>
                  <a:lnTo>
                    <a:pt x="360" y="292"/>
                  </a:lnTo>
                  <a:lnTo>
                    <a:pt x="363" y="289"/>
                  </a:lnTo>
                  <a:lnTo>
                    <a:pt x="367" y="292"/>
                  </a:lnTo>
                  <a:lnTo>
                    <a:pt x="371" y="292"/>
                  </a:lnTo>
                  <a:lnTo>
                    <a:pt x="381" y="297"/>
                  </a:lnTo>
                  <a:lnTo>
                    <a:pt x="382" y="301"/>
                  </a:lnTo>
                  <a:lnTo>
                    <a:pt x="388" y="308"/>
                  </a:lnTo>
                  <a:lnTo>
                    <a:pt x="393" y="310"/>
                  </a:lnTo>
                  <a:lnTo>
                    <a:pt x="397" y="307"/>
                  </a:lnTo>
                  <a:lnTo>
                    <a:pt x="401" y="304"/>
                  </a:lnTo>
                  <a:lnTo>
                    <a:pt x="406" y="307"/>
                  </a:lnTo>
                  <a:lnTo>
                    <a:pt x="411" y="305"/>
                  </a:lnTo>
                  <a:lnTo>
                    <a:pt x="415" y="307"/>
                  </a:lnTo>
                  <a:lnTo>
                    <a:pt x="416" y="312"/>
                  </a:lnTo>
                  <a:lnTo>
                    <a:pt x="425" y="315"/>
                  </a:lnTo>
                  <a:lnTo>
                    <a:pt x="429" y="315"/>
                  </a:lnTo>
                  <a:lnTo>
                    <a:pt x="434" y="315"/>
                  </a:lnTo>
                  <a:lnTo>
                    <a:pt x="441" y="310"/>
                  </a:lnTo>
                  <a:lnTo>
                    <a:pt x="445" y="310"/>
                  </a:lnTo>
                  <a:lnTo>
                    <a:pt x="449" y="307"/>
                  </a:lnTo>
                  <a:lnTo>
                    <a:pt x="455" y="304"/>
                  </a:lnTo>
                  <a:lnTo>
                    <a:pt x="460" y="307"/>
                  </a:lnTo>
                  <a:lnTo>
                    <a:pt x="464" y="305"/>
                  </a:lnTo>
                  <a:lnTo>
                    <a:pt x="468" y="307"/>
                  </a:lnTo>
                  <a:lnTo>
                    <a:pt x="473" y="307"/>
                  </a:lnTo>
                  <a:lnTo>
                    <a:pt x="476" y="308"/>
                  </a:lnTo>
                  <a:lnTo>
                    <a:pt x="482" y="305"/>
                  </a:lnTo>
                  <a:lnTo>
                    <a:pt x="484" y="301"/>
                  </a:lnTo>
                  <a:lnTo>
                    <a:pt x="484" y="296"/>
                  </a:lnTo>
                  <a:lnTo>
                    <a:pt x="486" y="290"/>
                  </a:lnTo>
                  <a:lnTo>
                    <a:pt x="487" y="285"/>
                  </a:lnTo>
                  <a:lnTo>
                    <a:pt x="487" y="278"/>
                  </a:lnTo>
                  <a:lnTo>
                    <a:pt x="483" y="277"/>
                  </a:lnTo>
                  <a:lnTo>
                    <a:pt x="490" y="271"/>
                  </a:lnTo>
                  <a:lnTo>
                    <a:pt x="494" y="268"/>
                  </a:lnTo>
                  <a:lnTo>
                    <a:pt x="499" y="268"/>
                  </a:lnTo>
                  <a:lnTo>
                    <a:pt x="505" y="270"/>
                  </a:lnTo>
                  <a:lnTo>
                    <a:pt x="510" y="270"/>
                  </a:lnTo>
                  <a:lnTo>
                    <a:pt x="519" y="272"/>
                  </a:lnTo>
                  <a:lnTo>
                    <a:pt x="524" y="281"/>
                  </a:lnTo>
                  <a:lnTo>
                    <a:pt x="527" y="285"/>
                  </a:lnTo>
                  <a:lnTo>
                    <a:pt x="532" y="292"/>
                  </a:lnTo>
                  <a:lnTo>
                    <a:pt x="537" y="296"/>
                  </a:lnTo>
                  <a:lnTo>
                    <a:pt x="542" y="294"/>
                  </a:lnTo>
                  <a:lnTo>
                    <a:pt x="547" y="294"/>
                  </a:lnTo>
                  <a:lnTo>
                    <a:pt x="553" y="296"/>
                  </a:lnTo>
                  <a:lnTo>
                    <a:pt x="557" y="299"/>
                  </a:lnTo>
                  <a:lnTo>
                    <a:pt x="557" y="303"/>
                  </a:lnTo>
                  <a:lnTo>
                    <a:pt x="561" y="305"/>
                  </a:lnTo>
                  <a:lnTo>
                    <a:pt x="565" y="304"/>
                  </a:lnTo>
                  <a:lnTo>
                    <a:pt x="571" y="303"/>
                  </a:lnTo>
                  <a:lnTo>
                    <a:pt x="574" y="297"/>
                  </a:lnTo>
                  <a:lnTo>
                    <a:pt x="579" y="292"/>
                  </a:lnTo>
                  <a:lnTo>
                    <a:pt x="584" y="299"/>
                  </a:lnTo>
                  <a:lnTo>
                    <a:pt x="583" y="304"/>
                  </a:lnTo>
                  <a:lnTo>
                    <a:pt x="584" y="310"/>
                  </a:lnTo>
                  <a:lnTo>
                    <a:pt x="586" y="315"/>
                  </a:lnTo>
                  <a:lnTo>
                    <a:pt x="584" y="319"/>
                  </a:lnTo>
                  <a:lnTo>
                    <a:pt x="583" y="323"/>
                  </a:lnTo>
                  <a:lnTo>
                    <a:pt x="583" y="328"/>
                  </a:lnTo>
                  <a:lnTo>
                    <a:pt x="579" y="328"/>
                  </a:lnTo>
                  <a:lnTo>
                    <a:pt x="577" y="324"/>
                  </a:lnTo>
                  <a:lnTo>
                    <a:pt x="573" y="328"/>
                  </a:lnTo>
                  <a:lnTo>
                    <a:pt x="571" y="331"/>
                  </a:lnTo>
                  <a:lnTo>
                    <a:pt x="576" y="338"/>
                  </a:lnTo>
                  <a:lnTo>
                    <a:pt x="577" y="343"/>
                  </a:lnTo>
                  <a:lnTo>
                    <a:pt x="574" y="348"/>
                  </a:lnTo>
                  <a:lnTo>
                    <a:pt x="576" y="353"/>
                  </a:lnTo>
                  <a:lnTo>
                    <a:pt x="580" y="349"/>
                  </a:lnTo>
                  <a:lnTo>
                    <a:pt x="580" y="345"/>
                  </a:lnTo>
                  <a:lnTo>
                    <a:pt x="584" y="341"/>
                  </a:lnTo>
                  <a:lnTo>
                    <a:pt x="589" y="343"/>
                  </a:lnTo>
                  <a:lnTo>
                    <a:pt x="594" y="342"/>
                  </a:lnTo>
                  <a:lnTo>
                    <a:pt x="598" y="336"/>
                  </a:lnTo>
                  <a:lnTo>
                    <a:pt x="602" y="334"/>
                  </a:lnTo>
                  <a:lnTo>
                    <a:pt x="604" y="328"/>
                  </a:lnTo>
                  <a:lnTo>
                    <a:pt x="604" y="324"/>
                  </a:lnTo>
                  <a:lnTo>
                    <a:pt x="606" y="319"/>
                  </a:lnTo>
                  <a:lnTo>
                    <a:pt x="607" y="315"/>
                  </a:lnTo>
                  <a:lnTo>
                    <a:pt x="609" y="310"/>
                  </a:lnTo>
                  <a:lnTo>
                    <a:pt x="610" y="305"/>
                  </a:lnTo>
                  <a:lnTo>
                    <a:pt x="612" y="301"/>
                  </a:lnTo>
                  <a:lnTo>
                    <a:pt x="610" y="296"/>
                  </a:lnTo>
                  <a:lnTo>
                    <a:pt x="612" y="290"/>
                  </a:lnTo>
                  <a:lnTo>
                    <a:pt x="612" y="284"/>
                  </a:lnTo>
                  <a:lnTo>
                    <a:pt x="613" y="277"/>
                  </a:lnTo>
                  <a:lnTo>
                    <a:pt x="612" y="271"/>
                  </a:lnTo>
                  <a:lnTo>
                    <a:pt x="610" y="267"/>
                  </a:lnTo>
                  <a:lnTo>
                    <a:pt x="609" y="263"/>
                  </a:lnTo>
                  <a:lnTo>
                    <a:pt x="604" y="259"/>
                  </a:lnTo>
                  <a:lnTo>
                    <a:pt x="603" y="255"/>
                  </a:lnTo>
                  <a:lnTo>
                    <a:pt x="603" y="249"/>
                  </a:lnTo>
                  <a:lnTo>
                    <a:pt x="603" y="245"/>
                  </a:lnTo>
                  <a:lnTo>
                    <a:pt x="599" y="241"/>
                  </a:lnTo>
                  <a:lnTo>
                    <a:pt x="597" y="236"/>
                  </a:lnTo>
                  <a:lnTo>
                    <a:pt x="592" y="235"/>
                  </a:lnTo>
                  <a:lnTo>
                    <a:pt x="588" y="232"/>
                  </a:lnTo>
                  <a:lnTo>
                    <a:pt x="584" y="230"/>
                  </a:lnTo>
                  <a:lnTo>
                    <a:pt x="581" y="235"/>
                  </a:lnTo>
                  <a:lnTo>
                    <a:pt x="581" y="240"/>
                  </a:lnTo>
                  <a:lnTo>
                    <a:pt x="577" y="241"/>
                  </a:lnTo>
                  <a:lnTo>
                    <a:pt x="574" y="237"/>
                  </a:lnTo>
                  <a:lnTo>
                    <a:pt x="571" y="241"/>
                  </a:lnTo>
                  <a:lnTo>
                    <a:pt x="569" y="236"/>
                  </a:lnTo>
                  <a:lnTo>
                    <a:pt x="565" y="237"/>
                  </a:lnTo>
                  <a:lnTo>
                    <a:pt x="561" y="237"/>
                  </a:lnTo>
                  <a:lnTo>
                    <a:pt x="561" y="233"/>
                  </a:lnTo>
                  <a:lnTo>
                    <a:pt x="563" y="226"/>
                  </a:lnTo>
                  <a:lnTo>
                    <a:pt x="566" y="220"/>
                  </a:lnTo>
                  <a:lnTo>
                    <a:pt x="568" y="215"/>
                  </a:lnTo>
                  <a:lnTo>
                    <a:pt x="569" y="210"/>
                  </a:lnTo>
                  <a:lnTo>
                    <a:pt x="569" y="206"/>
                  </a:lnTo>
                  <a:lnTo>
                    <a:pt x="571" y="202"/>
                  </a:lnTo>
                  <a:lnTo>
                    <a:pt x="571" y="197"/>
                  </a:lnTo>
                  <a:lnTo>
                    <a:pt x="573" y="194"/>
                  </a:lnTo>
                  <a:lnTo>
                    <a:pt x="571" y="188"/>
                  </a:lnTo>
                  <a:lnTo>
                    <a:pt x="574" y="184"/>
                  </a:lnTo>
                  <a:lnTo>
                    <a:pt x="580" y="180"/>
                  </a:lnTo>
                  <a:lnTo>
                    <a:pt x="584" y="179"/>
                  </a:lnTo>
                  <a:lnTo>
                    <a:pt x="588" y="179"/>
                  </a:lnTo>
                  <a:lnTo>
                    <a:pt x="589" y="174"/>
                  </a:lnTo>
                  <a:lnTo>
                    <a:pt x="595" y="174"/>
                  </a:lnTo>
                  <a:lnTo>
                    <a:pt x="601" y="171"/>
                  </a:lnTo>
                  <a:lnTo>
                    <a:pt x="599" y="166"/>
                  </a:lnTo>
                  <a:lnTo>
                    <a:pt x="604" y="163"/>
                  </a:lnTo>
                  <a:lnTo>
                    <a:pt x="609" y="161"/>
                  </a:lnTo>
                  <a:lnTo>
                    <a:pt x="613" y="161"/>
                  </a:lnTo>
                  <a:lnTo>
                    <a:pt x="610" y="166"/>
                  </a:lnTo>
                  <a:lnTo>
                    <a:pt x="615" y="165"/>
                  </a:lnTo>
                  <a:lnTo>
                    <a:pt x="617" y="161"/>
                  </a:lnTo>
                  <a:lnTo>
                    <a:pt x="620" y="156"/>
                  </a:lnTo>
                  <a:lnTo>
                    <a:pt x="623" y="154"/>
                  </a:lnTo>
                  <a:lnTo>
                    <a:pt x="618" y="153"/>
                  </a:lnTo>
                  <a:lnTo>
                    <a:pt x="617" y="147"/>
                  </a:lnTo>
                  <a:lnTo>
                    <a:pt x="617" y="142"/>
                  </a:lnTo>
                  <a:lnTo>
                    <a:pt x="617" y="136"/>
                  </a:lnTo>
                  <a:lnTo>
                    <a:pt x="615" y="132"/>
                  </a:lnTo>
                  <a:lnTo>
                    <a:pt x="617" y="128"/>
                  </a:lnTo>
                  <a:lnTo>
                    <a:pt x="620" y="124"/>
                  </a:lnTo>
                  <a:lnTo>
                    <a:pt x="623" y="123"/>
                  </a:lnTo>
                  <a:lnTo>
                    <a:pt x="628" y="123"/>
                  </a:lnTo>
                  <a:lnTo>
                    <a:pt x="630" y="127"/>
                  </a:lnTo>
                  <a:lnTo>
                    <a:pt x="635" y="125"/>
                  </a:lnTo>
                  <a:lnTo>
                    <a:pt x="633" y="120"/>
                  </a:lnTo>
                  <a:lnTo>
                    <a:pt x="635" y="116"/>
                  </a:lnTo>
                  <a:lnTo>
                    <a:pt x="635" y="112"/>
                  </a:lnTo>
                  <a:lnTo>
                    <a:pt x="632" y="107"/>
                  </a:lnTo>
                  <a:lnTo>
                    <a:pt x="632" y="102"/>
                  </a:lnTo>
                  <a:lnTo>
                    <a:pt x="636" y="101"/>
                  </a:lnTo>
                  <a:lnTo>
                    <a:pt x="635" y="105"/>
                  </a:lnTo>
                  <a:lnTo>
                    <a:pt x="638" y="107"/>
                  </a:lnTo>
                  <a:lnTo>
                    <a:pt x="638" y="112"/>
                  </a:lnTo>
                  <a:lnTo>
                    <a:pt x="643" y="116"/>
                  </a:lnTo>
                  <a:lnTo>
                    <a:pt x="641" y="120"/>
                  </a:lnTo>
                  <a:lnTo>
                    <a:pt x="643" y="124"/>
                  </a:lnTo>
                  <a:lnTo>
                    <a:pt x="643" y="128"/>
                  </a:lnTo>
                  <a:lnTo>
                    <a:pt x="643" y="133"/>
                  </a:lnTo>
                  <a:lnTo>
                    <a:pt x="644" y="142"/>
                  </a:lnTo>
                  <a:lnTo>
                    <a:pt x="646" y="146"/>
                  </a:lnTo>
                  <a:lnTo>
                    <a:pt x="644" y="150"/>
                  </a:lnTo>
                  <a:lnTo>
                    <a:pt x="641" y="154"/>
                  </a:lnTo>
                  <a:lnTo>
                    <a:pt x="640" y="158"/>
                  </a:lnTo>
                  <a:lnTo>
                    <a:pt x="644" y="159"/>
                  </a:lnTo>
                  <a:lnTo>
                    <a:pt x="643" y="166"/>
                  </a:lnTo>
                  <a:lnTo>
                    <a:pt x="646" y="172"/>
                  </a:lnTo>
                  <a:lnTo>
                    <a:pt x="651" y="177"/>
                  </a:lnTo>
                  <a:lnTo>
                    <a:pt x="655" y="184"/>
                  </a:lnTo>
                  <a:lnTo>
                    <a:pt x="661" y="188"/>
                  </a:lnTo>
                  <a:lnTo>
                    <a:pt x="666" y="191"/>
                  </a:lnTo>
                  <a:lnTo>
                    <a:pt x="670" y="192"/>
                  </a:lnTo>
                  <a:lnTo>
                    <a:pt x="674" y="196"/>
                  </a:lnTo>
                  <a:lnTo>
                    <a:pt x="679" y="200"/>
                  </a:lnTo>
                  <a:lnTo>
                    <a:pt x="683" y="206"/>
                  </a:lnTo>
                  <a:lnTo>
                    <a:pt x="687" y="204"/>
                  </a:lnTo>
                  <a:lnTo>
                    <a:pt x="687" y="199"/>
                  </a:lnTo>
                  <a:lnTo>
                    <a:pt x="687" y="193"/>
                  </a:lnTo>
                  <a:lnTo>
                    <a:pt x="685" y="189"/>
                  </a:lnTo>
                  <a:lnTo>
                    <a:pt x="682" y="185"/>
                  </a:lnTo>
                  <a:lnTo>
                    <a:pt x="685" y="181"/>
                  </a:lnTo>
                  <a:lnTo>
                    <a:pt x="683" y="177"/>
                  </a:lnTo>
                  <a:lnTo>
                    <a:pt x="679" y="173"/>
                  </a:lnTo>
                  <a:lnTo>
                    <a:pt x="677" y="169"/>
                  </a:lnTo>
                  <a:lnTo>
                    <a:pt x="679" y="163"/>
                  </a:lnTo>
                  <a:lnTo>
                    <a:pt x="681" y="158"/>
                  </a:lnTo>
                  <a:lnTo>
                    <a:pt x="677" y="156"/>
                  </a:lnTo>
                  <a:lnTo>
                    <a:pt x="673" y="151"/>
                  </a:lnTo>
                  <a:lnTo>
                    <a:pt x="671" y="147"/>
                  </a:lnTo>
                  <a:lnTo>
                    <a:pt x="676" y="147"/>
                  </a:lnTo>
                  <a:lnTo>
                    <a:pt x="673" y="143"/>
                  </a:lnTo>
                  <a:lnTo>
                    <a:pt x="669" y="145"/>
                  </a:lnTo>
                  <a:lnTo>
                    <a:pt x="665" y="140"/>
                  </a:lnTo>
                  <a:lnTo>
                    <a:pt x="666" y="136"/>
                  </a:lnTo>
                  <a:lnTo>
                    <a:pt x="662" y="137"/>
                  </a:lnTo>
                  <a:lnTo>
                    <a:pt x="656" y="136"/>
                  </a:lnTo>
                  <a:lnTo>
                    <a:pt x="655" y="132"/>
                  </a:lnTo>
                  <a:lnTo>
                    <a:pt x="653" y="128"/>
                  </a:lnTo>
                  <a:lnTo>
                    <a:pt x="651" y="121"/>
                  </a:lnTo>
                  <a:lnTo>
                    <a:pt x="655" y="118"/>
                  </a:lnTo>
                  <a:lnTo>
                    <a:pt x="653" y="113"/>
                  </a:lnTo>
                  <a:lnTo>
                    <a:pt x="655" y="107"/>
                  </a:lnTo>
                  <a:lnTo>
                    <a:pt x="658" y="112"/>
                  </a:lnTo>
                  <a:lnTo>
                    <a:pt x="658" y="107"/>
                  </a:lnTo>
                  <a:lnTo>
                    <a:pt x="659" y="104"/>
                  </a:lnTo>
                  <a:lnTo>
                    <a:pt x="663" y="99"/>
                  </a:lnTo>
                  <a:lnTo>
                    <a:pt x="667" y="98"/>
                  </a:lnTo>
                  <a:lnTo>
                    <a:pt x="671" y="98"/>
                  </a:lnTo>
                  <a:lnTo>
                    <a:pt x="670" y="94"/>
                  </a:lnTo>
                  <a:lnTo>
                    <a:pt x="670" y="89"/>
                  </a:lnTo>
                  <a:lnTo>
                    <a:pt x="670" y="84"/>
                  </a:lnTo>
                  <a:lnTo>
                    <a:pt x="667" y="81"/>
                  </a:lnTo>
                  <a:lnTo>
                    <a:pt x="669" y="76"/>
                  </a:lnTo>
                  <a:lnTo>
                    <a:pt x="667" y="71"/>
                  </a:lnTo>
                  <a:lnTo>
                    <a:pt x="669" y="66"/>
                  </a:lnTo>
                  <a:lnTo>
                    <a:pt x="669" y="61"/>
                  </a:lnTo>
                  <a:lnTo>
                    <a:pt x="673" y="57"/>
                  </a:lnTo>
                  <a:lnTo>
                    <a:pt x="676" y="50"/>
                  </a:lnTo>
                  <a:lnTo>
                    <a:pt x="670" y="48"/>
                  </a:lnTo>
                  <a:lnTo>
                    <a:pt x="666" y="49"/>
                  </a:lnTo>
                  <a:lnTo>
                    <a:pt x="662" y="48"/>
                  </a:lnTo>
                  <a:lnTo>
                    <a:pt x="658" y="48"/>
                  </a:lnTo>
                  <a:lnTo>
                    <a:pt x="653" y="48"/>
                  </a:lnTo>
                  <a:lnTo>
                    <a:pt x="650" y="52"/>
                  </a:lnTo>
                  <a:lnTo>
                    <a:pt x="650" y="46"/>
                  </a:lnTo>
                  <a:lnTo>
                    <a:pt x="655" y="43"/>
                  </a:lnTo>
                  <a:lnTo>
                    <a:pt x="655" y="38"/>
                  </a:lnTo>
                  <a:lnTo>
                    <a:pt x="653" y="34"/>
                  </a:lnTo>
                  <a:lnTo>
                    <a:pt x="650" y="33"/>
                  </a:lnTo>
                  <a:lnTo>
                    <a:pt x="646" y="33"/>
                  </a:lnTo>
                  <a:lnTo>
                    <a:pt x="644" y="29"/>
                  </a:lnTo>
                  <a:lnTo>
                    <a:pt x="648" y="27"/>
                  </a:lnTo>
                  <a:lnTo>
                    <a:pt x="655" y="29"/>
                  </a:lnTo>
                  <a:lnTo>
                    <a:pt x="656" y="25"/>
                  </a:lnTo>
                  <a:lnTo>
                    <a:pt x="661" y="22"/>
                  </a:lnTo>
                  <a:lnTo>
                    <a:pt x="665" y="23"/>
                  </a:lnTo>
                  <a:lnTo>
                    <a:pt x="669" y="22"/>
                  </a:lnTo>
                  <a:lnTo>
                    <a:pt x="673" y="17"/>
                  </a:lnTo>
                  <a:lnTo>
                    <a:pt x="674" y="14"/>
                  </a:lnTo>
                  <a:lnTo>
                    <a:pt x="670" y="15"/>
                  </a:lnTo>
                  <a:lnTo>
                    <a:pt x="670" y="11"/>
                  </a:lnTo>
                  <a:lnTo>
                    <a:pt x="666" y="8"/>
                  </a:lnTo>
                  <a:lnTo>
                    <a:pt x="661" y="9"/>
                  </a:lnTo>
                  <a:lnTo>
                    <a:pt x="666" y="4"/>
                  </a:lnTo>
                  <a:lnTo>
                    <a:pt x="663" y="0"/>
                  </a:lnTo>
                  <a:lnTo>
                    <a:pt x="658" y="0"/>
                  </a:lnTo>
                  <a:lnTo>
                    <a:pt x="653" y="1"/>
                  </a:lnTo>
                  <a:lnTo>
                    <a:pt x="650" y="4"/>
                  </a:lnTo>
                  <a:lnTo>
                    <a:pt x="648" y="8"/>
                  </a:lnTo>
                  <a:lnTo>
                    <a:pt x="651" y="12"/>
                  </a:lnTo>
                  <a:lnTo>
                    <a:pt x="647" y="12"/>
                  </a:lnTo>
                  <a:lnTo>
                    <a:pt x="641" y="11"/>
                  </a:lnTo>
                  <a:lnTo>
                    <a:pt x="637" y="14"/>
                  </a:lnTo>
                  <a:lnTo>
                    <a:pt x="632" y="16"/>
                  </a:lnTo>
                  <a:lnTo>
                    <a:pt x="626" y="17"/>
                  </a:lnTo>
                  <a:lnTo>
                    <a:pt x="622" y="17"/>
                  </a:lnTo>
                  <a:lnTo>
                    <a:pt x="614" y="22"/>
                  </a:lnTo>
                  <a:lnTo>
                    <a:pt x="610" y="25"/>
                  </a:lnTo>
                  <a:lnTo>
                    <a:pt x="606" y="25"/>
                  </a:lnTo>
                  <a:lnTo>
                    <a:pt x="602" y="30"/>
                  </a:lnTo>
                  <a:lnTo>
                    <a:pt x="597" y="35"/>
                  </a:lnTo>
                  <a:lnTo>
                    <a:pt x="594" y="40"/>
                  </a:lnTo>
                  <a:lnTo>
                    <a:pt x="598" y="42"/>
                  </a:lnTo>
                  <a:lnTo>
                    <a:pt x="602" y="43"/>
                  </a:lnTo>
                  <a:lnTo>
                    <a:pt x="602" y="48"/>
                  </a:lnTo>
                  <a:lnTo>
                    <a:pt x="598" y="49"/>
                  </a:lnTo>
                  <a:lnTo>
                    <a:pt x="594" y="50"/>
                  </a:lnTo>
                  <a:lnTo>
                    <a:pt x="589" y="53"/>
                  </a:lnTo>
                  <a:lnTo>
                    <a:pt x="586" y="54"/>
                  </a:lnTo>
                  <a:lnTo>
                    <a:pt x="580" y="58"/>
                  </a:lnTo>
                  <a:lnTo>
                    <a:pt x="577" y="63"/>
                  </a:lnTo>
                  <a:lnTo>
                    <a:pt x="579" y="66"/>
                  </a:lnTo>
                  <a:lnTo>
                    <a:pt x="574" y="69"/>
                  </a:lnTo>
                  <a:lnTo>
                    <a:pt x="571" y="68"/>
                  </a:lnTo>
                  <a:lnTo>
                    <a:pt x="568" y="64"/>
                  </a:lnTo>
                  <a:lnTo>
                    <a:pt x="563" y="63"/>
                  </a:lnTo>
                  <a:lnTo>
                    <a:pt x="557" y="63"/>
                  </a:lnTo>
                  <a:lnTo>
                    <a:pt x="554" y="66"/>
                  </a:lnTo>
                  <a:lnTo>
                    <a:pt x="550" y="72"/>
                  </a:lnTo>
                  <a:lnTo>
                    <a:pt x="546" y="76"/>
                  </a:lnTo>
                  <a:lnTo>
                    <a:pt x="540" y="78"/>
                  </a:lnTo>
                  <a:lnTo>
                    <a:pt x="535" y="75"/>
                  </a:lnTo>
                  <a:lnTo>
                    <a:pt x="531" y="76"/>
                  </a:lnTo>
                  <a:lnTo>
                    <a:pt x="530" y="72"/>
                  </a:lnTo>
                  <a:lnTo>
                    <a:pt x="525" y="73"/>
                  </a:lnTo>
                  <a:lnTo>
                    <a:pt x="524" y="78"/>
                  </a:lnTo>
                  <a:lnTo>
                    <a:pt x="522" y="83"/>
                  </a:lnTo>
                  <a:lnTo>
                    <a:pt x="520" y="79"/>
                  </a:lnTo>
                  <a:lnTo>
                    <a:pt x="516" y="81"/>
                  </a:lnTo>
                  <a:lnTo>
                    <a:pt x="517" y="76"/>
                  </a:lnTo>
                  <a:lnTo>
                    <a:pt x="513" y="76"/>
                  </a:lnTo>
                  <a:lnTo>
                    <a:pt x="509" y="78"/>
                  </a:lnTo>
                  <a:lnTo>
                    <a:pt x="505" y="79"/>
                  </a:lnTo>
                  <a:lnTo>
                    <a:pt x="505" y="83"/>
                  </a:lnTo>
                  <a:lnTo>
                    <a:pt x="501" y="86"/>
                  </a:lnTo>
                  <a:lnTo>
                    <a:pt x="504" y="90"/>
                  </a:lnTo>
                  <a:lnTo>
                    <a:pt x="505" y="94"/>
                  </a:lnTo>
                  <a:lnTo>
                    <a:pt x="501" y="94"/>
                  </a:lnTo>
                  <a:lnTo>
                    <a:pt x="502" y="98"/>
                  </a:lnTo>
                  <a:lnTo>
                    <a:pt x="498" y="98"/>
                  </a:lnTo>
                  <a:lnTo>
                    <a:pt x="494" y="98"/>
                  </a:lnTo>
                  <a:lnTo>
                    <a:pt x="489" y="101"/>
                  </a:lnTo>
                  <a:lnTo>
                    <a:pt x="484" y="99"/>
                  </a:lnTo>
                  <a:lnTo>
                    <a:pt x="484" y="104"/>
                  </a:lnTo>
                  <a:lnTo>
                    <a:pt x="484" y="107"/>
                  </a:lnTo>
                  <a:lnTo>
                    <a:pt x="481" y="109"/>
                  </a:lnTo>
                  <a:lnTo>
                    <a:pt x="476" y="106"/>
                  </a:lnTo>
                  <a:lnTo>
                    <a:pt x="473" y="104"/>
                  </a:lnTo>
                  <a:lnTo>
                    <a:pt x="473" y="99"/>
                  </a:lnTo>
                  <a:lnTo>
                    <a:pt x="471" y="94"/>
                  </a:lnTo>
                  <a:lnTo>
                    <a:pt x="467" y="93"/>
                  </a:lnTo>
                  <a:lnTo>
                    <a:pt x="461" y="93"/>
                  </a:lnTo>
                  <a:lnTo>
                    <a:pt x="456" y="90"/>
                  </a:lnTo>
                  <a:lnTo>
                    <a:pt x="452" y="94"/>
                  </a:lnTo>
                  <a:lnTo>
                    <a:pt x="453" y="98"/>
                  </a:lnTo>
                  <a:lnTo>
                    <a:pt x="449" y="98"/>
                  </a:lnTo>
                  <a:lnTo>
                    <a:pt x="441" y="101"/>
                  </a:lnTo>
                  <a:lnTo>
                    <a:pt x="438" y="97"/>
                  </a:lnTo>
                  <a:lnTo>
                    <a:pt x="434" y="95"/>
                  </a:lnTo>
                  <a:lnTo>
                    <a:pt x="430" y="94"/>
                  </a:lnTo>
                  <a:lnTo>
                    <a:pt x="426" y="97"/>
                  </a:lnTo>
                  <a:lnTo>
                    <a:pt x="423" y="101"/>
                  </a:lnTo>
                  <a:lnTo>
                    <a:pt x="423" y="97"/>
                  </a:lnTo>
                  <a:lnTo>
                    <a:pt x="417" y="95"/>
                  </a:lnTo>
                  <a:lnTo>
                    <a:pt x="414" y="98"/>
                  </a:lnTo>
                  <a:lnTo>
                    <a:pt x="414" y="94"/>
                  </a:lnTo>
                  <a:lnTo>
                    <a:pt x="417" y="89"/>
                  </a:lnTo>
                  <a:lnTo>
                    <a:pt x="422" y="84"/>
                  </a:lnTo>
                  <a:lnTo>
                    <a:pt x="423" y="81"/>
                  </a:lnTo>
                  <a:lnTo>
                    <a:pt x="423" y="76"/>
                  </a:lnTo>
                  <a:lnTo>
                    <a:pt x="417" y="75"/>
                  </a:lnTo>
                  <a:lnTo>
                    <a:pt x="417" y="71"/>
                  </a:lnTo>
                  <a:lnTo>
                    <a:pt x="409" y="69"/>
                  </a:lnTo>
                  <a:lnTo>
                    <a:pt x="404" y="69"/>
                  </a:lnTo>
                  <a:lnTo>
                    <a:pt x="403" y="64"/>
                  </a:lnTo>
                  <a:lnTo>
                    <a:pt x="399" y="64"/>
                  </a:lnTo>
                  <a:lnTo>
                    <a:pt x="394" y="66"/>
                  </a:lnTo>
                  <a:lnTo>
                    <a:pt x="393" y="72"/>
                  </a:lnTo>
                  <a:lnTo>
                    <a:pt x="389" y="75"/>
                  </a:lnTo>
                  <a:lnTo>
                    <a:pt x="383" y="76"/>
                  </a:lnTo>
                  <a:lnTo>
                    <a:pt x="380" y="78"/>
                  </a:lnTo>
                  <a:lnTo>
                    <a:pt x="374" y="75"/>
                  </a:lnTo>
                  <a:lnTo>
                    <a:pt x="368" y="78"/>
                  </a:lnTo>
                  <a:lnTo>
                    <a:pt x="365" y="78"/>
                  </a:lnTo>
                  <a:lnTo>
                    <a:pt x="360" y="78"/>
                  </a:lnTo>
                  <a:lnTo>
                    <a:pt x="357" y="79"/>
                  </a:lnTo>
                  <a:lnTo>
                    <a:pt x="352" y="81"/>
                  </a:lnTo>
                  <a:lnTo>
                    <a:pt x="352" y="84"/>
                  </a:lnTo>
                  <a:lnTo>
                    <a:pt x="350" y="89"/>
                  </a:lnTo>
                  <a:lnTo>
                    <a:pt x="350" y="93"/>
                  </a:lnTo>
                  <a:lnTo>
                    <a:pt x="347" y="90"/>
                  </a:lnTo>
                  <a:lnTo>
                    <a:pt x="342" y="90"/>
                  </a:lnTo>
                  <a:lnTo>
                    <a:pt x="335" y="87"/>
                  </a:lnTo>
                  <a:lnTo>
                    <a:pt x="330" y="90"/>
                  </a:lnTo>
                  <a:lnTo>
                    <a:pt x="330" y="95"/>
                  </a:lnTo>
                  <a:lnTo>
                    <a:pt x="332" y="99"/>
                  </a:lnTo>
                  <a:lnTo>
                    <a:pt x="333" y="104"/>
                  </a:lnTo>
                  <a:lnTo>
                    <a:pt x="333" y="109"/>
                  </a:lnTo>
                  <a:lnTo>
                    <a:pt x="333" y="113"/>
                  </a:lnTo>
                  <a:lnTo>
                    <a:pt x="332" y="117"/>
                  </a:lnTo>
                  <a:lnTo>
                    <a:pt x="328" y="117"/>
                  </a:lnTo>
                  <a:lnTo>
                    <a:pt x="332" y="115"/>
                  </a:lnTo>
                  <a:lnTo>
                    <a:pt x="328" y="115"/>
                  </a:lnTo>
                  <a:lnTo>
                    <a:pt x="329" y="109"/>
                  </a:lnTo>
                  <a:lnTo>
                    <a:pt x="332" y="105"/>
                  </a:lnTo>
                  <a:lnTo>
                    <a:pt x="328" y="102"/>
                  </a:lnTo>
                  <a:lnTo>
                    <a:pt x="326" y="98"/>
                  </a:lnTo>
                  <a:lnTo>
                    <a:pt x="321" y="95"/>
                  </a:lnTo>
                  <a:lnTo>
                    <a:pt x="317" y="98"/>
                  </a:lnTo>
                  <a:lnTo>
                    <a:pt x="313" y="98"/>
                  </a:lnTo>
                  <a:lnTo>
                    <a:pt x="316" y="102"/>
                  </a:lnTo>
                  <a:lnTo>
                    <a:pt x="317" y="106"/>
                  </a:lnTo>
                  <a:lnTo>
                    <a:pt x="313" y="102"/>
                  </a:lnTo>
                  <a:lnTo>
                    <a:pt x="309" y="104"/>
                  </a:lnTo>
                  <a:lnTo>
                    <a:pt x="311" y="97"/>
                  </a:lnTo>
                  <a:lnTo>
                    <a:pt x="314" y="91"/>
                  </a:lnTo>
                  <a:lnTo>
                    <a:pt x="314" y="87"/>
                  </a:lnTo>
                  <a:lnTo>
                    <a:pt x="309" y="93"/>
                  </a:lnTo>
                  <a:lnTo>
                    <a:pt x="304" y="93"/>
                  </a:lnTo>
                  <a:lnTo>
                    <a:pt x="301" y="97"/>
                  </a:lnTo>
                  <a:lnTo>
                    <a:pt x="302" y="102"/>
                  </a:lnTo>
                  <a:lnTo>
                    <a:pt x="299" y="106"/>
                  </a:lnTo>
                  <a:lnTo>
                    <a:pt x="296" y="112"/>
                  </a:lnTo>
                  <a:lnTo>
                    <a:pt x="296" y="116"/>
                  </a:lnTo>
                  <a:lnTo>
                    <a:pt x="301" y="117"/>
                  </a:lnTo>
                  <a:lnTo>
                    <a:pt x="304" y="120"/>
                  </a:lnTo>
                  <a:lnTo>
                    <a:pt x="304" y="127"/>
                  </a:lnTo>
                  <a:lnTo>
                    <a:pt x="303" y="132"/>
                  </a:lnTo>
                  <a:lnTo>
                    <a:pt x="303" y="127"/>
                  </a:lnTo>
                  <a:lnTo>
                    <a:pt x="303" y="123"/>
                  </a:lnTo>
                  <a:lnTo>
                    <a:pt x="298" y="120"/>
                  </a:lnTo>
                  <a:lnTo>
                    <a:pt x="294" y="121"/>
                  </a:lnTo>
                  <a:lnTo>
                    <a:pt x="293" y="127"/>
                  </a:lnTo>
                  <a:lnTo>
                    <a:pt x="288" y="130"/>
                  </a:lnTo>
                  <a:lnTo>
                    <a:pt x="284" y="132"/>
                  </a:lnTo>
                  <a:lnTo>
                    <a:pt x="278" y="135"/>
                  </a:lnTo>
                  <a:lnTo>
                    <a:pt x="275" y="135"/>
                  </a:lnTo>
                  <a:lnTo>
                    <a:pt x="273" y="130"/>
                  </a:lnTo>
                  <a:lnTo>
                    <a:pt x="278" y="130"/>
                  </a:lnTo>
                  <a:lnTo>
                    <a:pt x="281" y="128"/>
                  </a:lnTo>
                  <a:lnTo>
                    <a:pt x="287" y="127"/>
                  </a:lnTo>
                  <a:lnTo>
                    <a:pt x="288" y="123"/>
                  </a:lnTo>
                  <a:lnTo>
                    <a:pt x="291" y="118"/>
                  </a:lnTo>
                  <a:lnTo>
                    <a:pt x="290" y="113"/>
                  </a:lnTo>
                  <a:lnTo>
                    <a:pt x="294" y="109"/>
                  </a:lnTo>
                  <a:lnTo>
                    <a:pt x="295" y="105"/>
                  </a:lnTo>
                  <a:lnTo>
                    <a:pt x="298" y="101"/>
                  </a:lnTo>
                  <a:lnTo>
                    <a:pt x="299" y="97"/>
                  </a:lnTo>
                  <a:lnTo>
                    <a:pt x="301" y="93"/>
                  </a:lnTo>
                  <a:lnTo>
                    <a:pt x="304" y="89"/>
                  </a:lnTo>
                  <a:lnTo>
                    <a:pt x="306" y="83"/>
                  </a:lnTo>
                  <a:lnTo>
                    <a:pt x="302" y="81"/>
                  </a:lnTo>
                  <a:lnTo>
                    <a:pt x="298" y="78"/>
                  </a:lnTo>
                  <a:lnTo>
                    <a:pt x="293" y="83"/>
                  </a:lnTo>
                  <a:lnTo>
                    <a:pt x="287" y="87"/>
                  </a:lnTo>
                  <a:lnTo>
                    <a:pt x="281" y="90"/>
                  </a:lnTo>
                  <a:lnTo>
                    <a:pt x="278" y="95"/>
                  </a:lnTo>
                  <a:lnTo>
                    <a:pt x="276" y="99"/>
                  </a:lnTo>
                  <a:lnTo>
                    <a:pt x="278" y="104"/>
                  </a:lnTo>
                  <a:lnTo>
                    <a:pt x="278" y="109"/>
                  </a:lnTo>
                  <a:lnTo>
                    <a:pt x="275" y="113"/>
                  </a:lnTo>
                  <a:lnTo>
                    <a:pt x="272" y="109"/>
                  </a:lnTo>
                  <a:lnTo>
                    <a:pt x="272" y="105"/>
                  </a:lnTo>
                  <a:lnTo>
                    <a:pt x="268" y="99"/>
                  </a:lnTo>
                  <a:lnTo>
                    <a:pt x="265" y="95"/>
                  </a:lnTo>
                  <a:lnTo>
                    <a:pt x="262" y="91"/>
                  </a:lnTo>
                  <a:lnTo>
                    <a:pt x="260" y="87"/>
                  </a:lnTo>
                  <a:lnTo>
                    <a:pt x="255" y="87"/>
                  </a:lnTo>
                  <a:lnTo>
                    <a:pt x="253" y="91"/>
                  </a:lnTo>
                  <a:lnTo>
                    <a:pt x="249" y="94"/>
                  </a:lnTo>
                  <a:lnTo>
                    <a:pt x="245" y="95"/>
                  </a:lnTo>
                  <a:lnTo>
                    <a:pt x="247" y="90"/>
                  </a:lnTo>
                  <a:lnTo>
                    <a:pt x="242" y="89"/>
                  </a:lnTo>
                  <a:lnTo>
                    <a:pt x="237" y="84"/>
                  </a:lnTo>
                  <a:lnTo>
                    <a:pt x="234" y="86"/>
                  </a:lnTo>
                  <a:lnTo>
                    <a:pt x="229" y="84"/>
                  </a:lnTo>
                  <a:lnTo>
                    <a:pt x="232" y="81"/>
                  </a:lnTo>
                  <a:lnTo>
                    <a:pt x="231" y="76"/>
                  </a:lnTo>
                  <a:lnTo>
                    <a:pt x="226" y="79"/>
                  </a:lnTo>
                  <a:lnTo>
                    <a:pt x="226" y="75"/>
                  </a:lnTo>
                  <a:lnTo>
                    <a:pt x="220" y="75"/>
                  </a:lnTo>
                  <a:lnTo>
                    <a:pt x="216" y="73"/>
                  </a:lnTo>
                  <a:lnTo>
                    <a:pt x="212" y="75"/>
                  </a:lnTo>
                  <a:lnTo>
                    <a:pt x="208" y="73"/>
                  </a:lnTo>
                  <a:lnTo>
                    <a:pt x="202" y="75"/>
                  </a:lnTo>
                  <a:lnTo>
                    <a:pt x="200" y="69"/>
                  </a:lnTo>
                  <a:lnTo>
                    <a:pt x="201" y="66"/>
                  </a:lnTo>
                  <a:lnTo>
                    <a:pt x="205" y="66"/>
                  </a:lnTo>
                  <a:lnTo>
                    <a:pt x="209" y="64"/>
                  </a:lnTo>
                  <a:lnTo>
                    <a:pt x="209" y="58"/>
                  </a:lnTo>
                  <a:lnTo>
                    <a:pt x="206" y="54"/>
                  </a:lnTo>
                  <a:lnTo>
                    <a:pt x="202" y="60"/>
                  </a:lnTo>
                  <a:lnTo>
                    <a:pt x="198" y="61"/>
                  </a:lnTo>
                  <a:lnTo>
                    <a:pt x="194" y="64"/>
                  </a:lnTo>
                  <a:lnTo>
                    <a:pt x="194" y="68"/>
                  </a:lnTo>
                  <a:lnTo>
                    <a:pt x="190" y="69"/>
                  </a:lnTo>
                  <a:lnTo>
                    <a:pt x="188" y="64"/>
                  </a:lnTo>
                  <a:lnTo>
                    <a:pt x="182" y="61"/>
                  </a:lnTo>
                  <a:lnTo>
                    <a:pt x="174" y="61"/>
                  </a:lnTo>
                  <a:lnTo>
                    <a:pt x="168" y="66"/>
                  </a:lnTo>
                  <a:lnTo>
                    <a:pt x="165" y="63"/>
                  </a:lnTo>
                  <a:lnTo>
                    <a:pt x="164" y="58"/>
                  </a:lnTo>
                  <a:lnTo>
                    <a:pt x="164" y="54"/>
                  </a:lnTo>
                  <a:lnTo>
                    <a:pt x="160" y="53"/>
                  </a:lnTo>
                  <a:lnTo>
                    <a:pt x="160" y="57"/>
                  </a:lnTo>
                  <a:lnTo>
                    <a:pt x="160" y="61"/>
                  </a:lnTo>
                  <a:lnTo>
                    <a:pt x="156" y="63"/>
                  </a:lnTo>
                  <a:lnTo>
                    <a:pt x="155" y="57"/>
                  </a:lnTo>
                  <a:lnTo>
                    <a:pt x="153" y="52"/>
                  </a:lnTo>
                  <a:lnTo>
                    <a:pt x="157" y="48"/>
                  </a:lnTo>
                  <a:lnTo>
                    <a:pt x="162" y="43"/>
                  </a:lnTo>
                  <a:lnTo>
                    <a:pt x="165" y="41"/>
                  </a:lnTo>
                  <a:lnTo>
                    <a:pt x="167" y="37"/>
                  </a:lnTo>
                  <a:lnTo>
                    <a:pt x="168" y="33"/>
                  </a:lnTo>
                  <a:lnTo>
                    <a:pt x="171" y="38"/>
                  </a:lnTo>
                  <a:lnTo>
                    <a:pt x="171" y="42"/>
                  </a:lnTo>
                  <a:lnTo>
                    <a:pt x="172" y="46"/>
                  </a:lnTo>
                  <a:lnTo>
                    <a:pt x="172" y="52"/>
                  </a:lnTo>
                  <a:lnTo>
                    <a:pt x="177" y="57"/>
                  </a:lnTo>
                  <a:lnTo>
                    <a:pt x="180" y="57"/>
                  </a:lnTo>
                  <a:lnTo>
                    <a:pt x="186" y="57"/>
                  </a:lnTo>
                  <a:lnTo>
                    <a:pt x="190" y="56"/>
                  </a:lnTo>
                  <a:lnTo>
                    <a:pt x="191" y="52"/>
                  </a:lnTo>
                  <a:lnTo>
                    <a:pt x="193" y="48"/>
                  </a:lnTo>
                  <a:lnTo>
                    <a:pt x="193" y="43"/>
                  </a:lnTo>
                  <a:lnTo>
                    <a:pt x="193" y="37"/>
                  </a:lnTo>
                  <a:lnTo>
                    <a:pt x="194" y="32"/>
                  </a:lnTo>
                  <a:lnTo>
                    <a:pt x="191" y="27"/>
                  </a:lnTo>
                  <a:lnTo>
                    <a:pt x="190" y="23"/>
                  </a:lnTo>
                  <a:lnTo>
                    <a:pt x="188" y="19"/>
                  </a:lnTo>
                  <a:lnTo>
                    <a:pt x="190" y="15"/>
                  </a:lnTo>
                  <a:lnTo>
                    <a:pt x="185" y="14"/>
                  </a:lnTo>
                  <a:lnTo>
                    <a:pt x="180" y="11"/>
                  </a:lnTo>
                  <a:lnTo>
                    <a:pt x="175" y="11"/>
                  </a:lnTo>
                  <a:lnTo>
                    <a:pt x="170" y="14"/>
                  </a:lnTo>
                  <a:lnTo>
                    <a:pt x="167" y="19"/>
                  </a:lnTo>
                  <a:lnTo>
                    <a:pt x="163" y="20"/>
                  </a:lnTo>
                  <a:lnTo>
                    <a:pt x="157" y="23"/>
                  </a:lnTo>
                  <a:lnTo>
                    <a:pt x="155" y="27"/>
                  </a:lnTo>
                  <a:lnTo>
                    <a:pt x="150" y="29"/>
                  </a:lnTo>
                  <a:lnTo>
                    <a:pt x="145" y="30"/>
                  </a:lnTo>
                  <a:lnTo>
                    <a:pt x="142" y="34"/>
                  </a:lnTo>
                  <a:lnTo>
                    <a:pt x="137" y="37"/>
                  </a:lnTo>
                  <a:lnTo>
                    <a:pt x="134" y="42"/>
                  </a:lnTo>
                  <a:lnTo>
                    <a:pt x="130" y="43"/>
                  </a:lnTo>
                  <a:lnTo>
                    <a:pt x="126" y="43"/>
                  </a:lnTo>
                  <a:lnTo>
                    <a:pt x="122" y="43"/>
                  </a:lnTo>
                  <a:lnTo>
                    <a:pt x="118" y="43"/>
                  </a:lnTo>
                  <a:lnTo>
                    <a:pt x="111" y="41"/>
                  </a:lnTo>
                  <a:lnTo>
                    <a:pt x="107" y="41"/>
                  </a:lnTo>
                  <a:lnTo>
                    <a:pt x="103" y="48"/>
                  </a:lnTo>
                  <a:lnTo>
                    <a:pt x="107" y="50"/>
                  </a:lnTo>
                  <a:lnTo>
                    <a:pt x="103" y="53"/>
                  </a:lnTo>
                  <a:lnTo>
                    <a:pt x="103" y="49"/>
                  </a:lnTo>
                  <a:lnTo>
                    <a:pt x="98" y="48"/>
                  </a:lnTo>
                  <a:lnTo>
                    <a:pt x="95" y="45"/>
                  </a:lnTo>
                  <a:lnTo>
                    <a:pt x="89" y="45"/>
                  </a:lnTo>
                  <a:lnTo>
                    <a:pt x="84" y="46"/>
                  </a:lnTo>
                  <a:lnTo>
                    <a:pt x="81" y="52"/>
                  </a:lnTo>
                  <a:lnTo>
                    <a:pt x="75" y="52"/>
                  </a:lnTo>
                  <a:lnTo>
                    <a:pt x="72" y="56"/>
                  </a:lnTo>
                  <a:lnTo>
                    <a:pt x="69" y="57"/>
                  </a:lnTo>
                  <a:lnTo>
                    <a:pt x="64" y="57"/>
                  </a:lnTo>
                  <a:lnTo>
                    <a:pt x="64" y="61"/>
                  </a:lnTo>
                  <a:lnTo>
                    <a:pt x="66" y="67"/>
                  </a:lnTo>
                  <a:lnTo>
                    <a:pt x="67" y="70"/>
                  </a:lnTo>
                  <a:lnTo>
                    <a:pt x="66" y="75"/>
                  </a:lnTo>
                  <a:lnTo>
                    <a:pt x="62" y="75"/>
                  </a:lnTo>
                  <a:lnTo>
                    <a:pt x="59" y="79"/>
                  </a:lnTo>
                  <a:lnTo>
                    <a:pt x="57" y="83"/>
                  </a:lnTo>
                  <a:lnTo>
                    <a:pt x="56" y="87"/>
                  </a:lnTo>
                  <a:lnTo>
                    <a:pt x="52" y="90"/>
                  </a:lnTo>
                  <a:lnTo>
                    <a:pt x="48" y="86"/>
                  </a:lnTo>
                  <a:lnTo>
                    <a:pt x="46" y="90"/>
                  </a:lnTo>
                  <a:lnTo>
                    <a:pt x="42" y="93"/>
                  </a:lnTo>
                  <a:lnTo>
                    <a:pt x="43" y="97"/>
                  </a:lnTo>
                  <a:lnTo>
                    <a:pt x="46" y="101"/>
                  </a:lnTo>
                  <a:lnTo>
                    <a:pt x="47" y="105"/>
                  </a:lnTo>
                  <a:lnTo>
                    <a:pt x="44" y="109"/>
                  </a:lnTo>
                  <a:lnTo>
                    <a:pt x="40" y="113"/>
                  </a:lnTo>
                  <a:lnTo>
                    <a:pt x="41" y="117"/>
                  </a:lnTo>
                  <a:lnTo>
                    <a:pt x="39" y="121"/>
                  </a:lnTo>
                  <a:lnTo>
                    <a:pt x="40" y="127"/>
                  </a:lnTo>
                  <a:lnTo>
                    <a:pt x="43" y="130"/>
                  </a:lnTo>
                  <a:lnTo>
                    <a:pt x="43" y="135"/>
                  </a:lnTo>
                  <a:lnTo>
                    <a:pt x="45" y="141"/>
                  </a:lnTo>
                  <a:lnTo>
                    <a:pt x="46" y="145"/>
                  </a:lnTo>
                  <a:lnTo>
                    <a:pt x="43" y="148"/>
                  </a:lnTo>
                  <a:lnTo>
                    <a:pt x="40" y="151"/>
                  </a:lnTo>
                  <a:lnTo>
                    <a:pt x="34" y="154"/>
                  </a:lnTo>
                  <a:lnTo>
                    <a:pt x="32" y="150"/>
                  </a:lnTo>
                  <a:lnTo>
                    <a:pt x="28" y="148"/>
                  </a:lnTo>
                  <a:lnTo>
                    <a:pt x="22" y="150"/>
                  </a:lnTo>
                  <a:lnTo>
                    <a:pt x="28" y="154"/>
                  </a:lnTo>
                  <a:lnTo>
                    <a:pt x="32" y="158"/>
                  </a:lnTo>
                  <a:lnTo>
                    <a:pt x="28" y="156"/>
                  </a:lnTo>
                  <a:lnTo>
                    <a:pt x="22" y="154"/>
                  </a:lnTo>
                  <a:lnTo>
                    <a:pt x="17" y="151"/>
                  </a:lnTo>
                  <a:lnTo>
                    <a:pt x="13" y="154"/>
                  </a:lnTo>
                  <a:lnTo>
                    <a:pt x="6" y="155"/>
                  </a:lnTo>
                  <a:lnTo>
                    <a:pt x="5" y="151"/>
                  </a:lnTo>
                  <a:lnTo>
                    <a:pt x="0" y="154"/>
                  </a:lnTo>
                  <a:lnTo>
                    <a:pt x="0" y="158"/>
                  </a:lnTo>
                  <a:lnTo>
                    <a:pt x="2" y="163"/>
                  </a:lnTo>
                  <a:lnTo>
                    <a:pt x="2" y="168"/>
                  </a:lnTo>
                  <a:lnTo>
                    <a:pt x="2" y="173"/>
                  </a:lnTo>
                  <a:lnTo>
                    <a:pt x="2" y="177"/>
                  </a:lnTo>
                  <a:lnTo>
                    <a:pt x="2" y="184"/>
                  </a:lnTo>
                  <a:lnTo>
                    <a:pt x="5" y="188"/>
                  </a:lnTo>
                  <a:lnTo>
                    <a:pt x="8" y="192"/>
                  </a:lnTo>
                  <a:lnTo>
                    <a:pt x="9" y="198"/>
                  </a:lnTo>
                  <a:lnTo>
                    <a:pt x="11" y="203"/>
                  </a:lnTo>
                  <a:lnTo>
                    <a:pt x="14" y="207"/>
                  </a:lnTo>
                  <a:lnTo>
                    <a:pt x="16" y="214"/>
                  </a:lnTo>
                  <a:lnTo>
                    <a:pt x="16" y="218"/>
                  </a:lnTo>
                  <a:lnTo>
                    <a:pt x="17" y="222"/>
                  </a:lnTo>
                  <a:lnTo>
                    <a:pt x="18" y="226"/>
                  </a:lnTo>
                  <a:lnTo>
                    <a:pt x="19" y="231"/>
                  </a:lnTo>
                  <a:lnTo>
                    <a:pt x="24" y="231"/>
                  </a:lnTo>
                  <a:lnTo>
                    <a:pt x="28" y="233"/>
                  </a:lnTo>
                  <a:lnTo>
                    <a:pt x="31" y="228"/>
                  </a:lnTo>
                  <a:lnTo>
                    <a:pt x="31" y="223"/>
                  </a:lnTo>
                  <a:lnTo>
                    <a:pt x="32" y="220"/>
                  </a:lnTo>
                  <a:lnTo>
                    <a:pt x="37" y="215"/>
                  </a:lnTo>
                  <a:lnTo>
                    <a:pt x="39" y="211"/>
                  </a:lnTo>
                  <a:lnTo>
                    <a:pt x="39" y="206"/>
                  </a:lnTo>
                  <a:lnTo>
                    <a:pt x="43" y="207"/>
                  </a:lnTo>
                  <a:lnTo>
                    <a:pt x="47" y="206"/>
                  </a:lnTo>
                  <a:lnTo>
                    <a:pt x="51" y="204"/>
                  </a:lnTo>
                  <a:lnTo>
                    <a:pt x="55" y="204"/>
                  </a:lnTo>
                  <a:lnTo>
                    <a:pt x="57" y="208"/>
                  </a:lnTo>
                  <a:lnTo>
                    <a:pt x="64" y="207"/>
                  </a:lnTo>
                  <a:lnTo>
                    <a:pt x="66" y="202"/>
                  </a:lnTo>
                  <a:lnTo>
                    <a:pt x="67" y="194"/>
                  </a:lnTo>
                  <a:lnTo>
                    <a:pt x="66" y="189"/>
                  </a:lnTo>
                  <a:lnTo>
                    <a:pt x="67" y="185"/>
                  </a:lnTo>
                  <a:lnTo>
                    <a:pt x="66" y="182"/>
                  </a:lnTo>
                  <a:lnTo>
                    <a:pt x="72" y="183"/>
                  </a:lnTo>
                  <a:lnTo>
                    <a:pt x="74" y="179"/>
                  </a:lnTo>
                  <a:lnTo>
                    <a:pt x="80" y="177"/>
                  </a:lnTo>
                  <a:lnTo>
                    <a:pt x="84" y="176"/>
                  </a:lnTo>
                  <a:lnTo>
                    <a:pt x="82" y="183"/>
                  </a:lnTo>
                  <a:lnTo>
                    <a:pt x="89" y="184"/>
                  </a:lnTo>
                  <a:lnTo>
                    <a:pt x="90" y="180"/>
                  </a:lnTo>
                  <a:lnTo>
                    <a:pt x="95" y="182"/>
                  </a:lnTo>
                  <a:lnTo>
                    <a:pt x="98" y="182"/>
                  </a:lnTo>
                  <a:lnTo>
                    <a:pt x="108" y="182"/>
                  </a:lnTo>
                  <a:lnTo>
                    <a:pt x="111" y="186"/>
                  </a:lnTo>
                  <a:lnTo>
                    <a:pt x="114" y="191"/>
                  </a:lnTo>
                  <a:lnTo>
                    <a:pt x="115" y="198"/>
                  </a:lnTo>
                  <a:lnTo>
                    <a:pt x="116" y="203"/>
                  </a:lnTo>
                  <a:lnTo>
                    <a:pt x="121" y="208"/>
                  </a:lnTo>
                  <a:lnTo>
                    <a:pt x="127" y="209"/>
                  </a:lnTo>
                  <a:lnTo>
                    <a:pt x="131" y="211"/>
                  </a:lnTo>
                  <a:lnTo>
                    <a:pt x="135" y="214"/>
                  </a:lnTo>
                  <a:lnTo>
                    <a:pt x="136" y="218"/>
                  </a:lnTo>
                  <a:lnTo>
                    <a:pt x="139" y="222"/>
                  </a:lnTo>
                  <a:lnTo>
                    <a:pt x="143" y="222"/>
                  </a:lnTo>
                  <a:lnTo>
                    <a:pt x="148" y="226"/>
                  </a:lnTo>
                  <a:lnTo>
                    <a:pt x="152" y="224"/>
                  </a:lnTo>
                  <a:lnTo>
                    <a:pt x="154" y="220"/>
                  </a:lnTo>
                  <a:lnTo>
                    <a:pt x="152" y="216"/>
                  </a:lnTo>
                  <a:lnTo>
                    <a:pt x="157" y="214"/>
                  </a:lnTo>
                  <a:lnTo>
                    <a:pt x="162" y="212"/>
                  </a:lnTo>
                  <a:lnTo>
                    <a:pt x="167" y="211"/>
                  </a:lnTo>
                  <a:lnTo>
                    <a:pt x="167" y="207"/>
                  </a:lnTo>
                  <a:lnTo>
                    <a:pt x="171" y="203"/>
                  </a:lnTo>
                  <a:lnTo>
                    <a:pt x="180" y="208"/>
                  </a:lnTo>
                  <a:lnTo>
                    <a:pt x="186" y="211"/>
                  </a:lnTo>
                  <a:lnTo>
                    <a:pt x="190" y="212"/>
                  </a:lnTo>
                  <a:lnTo>
                    <a:pt x="197" y="212"/>
                  </a:lnTo>
                  <a:lnTo>
                    <a:pt x="200" y="217"/>
                  </a:lnTo>
                  <a:lnTo>
                    <a:pt x="207" y="215"/>
                  </a:lnTo>
                  <a:lnTo>
                    <a:pt x="212" y="217"/>
                  </a:lnTo>
                  <a:lnTo>
                    <a:pt x="216" y="219"/>
                  </a:lnTo>
                  <a:lnTo>
                    <a:pt x="215" y="225"/>
                  </a:lnTo>
                  <a:lnTo>
                    <a:pt x="213" y="229"/>
                  </a:lnTo>
                  <a:lnTo>
                    <a:pt x="214" y="233"/>
                  </a:lnTo>
                  <a:lnTo>
                    <a:pt x="219" y="232"/>
                  </a:lnTo>
                  <a:lnTo>
                    <a:pt x="219" y="237"/>
                  </a:lnTo>
                  <a:lnTo>
                    <a:pt x="223" y="236"/>
                  </a:lnTo>
                  <a:lnTo>
                    <a:pt x="226" y="240"/>
                  </a:lnTo>
                  <a:lnTo>
                    <a:pt x="229" y="244"/>
                  </a:lnTo>
                  <a:lnTo>
                    <a:pt x="233" y="243"/>
                  </a:lnTo>
                  <a:lnTo>
                    <a:pt x="237" y="241"/>
                  </a:lnTo>
                  <a:lnTo>
                    <a:pt x="242" y="243"/>
                  </a:lnTo>
                  <a:lnTo>
                    <a:pt x="243" y="251"/>
                  </a:lnTo>
                  <a:lnTo>
                    <a:pt x="245" y="256"/>
                  </a:lnTo>
                  <a:lnTo>
                    <a:pt x="246" y="263"/>
                  </a:lnTo>
                  <a:lnTo>
                    <a:pt x="247" y="270"/>
                  </a:lnTo>
                  <a:lnTo>
                    <a:pt x="249" y="275"/>
                  </a:lnTo>
                  <a:lnTo>
                    <a:pt x="252" y="275"/>
                  </a:lnTo>
                  <a:lnTo>
                    <a:pt x="255" y="280"/>
                  </a:lnTo>
                  <a:lnTo>
                    <a:pt x="268" y="282"/>
                  </a:lnTo>
                  <a:lnTo>
                    <a:pt x="271" y="289"/>
                  </a:lnTo>
                  <a:lnTo>
                    <a:pt x="272" y="292"/>
                  </a:lnTo>
                  <a:lnTo>
                    <a:pt x="277" y="299"/>
                  </a:lnTo>
                  <a:lnTo>
                    <a:pt x="281" y="301"/>
                  </a:lnTo>
                  <a:lnTo>
                    <a:pt x="285" y="303"/>
                  </a:lnTo>
                  <a:lnTo>
                    <a:pt x="286" y="30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5" name="Freeform 12">
              <a:extLst>
                <a:ext uri="{FF2B5EF4-FFF2-40B4-BE49-F238E27FC236}">
                  <a16:creationId xmlns:a16="http://schemas.microsoft.com/office/drawing/2014/main" id="{84C1DDDE-7A5F-42FB-A9EF-3136AE233AB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" y="1566"/>
              <a:ext cx="148" cy="185"/>
            </a:xfrm>
            <a:custGeom>
              <a:avLst/>
              <a:gdLst>
                <a:gd name="T0" fmla="*/ 4 w 168"/>
                <a:gd name="T1" fmla="*/ 4 h 210"/>
                <a:gd name="T2" fmla="*/ 4 w 168"/>
                <a:gd name="T3" fmla="*/ 4 h 210"/>
                <a:gd name="T4" fmla="*/ 0 w 168"/>
                <a:gd name="T5" fmla="*/ 4 h 210"/>
                <a:gd name="T6" fmla="*/ 4 w 168"/>
                <a:gd name="T7" fmla="*/ 4 h 210"/>
                <a:gd name="T8" fmla="*/ 4 w 168"/>
                <a:gd name="T9" fmla="*/ 4 h 210"/>
                <a:gd name="T10" fmla="*/ 4 w 168"/>
                <a:gd name="T11" fmla="*/ 4 h 210"/>
                <a:gd name="T12" fmla="*/ 4 w 168"/>
                <a:gd name="T13" fmla="*/ 4 h 210"/>
                <a:gd name="T14" fmla="*/ 4 w 168"/>
                <a:gd name="T15" fmla="*/ 4 h 210"/>
                <a:gd name="T16" fmla="*/ 4 w 168"/>
                <a:gd name="T17" fmla="*/ 4 h 210"/>
                <a:gd name="T18" fmla="*/ 4 w 168"/>
                <a:gd name="T19" fmla="*/ 4 h 210"/>
                <a:gd name="T20" fmla="*/ 4 w 168"/>
                <a:gd name="T21" fmla="*/ 4 h 210"/>
                <a:gd name="T22" fmla="*/ 4 w 168"/>
                <a:gd name="T23" fmla="*/ 4 h 210"/>
                <a:gd name="T24" fmla="*/ 4 w 168"/>
                <a:gd name="T25" fmla="*/ 4 h 210"/>
                <a:gd name="T26" fmla="*/ 4 w 168"/>
                <a:gd name="T27" fmla="*/ 4 h 210"/>
                <a:gd name="T28" fmla="*/ 4 w 168"/>
                <a:gd name="T29" fmla="*/ 4 h 210"/>
                <a:gd name="T30" fmla="*/ 4 w 168"/>
                <a:gd name="T31" fmla="*/ 4 h 210"/>
                <a:gd name="T32" fmla="*/ 4 w 168"/>
                <a:gd name="T33" fmla="*/ 4 h 210"/>
                <a:gd name="T34" fmla="*/ 4 w 168"/>
                <a:gd name="T35" fmla="*/ 0 h 210"/>
                <a:gd name="T36" fmla="*/ 4 w 168"/>
                <a:gd name="T37" fmla="*/ 0 h 210"/>
                <a:gd name="T38" fmla="*/ 4 w 168"/>
                <a:gd name="T39" fmla="*/ 0 h 210"/>
                <a:gd name="T40" fmla="*/ 4 w 168"/>
                <a:gd name="T41" fmla="*/ 4 h 210"/>
                <a:gd name="T42" fmla="*/ 4 w 168"/>
                <a:gd name="T43" fmla="*/ 4 h 210"/>
                <a:gd name="T44" fmla="*/ 4 w 168"/>
                <a:gd name="T45" fmla="*/ 4 h 210"/>
                <a:gd name="T46" fmla="*/ 4 w 168"/>
                <a:gd name="T47" fmla="*/ 4 h 210"/>
                <a:gd name="T48" fmla="*/ 4 w 168"/>
                <a:gd name="T49" fmla="*/ 4 h 210"/>
                <a:gd name="T50" fmla="*/ 4 w 168"/>
                <a:gd name="T51" fmla="*/ 4 h 210"/>
                <a:gd name="T52" fmla="*/ 4 w 168"/>
                <a:gd name="T53" fmla="*/ 4 h 210"/>
                <a:gd name="T54" fmla="*/ 4 w 168"/>
                <a:gd name="T55" fmla="*/ 4 h 210"/>
                <a:gd name="T56" fmla="*/ 4 w 168"/>
                <a:gd name="T57" fmla="*/ 4 h 210"/>
                <a:gd name="T58" fmla="*/ 4 w 168"/>
                <a:gd name="T59" fmla="*/ 4 h 210"/>
                <a:gd name="T60" fmla="*/ 4 w 168"/>
                <a:gd name="T61" fmla="*/ 4 h 210"/>
                <a:gd name="T62" fmla="*/ 4 w 168"/>
                <a:gd name="T63" fmla="*/ 4 h 210"/>
                <a:gd name="T64" fmla="*/ 4 w 168"/>
                <a:gd name="T65" fmla="*/ 4 h 210"/>
                <a:gd name="T66" fmla="*/ 4 w 168"/>
                <a:gd name="T67" fmla="*/ 4 h 210"/>
                <a:gd name="T68" fmla="*/ 4 w 168"/>
                <a:gd name="T69" fmla="*/ 4 h 210"/>
                <a:gd name="T70" fmla="*/ 4 w 168"/>
                <a:gd name="T71" fmla="*/ 4 h 210"/>
                <a:gd name="T72" fmla="*/ 4 w 168"/>
                <a:gd name="T73" fmla="*/ 4 h 210"/>
                <a:gd name="T74" fmla="*/ 4 w 168"/>
                <a:gd name="T75" fmla="*/ 4 h 210"/>
                <a:gd name="T76" fmla="*/ 4 w 168"/>
                <a:gd name="T77" fmla="*/ 4 h 210"/>
                <a:gd name="T78" fmla="*/ 4 w 168"/>
                <a:gd name="T79" fmla="*/ 4 h 210"/>
                <a:gd name="T80" fmla="*/ 4 w 168"/>
                <a:gd name="T81" fmla="*/ 4 h 210"/>
                <a:gd name="T82" fmla="*/ 4 w 168"/>
                <a:gd name="T83" fmla="*/ 4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68" h="210">
                  <a:moveTo>
                    <a:pt x="12" y="198"/>
                  </a:moveTo>
                  <a:lnTo>
                    <a:pt x="12" y="168"/>
                  </a:lnTo>
                  <a:lnTo>
                    <a:pt x="0" y="156"/>
                  </a:lnTo>
                  <a:lnTo>
                    <a:pt x="12" y="132"/>
                  </a:lnTo>
                  <a:lnTo>
                    <a:pt x="12" y="120"/>
                  </a:lnTo>
                  <a:lnTo>
                    <a:pt x="12" y="108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36" y="102"/>
                  </a:lnTo>
                  <a:lnTo>
                    <a:pt x="48" y="90"/>
                  </a:lnTo>
                  <a:lnTo>
                    <a:pt x="48" y="66"/>
                  </a:lnTo>
                  <a:lnTo>
                    <a:pt x="24" y="54"/>
                  </a:lnTo>
                  <a:lnTo>
                    <a:pt x="24" y="48"/>
                  </a:lnTo>
                  <a:lnTo>
                    <a:pt x="36" y="24"/>
                  </a:lnTo>
                  <a:lnTo>
                    <a:pt x="48" y="24"/>
                  </a:lnTo>
                  <a:lnTo>
                    <a:pt x="60" y="12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102" y="12"/>
                  </a:lnTo>
                  <a:lnTo>
                    <a:pt x="114" y="12"/>
                  </a:lnTo>
                  <a:lnTo>
                    <a:pt x="114" y="24"/>
                  </a:lnTo>
                  <a:lnTo>
                    <a:pt x="138" y="48"/>
                  </a:lnTo>
                  <a:lnTo>
                    <a:pt x="126" y="66"/>
                  </a:lnTo>
                  <a:lnTo>
                    <a:pt x="144" y="66"/>
                  </a:lnTo>
                  <a:lnTo>
                    <a:pt x="144" y="78"/>
                  </a:lnTo>
                  <a:lnTo>
                    <a:pt x="156" y="90"/>
                  </a:lnTo>
                  <a:lnTo>
                    <a:pt x="156" y="102"/>
                  </a:lnTo>
                  <a:lnTo>
                    <a:pt x="156" y="108"/>
                  </a:lnTo>
                  <a:lnTo>
                    <a:pt x="168" y="132"/>
                  </a:lnTo>
                  <a:lnTo>
                    <a:pt x="168" y="144"/>
                  </a:lnTo>
                  <a:lnTo>
                    <a:pt x="144" y="144"/>
                  </a:lnTo>
                  <a:lnTo>
                    <a:pt x="126" y="144"/>
                  </a:lnTo>
                  <a:lnTo>
                    <a:pt x="102" y="156"/>
                  </a:lnTo>
                  <a:lnTo>
                    <a:pt x="78" y="156"/>
                  </a:lnTo>
                  <a:lnTo>
                    <a:pt x="72" y="168"/>
                  </a:lnTo>
                  <a:lnTo>
                    <a:pt x="60" y="198"/>
                  </a:lnTo>
                  <a:lnTo>
                    <a:pt x="48" y="210"/>
                  </a:lnTo>
                  <a:lnTo>
                    <a:pt x="36" y="210"/>
                  </a:lnTo>
                  <a:lnTo>
                    <a:pt x="12" y="198"/>
                  </a:lnTo>
                  <a:close/>
                </a:path>
              </a:pathLst>
            </a:custGeom>
            <a:solidFill>
              <a:srgbClr val="9FFFA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6" name="Freeform 13">
              <a:extLst>
                <a:ext uri="{FF2B5EF4-FFF2-40B4-BE49-F238E27FC236}">
                  <a16:creationId xmlns:a16="http://schemas.microsoft.com/office/drawing/2014/main" id="{D63DA2AA-C7FD-4FAC-941E-70E4FC83F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" y="1545"/>
              <a:ext cx="174" cy="243"/>
            </a:xfrm>
            <a:custGeom>
              <a:avLst/>
              <a:gdLst>
                <a:gd name="T0" fmla="*/ 4 w 198"/>
                <a:gd name="T1" fmla="*/ 4 h 276"/>
                <a:gd name="T2" fmla="*/ 4 w 198"/>
                <a:gd name="T3" fmla="*/ 4 h 276"/>
                <a:gd name="T4" fmla="*/ 4 w 198"/>
                <a:gd name="T5" fmla="*/ 4 h 276"/>
                <a:gd name="T6" fmla="*/ 4 w 198"/>
                <a:gd name="T7" fmla="*/ 4 h 276"/>
                <a:gd name="T8" fmla="*/ 4 w 198"/>
                <a:gd name="T9" fmla="*/ 4 h 276"/>
                <a:gd name="T10" fmla="*/ 4 w 198"/>
                <a:gd name="T11" fmla="*/ 4 h 276"/>
                <a:gd name="T12" fmla="*/ 4 w 198"/>
                <a:gd name="T13" fmla="*/ 4 h 276"/>
                <a:gd name="T14" fmla="*/ 4 w 198"/>
                <a:gd name="T15" fmla="*/ 4 h 276"/>
                <a:gd name="T16" fmla="*/ 4 w 198"/>
                <a:gd name="T17" fmla="*/ 4 h 276"/>
                <a:gd name="T18" fmla="*/ 4 w 198"/>
                <a:gd name="T19" fmla="*/ 4 h 276"/>
                <a:gd name="T20" fmla="*/ 4 w 198"/>
                <a:gd name="T21" fmla="*/ 4 h 276"/>
                <a:gd name="T22" fmla="*/ 4 w 198"/>
                <a:gd name="T23" fmla="*/ 4 h 276"/>
                <a:gd name="T24" fmla="*/ 4 w 198"/>
                <a:gd name="T25" fmla="*/ 4 h 276"/>
                <a:gd name="T26" fmla="*/ 4 w 198"/>
                <a:gd name="T27" fmla="*/ 4 h 276"/>
                <a:gd name="T28" fmla="*/ 4 w 198"/>
                <a:gd name="T29" fmla="*/ 4 h 276"/>
                <a:gd name="T30" fmla="*/ 4 w 198"/>
                <a:gd name="T31" fmla="*/ 4 h 276"/>
                <a:gd name="T32" fmla="*/ 4 w 198"/>
                <a:gd name="T33" fmla="*/ 4 h 276"/>
                <a:gd name="T34" fmla="*/ 4 w 198"/>
                <a:gd name="T35" fmla="*/ 4 h 276"/>
                <a:gd name="T36" fmla="*/ 4 w 198"/>
                <a:gd name="T37" fmla="*/ 4 h 276"/>
                <a:gd name="T38" fmla="*/ 4 w 198"/>
                <a:gd name="T39" fmla="*/ 4 h 276"/>
                <a:gd name="T40" fmla="*/ 4 w 198"/>
                <a:gd name="T41" fmla="*/ 4 h 276"/>
                <a:gd name="T42" fmla="*/ 4 w 198"/>
                <a:gd name="T43" fmla="*/ 4 h 276"/>
                <a:gd name="T44" fmla="*/ 4 w 198"/>
                <a:gd name="T45" fmla="*/ 4 h 276"/>
                <a:gd name="T46" fmla="*/ 4 w 198"/>
                <a:gd name="T47" fmla="*/ 4 h 276"/>
                <a:gd name="T48" fmla="*/ 4 w 198"/>
                <a:gd name="T49" fmla="*/ 4 h 276"/>
                <a:gd name="T50" fmla="*/ 4 w 198"/>
                <a:gd name="T51" fmla="*/ 4 h 276"/>
                <a:gd name="T52" fmla="*/ 4 w 198"/>
                <a:gd name="T53" fmla="*/ 4 h 276"/>
                <a:gd name="T54" fmla="*/ 4 w 198"/>
                <a:gd name="T55" fmla="*/ 4 h 276"/>
                <a:gd name="T56" fmla="*/ 4 w 198"/>
                <a:gd name="T57" fmla="*/ 4 h 276"/>
                <a:gd name="T58" fmla="*/ 4 w 198"/>
                <a:gd name="T59" fmla="*/ 4 h 276"/>
                <a:gd name="T60" fmla="*/ 0 w 198"/>
                <a:gd name="T61" fmla="*/ 4 h 276"/>
                <a:gd name="T62" fmla="*/ 4 w 198"/>
                <a:gd name="T63" fmla="*/ 0 h 276"/>
                <a:gd name="T64" fmla="*/ 4 w 198"/>
                <a:gd name="T65" fmla="*/ 0 h 276"/>
                <a:gd name="T66" fmla="*/ 4 w 198"/>
                <a:gd name="T67" fmla="*/ 0 h 276"/>
                <a:gd name="T68" fmla="*/ 4 w 198"/>
                <a:gd name="T69" fmla="*/ 0 h 276"/>
                <a:gd name="T70" fmla="*/ 4 w 198"/>
                <a:gd name="T71" fmla="*/ 4 h 276"/>
                <a:gd name="T72" fmla="*/ 4 w 198"/>
                <a:gd name="T73" fmla="*/ 4 h 276"/>
                <a:gd name="T74" fmla="*/ 4 w 198"/>
                <a:gd name="T75" fmla="*/ 4 h 276"/>
                <a:gd name="T76" fmla="*/ 4 w 198"/>
                <a:gd name="T77" fmla="*/ 4 h 276"/>
                <a:gd name="T78" fmla="*/ 4 w 198"/>
                <a:gd name="T79" fmla="*/ 4 h 276"/>
                <a:gd name="T80" fmla="*/ 4 w 198"/>
                <a:gd name="T81" fmla="*/ 4 h 276"/>
                <a:gd name="T82" fmla="*/ 4 w 198"/>
                <a:gd name="T83" fmla="*/ 4 h 276"/>
                <a:gd name="T84" fmla="*/ 4 w 198"/>
                <a:gd name="T85" fmla="*/ 4 h 276"/>
                <a:gd name="T86" fmla="*/ 4 w 198"/>
                <a:gd name="T87" fmla="*/ 4 h 276"/>
                <a:gd name="T88" fmla="*/ 4 w 198"/>
                <a:gd name="T89" fmla="*/ 4 h 276"/>
                <a:gd name="T90" fmla="*/ 4 w 198"/>
                <a:gd name="T91" fmla="*/ 4 h 276"/>
                <a:gd name="T92" fmla="*/ 4 w 198"/>
                <a:gd name="T93" fmla="*/ 4 h 276"/>
                <a:gd name="T94" fmla="*/ 4 w 198"/>
                <a:gd name="T95" fmla="*/ 4 h 276"/>
                <a:gd name="T96" fmla="*/ 4 w 198"/>
                <a:gd name="T97" fmla="*/ 4 h 276"/>
                <a:gd name="T98" fmla="*/ 4 w 198"/>
                <a:gd name="T99" fmla="*/ 4 h 27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98" h="276">
                  <a:moveTo>
                    <a:pt x="198" y="114"/>
                  </a:moveTo>
                  <a:lnTo>
                    <a:pt x="198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198" y="156"/>
                  </a:lnTo>
                  <a:lnTo>
                    <a:pt x="192" y="180"/>
                  </a:lnTo>
                  <a:lnTo>
                    <a:pt x="198" y="186"/>
                  </a:lnTo>
                  <a:lnTo>
                    <a:pt x="198" y="222"/>
                  </a:lnTo>
                  <a:lnTo>
                    <a:pt x="192" y="246"/>
                  </a:lnTo>
                  <a:lnTo>
                    <a:pt x="180" y="264"/>
                  </a:lnTo>
                  <a:lnTo>
                    <a:pt x="156" y="276"/>
                  </a:lnTo>
                  <a:lnTo>
                    <a:pt x="144" y="276"/>
                  </a:lnTo>
                  <a:lnTo>
                    <a:pt x="114" y="276"/>
                  </a:lnTo>
                  <a:lnTo>
                    <a:pt x="120" y="276"/>
                  </a:lnTo>
                  <a:lnTo>
                    <a:pt x="78" y="264"/>
                  </a:lnTo>
                  <a:lnTo>
                    <a:pt x="48" y="246"/>
                  </a:lnTo>
                  <a:lnTo>
                    <a:pt x="60" y="210"/>
                  </a:lnTo>
                  <a:lnTo>
                    <a:pt x="66" y="198"/>
                  </a:lnTo>
                  <a:lnTo>
                    <a:pt x="66" y="180"/>
                  </a:lnTo>
                  <a:lnTo>
                    <a:pt x="66" y="168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60" y="120"/>
                  </a:lnTo>
                  <a:lnTo>
                    <a:pt x="60" y="114"/>
                  </a:lnTo>
                  <a:lnTo>
                    <a:pt x="60" y="90"/>
                  </a:lnTo>
                  <a:lnTo>
                    <a:pt x="60" y="78"/>
                  </a:lnTo>
                  <a:lnTo>
                    <a:pt x="36" y="66"/>
                  </a:lnTo>
                  <a:lnTo>
                    <a:pt x="36" y="48"/>
                  </a:lnTo>
                  <a:lnTo>
                    <a:pt x="36" y="36"/>
                  </a:lnTo>
                  <a:lnTo>
                    <a:pt x="24" y="36"/>
                  </a:lnTo>
                  <a:lnTo>
                    <a:pt x="0" y="24"/>
                  </a:lnTo>
                  <a:lnTo>
                    <a:pt x="36" y="0"/>
                  </a:lnTo>
                  <a:lnTo>
                    <a:pt x="66" y="0"/>
                  </a:lnTo>
                  <a:lnTo>
                    <a:pt x="90" y="0"/>
                  </a:lnTo>
                  <a:lnTo>
                    <a:pt x="114" y="0"/>
                  </a:lnTo>
                  <a:lnTo>
                    <a:pt x="132" y="12"/>
                  </a:lnTo>
                  <a:lnTo>
                    <a:pt x="132" y="24"/>
                  </a:lnTo>
                  <a:lnTo>
                    <a:pt x="120" y="36"/>
                  </a:lnTo>
                  <a:lnTo>
                    <a:pt x="120" y="48"/>
                  </a:lnTo>
                  <a:lnTo>
                    <a:pt x="114" y="66"/>
                  </a:lnTo>
                  <a:lnTo>
                    <a:pt x="114" y="78"/>
                  </a:lnTo>
                  <a:lnTo>
                    <a:pt x="102" y="90"/>
                  </a:lnTo>
                  <a:lnTo>
                    <a:pt x="114" y="114"/>
                  </a:lnTo>
                  <a:lnTo>
                    <a:pt x="120" y="114"/>
                  </a:lnTo>
                  <a:lnTo>
                    <a:pt x="144" y="102"/>
                  </a:lnTo>
                  <a:lnTo>
                    <a:pt x="156" y="90"/>
                  </a:lnTo>
                  <a:lnTo>
                    <a:pt x="168" y="90"/>
                  </a:lnTo>
                  <a:lnTo>
                    <a:pt x="180" y="102"/>
                  </a:lnTo>
                  <a:lnTo>
                    <a:pt x="192" y="114"/>
                  </a:lnTo>
                  <a:lnTo>
                    <a:pt x="198" y="114"/>
                  </a:lnTo>
                  <a:close/>
                </a:path>
              </a:pathLst>
            </a:custGeom>
            <a:solidFill>
              <a:srgbClr val="9FFFA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7" name="Freeform 14">
              <a:extLst>
                <a:ext uri="{FF2B5EF4-FFF2-40B4-BE49-F238E27FC236}">
                  <a16:creationId xmlns:a16="http://schemas.microsoft.com/office/drawing/2014/main" id="{B1009443-FBBC-4BC3-A3B9-A4DA50798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" y="1545"/>
              <a:ext cx="190" cy="227"/>
            </a:xfrm>
            <a:custGeom>
              <a:avLst/>
              <a:gdLst>
                <a:gd name="T0" fmla="*/ 4 w 216"/>
                <a:gd name="T1" fmla="*/ 4 h 258"/>
                <a:gd name="T2" fmla="*/ 4 w 216"/>
                <a:gd name="T3" fmla="*/ 4 h 258"/>
                <a:gd name="T4" fmla="*/ 4 w 216"/>
                <a:gd name="T5" fmla="*/ 4 h 258"/>
                <a:gd name="T6" fmla="*/ 4 w 216"/>
                <a:gd name="T7" fmla="*/ 4 h 258"/>
                <a:gd name="T8" fmla="*/ 4 w 216"/>
                <a:gd name="T9" fmla="*/ 4 h 258"/>
                <a:gd name="T10" fmla="*/ 4 w 216"/>
                <a:gd name="T11" fmla="*/ 4 h 258"/>
                <a:gd name="T12" fmla="*/ 4 w 216"/>
                <a:gd name="T13" fmla="*/ 4 h 258"/>
                <a:gd name="T14" fmla="*/ 4 w 216"/>
                <a:gd name="T15" fmla="*/ 4 h 258"/>
                <a:gd name="T16" fmla="*/ 4 w 216"/>
                <a:gd name="T17" fmla="*/ 4 h 258"/>
                <a:gd name="T18" fmla="*/ 4 w 216"/>
                <a:gd name="T19" fmla="*/ 4 h 258"/>
                <a:gd name="T20" fmla="*/ 4 w 216"/>
                <a:gd name="T21" fmla="*/ 4 h 258"/>
                <a:gd name="T22" fmla="*/ 4 w 216"/>
                <a:gd name="T23" fmla="*/ 4 h 258"/>
                <a:gd name="T24" fmla="*/ 4 w 216"/>
                <a:gd name="T25" fmla="*/ 4 h 258"/>
                <a:gd name="T26" fmla="*/ 4 w 216"/>
                <a:gd name="T27" fmla="*/ 4 h 258"/>
                <a:gd name="T28" fmla="*/ 4 w 216"/>
                <a:gd name="T29" fmla="*/ 4 h 258"/>
                <a:gd name="T30" fmla="*/ 4 w 216"/>
                <a:gd name="T31" fmla="*/ 4 h 258"/>
                <a:gd name="T32" fmla="*/ 4 w 216"/>
                <a:gd name="T33" fmla="*/ 4 h 258"/>
                <a:gd name="T34" fmla="*/ 4 w 216"/>
                <a:gd name="T35" fmla="*/ 4 h 258"/>
                <a:gd name="T36" fmla="*/ 4 w 216"/>
                <a:gd name="T37" fmla="*/ 4 h 258"/>
                <a:gd name="T38" fmla="*/ 4 w 216"/>
                <a:gd name="T39" fmla="*/ 4 h 258"/>
                <a:gd name="T40" fmla="*/ 4 w 216"/>
                <a:gd name="T41" fmla="*/ 4 h 258"/>
                <a:gd name="T42" fmla="*/ 4 w 216"/>
                <a:gd name="T43" fmla="*/ 4 h 258"/>
                <a:gd name="T44" fmla="*/ 4 w 216"/>
                <a:gd name="T45" fmla="*/ 4 h 258"/>
                <a:gd name="T46" fmla="*/ 4 w 216"/>
                <a:gd name="T47" fmla="*/ 4 h 258"/>
                <a:gd name="T48" fmla="*/ 4 w 216"/>
                <a:gd name="T49" fmla="*/ 4 h 258"/>
                <a:gd name="T50" fmla="*/ 4 w 216"/>
                <a:gd name="T51" fmla="*/ 4 h 258"/>
                <a:gd name="T52" fmla="*/ 4 w 216"/>
                <a:gd name="T53" fmla="*/ 4 h 258"/>
                <a:gd name="T54" fmla="*/ 4 w 216"/>
                <a:gd name="T55" fmla="*/ 4 h 258"/>
                <a:gd name="T56" fmla="*/ 4 w 216"/>
                <a:gd name="T57" fmla="*/ 4 h 258"/>
                <a:gd name="T58" fmla="*/ 4 w 216"/>
                <a:gd name="T59" fmla="*/ 4 h 258"/>
                <a:gd name="T60" fmla="*/ 4 w 216"/>
                <a:gd name="T61" fmla="*/ 4 h 258"/>
                <a:gd name="T62" fmla="*/ 4 w 216"/>
                <a:gd name="T63" fmla="*/ 4 h 258"/>
                <a:gd name="T64" fmla="*/ 4 w 216"/>
                <a:gd name="T65" fmla="*/ 4 h 258"/>
                <a:gd name="T66" fmla="*/ 4 w 216"/>
                <a:gd name="T67" fmla="*/ 4 h 258"/>
                <a:gd name="T68" fmla="*/ 4 w 216"/>
                <a:gd name="T69" fmla="*/ 4 h 258"/>
                <a:gd name="T70" fmla="*/ 4 w 216"/>
                <a:gd name="T71" fmla="*/ 4 h 258"/>
                <a:gd name="T72" fmla="*/ 4 w 216"/>
                <a:gd name="T73" fmla="*/ 4 h 258"/>
                <a:gd name="T74" fmla="*/ 4 w 216"/>
                <a:gd name="T75" fmla="*/ 4 h 258"/>
                <a:gd name="T76" fmla="*/ 4 w 216"/>
                <a:gd name="T77" fmla="*/ 4 h 258"/>
                <a:gd name="T78" fmla="*/ 4 w 216"/>
                <a:gd name="T79" fmla="*/ 0 h 258"/>
                <a:gd name="T80" fmla="*/ 4 w 216"/>
                <a:gd name="T81" fmla="*/ 4 h 258"/>
                <a:gd name="T82" fmla="*/ 4 w 216"/>
                <a:gd name="T83" fmla="*/ 0 h 258"/>
                <a:gd name="T84" fmla="*/ 4 w 216"/>
                <a:gd name="T85" fmla="*/ 4 h 258"/>
                <a:gd name="T86" fmla="*/ 4 w 216"/>
                <a:gd name="T87" fmla="*/ 4 h 258"/>
                <a:gd name="T88" fmla="*/ 0 w 216"/>
                <a:gd name="T89" fmla="*/ 0 h 258"/>
                <a:gd name="T90" fmla="*/ 4 w 216"/>
                <a:gd name="T91" fmla="*/ 4 h 258"/>
                <a:gd name="T92" fmla="*/ 4 w 216"/>
                <a:gd name="T93" fmla="*/ 4 h 258"/>
                <a:gd name="T94" fmla="*/ 4 w 216"/>
                <a:gd name="T95" fmla="*/ 4 h 258"/>
                <a:gd name="T96" fmla="*/ 4 w 216"/>
                <a:gd name="T97" fmla="*/ 4 h 258"/>
                <a:gd name="T98" fmla="*/ 4 w 216"/>
                <a:gd name="T99" fmla="*/ 4 h 258"/>
                <a:gd name="T100" fmla="*/ 4 w 216"/>
                <a:gd name="T101" fmla="*/ 4 h 258"/>
                <a:gd name="T102" fmla="*/ 4 w 216"/>
                <a:gd name="T103" fmla="*/ 4 h 258"/>
                <a:gd name="T104" fmla="*/ 4 w 216"/>
                <a:gd name="T105" fmla="*/ 4 h 258"/>
                <a:gd name="T106" fmla="*/ 4 w 216"/>
                <a:gd name="T107" fmla="*/ 4 h 25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16" h="258">
                  <a:moveTo>
                    <a:pt x="18" y="204"/>
                  </a:moveTo>
                  <a:lnTo>
                    <a:pt x="30" y="210"/>
                  </a:lnTo>
                  <a:lnTo>
                    <a:pt x="54" y="222"/>
                  </a:lnTo>
                  <a:lnTo>
                    <a:pt x="66" y="228"/>
                  </a:lnTo>
                  <a:lnTo>
                    <a:pt x="84" y="240"/>
                  </a:lnTo>
                  <a:lnTo>
                    <a:pt x="96" y="234"/>
                  </a:lnTo>
                  <a:lnTo>
                    <a:pt x="120" y="234"/>
                  </a:lnTo>
                  <a:lnTo>
                    <a:pt x="132" y="240"/>
                  </a:lnTo>
                  <a:lnTo>
                    <a:pt x="144" y="252"/>
                  </a:lnTo>
                  <a:lnTo>
                    <a:pt x="162" y="258"/>
                  </a:lnTo>
                  <a:lnTo>
                    <a:pt x="174" y="246"/>
                  </a:lnTo>
                  <a:lnTo>
                    <a:pt x="198" y="240"/>
                  </a:lnTo>
                  <a:lnTo>
                    <a:pt x="210" y="210"/>
                  </a:lnTo>
                  <a:lnTo>
                    <a:pt x="216" y="198"/>
                  </a:lnTo>
                  <a:lnTo>
                    <a:pt x="216" y="174"/>
                  </a:lnTo>
                  <a:lnTo>
                    <a:pt x="216" y="162"/>
                  </a:lnTo>
                  <a:lnTo>
                    <a:pt x="216" y="144"/>
                  </a:lnTo>
                  <a:lnTo>
                    <a:pt x="210" y="144"/>
                  </a:lnTo>
                  <a:lnTo>
                    <a:pt x="210" y="120"/>
                  </a:lnTo>
                  <a:lnTo>
                    <a:pt x="210" y="114"/>
                  </a:lnTo>
                  <a:lnTo>
                    <a:pt x="210" y="90"/>
                  </a:lnTo>
                  <a:lnTo>
                    <a:pt x="210" y="78"/>
                  </a:lnTo>
                  <a:lnTo>
                    <a:pt x="186" y="66"/>
                  </a:lnTo>
                  <a:lnTo>
                    <a:pt x="186" y="42"/>
                  </a:lnTo>
                  <a:lnTo>
                    <a:pt x="186" y="30"/>
                  </a:lnTo>
                  <a:lnTo>
                    <a:pt x="174" y="30"/>
                  </a:lnTo>
                  <a:lnTo>
                    <a:pt x="150" y="24"/>
                  </a:lnTo>
                  <a:lnTo>
                    <a:pt x="132" y="24"/>
                  </a:lnTo>
                  <a:lnTo>
                    <a:pt x="132" y="30"/>
                  </a:lnTo>
                  <a:lnTo>
                    <a:pt x="108" y="30"/>
                  </a:lnTo>
                  <a:lnTo>
                    <a:pt x="96" y="54"/>
                  </a:lnTo>
                  <a:lnTo>
                    <a:pt x="84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66" y="24"/>
                  </a:lnTo>
                  <a:lnTo>
                    <a:pt x="54" y="12"/>
                  </a:lnTo>
                  <a:lnTo>
                    <a:pt x="54" y="0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0" y="0"/>
                  </a:lnTo>
                  <a:lnTo>
                    <a:pt x="12" y="42"/>
                  </a:lnTo>
                  <a:lnTo>
                    <a:pt x="24" y="54"/>
                  </a:lnTo>
                  <a:lnTo>
                    <a:pt x="24" y="78"/>
                  </a:lnTo>
                  <a:lnTo>
                    <a:pt x="30" y="114"/>
                  </a:lnTo>
                  <a:lnTo>
                    <a:pt x="42" y="132"/>
                  </a:lnTo>
                  <a:lnTo>
                    <a:pt x="30" y="144"/>
                  </a:lnTo>
                  <a:lnTo>
                    <a:pt x="30" y="174"/>
                  </a:lnTo>
                  <a:lnTo>
                    <a:pt x="24" y="198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9FFFA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8" name="Freeform 15">
              <a:extLst>
                <a:ext uri="{FF2B5EF4-FFF2-40B4-BE49-F238E27FC236}">
                  <a16:creationId xmlns:a16="http://schemas.microsoft.com/office/drawing/2014/main" id="{098C8624-2222-49E9-8204-AA7E46EE2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" y="1719"/>
              <a:ext cx="396" cy="312"/>
            </a:xfrm>
            <a:custGeom>
              <a:avLst/>
              <a:gdLst>
                <a:gd name="T0" fmla="*/ 5 w 450"/>
                <a:gd name="T1" fmla="*/ 4 h 354"/>
                <a:gd name="T2" fmla="*/ 4 w 450"/>
                <a:gd name="T3" fmla="*/ 4 h 354"/>
                <a:gd name="T4" fmla="*/ 4 w 450"/>
                <a:gd name="T5" fmla="*/ 4 h 354"/>
                <a:gd name="T6" fmla="*/ 4 w 450"/>
                <a:gd name="T7" fmla="*/ 4 h 354"/>
                <a:gd name="T8" fmla="*/ 4 w 450"/>
                <a:gd name="T9" fmla="*/ 4 h 354"/>
                <a:gd name="T10" fmla="*/ 4 w 450"/>
                <a:gd name="T11" fmla="*/ 4 h 354"/>
                <a:gd name="T12" fmla="*/ 4 w 450"/>
                <a:gd name="T13" fmla="*/ 0 h 354"/>
                <a:gd name="T14" fmla="*/ 4 w 450"/>
                <a:gd name="T15" fmla="*/ 4 h 354"/>
                <a:gd name="T16" fmla="*/ 4 w 450"/>
                <a:gd name="T17" fmla="*/ 4 h 354"/>
                <a:gd name="T18" fmla="*/ 0 w 450"/>
                <a:gd name="T19" fmla="*/ 4 h 354"/>
                <a:gd name="T20" fmla="*/ 4 w 450"/>
                <a:gd name="T21" fmla="*/ 4 h 354"/>
                <a:gd name="T22" fmla="*/ 4 w 450"/>
                <a:gd name="T23" fmla="*/ 4 h 354"/>
                <a:gd name="T24" fmla="*/ 4 w 450"/>
                <a:gd name="T25" fmla="*/ 4 h 354"/>
                <a:gd name="T26" fmla="*/ 4 w 450"/>
                <a:gd name="T27" fmla="*/ 4 h 354"/>
                <a:gd name="T28" fmla="*/ 4 w 450"/>
                <a:gd name="T29" fmla="*/ 4 h 354"/>
                <a:gd name="T30" fmla="*/ 4 w 450"/>
                <a:gd name="T31" fmla="*/ 4 h 354"/>
                <a:gd name="T32" fmla="*/ 4 w 450"/>
                <a:gd name="T33" fmla="*/ 4 h 354"/>
                <a:gd name="T34" fmla="*/ 4 w 450"/>
                <a:gd name="T35" fmla="*/ 5 h 354"/>
                <a:gd name="T36" fmla="*/ 4 w 450"/>
                <a:gd name="T37" fmla="*/ 4 h 354"/>
                <a:gd name="T38" fmla="*/ 4 w 450"/>
                <a:gd name="T39" fmla="*/ 4 h 354"/>
                <a:gd name="T40" fmla="*/ 4 w 450"/>
                <a:gd name="T41" fmla="*/ 4 h 354"/>
                <a:gd name="T42" fmla="*/ 4 w 450"/>
                <a:gd name="T43" fmla="*/ 4 h 354"/>
                <a:gd name="T44" fmla="*/ 4 w 450"/>
                <a:gd name="T45" fmla="*/ 4 h 354"/>
                <a:gd name="T46" fmla="*/ 4 w 450"/>
                <a:gd name="T47" fmla="*/ 4 h 354"/>
                <a:gd name="T48" fmla="*/ 5 w 450"/>
                <a:gd name="T49" fmla="*/ 4 h 354"/>
                <a:gd name="T50" fmla="*/ 5 w 450"/>
                <a:gd name="T51" fmla="*/ 4 h 354"/>
                <a:gd name="T52" fmla="*/ 5 w 450"/>
                <a:gd name="T53" fmla="*/ 4 h 354"/>
                <a:gd name="T54" fmla="*/ 6 w 450"/>
                <a:gd name="T55" fmla="*/ 4 h 354"/>
                <a:gd name="T56" fmla="*/ 6 w 450"/>
                <a:gd name="T57" fmla="*/ 4 h 354"/>
                <a:gd name="T58" fmla="*/ 6 w 450"/>
                <a:gd name="T59" fmla="*/ 4 h 354"/>
                <a:gd name="T60" fmla="*/ 6 w 450"/>
                <a:gd name="T61" fmla="*/ 4 h 354"/>
                <a:gd name="T62" fmla="*/ 6 w 450"/>
                <a:gd name="T63" fmla="*/ 4 h 354"/>
                <a:gd name="T64" fmla="*/ 6 w 450"/>
                <a:gd name="T65" fmla="*/ 4 h 354"/>
                <a:gd name="T66" fmla="*/ 6 w 450"/>
                <a:gd name="T67" fmla="*/ 4 h 3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450" h="354">
                  <a:moveTo>
                    <a:pt x="426" y="78"/>
                  </a:moveTo>
                  <a:lnTo>
                    <a:pt x="384" y="66"/>
                  </a:lnTo>
                  <a:lnTo>
                    <a:pt x="354" y="48"/>
                  </a:lnTo>
                  <a:lnTo>
                    <a:pt x="330" y="48"/>
                  </a:lnTo>
                  <a:lnTo>
                    <a:pt x="318" y="60"/>
                  </a:lnTo>
                  <a:lnTo>
                    <a:pt x="300" y="48"/>
                  </a:lnTo>
                  <a:lnTo>
                    <a:pt x="288" y="36"/>
                  </a:lnTo>
                  <a:lnTo>
                    <a:pt x="276" y="24"/>
                  </a:lnTo>
                  <a:lnTo>
                    <a:pt x="252" y="36"/>
                  </a:lnTo>
                  <a:lnTo>
                    <a:pt x="240" y="36"/>
                  </a:lnTo>
                  <a:lnTo>
                    <a:pt x="222" y="24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74" y="0"/>
                  </a:lnTo>
                  <a:lnTo>
                    <a:pt x="132" y="12"/>
                  </a:lnTo>
                  <a:lnTo>
                    <a:pt x="108" y="24"/>
                  </a:lnTo>
                  <a:lnTo>
                    <a:pt x="96" y="36"/>
                  </a:lnTo>
                  <a:lnTo>
                    <a:pt x="66" y="36"/>
                  </a:lnTo>
                  <a:lnTo>
                    <a:pt x="36" y="48"/>
                  </a:lnTo>
                  <a:lnTo>
                    <a:pt x="0" y="60"/>
                  </a:lnTo>
                  <a:lnTo>
                    <a:pt x="54" y="66"/>
                  </a:lnTo>
                  <a:lnTo>
                    <a:pt x="84" y="114"/>
                  </a:lnTo>
                  <a:lnTo>
                    <a:pt x="84" y="144"/>
                  </a:lnTo>
                  <a:lnTo>
                    <a:pt x="96" y="180"/>
                  </a:lnTo>
                  <a:lnTo>
                    <a:pt x="96" y="210"/>
                  </a:lnTo>
                  <a:lnTo>
                    <a:pt x="120" y="234"/>
                  </a:lnTo>
                  <a:lnTo>
                    <a:pt x="132" y="246"/>
                  </a:lnTo>
                  <a:lnTo>
                    <a:pt x="132" y="276"/>
                  </a:lnTo>
                  <a:lnTo>
                    <a:pt x="132" y="288"/>
                  </a:lnTo>
                  <a:lnTo>
                    <a:pt x="150" y="330"/>
                  </a:lnTo>
                  <a:lnTo>
                    <a:pt x="156" y="336"/>
                  </a:lnTo>
                  <a:lnTo>
                    <a:pt x="198" y="324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64" y="342"/>
                  </a:lnTo>
                  <a:lnTo>
                    <a:pt x="264" y="330"/>
                  </a:lnTo>
                  <a:lnTo>
                    <a:pt x="276" y="324"/>
                  </a:lnTo>
                  <a:lnTo>
                    <a:pt x="288" y="312"/>
                  </a:lnTo>
                  <a:lnTo>
                    <a:pt x="300" y="324"/>
                  </a:lnTo>
                  <a:lnTo>
                    <a:pt x="300" y="330"/>
                  </a:lnTo>
                  <a:lnTo>
                    <a:pt x="306" y="342"/>
                  </a:lnTo>
                  <a:lnTo>
                    <a:pt x="318" y="342"/>
                  </a:lnTo>
                  <a:lnTo>
                    <a:pt x="342" y="330"/>
                  </a:lnTo>
                  <a:lnTo>
                    <a:pt x="354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54" y="276"/>
                  </a:lnTo>
                  <a:lnTo>
                    <a:pt x="366" y="276"/>
                  </a:lnTo>
                  <a:lnTo>
                    <a:pt x="366" y="258"/>
                  </a:lnTo>
                  <a:lnTo>
                    <a:pt x="372" y="258"/>
                  </a:lnTo>
                  <a:lnTo>
                    <a:pt x="384" y="246"/>
                  </a:lnTo>
                  <a:lnTo>
                    <a:pt x="396" y="222"/>
                  </a:lnTo>
                  <a:lnTo>
                    <a:pt x="408" y="210"/>
                  </a:lnTo>
                  <a:lnTo>
                    <a:pt x="420" y="210"/>
                  </a:lnTo>
                  <a:lnTo>
                    <a:pt x="438" y="210"/>
                  </a:lnTo>
                  <a:lnTo>
                    <a:pt x="438" y="204"/>
                  </a:lnTo>
                  <a:lnTo>
                    <a:pt x="450" y="180"/>
                  </a:lnTo>
                  <a:lnTo>
                    <a:pt x="438" y="168"/>
                  </a:lnTo>
                  <a:lnTo>
                    <a:pt x="426" y="156"/>
                  </a:lnTo>
                  <a:lnTo>
                    <a:pt x="438" y="144"/>
                  </a:lnTo>
                  <a:lnTo>
                    <a:pt x="438" y="120"/>
                  </a:lnTo>
                  <a:lnTo>
                    <a:pt x="426" y="120"/>
                  </a:lnTo>
                  <a:lnTo>
                    <a:pt x="420" y="114"/>
                  </a:lnTo>
                  <a:lnTo>
                    <a:pt x="420" y="102"/>
                  </a:lnTo>
                  <a:lnTo>
                    <a:pt x="420" y="78"/>
                  </a:lnTo>
                  <a:lnTo>
                    <a:pt x="426" y="78"/>
                  </a:lnTo>
                  <a:close/>
                </a:path>
              </a:pathLst>
            </a:custGeom>
            <a:solidFill>
              <a:srgbClr val="9FFFA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9" name="Freeform 16">
              <a:extLst>
                <a:ext uri="{FF2B5EF4-FFF2-40B4-BE49-F238E27FC236}">
                  <a16:creationId xmlns:a16="http://schemas.microsoft.com/office/drawing/2014/main" id="{EEFE8156-24C7-4F16-99F5-4FB3EF9E2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4" y="2242"/>
              <a:ext cx="42" cy="58"/>
            </a:xfrm>
            <a:custGeom>
              <a:avLst/>
              <a:gdLst>
                <a:gd name="T0" fmla="*/ 4 w 48"/>
                <a:gd name="T1" fmla="*/ 4 h 66"/>
                <a:gd name="T2" fmla="*/ 4 w 48"/>
                <a:gd name="T3" fmla="*/ 4 h 66"/>
                <a:gd name="T4" fmla="*/ 4 w 48"/>
                <a:gd name="T5" fmla="*/ 4 h 66"/>
                <a:gd name="T6" fmla="*/ 0 w 48"/>
                <a:gd name="T7" fmla="*/ 4 h 66"/>
                <a:gd name="T8" fmla="*/ 4 w 48"/>
                <a:gd name="T9" fmla="*/ 4 h 66"/>
                <a:gd name="T10" fmla="*/ 4 w 48"/>
                <a:gd name="T11" fmla="*/ 0 h 66"/>
                <a:gd name="T12" fmla="*/ 4 w 48"/>
                <a:gd name="T13" fmla="*/ 4 h 66"/>
                <a:gd name="T14" fmla="*/ 4 w 48"/>
                <a:gd name="T15" fmla="*/ 4 h 66"/>
                <a:gd name="T16" fmla="*/ 4 w 48"/>
                <a:gd name="T17" fmla="*/ 4 h 66"/>
                <a:gd name="T18" fmla="*/ 4 w 48"/>
                <a:gd name="T19" fmla="*/ 4 h 66"/>
                <a:gd name="T20" fmla="*/ 4 w 48"/>
                <a:gd name="T21" fmla="*/ 4 h 66"/>
                <a:gd name="T22" fmla="*/ 4 w 48"/>
                <a:gd name="T23" fmla="*/ 4 h 6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8" h="66">
                  <a:moveTo>
                    <a:pt x="36" y="66"/>
                  </a:moveTo>
                  <a:lnTo>
                    <a:pt x="24" y="54"/>
                  </a:lnTo>
                  <a:lnTo>
                    <a:pt x="12" y="42"/>
                  </a:lnTo>
                  <a:lnTo>
                    <a:pt x="0" y="36"/>
                  </a:lnTo>
                  <a:lnTo>
                    <a:pt x="12" y="12"/>
                  </a:lnTo>
                  <a:lnTo>
                    <a:pt x="2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48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0" name="Freeform 17">
              <a:extLst>
                <a:ext uri="{FF2B5EF4-FFF2-40B4-BE49-F238E27FC236}">
                  <a16:creationId xmlns:a16="http://schemas.microsoft.com/office/drawing/2014/main" id="{186CFADB-C641-4BD7-A0E5-E34B4A410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0" y="1646"/>
              <a:ext cx="100" cy="95"/>
            </a:xfrm>
            <a:custGeom>
              <a:avLst/>
              <a:gdLst>
                <a:gd name="T0" fmla="*/ 0 w 114"/>
                <a:gd name="T1" fmla="*/ 4 h 108"/>
                <a:gd name="T2" fmla="*/ 4 w 114"/>
                <a:gd name="T3" fmla="*/ 4 h 108"/>
                <a:gd name="T4" fmla="*/ 4 w 114"/>
                <a:gd name="T5" fmla="*/ 4 h 108"/>
                <a:gd name="T6" fmla="*/ 4 w 114"/>
                <a:gd name="T7" fmla="*/ 4 h 108"/>
                <a:gd name="T8" fmla="*/ 4 w 114"/>
                <a:gd name="T9" fmla="*/ 4 h 108"/>
                <a:gd name="T10" fmla="*/ 4 w 114"/>
                <a:gd name="T11" fmla="*/ 0 h 108"/>
                <a:gd name="T12" fmla="*/ 4 w 114"/>
                <a:gd name="T13" fmla="*/ 4 h 108"/>
                <a:gd name="T14" fmla="*/ 4 w 114"/>
                <a:gd name="T15" fmla="*/ 4 h 108"/>
                <a:gd name="T16" fmla="*/ 4 w 114"/>
                <a:gd name="T17" fmla="*/ 4 h 108"/>
                <a:gd name="T18" fmla="*/ 4 w 114"/>
                <a:gd name="T19" fmla="*/ 4 h 108"/>
                <a:gd name="T20" fmla="*/ 4 w 114"/>
                <a:gd name="T21" fmla="*/ 4 h 108"/>
                <a:gd name="T22" fmla="*/ 4 w 114"/>
                <a:gd name="T23" fmla="*/ 4 h 108"/>
                <a:gd name="T24" fmla="*/ 4 w 114"/>
                <a:gd name="T25" fmla="*/ 4 h 108"/>
                <a:gd name="T26" fmla="*/ 4 w 114"/>
                <a:gd name="T27" fmla="*/ 4 h 108"/>
                <a:gd name="T28" fmla="*/ 4 w 114"/>
                <a:gd name="T29" fmla="*/ 4 h 108"/>
                <a:gd name="T30" fmla="*/ 4 w 114"/>
                <a:gd name="T31" fmla="*/ 4 h 108"/>
                <a:gd name="T32" fmla="*/ 4 w 114"/>
                <a:gd name="T33" fmla="*/ 4 h 108"/>
                <a:gd name="T34" fmla="*/ 4 w 114"/>
                <a:gd name="T35" fmla="*/ 4 h 108"/>
                <a:gd name="T36" fmla="*/ 4 w 114"/>
                <a:gd name="T37" fmla="*/ 4 h 108"/>
                <a:gd name="T38" fmla="*/ 4 w 114"/>
                <a:gd name="T39" fmla="*/ 4 h 108"/>
                <a:gd name="T40" fmla="*/ 4 w 114"/>
                <a:gd name="T41" fmla="*/ 4 h 108"/>
                <a:gd name="T42" fmla="*/ 4 w 114"/>
                <a:gd name="T43" fmla="*/ 4 h 108"/>
                <a:gd name="T44" fmla="*/ 4 w 114"/>
                <a:gd name="T45" fmla="*/ 4 h 108"/>
                <a:gd name="T46" fmla="*/ 4 w 114"/>
                <a:gd name="T47" fmla="*/ 4 h 108"/>
                <a:gd name="T48" fmla="*/ 4 w 114"/>
                <a:gd name="T49" fmla="*/ 4 h 108"/>
                <a:gd name="T50" fmla="*/ 4 w 114"/>
                <a:gd name="T51" fmla="*/ 4 h 108"/>
                <a:gd name="T52" fmla="*/ 4 w 114"/>
                <a:gd name="T53" fmla="*/ 4 h 108"/>
                <a:gd name="T54" fmla="*/ 0 w 114"/>
                <a:gd name="T55" fmla="*/ 4 h 10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14" h="108">
                  <a:moveTo>
                    <a:pt x="0" y="42"/>
                  </a:moveTo>
                  <a:lnTo>
                    <a:pt x="24" y="18"/>
                  </a:lnTo>
                  <a:lnTo>
                    <a:pt x="36" y="6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90" y="18"/>
                  </a:lnTo>
                  <a:lnTo>
                    <a:pt x="102" y="6"/>
                  </a:lnTo>
                  <a:lnTo>
                    <a:pt x="102" y="18"/>
                  </a:lnTo>
                  <a:lnTo>
                    <a:pt x="102" y="42"/>
                  </a:lnTo>
                  <a:lnTo>
                    <a:pt x="114" y="54"/>
                  </a:lnTo>
                  <a:lnTo>
                    <a:pt x="114" y="66"/>
                  </a:lnTo>
                  <a:lnTo>
                    <a:pt x="102" y="72"/>
                  </a:lnTo>
                  <a:lnTo>
                    <a:pt x="114" y="84"/>
                  </a:lnTo>
                  <a:lnTo>
                    <a:pt x="90" y="108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36" y="84"/>
                  </a:lnTo>
                  <a:lnTo>
                    <a:pt x="24" y="84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12" y="54"/>
                  </a:lnTo>
                  <a:lnTo>
                    <a:pt x="12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1" name="Freeform 18">
              <a:extLst>
                <a:ext uri="{FF2B5EF4-FFF2-40B4-BE49-F238E27FC236}">
                  <a16:creationId xmlns:a16="http://schemas.microsoft.com/office/drawing/2014/main" id="{3025693C-BB95-405B-AA75-B30BA364B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3" y="1635"/>
              <a:ext cx="27" cy="26"/>
            </a:xfrm>
            <a:custGeom>
              <a:avLst/>
              <a:gdLst>
                <a:gd name="T0" fmla="*/ 0 w 30"/>
                <a:gd name="T1" fmla="*/ 3 h 30"/>
                <a:gd name="T2" fmla="*/ 0 w 30"/>
                <a:gd name="T3" fmla="*/ 3 h 30"/>
                <a:gd name="T4" fmla="*/ 0 w 30"/>
                <a:gd name="T5" fmla="*/ 0 h 30"/>
                <a:gd name="T6" fmla="*/ 5 w 30"/>
                <a:gd name="T7" fmla="*/ 3 h 30"/>
                <a:gd name="T8" fmla="*/ 5 w 30"/>
                <a:gd name="T9" fmla="*/ 3 h 30"/>
                <a:gd name="T10" fmla="*/ 5 w 30"/>
                <a:gd name="T11" fmla="*/ 3 h 30"/>
                <a:gd name="T12" fmla="*/ 5 w 30"/>
                <a:gd name="T13" fmla="*/ 3 h 30"/>
                <a:gd name="T14" fmla="*/ 5 w 30"/>
                <a:gd name="T15" fmla="*/ 3 h 30"/>
                <a:gd name="T16" fmla="*/ 5 w 30"/>
                <a:gd name="T17" fmla="*/ 3 h 30"/>
                <a:gd name="T18" fmla="*/ 0 w 30"/>
                <a:gd name="T19" fmla="*/ 3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0" h="30">
                  <a:moveTo>
                    <a:pt x="0" y="30"/>
                  </a:moveTo>
                  <a:lnTo>
                    <a:pt x="0" y="18"/>
                  </a:lnTo>
                  <a:lnTo>
                    <a:pt x="0" y="0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30" y="18"/>
                  </a:lnTo>
                  <a:lnTo>
                    <a:pt x="30" y="30"/>
                  </a:lnTo>
                  <a:lnTo>
                    <a:pt x="12" y="3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2" name="Freeform 19">
              <a:extLst>
                <a:ext uri="{FF2B5EF4-FFF2-40B4-BE49-F238E27FC236}">
                  <a16:creationId xmlns:a16="http://schemas.microsoft.com/office/drawing/2014/main" id="{CD82986A-9B0E-430D-8F5F-3D4C97A6C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3" y="1936"/>
              <a:ext cx="37" cy="47"/>
            </a:xfrm>
            <a:custGeom>
              <a:avLst/>
              <a:gdLst>
                <a:gd name="T0" fmla="*/ 4 w 42"/>
                <a:gd name="T1" fmla="*/ 3 h 54"/>
                <a:gd name="T2" fmla="*/ 4 w 42"/>
                <a:gd name="T3" fmla="*/ 3 h 54"/>
                <a:gd name="T4" fmla="*/ 4 w 42"/>
                <a:gd name="T5" fmla="*/ 3 h 54"/>
                <a:gd name="T6" fmla="*/ 4 w 42"/>
                <a:gd name="T7" fmla="*/ 3 h 54"/>
                <a:gd name="T8" fmla="*/ 0 w 42"/>
                <a:gd name="T9" fmla="*/ 3 h 54"/>
                <a:gd name="T10" fmla="*/ 0 w 42"/>
                <a:gd name="T11" fmla="*/ 3 h 54"/>
                <a:gd name="T12" fmla="*/ 4 w 42"/>
                <a:gd name="T13" fmla="*/ 3 h 54"/>
                <a:gd name="T14" fmla="*/ 4 w 42"/>
                <a:gd name="T15" fmla="*/ 0 h 54"/>
                <a:gd name="T16" fmla="*/ 4 w 42"/>
                <a:gd name="T17" fmla="*/ 0 h 54"/>
                <a:gd name="T18" fmla="*/ 4 w 42"/>
                <a:gd name="T19" fmla="*/ 3 h 54"/>
                <a:gd name="T20" fmla="*/ 4 w 42"/>
                <a:gd name="T21" fmla="*/ 3 h 54"/>
                <a:gd name="T22" fmla="*/ 4 w 42"/>
                <a:gd name="T23" fmla="*/ 3 h 54"/>
                <a:gd name="T24" fmla="*/ 4 w 42"/>
                <a:gd name="T25" fmla="*/ 3 h 54"/>
                <a:gd name="T26" fmla="*/ 4 w 42"/>
                <a:gd name="T27" fmla="*/ 3 h 5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2" h="54">
                  <a:moveTo>
                    <a:pt x="30" y="54"/>
                  </a:moveTo>
                  <a:lnTo>
                    <a:pt x="18" y="54"/>
                  </a:lnTo>
                  <a:lnTo>
                    <a:pt x="6" y="42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8" y="0"/>
                  </a:lnTo>
                  <a:lnTo>
                    <a:pt x="42" y="0"/>
                  </a:lnTo>
                  <a:lnTo>
                    <a:pt x="30" y="6"/>
                  </a:lnTo>
                  <a:lnTo>
                    <a:pt x="30" y="18"/>
                  </a:lnTo>
                  <a:lnTo>
                    <a:pt x="30" y="30"/>
                  </a:lnTo>
                  <a:lnTo>
                    <a:pt x="30" y="42"/>
                  </a:lnTo>
                  <a:lnTo>
                    <a:pt x="30" y="5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3" name="Freeform 20">
              <a:extLst>
                <a:ext uri="{FF2B5EF4-FFF2-40B4-BE49-F238E27FC236}">
                  <a16:creationId xmlns:a16="http://schemas.microsoft.com/office/drawing/2014/main" id="{364A12BA-4337-4346-88BA-A948B11B1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5" y="1719"/>
              <a:ext cx="154" cy="185"/>
            </a:xfrm>
            <a:custGeom>
              <a:avLst/>
              <a:gdLst>
                <a:gd name="T0" fmla="*/ 4 w 174"/>
                <a:gd name="T1" fmla="*/ 4 h 210"/>
                <a:gd name="T2" fmla="*/ 4 w 174"/>
                <a:gd name="T3" fmla="*/ 4 h 210"/>
                <a:gd name="T4" fmla="*/ 4 w 174"/>
                <a:gd name="T5" fmla="*/ 4 h 210"/>
                <a:gd name="T6" fmla="*/ 4 w 174"/>
                <a:gd name="T7" fmla="*/ 4 h 210"/>
                <a:gd name="T8" fmla="*/ 4 w 174"/>
                <a:gd name="T9" fmla="*/ 4 h 210"/>
                <a:gd name="T10" fmla="*/ 4 w 174"/>
                <a:gd name="T11" fmla="*/ 4 h 210"/>
                <a:gd name="T12" fmla="*/ 4 w 174"/>
                <a:gd name="T13" fmla="*/ 4 h 210"/>
                <a:gd name="T14" fmla="*/ 4 w 174"/>
                <a:gd name="T15" fmla="*/ 4 h 210"/>
                <a:gd name="T16" fmla="*/ 4 w 174"/>
                <a:gd name="T17" fmla="*/ 4 h 210"/>
                <a:gd name="T18" fmla="*/ 4 w 174"/>
                <a:gd name="T19" fmla="*/ 4 h 210"/>
                <a:gd name="T20" fmla="*/ 4 w 174"/>
                <a:gd name="T21" fmla="*/ 4 h 210"/>
                <a:gd name="T22" fmla="*/ 4 w 174"/>
                <a:gd name="T23" fmla="*/ 4 h 210"/>
                <a:gd name="T24" fmla="*/ 4 w 174"/>
                <a:gd name="T25" fmla="*/ 4 h 210"/>
                <a:gd name="T26" fmla="*/ 4 w 174"/>
                <a:gd name="T27" fmla="*/ 4 h 210"/>
                <a:gd name="T28" fmla="*/ 4 w 174"/>
                <a:gd name="T29" fmla="*/ 4 h 210"/>
                <a:gd name="T30" fmla="*/ 4 w 174"/>
                <a:gd name="T31" fmla="*/ 4 h 210"/>
                <a:gd name="T32" fmla="*/ 4 w 174"/>
                <a:gd name="T33" fmla="*/ 0 h 210"/>
                <a:gd name="T34" fmla="*/ 4 w 174"/>
                <a:gd name="T35" fmla="*/ 4 h 210"/>
                <a:gd name="T36" fmla="*/ 4 w 174"/>
                <a:gd name="T37" fmla="*/ 4 h 210"/>
                <a:gd name="T38" fmla="*/ 4 w 174"/>
                <a:gd name="T39" fmla="*/ 4 h 210"/>
                <a:gd name="T40" fmla="*/ 4 w 174"/>
                <a:gd name="T41" fmla="*/ 4 h 210"/>
                <a:gd name="T42" fmla="*/ 4 w 174"/>
                <a:gd name="T43" fmla="*/ 4 h 210"/>
                <a:gd name="T44" fmla="*/ 4 w 174"/>
                <a:gd name="T45" fmla="*/ 4 h 210"/>
                <a:gd name="T46" fmla="*/ 0 w 174"/>
                <a:gd name="T47" fmla="*/ 4 h 210"/>
                <a:gd name="T48" fmla="*/ 0 w 174"/>
                <a:gd name="T49" fmla="*/ 4 h 210"/>
                <a:gd name="T50" fmla="*/ 4 w 174"/>
                <a:gd name="T51" fmla="*/ 4 h 210"/>
                <a:gd name="T52" fmla="*/ 4 w 174"/>
                <a:gd name="T53" fmla="*/ 4 h 210"/>
                <a:gd name="T54" fmla="*/ 4 w 174"/>
                <a:gd name="T55" fmla="*/ 4 h 210"/>
                <a:gd name="T56" fmla="*/ 4 w 174"/>
                <a:gd name="T57" fmla="*/ 4 h 210"/>
                <a:gd name="T58" fmla="*/ 4 w 174"/>
                <a:gd name="T59" fmla="*/ 4 h 210"/>
                <a:gd name="T60" fmla="*/ 0 w 174"/>
                <a:gd name="T61" fmla="*/ 4 h 210"/>
                <a:gd name="T62" fmla="*/ 0 w 174"/>
                <a:gd name="T63" fmla="*/ 4 h 210"/>
                <a:gd name="T64" fmla="*/ 4 w 174"/>
                <a:gd name="T65" fmla="*/ 4 h 210"/>
                <a:gd name="T66" fmla="*/ 4 w 174"/>
                <a:gd name="T67" fmla="*/ 4 h 210"/>
                <a:gd name="T68" fmla="*/ 4 w 174"/>
                <a:gd name="T69" fmla="*/ 4 h 210"/>
                <a:gd name="T70" fmla="*/ 4 w 174"/>
                <a:gd name="T71" fmla="*/ 4 h 210"/>
                <a:gd name="T72" fmla="*/ 4 w 174"/>
                <a:gd name="T73" fmla="*/ 4 h 210"/>
                <a:gd name="T74" fmla="*/ 4 w 174"/>
                <a:gd name="T75" fmla="*/ 4 h 210"/>
                <a:gd name="T76" fmla="*/ 4 w 174"/>
                <a:gd name="T77" fmla="*/ 4 h 210"/>
                <a:gd name="T78" fmla="*/ 4 w 174"/>
                <a:gd name="T79" fmla="*/ 4 h 210"/>
                <a:gd name="T80" fmla="*/ 4 w 174"/>
                <a:gd name="T81" fmla="*/ 4 h 21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74" h="210">
                  <a:moveTo>
                    <a:pt x="72" y="198"/>
                  </a:moveTo>
                  <a:lnTo>
                    <a:pt x="72" y="186"/>
                  </a:lnTo>
                  <a:lnTo>
                    <a:pt x="60" y="168"/>
                  </a:lnTo>
                  <a:lnTo>
                    <a:pt x="60" y="156"/>
                  </a:lnTo>
                  <a:lnTo>
                    <a:pt x="60" y="132"/>
                  </a:lnTo>
                  <a:lnTo>
                    <a:pt x="72" y="114"/>
                  </a:lnTo>
                  <a:lnTo>
                    <a:pt x="84" y="90"/>
                  </a:lnTo>
                  <a:lnTo>
                    <a:pt x="108" y="78"/>
                  </a:lnTo>
                  <a:lnTo>
                    <a:pt x="120" y="66"/>
                  </a:lnTo>
                  <a:lnTo>
                    <a:pt x="150" y="54"/>
                  </a:lnTo>
                  <a:lnTo>
                    <a:pt x="174" y="48"/>
                  </a:lnTo>
                  <a:lnTo>
                    <a:pt x="174" y="36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32" y="0"/>
                  </a:lnTo>
                  <a:lnTo>
                    <a:pt x="96" y="12"/>
                  </a:lnTo>
                  <a:lnTo>
                    <a:pt x="72" y="24"/>
                  </a:lnTo>
                  <a:lnTo>
                    <a:pt x="60" y="12"/>
                  </a:lnTo>
                  <a:lnTo>
                    <a:pt x="54" y="36"/>
                  </a:lnTo>
                  <a:lnTo>
                    <a:pt x="42" y="48"/>
                  </a:lnTo>
                  <a:lnTo>
                    <a:pt x="30" y="36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18" y="78"/>
                  </a:lnTo>
                  <a:lnTo>
                    <a:pt x="6" y="102"/>
                  </a:lnTo>
                  <a:lnTo>
                    <a:pt x="18" y="114"/>
                  </a:lnTo>
                  <a:lnTo>
                    <a:pt x="6" y="132"/>
                  </a:lnTo>
                  <a:lnTo>
                    <a:pt x="0" y="120"/>
                  </a:lnTo>
                  <a:lnTo>
                    <a:pt x="0" y="144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18" y="174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42" y="198"/>
                  </a:lnTo>
                  <a:lnTo>
                    <a:pt x="54" y="186"/>
                  </a:lnTo>
                  <a:lnTo>
                    <a:pt x="54" y="210"/>
                  </a:lnTo>
                  <a:lnTo>
                    <a:pt x="72" y="19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4" name="Freeform 21">
              <a:extLst>
                <a:ext uri="{FF2B5EF4-FFF2-40B4-BE49-F238E27FC236}">
                  <a16:creationId xmlns:a16="http://schemas.microsoft.com/office/drawing/2014/main" id="{F27B1B91-D0C8-4A0F-B23A-A8F558BDB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7" y="1661"/>
              <a:ext cx="380" cy="101"/>
            </a:xfrm>
            <a:custGeom>
              <a:avLst/>
              <a:gdLst>
                <a:gd name="T0" fmla="*/ 4 w 432"/>
                <a:gd name="T1" fmla="*/ 4 h 114"/>
                <a:gd name="T2" fmla="*/ 4 w 432"/>
                <a:gd name="T3" fmla="*/ 4 h 114"/>
                <a:gd name="T4" fmla="*/ 4 w 432"/>
                <a:gd name="T5" fmla="*/ 4 h 114"/>
                <a:gd name="T6" fmla="*/ 0 w 432"/>
                <a:gd name="T7" fmla="*/ 4 h 114"/>
                <a:gd name="T8" fmla="*/ 4 w 432"/>
                <a:gd name="T9" fmla="*/ 4 h 114"/>
                <a:gd name="T10" fmla="*/ 4 w 432"/>
                <a:gd name="T11" fmla="*/ 4 h 114"/>
                <a:gd name="T12" fmla="*/ 0 w 432"/>
                <a:gd name="T13" fmla="*/ 4 h 114"/>
                <a:gd name="T14" fmla="*/ 4 w 432"/>
                <a:gd name="T15" fmla="*/ 4 h 114"/>
                <a:gd name="T16" fmla="*/ 4 w 432"/>
                <a:gd name="T17" fmla="*/ 4 h 114"/>
                <a:gd name="T18" fmla="*/ 4 w 432"/>
                <a:gd name="T19" fmla="*/ 4 h 114"/>
                <a:gd name="T20" fmla="*/ 4 w 432"/>
                <a:gd name="T21" fmla="*/ 4 h 114"/>
                <a:gd name="T22" fmla="*/ 4 w 432"/>
                <a:gd name="T23" fmla="*/ 4 h 114"/>
                <a:gd name="T24" fmla="*/ 4 w 432"/>
                <a:gd name="T25" fmla="*/ 4 h 114"/>
                <a:gd name="T26" fmla="*/ 4 w 432"/>
                <a:gd name="T27" fmla="*/ 0 h 114"/>
                <a:gd name="T28" fmla="*/ 4 w 432"/>
                <a:gd name="T29" fmla="*/ 0 h 114"/>
                <a:gd name="T30" fmla="*/ 4 w 432"/>
                <a:gd name="T31" fmla="*/ 4 h 114"/>
                <a:gd name="T32" fmla="*/ 4 w 432"/>
                <a:gd name="T33" fmla="*/ 0 h 114"/>
                <a:gd name="T34" fmla="*/ 4 w 432"/>
                <a:gd name="T35" fmla="*/ 4 h 114"/>
                <a:gd name="T36" fmla="*/ 4 w 432"/>
                <a:gd name="T37" fmla="*/ 4 h 114"/>
                <a:gd name="T38" fmla="*/ 4 w 432"/>
                <a:gd name="T39" fmla="*/ 0 h 114"/>
                <a:gd name="T40" fmla="*/ 4 w 432"/>
                <a:gd name="T41" fmla="*/ 0 h 114"/>
                <a:gd name="T42" fmla="*/ 4 w 432"/>
                <a:gd name="T43" fmla="*/ 4 h 114"/>
                <a:gd name="T44" fmla="*/ 4 w 432"/>
                <a:gd name="T45" fmla="*/ 4 h 114"/>
                <a:gd name="T46" fmla="*/ 4 w 432"/>
                <a:gd name="T47" fmla="*/ 4 h 114"/>
                <a:gd name="T48" fmla="*/ 4 w 432"/>
                <a:gd name="T49" fmla="*/ 4 h 114"/>
                <a:gd name="T50" fmla="*/ 4 w 432"/>
                <a:gd name="T51" fmla="*/ 4 h 114"/>
                <a:gd name="T52" fmla="*/ 5 w 432"/>
                <a:gd name="T53" fmla="*/ 4 h 114"/>
                <a:gd name="T54" fmla="*/ 5 w 432"/>
                <a:gd name="T55" fmla="*/ 4 h 114"/>
                <a:gd name="T56" fmla="*/ 5 w 432"/>
                <a:gd name="T57" fmla="*/ 4 h 114"/>
                <a:gd name="T58" fmla="*/ 6 w 432"/>
                <a:gd name="T59" fmla="*/ 4 h 114"/>
                <a:gd name="T60" fmla="*/ 6 w 432"/>
                <a:gd name="T61" fmla="*/ 4 h 114"/>
                <a:gd name="T62" fmla="*/ 5 w 432"/>
                <a:gd name="T63" fmla="*/ 4 h 114"/>
                <a:gd name="T64" fmla="*/ 5 w 432"/>
                <a:gd name="T65" fmla="*/ 4 h 114"/>
                <a:gd name="T66" fmla="*/ 5 w 432"/>
                <a:gd name="T67" fmla="*/ 4 h 114"/>
                <a:gd name="T68" fmla="*/ 5 w 432"/>
                <a:gd name="T69" fmla="*/ 4 h 114"/>
                <a:gd name="T70" fmla="*/ 4 w 432"/>
                <a:gd name="T71" fmla="*/ 4 h 114"/>
                <a:gd name="T72" fmla="*/ 4 w 432"/>
                <a:gd name="T73" fmla="*/ 4 h 114"/>
                <a:gd name="T74" fmla="*/ 4 w 432"/>
                <a:gd name="T75" fmla="*/ 4 h 114"/>
                <a:gd name="T76" fmla="*/ 4 w 432"/>
                <a:gd name="T77" fmla="*/ 4 h 114"/>
                <a:gd name="T78" fmla="*/ 4 w 432"/>
                <a:gd name="T79" fmla="*/ 4 h 114"/>
                <a:gd name="T80" fmla="*/ 4 w 432"/>
                <a:gd name="T81" fmla="*/ 4 h 114"/>
                <a:gd name="T82" fmla="*/ 4 w 432"/>
                <a:gd name="T83" fmla="*/ 4 h 114"/>
                <a:gd name="T84" fmla="*/ 4 w 432"/>
                <a:gd name="T85" fmla="*/ 4 h 114"/>
                <a:gd name="T86" fmla="*/ 4 w 432"/>
                <a:gd name="T87" fmla="*/ 4 h 114"/>
                <a:gd name="T88" fmla="*/ 4 w 432"/>
                <a:gd name="T89" fmla="*/ 4 h 114"/>
                <a:gd name="T90" fmla="*/ 4 w 432"/>
                <a:gd name="T91" fmla="*/ 4 h 114"/>
                <a:gd name="T92" fmla="*/ 4 w 432"/>
                <a:gd name="T93" fmla="*/ 4 h 114"/>
                <a:gd name="T94" fmla="*/ 4 w 432"/>
                <a:gd name="T95" fmla="*/ 4 h 114"/>
                <a:gd name="T96" fmla="*/ 4 w 432"/>
                <a:gd name="T97" fmla="*/ 4 h 114"/>
                <a:gd name="T98" fmla="*/ 4 w 432"/>
                <a:gd name="T99" fmla="*/ 4 h 114"/>
                <a:gd name="T100" fmla="*/ 4 w 432"/>
                <a:gd name="T101" fmla="*/ 4 h 114"/>
                <a:gd name="T102" fmla="*/ 4 w 432"/>
                <a:gd name="T103" fmla="*/ 4 h 114"/>
                <a:gd name="T104" fmla="*/ 4 w 432"/>
                <a:gd name="T105" fmla="*/ 4 h 114"/>
                <a:gd name="T106" fmla="*/ 4 w 432"/>
                <a:gd name="T107" fmla="*/ 4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32" h="114">
                  <a:moveTo>
                    <a:pt x="36" y="114"/>
                  </a:moveTo>
                  <a:lnTo>
                    <a:pt x="36" y="102"/>
                  </a:lnTo>
                  <a:lnTo>
                    <a:pt x="24" y="78"/>
                  </a:lnTo>
                  <a:lnTo>
                    <a:pt x="0" y="54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0" y="48"/>
                  </a:lnTo>
                  <a:lnTo>
                    <a:pt x="12" y="36"/>
                  </a:lnTo>
                  <a:lnTo>
                    <a:pt x="24" y="36"/>
                  </a:lnTo>
                  <a:lnTo>
                    <a:pt x="48" y="48"/>
                  </a:lnTo>
                  <a:lnTo>
                    <a:pt x="54" y="36"/>
                  </a:lnTo>
                  <a:lnTo>
                    <a:pt x="78" y="12"/>
                  </a:lnTo>
                  <a:lnTo>
                    <a:pt x="90" y="12"/>
                  </a:lnTo>
                  <a:lnTo>
                    <a:pt x="90" y="0"/>
                  </a:lnTo>
                  <a:lnTo>
                    <a:pt x="102" y="0"/>
                  </a:lnTo>
                  <a:lnTo>
                    <a:pt x="120" y="12"/>
                  </a:lnTo>
                  <a:lnTo>
                    <a:pt x="132" y="0"/>
                  </a:lnTo>
                  <a:lnTo>
                    <a:pt x="156" y="12"/>
                  </a:lnTo>
                  <a:lnTo>
                    <a:pt x="168" y="12"/>
                  </a:lnTo>
                  <a:lnTo>
                    <a:pt x="186" y="0"/>
                  </a:lnTo>
                  <a:lnTo>
                    <a:pt x="222" y="0"/>
                  </a:lnTo>
                  <a:lnTo>
                    <a:pt x="252" y="12"/>
                  </a:lnTo>
                  <a:lnTo>
                    <a:pt x="276" y="24"/>
                  </a:lnTo>
                  <a:lnTo>
                    <a:pt x="312" y="36"/>
                  </a:lnTo>
                  <a:lnTo>
                    <a:pt x="318" y="24"/>
                  </a:lnTo>
                  <a:lnTo>
                    <a:pt x="354" y="36"/>
                  </a:lnTo>
                  <a:lnTo>
                    <a:pt x="366" y="36"/>
                  </a:lnTo>
                  <a:lnTo>
                    <a:pt x="372" y="24"/>
                  </a:lnTo>
                  <a:lnTo>
                    <a:pt x="396" y="36"/>
                  </a:lnTo>
                  <a:lnTo>
                    <a:pt x="420" y="36"/>
                  </a:lnTo>
                  <a:lnTo>
                    <a:pt x="432" y="48"/>
                  </a:lnTo>
                  <a:lnTo>
                    <a:pt x="408" y="66"/>
                  </a:lnTo>
                  <a:lnTo>
                    <a:pt x="408" y="78"/>
                  </a:lnTo>
                  <a:lnTo>
                    <a:pt x="372" y="78"/>
                  </a:lnTo>
                  <a:lnTo>
                    <a:pt x="366" y="66"/>
                  </a:lnTo>
                  <a:lnTo>
                    <a:pt x="342" y="66"/>
                  </a:lnTo>
                  <a:lnTo>
                    <a:pt x="300" y="90"/>
                  </a:lnTo>
                  <a:lnTo>
                    <a:pt x="276" y="78"/>
                  </a:lnTo>
                  <a:lnTo>
                    <a:pt x="252" y="66"/>
                  </a:lnTo>
                  <a:lnTo>
                    <a:pt x="246" y="66"/>
                  </a:lnTo>
                  <a:lnTo>
                    <a:pt x="222" y="66"/>
                  </a:lnTo>
                  <a:lnTo>
                    <a:pt x="210" y="78"/>
                  </a:lnTo>
                  <a:lnTo>
                    <a:pt x="198" y="90"/>
                  </a:lnTo>
                  <a:lnTo>
                    <a:pt x="180" y="78"/>
                  </a:lnTo>
                  <a:lnTo>
                    <a:pt x="156" y="78"/>
                  </a:lnTo>
                  <a:lnTo>
                    <a:pt x="156" y="66"/>
                  </a:lnTo>
                  <a:lnTo>
                    <a:pt x="144" y="66"/>
                  </a:lnTo>
                  <a:lnTo>
                    <a:pt x="120" y="90"/>
                  </a:lnTo>
                  <a:lnTo>
                    <a:pt x="102" y="90"/>
                  </a:lnTo>
                  <a:lnTo>
                    <a:pt x="78" y="78"/>
                  </a:lnTo>
                  <a:lnTo>
                    <a:pt x="66" y="90"/>
                  </a:lnTo>
                  <a:lnTo>
                    <a:pt x="66" y="102"/>
                  </a:lnTo>
                  <a:lnTo>
                    <a:pt x="54" y="102"/>
                  </a:lnTo>
                  <a:lnTo>
                    <a:pt x="36" y="11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5" name="Freeform 22">
              <a:extLst>
                <a:ext uri="{FF2B5EF4-FFF2-40B4-BE49-F238E27FC236}">
                  <a16:creationId xmlns:a16="http://schemas.microsoft.com/office/drawing/2014/main" id="{473AC732-2A99-4A66-9389-E7CD95CA7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" y="1820"/>
              <a:ext cx="79" cy="47"/>
            </a:xfrm>
            <a:custGeom>
              <a:avLst/>
              <a:gdLst>
                <a:gd name="T0" fmla="*/ 4 w 90"/>
                <a:gd name="T1" fmla="*/ 3 h 54"/>
                <a:gd name="T2" fmla="*/ 4 w 90"/>
                <a:gd name="T3" fmla="*/ 3 h 54"/>
                <a:gd name="T4" fmla="*/ 4 w 90"/>
                <a:gd name="T5" fmla="*/ 3 h 54"/>
                <a:gd name="T6" fmla="*/ 4 w 90"/>
                <a:gd name="T7" fmla="*/ 3 h 54"/>
                <a:gd name="T8" fmla="*/ 0 w 90"/>
                <a:gd name="T9" fmla="*/ 3 h 54"/>
                <a:gd name="T10" fmla="*/ 0 w 90"/>
                <a:gd name="T11" fmla="*/ 0 h 54"/>
                <a:gd name="T12" fmla="*/ 4 w 90"/>
                <a:gd name="T13" fmla="*/ 0 h 54"/>
                <a:gd name="T14" fmla="*/ 4 w 90"/>
                <a:gd name="T15" fmla="*/ 0 h 54"/>
                <a:gd name="T16" fmla="*/ 4 w 90"/>
                <a:gd name="T17" fmla="*/ 0 h 54"/>
                <a:gd name="T18" fmla="*/ 4 w 90"/>
                <a:gd name="T19" fmla="*/ 0 h 54"/>
                <a:gd name="T20" fmla="*/ 4 w 90"/>
                <a:gd name="T21" fmla="*/ 0 h 54"/>
                <a:gd name="T22" fmla="*/ 4 w 90"/>
                <a:gd name="T23" fmla="*/ 0 h 54"/>
                <a:gd name="T24" fmla="*/ 4 w 90"/>
                <a:gd name="T25" fmla="*/ 3 h 54"/>
                <a:gd name="T26" fmla="*/ 4 w 90"/>
                <a:gd name="T27" fmla="*/ 3 h 54"/>
                <a:gd name="T28" fmla="*/ 4 w 90"/>
                <a:gd name="T29" fmla="*/ 3 h 54"/>
                <a:gd name="T30" fmla="*/ 4 w 90"/>
                <a:gd name="T31" fmla="*/ 3 h 54"/>
                <a:gd name="T32" fmla="*/ 4 w 90"/>
                <a:gd name="T33" fmla="*/ 3 h 54"/>
                <a:gd name="T34" fmla="*/ 4 w 90"/>
                <a:gd name="T35" fmla="*/ 3 h 5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0" h="54">
                  <a:moveTo>
                    <a:pt x="36" y="54"/>
                  </a:moveTo>
                  <a:lnTo>
                    <a:pt x="24" y="54"/>
                  </a:lnTo>
                  <a:lnTo>
                    <a:pt x="24" y="42"/>
                  </a:lnTo>
                  <a:lnTo>
                    <a:pt x="12" y="30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78" y="6"/>
                  </a:lnTo>
                  <a:lnTo>
                    <a:pt x="90" y="30"/>
                  </a:lnTo>
                  <a:lnTo>
                    <a:pt x="78" y="42"/>
                  </a:lnTo>
                  <a:lnTo>
                    <a:pt x="66" y="54"/>
                  </a:lnTo>
                  <a:lnTo>
                    <a:pt x="54" y="42"/>
                  </a:lnTo>
                  <a:lnTo>
                    <a:pt x="36" y="5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6" name="Freeform 23">
              <a:extLst>
                <a:ext uri="{FF2B5EF4-FFF2-40B4-BE49-F238E27FC236}">
                  <a16:creationId xmlns:a16="http://schemas.microsoft.com/office/drawing/2014/main" id="{E11F01FF-B424-4221-A619-F6CAD68245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1" y="1904"/>
              <a:ext cx="27" cy="37"/>
            </a:xfrm>
            <a:custGeom>
              <a:avLst/>
              <a:gdLst>
                <a:gd name="T0" fmla="*/ 5 w 30"/>
                <a:gd name="T1" fmla="*/ 4 h 42"/>
                <a:gd name="T2" fmla="*/ 5 w 30"/>
                <a:gd name="T3" fmla="*/ 4 h 42"/>
                <a:gd name="T4" fmla="*/ 0 w 30"/>
                <a:gd name="T5" fmla="*/ 4 h 42"/>
                <a:gd name="T6" fmla="*/ 0 w 30"/>
                <a:gd name="T7" fmla="*/ 4 h 42"/>
                <a:gd name="T8" fmla="*/ 0 w 30"/>
                <a:gd name="T9" fmla="*/ 4 h 42"/>
                <a:gd name="T10" fmla="*/ 5 w 30"/>
                <a:gd name="T11" fmla="*/ 0 h 42"/>
                <a:gd name="T12" fmla="*/ 5 w 30"/>
                <a:gd name="T13" fmla="*/ 4 h 42"/>
                <a:gd name="T14" fmla="*/ 5 w 30"/>
                <a:gd name="T15" fmla="*/ 4 h 42"/>
                <a:gd name="T16" fmla="*/ 5 w 30"/>
                <a:gd name="T17" fmla="*/ 4 h 42"/>
                <a:gd name="T18" fmla="*/ 5 w 30"/>
                <a:gd name="T19" fmla="*/ 4 h 42"/>
                <a:gd name="T20" fmla="*/ 5 w 30"/>
                <a:gd name="T21" fmla="*/ 4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" h="42">
                  <a:moveTo>
                    <a:pt x="18" y="36"/>
                  </a:moveTo>
                  <a:lnTo>
                    <a:pt x="12" y="36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8" y="0"/>
                  </a:lnTo>
                  <a:lnTo>
                    <a:pt x="30" y="12"/>
                  </a:lnTo>
                  <a:lnTo>
                    <a:pt x="30" y="24"/>
                  </a:lnTo>
                  <a:lnTo>
                    <a:pt x="30" y="36"/>
                  </a:lnTo>
                  <a:lnTo>
                    <a:pt x="18" y="42"/>
                  </a:lnTo>
                  <a:lnTo>
                    <a:pt x="18" y="3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7" name="Freeform 24">
              <a:extLst>
                <a:ext uri="{FF2B5EF4-FFF2-40B4-BE49-F238E27FC236}">
                  <a16:creationId xmlns:a16="http://schemas.microsoft.com/office/drawing/2014/main" id="{F7908866-FD46-42EE-B0F5-CD5B0BC29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5" y="2860"/>
              <a:ext cx="16" cy="58"/>
            </a:xfrm>
            <a:custGeom>
              <a:avLst/>
              <a:gdLst>
                <a:gd name="T0" fmla="*/ 4 w 18"/>
                <a:gd name="T1" fmla="*/ 4 h 66"/>
                <a:gd name="T2" fmla="*/ 0 w 18"/>
                <a:gd name="T3" fmla="*/ 4 h 66"/>
                <a:gd name="T4" fmla="*/ 4 w 18"/>
                <a:gd name="T5" fmla="*/ 4 h 66"/>
                <a:gd name="T6" fmla="*/ 4 w 18"/>
                <a:gd name="T7" fmla="*/ 4 h 66"/>
                <a:gd name="T8" fmla="*/ 4 w 18"/>
                <a:gd name="T9" fmla="*/ 4 h 66"/>
                <a:gd name="T10" fmla="*/ 4 w 18"/>
                <a:gd name="T11" fmla="*/ 0 h 66"/>
                <a:gd name="T12" fmla="*/ 4 w 18"/>
                <a:gd name="T13" fmla="*/ 0 h 66"/>
                <a:gd name="T14" fmla="*/ 4 w 18"/>
                <a:gd name="T15" fmla="*/ 4 h 66"/>
                <a:gd name="T16" fmla="*/ 4 w 18"/>
                <a:gd name="T17" fmla="*/ 4 h 66"/>
                <a:gd name="T18" fmla="*/ 4 w 18"/>
                <a:gd name="T19" fmla="*/ 4 h 66"/>
                <a:gd name="T20" fmla="*/ 4 w 18"/>
                <a:gd name="T21" fmla="*/ 4 h 66"/>
                <a:gd name="T22" fmla="*/ 4 w 18"/>
                <a:gd name="T23" fmla="*/ 4 h 66"/>
                <a:gd name="T24" fmla="*/ 4 w 18"/>
                <a:gd name="T25" fmla="*/ 4 h 66"/>
                <a:gd name="T26" fmla="*/ 4 w 18"/>
                <a:gd name="T27" fmla="*/ 4 h 6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8" h="66">
                  <a:moveTo>
                    <a:pt x="6" y="66"/>
                  </a:moveTo>
                  <a:lnTo>
                    <a:pt x="0" y="54"/>
                  </a:lnTo>
                  <a:lnTo>
                    <a:pt x="6" y="42"/>
                  </a:lnTo>
                  <a:lnTo>
                    <a:pt x="6" y="24"/>
                  </a:lnTo>
                  <a:lnTo>
                    <a:pt x="6" y="12"/>
                  </a:lnTo>
                  <a:lnTo>
                    <a:pt x="6" y="0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18" y="54"/>
                  </a:lnTo>
                  <a:lnTo>
                    <a:pt x="6" y="54"/>
                  </a:lnTo>
                  <a:lnTo>
                    <a:pt x="6" y="6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8" name="Freeform 25">
              <a:extLst>
                <a:ext uri="{FF2B5EF4-FFF2-40B4-BE49-F238E27FC236}">
                  <a16:creationId xmlns:a16="http://schemas.microsoft.com/office/drawing/2014/main" id="{488A37B0-670D-45FB-90D8-FB42D759E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1" y="3055"/>
              <a:ext cx="10" cy="26"/>
            </a:xfrm>
            <a:custGeom>
              <a:avLst/>
              <a:gdLst>
                <a:gd name="T0" fmla="*/ 0 w 12"/>
                <a:gd name="T1" fmla="*/ 0 h 30"/>
                <a:gd name="T2" fmla="*/ 0 w 12"/>
                <a:gd name="T3" fmla="*/ 3 h 30"/>
                <a:gd name="T4" fmla="*/ 0 w 12"/>
                <a:gd name="T5" fmla="*/ 3 h 30"/>
                <a:gd name="T6" fmla="*/ 3 w 12"/>
                <a:gd name="T7" fmla="*/ 3 h 30"/>
                <a:gd name="T8" fmla="*/ 3 w 12"/>
                <a:gd name="T9" fmla="*/ 3 h 30"/>
                <a:gd name="T10" fmla="*/ 3 w 12"/>
                <a:gd name="T11" fmla="*/ 0 h 30"/>
                <a:gd name="T12" fmla="*/ 0 w 12"/>
                <a:gd name="T13" fmla="*/ 0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30">
                  <a:moveTo>
                    <a:pt x="0" y="0"/>
                  </a:moveTo>
                  <a:lnTo>
                    <a:pt x="0" y="24"/>
                  </a:lnTo>
                  <a:lnTo>
                    <a:pt x="0" y="30"/>
                  </a:lnTo>
                  <a:lnTo>
                    <a:pt x="12" y="24"/>
                  </a:lnTo>
                  <a:lnTo>
                    <a:pt x="12" y="12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9" name="Freeform 26">
              <a:extLst>
                <a:ext uri="{FF2B5EF4-FFF2-40B4-BE49-F238E27FC236}">
                  <a16:creationId xmlns:a16="http://schemas.microsoft.com/office/drawing/2014/main" id="{A07CA654-D4ED-4CD6-91D1-AED91497A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4" y="3229"/>
              <a:ext cx="26" cy="79"/>
            </a:xfrm>
            <a:custGeom>
              <a:avLst/>
              <a:gdLst>
                <a:gd name="T0" fmla="*/ 0 w 30"/>
                <a:gd name="T1" fmla="*/ 4 h 90"/>
                <a:gd name="T2" fmla="*/ 3 w 30"/>
                <a:gd name="T3" fmla="*/ 4 h 90"/>
                <a:gd name="T4" fmla="*/ 0 w 30"/>
                <a:gd name="T5" fmla="*/ 4 h 90"/>
                <a:gd name="T6" fmla="*/ 3 w 30"/>
                <a:gd name="T7" fmla="*/ 4 h 90"/>
                <a:gd name="T8" fmla="*/ 3 w 30"/>
                <a:gd name="T9" fmla="*/ 4 h 90"/>
                <a:gd name="T10" fmla="*/ 3 w 30"/>
                <a:gd name="T11" fmla="*/ 0 h 90"/>
                <a:gd name="T12" fmla="*/ 3 w 30"/>
                <a:gd name="T13" fmla="*/ 4 h 90"/>
                <a:gd name="T14" fmla="*/ 3 w 30"/>
                <a:gd name="T15" fmla="*/ 4 h 90"/>
                <a:gd name="T16" fmla="*/ 3 w 30"/>
                <a:gd name="T17" fmla="*/ 4 h 90"/>
                <a:gd name="T18" fmla="*/ 3 w 30"/>
                <a:gd name="T19" fmla="*/ 4 h 90"/>
                <a:gd name="T20" fmla="*/ 3 w 30"/>
                <a:gd name="T21" fmla="*/ 4 h 90"/>
                <a:gd name="T22" fmla="*/ 0 w 30"/>
                <a:gd name="T23" fmla="*/ 4 h 9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0" h="90">
                  <a:moveTo>
                    <a:pt x="0" y="78"/>
                  </a:moveTo>
                  <a:lnTo>
                    <a:pt x="12" y="54"/>
                  </a:lnTo>
                  <a:lnTo>
                    <a:pt x="0" y="42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30" y="0"/>
                  </a:lnTo>
                  <a:lnTo>
                    <a:pt x="30" y="18"/>
                  </a:lnTo>
                  <a:lnTo>
                    <a:pt x="24" y="42"/>
                  </a:lnTo>
                  <a:lnTo>
                    <a:pt x="24" y="54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0" name="Freeform 27">
              <a:extLst>
                <a:ext uri="{FF2B5EF4-FFF2-40B4-BE49-F238E27FC236}">
                  <a16:creationId xmlns:a16="http://schemas.microsoft.com/office/drawing/2014/main" id="{65B1A6C5-ABFD-4CAB-BDA5-FAB153CCD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6" y="3314"/>
              <a:ext cx="47" cy="100"/>
            </a:xfrm>
            <a:custGeom>
              <a:avLst/>
              <a:gdLst>
                <a:gd name="T0" fmla="*/ 0 w 54"/>
                <a:gd name="T1" fmla="*/ 4 h 114"/>
                <a:gd name="T2" fmla="*/ 0 w 54"/>
                <a:gd name="T3" fmla="*/ 4 h 114"/>
                <a:gd name="T4" fmla="*/ 3 w 54"/>
                <a:gd name="T5" fmla="*/ 4 h 114"/>
                <a:gd name="T6" fmla="*/ 3 w 54"/>
                <a:gd name="T7" fmla="*/ 4 h 114"/>
                <a:gd name="T8" fmla="*/ 3 w 54"/>
                <a:gd name="T9" fmla="*/ 4 h 114"/>
                <a:gd name="T10" fmla="*/ 3 w 54"/>
                <a:gd name="T11" fmla="*/ 4 h 114"/>
                <a:gd name="T12" fmla="*/ 3 w 54"/>
                <a:gd name="T13" fmla="*/ 4 h 114"/>
                <a:gd name="T14" fmla="*/ 3 w 54"/>
                <a:gd name="T15" fmla="*/ 4 h 114"/>
                <a:gd name="T16" fmla="*/ 3 w 54"/>
                <a:gd name="T17" fmla="*/ 0 h 114"/>
                <a:gd name="T18" fmla="*/ 3 w 54"/>
                <a:gd name="T19" fmla="*/ 0 h 114"/>
                <a:gd name="T20" fmla="*/ 3 w 54"/>
                <a:gd name="T21" fmla="*/ 4 h 114"/>
                <a:gd name="T22" fmla="*/ 3 w 54"/>
                <a:gd name="T23" fmla="*/ 4 h 114"/>
                <a:gd name="T24" fmla="*/ 3 w 54"/>
                <a:gd name="T25" fmla="*/ 4 h 114"/>
                <a:gd name="T26" fmla="*/ 3 w 54"/>
                <a:gd name="T27" fmla="*/ 4 h 114"/>
                <a:gd name="T28" fmla="*/ 3 w 54"/>
                <a:gd name="T29" fmla="*/ 4 h 114"/>
                <a:gd name="T30" fmla="*/ 3 w 54"/>
                <a:gd name="T31" fmla="*/ 4 h 114"/>
                <a:gd name="T32" fmla="*/ 3 w 54"/>
                <a:gd name="T33" fmla="*/ 4 h 114"/>
                <a:gd name="T34" fmla="*/ 0 w 54"/>
                <a:gd name="T35" fmla="*/ 4 h 114"/>
                <a:gd name="T36" fmla="*/ 0 w 54"/>
                <a:gd name="T37" fmla="*/ 4 h 1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54" h="114">
                  <a:moveTo>
                    <a:pt x="0" y="114"/>
                  </a:moveTo>
                  <a:lnTo>
                    <a:pt x="0" y="102"/>
                  </a:lnTo>
                  <a:lnTo>
                    <a:pt x="12" y="78"/>
                  </a:lnTo>
                  <a:lnTo>
                    <a:pt x="12" y="66"/>
                  </a:lnTo>
                  <a:lnTo>
                    <a:pt x="12" y="48"/>
                  </a:lnTo>
                  <a:lnTo>
                    <a:pt x="24" y="48"/>
                  </a:lnTo>
                  <a:lnTo>
                    <a:pt x="30" y="36"/>
                  </a:lnTo>
                  <a:lnTo>
                    <a:pt x="42" y="12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42" y="36"/>
                  </a:lnTo>
                  <a:lnTo>
                    <a:pt x="42" y="48"/>
                  </a:lnTo>
                  <a:lnTo>
                    <a:pt x="30" y="60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2" y="102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1" name="Freeform 28">
              <a:extLst>
                <a:ext uri="{FF2B5EF4-FFF2-40B4-BE49-F238E27FC236}">
                  <a16:creationId xmlns:a16="http://schemas.microsoft.com/office/drawing/2014/main" id="{4F6E3644-17B6-4EFD-8DF0-A58BB85B9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9" y="3430"/>
              <a:ext cx="26" cy="68"/>
            </a:xfrm>
            <a:custGeom>
              <a:avLst/>
              <a:gdLst>
                <a:gd name="T0" fmla="*/ 0 w 30"/>
                <a:gd name="T1" fmla="*/ 3 h 78"/>
                <a:gd name="T2" fmla="*/ 0 w 30"/>
                <a:gd name="T3" fmla="*/ 3 h 78"/>
                <a:gd name="T4" fmla="*/ 0 w 30"/>
                <a:gd name="T5" fmla="*/ 3 h 78"/>
                <a:gd name="T6" fmla="*/ 3 w 30"/>
                <a:gd name="T7" fmla="*/ 3 h 78"/>
                <a:gd name="T8" fmla="*/ 0 w 30"/>
                <a:gd name="T9" fmla="*/ 3 h 78"/>
                <a:gd name="T10" fmla="*/ 3 w 30"/>
                <a:gd name="T11" fmla="*/ 3 h 78"/>
                <a:gd name="T12" fmla="*/ 3 w 30"/>
                <a:gd name="T13" fmla="*/ 0 h 78"/>
                <a:gd name="T14" fmla="*/ 3 w 30"/>
                <a:gd name="T15" fmla="*/ 3 h 78"/>
                <a:gd name="T16" fmla="*/ 3 w 30"/>
                <a:gd name="T17" fmla="*/ 3 h 78"/>
                <a:gd name="T18" fmla="*/ 3 w 30"/>
                <a:gd name="T19" fmla="*/ 3 h 78"/>
                <a:gd name="T20" fmla="*/ 3 w 30"/>
                <a:gd name="T21" fmla="*/ 3 h 78"/>
                <a:gd name="T22" fmla="*/ 3 w 30"/>
                <a:gd name="T23" fmla="*/ 3 h 78"/>
                <a:gd name="T24" fmla="*/ 0 w 30"/>
                <a:gd name="T25" fmla="*/ 3 h 7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78">
                  <a:moveTo>
                    <a:pt x="0" y="78"/>
                  </a:moveTo>
                  <a:lnTo>
                    <a:pt x="0" y="60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18" y="12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18" y="24"/>
                  </a:lnTo>
                  <a:lnTo>
                    <a:pt x="18" y="48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2" name="Freeform 29">
              <a:extLst>
                <a:ext uri="{FF2B5EF4-FFF2-40B4-BE49-F238E27FC236}">
                  <a16:creationId xmlns:a16="http://schemas.microsoft.com/office/drawing/2014/main" id="{B715C0DD-E78E-4E08-962A-A5229DEB9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5" y="3150"/>
              <a:ext cx="16" cy="32"/>
            </a:xfrm>
            <a:custGeom>
              <a:avLst/>
              <a:gdLst>
                <a:gd name="T0" fmla="*/ 0 w 18"/>
                <a:gd name="T1" fmla="*/ 4 h 36"/>
                <a:gd name="T2" fmla="*/ 4 w 18"/>
                <a:gd name="T3" fmla="*/ 4 h 36"/>
                <a:gd name="T4" fmla="*/ 4 w 18"/>
                <a:gd name="T5" fmla="*/ 0 h 36"/>
                <a:gd name="T6" fmla="*/ 4 w 18"/>
                <a:gd name="T7" fmla="*/ 4 h 36"/>
                <a:gd name="T8" fmla="*/ 4 w 18"/>
                <a:gd name="T9" fmla="*/ 4 h 36"/>
                <a:gd name="T10" fmla="*/ 4 w 18"/>
                <a:gd name="T11" fmla="*/ 4 h 36"/>
                <a:gd name="T12" fmla="*/ 4 w 18"/>
                <a:gd name="T13" fmla="*/ 4 h 36"/>
                <a:gd name="T14" fmla="*/ 0 w 18"/>
                <a:gd name="T15" fmla="*/ 4 h 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8" h="36">
                  <a:moveTo>
                    <a:pt x="0" y="24"/>
                  </a:moveTo>
                  <a:lnTo>
                    <a:pt x="6" y="12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24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3" name="Freeform 30">
              <a:extLst>
                <a:ext uri="{FF2B5EF4-FFF2-40B4-BE49-F238E27FC236}">
                  <a16:creationId xmlns:a16="http://schemas.microsoft.com/office/drawing/2014/main" id="{6FE7BEE7-063C-4CEE-ABFC-2D0696CC2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1" y="2965"/>
              <a:ext cx="10" cy="32"/>
            </a:xfrm>
            <a:custGeom>
              <a:avLst/>
              <a:gdLst>
                <a:gd name="T0" fmla="*/ 0 w 12"/>
                <a:gd name="T1" fmla="*/ 4 h 36"/>
                <a:gd name="T2" fmla="*/ 0 w 12"/>
                <a:gd name="T3" fmla="*/ 4 h 36"/>
                <a:gd name="T4" fmla="*/ 0 w 12"/>
                <a:gd name="T5" fmla="*/ 0 h 36"/>
                <a:gd name="T6" fmla="*/ 3 w 12"/>
                <a:gd name="T7" fmla="*/ 4 h 36"/>
                <a:gd name="T8" fmla="*/ 3 w 12"/>
                <a:gd name="T9" fmla="*/ 4 h 36"/>
                <a:gd name="T10" fmla="*/ 0 w 12"/>
                <a:gd name="T11" fmla="*/ 4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" h="36">
                  <a:moveTo>
                    <a:pt x="0" y="36"/>
                  </a:moveTo>
                  <a:lnTo>
                    <a:pt x="0" y="24"/>
                  </a:lnTo>
                  <a:lnTo>
                    <a:pt x="0" y="0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4" name="Freeform 31">
              <a:extLst>
                <a:ext uri="{FF2B5EF4-FFF2-40B4-BE49-F238E27FC236}">
                  <a16:creationId xmlns:a16="http://schemas.microsoft.com/office/drawing/2014/main" id="{8038431E-2D4C-4B07-BE44-E6C55ACD1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" y="1228"/>
              <a:ext cx="53" cy="48"/>
            </a:xfrm>
            <a:custGeom>
              <a:avLst/>
              <a:gdLst>
                <a:gd name="T0" fmla="*/ 4 w 60"/>
                <a:gd name="T1" fmla="*/ 4 h 54"/>
                <a:gd name="T2" fmla="*/ 4 w 60"/>
                <a:gd name="T3" fmla="*/ 4 h 54"/>
                <a:gd name="T4" fmla="*/ 0 w 60"/>
                <a:gd name="T5" fmla="*/ 4 h 54"/>
                <a:gd name="T6" fmla="*/ 0 w 60"/>
                <a:gd name="T7" fmla="*/ 4 h 54"/>
                <a:gd name="T8" fmla="*/ 4 w 60"/>
                <a:gd name="T9" fmla="*/ 4 h 54"/>
                <a:gd name="T10" fmla="*/ 4 w 60"/>
                <a:gd name="T11" fmla="*/ 4 h 54"/>
                <a:gd name="T12" fmla="*/ 4 w 60"/>
                <a:gd name="T13" fmla="*/ 0 h 54"/>
                <a:gd name="T14" fmla="*/ 4 w 60"/>
                <a:gd name="T15" fmla="*/ 4 h 54"/>
                <a:gd name="T16" fmla="*/ 4 w 60"/>
                <a:gd name="T17" fmla="*/ 4 h 54"/>
                <a:gd name="T18" fmla="*/ 4 w 60"/>
                <a:gd name="T19" fmla="*/ 4 h 54"/>
                <a:gd name="T20" fmla="*/ 4 w 60"/>
                <a:gd name="T21" fmla="*/ 4 h 54"/>
                <a:gd name="T22" fmla="*/ 4 w 60"/>
                <a:gd name="T23" fmla="*/ 4 h 54"/>
                <a:gd name="T24" fmla="*/ 4 w 60"/>
                <a:gd name="T25" fmla="*/ 4 h 54"/>
                <a:gd name="T26" fmla="*/ 4 w 60"/>
                <a:gd name="T27" fmla="*/ 4 h 54"/>
                <a:gd name="T28" fmla="*/ 4 w 60"/>
                <a:gd name="T29" fmla="*/ 4 h 54"/>
                <a:gd name="T30" fmla="*/ 4 w 60"/>
                <a:gd name="T31" fmla="*/ 4 h 54"/>
                <a:gd name="T32" fmla="*/ 4 w 60"/>
                <a:gd name="T33" fmla="*/ 4 h 54"/>
                <a:gd name="T34" fmla="*/ 4 w 60"/>
                <a:gd name="T35" fmla="*/ 4 h 5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0" h="54">
                  <a:moveTo>
                    <a:pt x="24" y="54"/>
                  </a:moveTo>
                  <a:lnTo>
                    <a:pt x="12" y="42"/>
                  </a:lnTo>
                  <a:lnTo>
                    <a:pt x="0" y="54"/>
                  </a:lnTo>
                  <a:lnTo>
                    <a:pt x="0" y="30"/>
                  </a:lnTo>
                  <a:lnTo>
                    <a:pt x="12" y="30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60" y="6"/>
                  </a:lnTo>
                  <a:lnTo>
                    <a:pt x="60" y="18"/>
                  </a:lnTo>
                  <a:lnTo>
                    <a:pt x="48" y="42"/>
                  </a:lnTo>
                  <a:lnTo>
                    <a:pt x="60" y="42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24" y="42"/>
                  </a:lnTo>
                  <a:lnTo>
                    <a:pt x="12" y="54"/>
                  </a:lnTo>
                  <a:lnTo>
                    <a:pt x="24" y="54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5" name="Freeform 32">
              <a:extLst>
                <a:ext uri="{FF2B5EF4-FFF2-40B4-BE49-F238E27FC236}">
                  <a16:creationId xmlns:a16="http://schemas.microsoft.com/office/drawing/2014/main" id="{ACDF3D9C-C985-4A44-9116-A359143A9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" y="1186"/>
              <a:ext cx="27" cy="32"/>
            </a:xfrm>
            <a:custGeom>
              <a:avLst/>
              <a:gdLst>
                <a:gd name="T0" fmla="*/ 5 w 30"/>
                <a:gd name="T1" fmla="*/ 4 h 36"/>
                <a:gd name="T2" fmla="*/ 5 w 30"/>
                <a:gd name="T3" fmla="*/ 4 h 36"/>
                <a:gd name="T4" fmla="*/ 0 w 30"/>
                <a:gd name="T5" fmla="*/ 4 h 36"/>
                <a:gd name="T6" fmla="*/ 0 w 30"/>
                <a:gd name="T7" fmla="*/ 4 h 36"/>
                <a:gd name="T8" fmla="*/ 5 w 30"/>
                <a:gd name="T9" fmla="*/ 4 h 36"/>
                <a:gd name="T10" fmla="*/ 5 w 30"/>
                <a:gd name="T11" fmla="*/ 4 h 36"/>
                <a:gd name="T12" fmla="*/ 5 w 30"/>
                <a:gd name="T13" fmla="*/ 0 h 36"/>
                <a:gd name="T14" fmla="*/ 5 w 30"/>
                <a:gd name="T15" fmla="*/ 0 h 36"/>
                <a:gd name="T16" fmla="*/ 5 w 30"/>
                <a:gd name="T17" fmla="*/ 4 h 36"/>
                <a:gd name="T18" fmla="*/ 5 w 30"/>
                <a:gd name="T19" fmla="*/ 4 h 36"/>
                <a:gd name="T20" fmla="*/ 5 w 30"/>
                <a:gd name="T21" fmla="*/ 4 h 36"/>
                <a:gd name="T22" fmla="*/ 5 w 30"/>
                <a:gd name="T23" fmla="*/ 4 h 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0" h="36">
                  <a:moveTo>
                    <a:pt x="6" y="36"/>
                  </a:moveTo>
                  <a:lnTo>
                    <a:pt x="6" y="24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8" y="12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30" y="24"/>
                  </a:lnTo>
                  <a:lnTo>
                    <a:pt x="18" y="36"/>
                  </a:lnTo>
                  <a:lnTo>
                    <a:pt x="6" y="36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6" name="Freeform 33">
              <a:extLst>
                <a:ext uri="{FF2B5EF4-FFF2-40B4-BE49-F238E27FC236}">
                  <a16:creationId xmlns:a16="http://schemas.microsoft.com/office/drawing/2014/main" id="{2561901F-6BC2-4898-8F93-883DD4DB4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" y="2928"/>
              <a:ext cx="185" cy="254"/>
            </a:xfrm>
            <a:custGeom>
              <a:avLst/>
              <a:gdLst>
                <a:gd name="T0" fmla="*/ 4 w 210"/>
                <a:gd name="T1" fmla="*/ 4 h 288"/>
                <a:gd name="T2" fmla="*/ 4 w 210"/>
                <a:gd name="T3" fmla="*/ 4 h 288"/>
                <a:gd name="T4" fmla="*/ 4 w 210"/>
                <a:gd name="T5" fmla="*/ 4 h 288"/>
                <a:gd name="T6" fmla="*/ 4 w 210"/>
                <a:gd name="T7" fmla="*/ 4 h 288"/>
                <a:gd name="T8" fmla="*/ 4 w 210"/>
                <a:gd name="T9" fmla="*/ 4 h 288"/>
                <a:gd name="T10" fmla="*/ 4 w 210"/>
                <a:gd name="T11" fmla="*/ 4 h 288"/>
                <a:gd name="T12" fmla="*/ 4 w 210"/>
                <a:gd name="T13" fmla="*/ 4 h 288"/>
                <a:gd name="T14" fmla="*/ 4 w 210"/>
                <a:gd name="T15" fmla="*/ 4 h 288"/>
                <a:gd name="T16" fmla="*/ 4 w 210"/>
                <a:gd name="T17" fmla="*/ 4 h 288"/>
                <a:gd name="T18" fmla="*/ 4 w 210"/>
                <a:gd name="T19" fmla="*/ 4 h 288"/>
                <a:gd name="T20" fmla="*/ 4 w 210"/>
                <a:gd name="T21" fmla="*/ 4 h 288"/>
                <a:gd name="T22" fmla="*/ 4 w 210"/>
                <a:gd name="T23" fmla="*/ 4 h 288"/>
                <a:gd name="T24" fmla="*/ 4 w 210"/>
                <a:gd name="T25" fmla="*/ 4 h 288"/>
                <a:gd name="T26" fmla="*/ 4 w 210"/>
                <a:gd name="T27" fmla="*/ 4 h 288"/>
                <a:gd name="T28" fmla="*/ 4 w 210"/>
                <a:gd name="T29" fmla="*/ 4 h 288"/>
                <a:gd name="T30" fmla="*/ 4 w 210"/>
                <a:gd name="T31" fmla="*/ 4 h 288"/>
                <a:gd name="T32" fmla="*/ 4 w 210"/>
                <a:gd name="T33" fmla="*/ 4 h 288"/>
                <a:gd name="T34" fmla="*/ 4 w 210"/>
                <a:gd name="T35" fmla="*/ 4 h 288"/>
                <a:gd name="T36" fmla="*/ 4 w 210"/>
                <a:gd name="T37" fmla="*/ 4 h 288"/>
                <a:gd name="T38" fmla="*/ 0 w 210"/>
                <a:gd name="T39" fmla="*/ 4 h 288"/>
                <a:gd name="T40" fmla="*/ 0 w 210"/>
                <a:gd name="T41" fmla="*/ 4 h 288"/>
                <a:gd name="T42" fmla="*/ 4 w 210"/>
                <a:gd name="T43" fmla="*/ 4 h 288"/>
                <a:gd name="T44" fmla="*/ 4 w 210"/>
                <a:gd name="T45" fmla="*/ 4 h 288"/>
                <a:gd name="T46" fmla="*/ 4 w 210"/>
                <a:gd name="T47" fmla="*/ 4 h 288"/>
                <a:gd name="T48" fmla="*/ 4 w 210"/>
                <a:gd name="T49" fmla="*/ 4 h 288"/>
                <a:gd name="T50" fmla="*/ 0 w 210"/>
                <a:gd name="T51" fmla="*/ 4 h 288"/>
                <a:gd name="T52" fmla="*/ 4 w 210"/>
                <a:gd name="T53" fmla="*/ 4 h 288"/>
                <a:gd name="T54" fmla="*/ 0 w 210"/>
                <a:gd name="T55" fmla="*/ 4 h 288"/>
                <a:gd name="T56" fmla="*/ 4 w 210"/>
                <a:gd name="T57" fmla="*/ 4 h 288"/>
                <a:gd name="T58" fmla="*/ 4 w 210"/>
                <a:gd name="T59" fmla="*/ 4 h 288"/>
                <a:gd name="T60" fmla="*/ 4 w 210"/>
                <a:gd name="T61" fmla="*/ 4 h 288"/>
                <a:gd name="T62" fmla="*/ 4 w 210"/>
                <a:gd name="T63" fmla="*/ 0 h 288"/>
                <a:gd name="T64" fmla="*/ 4 w 210"/>
                <a:gd name="T65" fmla="*/ 4 h 288"/>
                <a:gd name="T66" fmla="*/ 4 w 210"/>
                <a:gd name="T67" fmla="*/ 4 h 288"/>
                <a:gd name="T68" fmla="*/ 4 w 210"/>
                <a:gd name="T69" fmla="*/ 4 h 288"/>
                <a:gd name="T70" fmla="*/ 4 w 210"/>
                <a:gd name="T71" fmla="*/ 4 h 28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0" h="288">
                  <a:moveTo>
                    <a:pt x="114" y="12"/>
                  </a:moveTo>
                  <a:lnTo>
                    <a:pt x="120" y="24"/>
                  </a:lnTo>
                  <a:lnTo>
                    <a:pt x="132" y="60"/>
                  </a:lnTo>
                  <a:lnTo>
                    <a:pt x="132" y="78"/>
                  </a:lnTo>
                  <a:lnTo>
                    <a:pt x="132" y="90"/>
                  </a:lnTo>
                  <a:lnTo>
                    <a:pt x="162" y="90"/>
                  </a:lnTo>
                  <a:lnTo>
                    <a:pt x="174" y="102"/>
                  </a:lnTo>
                  <a:lnTo>
                    <a:pt x="198" y="114"/>
                  </a:lnTo>
                  <a:lnTo>
                    <a:pt x="198" y="132"/>
                  </a:lnTo>
                  <a:lnTo>
                    <a:pt x="186" y="144"/>
                  </a:lnTo>
                  <a:lnTo>
                    <a:pt x="198" y="144"/>
                  </a:lnTo>
                  <a:lnTo>
                    <a:pt x="186" y="156"/>
                  </a:lnTo>
                  <a:lnTo>
                    <a:pt x="186" y="180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86" y="210"/>
                  </a:lnTo>
                  <a:lnTo>
                    <a:pt x="198" y="210"/>
                  </a:lnTo>
                  <a:lnTo>
                    <a:pt x="198" y="222"/>
                  </a:lnTo>
                  <a:lnTo>
                    <a:pt x="210" y="234"/>
                  </a:lnTo>
                  <a:lnTo>
                    <a:pt x="198" y="246"/>
                  </a:lnTo>
                  <a:lnTo>
                    <a:pt x="186" y="234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56" y="210"/>
                  </a:lnTo>
                  <a:lnTo>
                    <a:pt x="144" y="222"/>
                  </a:lnTo>
                  <a:lnTo>
                    <a:pt x="132" y="222"/>
                  </a:lnTo>
                  <a:lnTo>
                    <a:pt x="132" y="246"/>
                  </a:lnTo>
                  <a:lnTo>
                    <a:pt x="108" y="252"/>
                  </a:lnTo>
                  <a:lnTo>
                    <a:pt x="102" y="264"/>
                  </a:lnTo>
                  <a:lnTo>
                    <a:pt x="102" y="252"/>
                  </a:lnTo>
                  <a:lnTo>
                    <a:pt x="78" y="264"/>
                  </a:lnTo>
                  <a:lnTo>
                    <a:pt x="78" y="276"/>
                  </a:lnTo>
                  <a:lnTo>
                    <a:pt x="78" y="264"/>
                  </a:lnTo>
                  <a:lnTo>
                    <a:pt x="78" y="246"/>
                  </a:lnTo>
                  <a:lnTo>
                    <a:pt x="54" y="246"/>
                  </a:lnTo>
                  <a:lnTo>
                    <a:pt x="42" y="252"/>
                  </a:lnTo>
                  <a:lnTo>
                    <a:pt x="42" y="264"/>
                  </a:lnTo>
                  <a:lnTo>
                    <a:pt x="18" y="288"/>
                  </a:lnTo>
                  <a:lnTo>
                    <a:pt x="12" y="264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0" y="234"/>
                  </a:lnTo>
                  <a:lnTo>
                    <a:pt x="12" y="222"/>
                  </a:lnTo>
                  <a:lnTo>
                    <a:pt x="18" y="222"/>
                  </a:lnTo>
                  <a:lnTo>
                    <a:pt x="30" y="210"/>
                  </a:lnTo>
                  <a:lnTo>
                    <a:pt x="42" y="198"/>
                  </a:lnTo>
                  <a:lnTo>
                    <a:pt x="54" y="186"/>
                  </a:lnTo>
                  <a:lnTo>
                    <a:pt x="54" y="180"/>
                  </a:lnTo>
                  <a:lnTo>
                    <a:pt x="42" y="168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0" y="168"/>
                  </a:lnTo>
                  <a:lnTo>
                    <a:pt x="0" y="156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0" y="90"/>
                  </a:lnTo>
                  <a:lnTo>
                    <a:pt x="12" y="78"/>
                  </a:lnTo>
                  <a:lnTo>
                    <a:pt x="12" y="66"/>
                  </a:lnTo>
                  <a:lnTo>
                    <a:pt x="18" y="60"/>
                  </a:lnTo>
                  <a:lnTo>
                    <a:pt x="30" y="48"/>
                  </a:lnTo>
                  <a:lnTo>
                    <a:pt x="18" y="36"/>
                  </a:lnTo>
                  <a:lnTo>
                    <a:pt x="18" y="24"/>
                  </a:lnTo>
                  <a:lnTo>
                    <a:pt x="30" y="12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72" y="30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102" y="48"/>
                  </a:lnTo>
                  <a:lnTo>
                    <a:pt x="102" y="36"/>
                  </a:lnTo>
                  <a:lnTo>
                    <a:pt x="102" y="24"/>
                  </a:lnTo>
                  <a:lnTo>
                    <a:pt x="114" y="12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7" name="Freeform 34">
              <a:extLst>
                <a:ext uri="{FF2B5EF4-FFF2-40B4-BE49-F238E27FC236}">
                  <a16:creationId xmlns:a16="http://schemas.microsoft.com/office/drawing/2014/main" id="{5E43C433-50BC-49F9-979B-CF98D46ED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" y="2849"/>
              <a:ext cx="127" cy="227"/>
            </a:xfrm>
            <a:custGeom>
              <a:avLst/>
              <a:gdLst>
                <a:gd name="T0" fmla="*/ 85 w 127"/>
                <a:gd name="T1" fmla="*/ 227 h 227"/>
                <a:gd name="T2" fmla="*/ 53 w 127"/>
                <a:gd name="T3" fmla="*/ 227 h 227"/>
                <a:gd name="T4" fmla="*/ 32 w 127"/>
                <a:gd name="T5" fmla="*/ 216 h 227"/>
                <a:gd name="T6" fmla="*/ 21 w 127"/>
                <a:gd name="T7" fmla="*/ 195 h 227"/>
                <a:gd name="T8" fmla="*/ 11 w 127"/>
                <a:gd name="T9" fmla="*/ 179 h 227"/>
                <a:gd name="T10" fmla="*/ 0 w 127"/>
                <a:gd name="T11" fmla="*/ 158 h 227"/>
                <a:gd name="T12" fmla="*/ 11 w 127"/>
                <a:gd name="T13" fmla="*/ 132 h 227"/>
                <a:gd name="T14" fmla="*/ 11 w 127"/>
                <a:gd name="T15" fmla="*/ 111 h 227"/>
                <a:gd name="T16" fmla="*/ 21 w 127"/>
                <a:gd name="T17" fmla="*/ 90 h 227"/>
                <a:gd name="T18" fmla="*/ 11 w 127"/>
                <a:gd name="T19" fmla="*/ 63 h 227"/>
                <a:gd name="T20" fmla="*/ 21 w 127"/>
                <a:gd name="T21" fmla="*/ 42 h 227"/>
                <a:gd name="T22" fmla="*/ 21 w 127"/>
                <a:gd name="T23" fmla="*/ 32 h 227"/>
                <a:gd name="T24" fmla="*/ 32 w 127"/>
                <a:gd name="T25" fmla="*/ 5 h 227"/>
                <a:gd name="T26" fmla="*/ 42 w 127"/>
                <a:gd name="T27" fmla="*/ 0 h 227"/>
                <a:gd name="T28" fmla="*/ 48 w 127"/>
                <a:gd name="T29" fmla="*/ 14 h 227"/>
                <a:gd name="T30" fmla="*/ 58 w 127"/>
                <a:gd name="T31" fmla="*/ 23 h 227"/>
                <a:gd name="T32" fmla="*/ 69 w 127"/>
                <a:gd name="T33" fmla="*/ 32 h 227"/>
                <a:gd name="T34" fmla="*/ 69 w 127"/>
                <a:gd name="T35" fmla="*/ 42 h 227"/>
                <a:gd name="T36" fmla="*/ 79 w 127"/>
                <a:gd name="T37" fmla="*/ 53 h 227"/>
                <a:gd name="T38" fmla="*/ 90 w 127"/>
                <a:gd name="T39" fmla="*/ 53 h 227"/>
                <a:gd name="T40" fmla="*/ 101 w 127"/>
                <a:gd name="T41" fmla="*/ 53 h 227"/>
                <a:gd name="T42" fmla="*/ 116 w 127"/>
                <a:gd name="T43" fmla="*/ 63 h 227"/>
                <a:gd name="T44" fmla="*/ 116 w 127"/>
                <a:gd name="T45" fmla="*/ 90 h 227"/>
                <a:gd name="T46" fmla="*/ 127 w 127"/>
                <a:gd name="T47" fmla="*/ 90 h 227"/>
                <a:gd name="T48" fmla="*/ 106 w 127"/>
                <a:gd name="T49" fmla="*/ 90 h 227"/>
                <a:gd name="T50" fmla="*/ 101 w 127"/>
                <a:gd name="T51" fmla="*/ 100 h 227"/>
                <a:gd name="T52" fmla="*/ 101 w 127"/>
                <a:gd name="T53" fmla="*/ 111 h 227"/>
                <a:gd name="T54" fmla="*/ 106 w 127"/>
                <a:gd name="T55" fmla="*/ 121 h 227"/>
                <a:gd name="T56" fmla="*/ 101 w 127"/>
                <a:gd name="T57" fmla="*/ 132 h 227"/>
                <a:gd name="T58" fmla="*/ 95 w 127"/>
                <a:gd name="T59" fmla="*/ 143 h 227"/>
                <a:gd name="T60" fmla="*/ 95 w 127"/>
                <a:gd name="T61" fmla="*/ 153 h 227"/>
                <a:gd name="T62" fmla="*/ 85 w 127"/>
                <a:gd name="T63" fmla="*/ 158 h 227"/>
                <a:gd name="T64" fmla="*/ 95 w 127"/>
                <a:gd name="T65" fmla="*/ 179 h 227"/>
                <a:gd name="T66" fmla="*/ 95 w 127"/>
                <a:gd name="T67" fmla="*/ 185 h 227"/>
                <a:gd name="T68" fmla="*/ 79 w 127"/>
                <a:gd name="T69" fmla="*/ 216 h 227"/>
                <a:gd name="T70" fmla="*/ 85 w 127"/>
                <a:gd name="T71" fmla="*/ 227 h 22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7" h="227">
                  <a:moveTo>
                    <a:pt x="85" y="227"/>
                  </a:moveTo>
                  <a:lnTo>
                    <a:pt x="53" y="227"/>
                  </a:lnTo>
                  <a:lnTo>
                    <a:pt x="32" y="216"/>
                  </a:lnTo>
                  <a:lnTo>
                    <a:pt x="21" y="195"/>
                  </a:lnTo>
                  <a:lnTo>
                    <a:pt x="11" y="179"/>
                  </a:lnTo>
                  <a:lnTo>
                    <a:pt x="0" y="158"/>
                  </a:lnTo>
                  <a:lnTo>
                    <a:pt x="11" y="132"/>
                  </a:lnTo>
                  <a:lnTo>
                    <a:pt x="11" y="111"/>
                  </a:lnTo>
                  <a:lnTo>
                    <a:pt x="21" y="90"/>
                  </a:lnTo>
                  <a:lnTo>
                    <a:pt x="11" y="63"/>
                  </a:lnTo>
                  <a:lnTo>
                    <a:pt x="21" y="42"/>
                  </a:lnTo>
                  <a:lnTo>
                    <a:pt x="21" y="32"/>
                  </a:lnTo>
                  <a:lnTo>
                    <a:pt x="32" y="5"/>
                  </a:lnTo>
                  <a:lnTo>
                    <a:pt x="42" y="0"/>
                  </a:lnTo>
                  <a:lnTo>
                    <a:pt x="48" y="14"/>
                  </a:lnTo>
                  <a:lnTo>
                    <a:pt x="58" y="23"/>
                  </a:lnTo>
                  <a:lnTo>
                    <a:pt x="69" y="32"/>
                  </a:lnTo>
                  <a:lnTo>
                    <a:pt x="69" y="42"/>
                  </a:lnTo>
                  <a:lnTo>
                    <a:pt x="79" y="53"/>
                  </a:lnTo>
                  <a:lnTo>
                    <a:pt x="90" y="53"/>
                  </a:lnTo>
                  <a:lnTo>
                    <a:pt x="101" y="53"/>
                  </a:lnTo>
                  <a:lnTo>
                    <a:pt x="116" y="63"/>
                  </a:lnTo>
                  <a:lnTo>
                    <a:pt x="116" y="90"/>
                  </a:lnTo>
                  <a:lnTo>
                    <a:pt x="127" y="90"/>
                  </a:lnTo>
                  <a:lnTo>
                    <a:pt x="106" y="90"/>
                  </a:lnTo>
                  <a:lnTo>
                    <a:pt x="101" y="100"/>
                  </a:lnTo>
                  <a:lnTo>
                    <a:pt x="101" y="111"/>
                  </a:lnTo>
                  <a:lnTo>
                    <a:pt x="106" y="121"/>
                  </a:lnTo>
                  <a:lnTo>
                    <a:pt x="101" y="132"/>
                  </a:lnTo>
                  <a:lnTo>
                    <a:pt x="95" y="143"/>
                  </a:lnTo>
                  <a:lnTo>
                    <a:pt x="95" y="153"/>
                  </a:lnTo>
                  <a:lnTo>
                    <a:pt x="85" y="158"/>
                  </a:lnTo>
                  <a:lnTo>
                    <a:pt x="95" y="179"/>
                  </a:lnTo>
                  <a:lnTo>
                    <a:pt x="95" y="185"/>
                  </a:lnTo>
                  <a:lnTo>
                    <a:pt x="79" y="216"/>
                  </a:lnTo>
                  <a:lnTo>
                    <a:pt x="85" y="227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8" name="Freeform 35">
              <a:extLst>
                <a:ext uri="{FF2B5EF4-FFF2-40B4-BE49-F238E27FC236}">
                  <a16:creationId xmlns:a16="http://schemas.microsoft.com/office/drawing/2014/main" id="{D9B593E6-E188-4B84-8022-DA5A118B6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" y="1545"/>
              <a:ext cx="195" cy="229"/>
            </a:xfrm>
            <a:custGeom>
              <a:avLst/>
              <a:gdLst>
                <a:gd name="T0" fmla="*/ 16 w 195"/>
                <a:gd name="T1" fmla="*/ 247 h 227"/>
                <a:gd name="T2" fmla="*/ 27 w 195"/>
                <a:gd name="T3" fmla="*/ 253 h 227"/>
                <a:gd name="T4" fmla="*/ 49 w 195"/>
                <a:gd name="T5" fmla="*/ 263 h 227"/>
                <a:gd name="T6" fmla="*/ 60 w 195"/>
                <a:gd name="T7" fmla="*/ 269 h 227"/>
                <a:gd name="T8" fmla="*/ 76 w 195"/>
                <a:gd name="T9" fmla="*/ 279 h 227"/>
                <a:gd name="T10" fmla="*/ 87 w 195"/>
                <a:gd name="T11" fmla="*/ 274 h 227"/>
                <a:gd name="T12" fmla="*/ 108 w 195"/>
                <a:gd name="T13" fmla="*/ 274 h 227"/>
                <a:gd name="T14" fmla="*/ 119 w 195"/>
                <a:gd name="T15" fmla="*/ 279 h 227"/>
                <a:gd name="T16" fmla="*/ 130 w 195"/>
                <a:gd name="T17" fmla="*/ 293 h 227"/>
                <a:gd name="T18" fmla="*/ 146 w 195"/>
                <a:gd name="T19" fmla="*/ 300 h 227"/>
                <a:gd name="T20" fmla="*/ 157 w 195"/>
                <a:gd name="T21" fmla="*/ 284 h 227"/>
                <a:gd name="T22" fmla="*/ 177 w 195"/>
                <a:gd name="T23" fmla="*/ 283 h 227"/>
                <a:gd name="T24" fmla="*/ 190 w 195"/>
                <a:gd name="T25" fmla="*/ 253 h 227"/>
                <a:gd name="T26" fmla="*/ 195 w 195"/>
                <a:gd name="T27" fmla="*/ 242 h 227"/>
                <a:gd name="T28" fmla="*/ 195 w 195"/>
                <a:gd name="T29" fmla="*/ 203 h 227"/>
                <a:gd name="T30" fmla="*/ 195 w 195"/>
                <a:gd name="T31" fmla="*/ 183 h 227"/>
                <a:gd name="T32" fmla="*/ 195 w 195"/>
                <a:gd name="T33" fmla="*/ 161 h 227"/>
                <a:gd name="T34" fmla="*/ 190 w 195"/>
                <a:gd name="T35" fmla="*/ 161 h 227"/>
                <a:gd name="T36" fmla="*/ 190 w 195"/>
                <a:gd name="T37" fmla="*/ 140 h 227"/>
                <a:gd name="T38" fmla="*/ 190 w 195"/>
                <a:gd name="T39" fmla="*/ 134 h 227"/>
                <a:gd name="T40" fmla="*/ 190 w 195"/>
                <a:gd name="T41" fmla="*/ 113 h 227"/>
                <a:gd name="T42" fmla="*/ 190 w 195"/>
                <a:gd name="T43" fmla="*/ 103 h 227"/>
                <a:gd name="T44" fmla="*/ 168 w 195"/>
                <a:gd name="T45" fmla="*/ 92 h 227"/>
                <a:gd name="T46" fmla="*/ 168 w 195"/>
                <a:gd name="T47" fmla="*/ 37 h 227"/>
                <a:gd name="T48" fmla="*/ 168 w 195"/>
                <a:gd name="T49" fmla="*/ 26 h 227"/>
                <a:gd name="T50" fmla="*/ 157 w 195"/>
                <a:gd name="T51" fmla="*/ 26 h 227"/>
                <a:gd name="T52" fmla="*/ 135 w 195"/>
                <a:gd name="T53" fmla="*/ 21 h 227"/>
                <a:gd name="T54" fmla="*/ 119 w 195"/>
                <a:gd name="T55" fmla="*/ 21 h 227"/>
                <a:gd name="T56" fmla="*/ 119 w 195"/>
                <a:gd name="T57" fmla="*/ 26 h 227"/>
                <a:gd name="T58" fmla="*/ 98 w 195"/>
                <a:gd name="T59" fmla="*/ 26 h 227"/>
                <a:gd name="T60" fmla="*/ 87 w 195"/>
                <a:gd name="T61" fmla="*/ 48 h 227"/>
                <a:gd name="T62" fmla="*/ 76 w 195"/>
                <a:gd name="T63" fmla="*/ 48 h 227"/>
                <a:gd name="T64" fmla="*/ 70 w 195"/>
                <a:gd name="T65" fmla="*/ 37 h 227"/>
                <a:gd name="T66" fmla="*/ 60 w 195"/>
                <a:gd name="T67" fmla="*/ 37 h 227"/>
                <a:gd name="T68" fmla="*/ 60 w 195"/>
                <a:gd name="T69" fmla="*/ 26 h 227"/>
                <a:gd name="T70" fmla="*/ 70 w 195"/>
                <a:gd name="T71" fmla="*/ 26 h 227"/>
                <a:gd name="T72" fmla="*/ 70 w 195"/>
                <a:gd name="T73" fmla="*/ 21 h 227"/>
                <a:gd name="T74" fmla="*/ 60 w 195"/>
                <a:gd name="T75" fmla="*/ 21 h 227"/>
                <a:gd name="T76" fmla="*/ 49 w 195"/>
                <a:gd name="T77" fmla="*/ 11 h 227"/>
                <a:gd name="T78" fmla="*/ 49 w 195"/>
                <a:gd name="T79" fmla="*/ 0 h 227"/>
                <a:gd name="T80" fmla="*/ 27 w 195"/>
                <a:gd name="T81" fmla="*/ 11 h 227"/>
                <a:gd name="T82" fmla="*/ 22 w 195"/>
                <a:gd name="T83" fmla="*/ 0 h 227"/>
                <a:gd name="T84" fmla="*/ 27 w 195"/>
                <a:gd name="T85" fmla="*/ 11 h 227"/>
                <a:gd name="T86" fmla="*/ 22 w 195"/>
                <a:gd name="T87" fmla="*/ 11 h 227"/>
                <a:gd name="T88" fmla="*/ 0 w 195"/>
                <a:gd name="T89" fmla="*/ 0 h 227"/>
                <a:gd name="T90" fmla="*/ 11 w 195"/>
                <a:gd name="T91" fmla="*/ 37 h 227"/>
                <a:gd name="T92" fmla="*/ 22 w 195"/>
                <a:gd name="T93" fmla="*/ 48 h 227"/>
                <a:gd name="T94" fmla="*/ 22 w 195"/>
                <a:gd name="T95" fmla="*/ 103 h 227"/>
                <a:gd name="T96" fmla="*/ 27 w 195"/>
                <a:gd name="T97" fmla="*/ 134 h 227"/>
                <a:gd name="T98" fmla="*/ 38 w 195"/>
                <a:gd name="T99" fmla="*/ 150 h 227"/>
                <a:gd name="T100" fmla="*/ 27 w 195"/>
                <a:gd name="T101" fmla="*/ 161 h 227"/>
                <a:gd name="T102" fmla="*/ 27 w 195"/>
                <a:gd name="T103" fmla="*/ 203 h 227"/>
                <a:gd name="T104" fmla="*/ 22 w 195"/>
                <a:gd name="T105" fmla="*/ 242 h 227"/>
                <a:gd name="T106" fmla="*/ 16 w 195"/>
                <a:gd name="T107" fmla="*/ 247 h 22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95" h="227">
                  <a:moveTo>
                    <a:pt x="16" y="179"/>
                  </a:moveTo>
                  <a:lnTo>
                    <a:pt x="27" y="185"/>
                  </a:lnTo>
                  <a:lnTo>
                    <a:pt x="49" y="195"/>
                  </a:lnTo>
                  <a:lnTo>
                    <a:pt x="60" y="201"/>
                  </a:lnTo>
                  <a:lnTo>
                    <a:pt x="76" y="211"/>
                  </a:lnTo>
                  <a:lnTo>
                    <a:pt x="87" y="206"/>
                  </a:lnTo>
                  <a:lnTo>
                    <a:pt x="108" y="206"/>
                  </a:lnTo>
                  <a:lnTo>
                    <a:pt x="119" y="211"/>
                  </a:lnTo>
                  <a:lnTo>
                    <a:pt x="130" y="222"/>
                  </a:lnTo>
                  <a:lnTo>
                    <a:pt x="146" y="227"/>
                  </a:lnTo>
                  <a:lnTo>
                    <a:pt x="157" y="216"/>
                  </a:lnTo>
                  <a:lnTo>
                    <a:pt x="177" y="215"/>
                  </a:lnTo>
                  <a:lnTo>
                    <a:pt x="190" y="185"/>
                  </a:lnTo>
                  <a:lnTo>
                    <a:pt x="195" y="174"/>
                  </a:lnTo>
                  <a:lnTo>
                    <a:pt x="195" y="153"/>
                  </a:lnTo>
                  <a:lnTo>
                    <a:pt x="195" y="143"/>
                  </a:lnTo>
                  <a:lnTo>
                    <a:pt x="195" y="127"/>
                  </a:lnTo>
                  <a:lnTo>
                    <a:pt x="190" y="127"/>
                  </a:lnTo>
                  <a:lnTo>
                    <a:pt x="190" y="106"/>
                  </a:lnTo>
                  <a:lnTo>
                    <a:pt x="190" y="100"/>
                  </a:lnTo>
                  <a:lnTo>
                    <a:pt x="190" y="79"/>
                  </a:lnTo>
                  <a:lnTo>
                    <a:pt x="190" y="69"/>
                  </a:lnTo>
                  <a:lnTo>
                    <a:pt x="168" y="58"/>
                  </a:lnTo>
                  <a:lnTo>
                    <a:pt x="168" y="37"/>
                  </a:lnTo>
                  <a:lnTo>
                    <a:pt x="168" y="26"/>
                  </a:lnTo>
                  <a:lnTo>
                    <a:pt x="157" y="26"/>
                  </a:lnTo>
                  <a:lnTo>
                    <a:pt x="135" y="21"/>
                  </a:lnTo>
                  <a:lnTo>
                    <a:pt x="119" y="21"/>
                  </a:lnTo>
                  <a:lnTo>
                    <a:pt x="119" y="26"/>
                  </a:lnTo>
                  <a:lnTo>
                    <a:pt x="98" y="26"/>
                  </a:lnTo>
                  <a:lnTo>
                    <a:pt x="87" y="48"/>
                  </a:lnTo>
                  <a:lnTo>
                    <a:pt x="76" y="48"/>
                  </a:lnTo>
                  <a:lnTo>
                    <a:pt x="70" y="37"/>
                  </a:lnTo>
                  <a:lnTo>
                    <a:pt x="60" y="37"/>
                  </a:lnTo>
                  <a:lnTo>
                    <a:pt x="60" y="26"/>
                  </a:lnTo>
                  <a:lnTo>
                    <a:pt x="70" y="26"/>
                  </a:lnTo>
                  <a:lnTo>
                    <a:pt x="70" y="21"/>
                  </a:lnTo>
                  <a:lnTo>
                    <a:pt x="60" y="21"/>
                  </a:lnTo>
                  <a:lnTo>
                    <a:pt x="49" y="11"/>
                  </a:lnTo>
                  <a:lnTo>
                    <a:pt x="49" y="0"/>
                  </a:lnTo>
                  <a:lnTo>
                    <a:pt x="27" y="11"/>
                  </a:lnTo>
                  <a:lnTo>
                    <a:pt x="22" y="0"/>
                  </a:lnTo>
                  <a:lnTo>
                    <a:pt x="27" y="11"/>
                  </a:lnTo>
                  <a:lnTo>
                    <a:pt x="22" y="11"/>
                  </a:lnTo>
                  <a:lnTo>
                    <a:pt x="0" y="0"/>
                  </a:lnTo>
                  <a:lnTo>
                    <a:pt x="11" y="37"/>
                  </a:lnTo>
                  <a:lnTo>
                    <a:pt x="22" y="48"/>
                  </a:lnTo>
                  <a:lnTo>
                    <a:pt x="22" y="69"/>
                  </a:lnTo>
                  <a:lnTo>
                    <a:pt x="27" y="100"/>
                  </a:lnTo>
                  <a:lnTo>
                    <a:pt x="38" y="116"/>
                  </a:lnTo>
                  <a:lnTo>
                    <a:pt x="27" y="127"/>
                  </a:lnTo>
                  <a:lnTo>
                    <a:pt x="27" y="153"/>
                  </a:lnTo>
                  <a:lnTo>
                    <a:pt x="22" y="174"/>
                  </a:lnTo>
                  <a:lnTo>
                    <a:pt x="16" y="179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9" name="Freeform 36">
              <a:extLst>
                <a:ext uri="{FF2B5EF4-FFF2-40B4-BE49-F238E27FC236}">
                  <a16:creationId xmlns:a16="http://schemas.microsoft.com/office/drawing/2014/main" id="{68ABF78C-B816-457C-A177-967DF52257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" y="3145"/>
              <a:ext cx="570" cy="696"/>
            </a:xfrm>
            <a:custGeom>
              <a:avLst/>
              <a:gdLst>
                <a:gd name="T0" fmla="*/ 4 w 648"/>
                <a:gd name="T1" fmla="*/ 4 h 792"/>
                <a:gd name="T2" fmla="*/ 4 w 648"/>
                <a:gd name="T3" fmla="*/ 4 h 792"/>
                <a:gd name="T4" fmla="*/ 4 w 648"/>
                <a:gd name="T5" fmla="*/ 5 h 792"/>
                <a:gd name="T6" fmla="*/ 4 w 648"/>
                <a:gd name="T7" fmla="*/ 6 h 792"/>
                <a:gd name="T8" fmla="*/ 4 w 648"/>
                <a:gd name="T9" fmla="*/ 7 h 792"/>
                <a:gd name="T10" fmla="*/ 4 w 648"/>
                <a:gd name="T11" fmla="*/ 8 h 792"/>
                <a:gd name="T12" fmla="*/ 4 w 648"/>
                <a:gd name="T13" fmla="*/ 9 h 792"/>
                <a:gd name="T14" fmla="*/ 4 w 648"/>
                <a:gd name="T15" fmla="*/ 10 h 792"/>
                <a:gd name="T16" fmla="*/ 5 w 648"/>
                <a:gd name="T17" fmla="*/ 10 h 792"/>
                <a:gd name="T18" fmla="*/ 7 w 648"/>
                <a:gd name="T19" fmla="*/ 10 h 792"/>
                <a:gd name="T20" fmla="*/ 8 w 648"/>
                <a:gd name="T21" fmla="*/ 9 h 792"/>
                <a:gd name="T22" fmla="*/ 9 w 648"/>
                <a:gd name="T23" fmla="*/ 9 h 792"/>
                <a:gd name="T24" fmla="*/ 9 w 648"/>
                <a:gd name="T25" fmla="*/ 9 h 792"/>
                <a:gd name="T26" fmla="*/ 8 w 648"/>
                <a:gd name="T27" fmla="*/ 7 h 792"/>
                <a:gd name="T28" fmla="*/ 8 w 648"/>
                <a:gd name="T29" fmla="*/ 6 h 792"/>
                <a:gd name="T30" fmla="*/ 8 w 648"/>
                <a:gd name="T31" fmla="*/ 4 h 792"/>
                <a:gd name="T32" fmla="*/ 7 w 648"/>
                <a:gd name="T33" fmla="*/ 4 h 792"/>
                <a:gd name="T34" fmla="*/ 7 w 648"/>
                <a:gd name="T35" fmla="*/ 4 h 792"/>
                <a:gd name="T36" fmla="*/ 7 w 648"/>
                <a:gd name="T37" fmla="*/ 4 h 792"/>
                <a:gd name="T38" fmla="*/ 6 w 648"/>
                <a:gd name="T39" fmla="*/ 4 h 792"/>
                <a:gd name="T40" fmla="*/ 5 w 648"/>
                <a:gd name="T41" fmla="*/ 4 h 792"/>
                <a:gd name="T42" fmla="*/ 5 w 648"/>
                <a:gd name="T43" fmla="*/ 4 h 792"/>
                <a:gd name="T44" fmla="*/ 4 w 648"/>
                <a:gd name="T45" fmla="*/ 4 h 792"/>
                <a:gd name="T46" fmla="*/ 4 w 648"/>
                <a:gd name="T47" fmla="*/ 4 h 792"/>
                <a:gd name="T48" fmla="*/ 4 w 648"/>
                <a:gd name="T49" fmla="*/ 4 h 792"/>
                <a:gd name="T50" fmla="*/ 4 w 648"/>
                <a:gd name="T51" fmla="*/ 4 h 792"/>
                <a:gd name="T52" fmla="*/ 4 w 648"/>
                <a:gd name="T53" fmla="*/ 4 h 792"/>
                <a:gd name="T54" fmla="*/ 4 w 648"/>
                <a:gd name="T55" fmla="*/ 4 h 792"/>
                <a:gd name="T56" fmla="*/ 4 w 648"/>
                <a:gd name="T57" fmla="*/ 4 h 792"/>
                <a:gd name="T58" fmla="*/ 4 w 648"/>
                <a:gd name="T59" fmla="*/ 4 h 792"/>
                <a:gd name="T60" fmla="*/ 4 w 648"/>
                <a:gd name="T61" fmla="*/ 4 h 792"/>
                <a:gd name="T62" fmla="*/ 4 w 648"/>
                <a:gd name="T63" fmla="*/ 4 h 792"/>
                <a:gd name="T64" fmla="*/ 4 w 648"/>
                <a:gd name="T65" fmla="*/ 4 h 792"/>
                <a:gd name="T66" fmla="*/ 4 w 648"/>
                <a:gd name="T67" fmla="*/ 4 h 792"/>
                <a:gd name="T68" fmla="*/ 4 w 648"/>
                <a:gd name="T69" fmla="*/ 4 h 792"/>
                <a:gd name="T70" fmla="*/ 4 w 648"/>
                <a:gd name="T71" fmla="*/ 4 h 792"/>
                <a:gd name="T72" fmla="*/ 4 w 648"/>
                <a:gd name="T73" fmla="*/ 4 h 792"/>
                <a:gd name="T74" fmla="*/ 4 w 648"/>
                <a:gd name="T75" fmla="*/ 4 h 792"/>
                <a:gd name="T76" fmla="*/ 4 w 648"/>
                <a:gd name="T77" fmla="*/ 4 h 792"/>
                <a:gd name="T78" fmla="*/ 4 w 648"/>
                <a:gd name="T79" fmla="*/ 4 h 792"/>
                <a:gd name="T80" fmla="*/ 4 w 648"/>
                <a:gd name="T81" fmla="*/ 4 h 792"/>
                <a:gd name="T82" fmla="*/ 4 w 648"/>
                <a:gd name="T83" fmla="*/ 4 h 792"/>
                <a:gd name="T84" fmla="*/ 4 w 648"/>
                <a:gd name="T85" fmla="*/ 4 h 792"/>
                <a:gd name="T86" fmla="*/ 4 w 648"/>
                <a:gd name="T87" fmla="*/ 4 h 792"/>
                <a:gd name="T88" fmla="*/ 4 w 648"/>
                <a:gd name="T89" fmla="*/ 4 h 792"/>
                <a:gd name="T90" fmla="*/ 4 w 648"/>
                <a:gd name="T91" fmla="*/ 4 h 792"/>
                <a:gd name="T92" fmla="*/ 4 w 648"/>
                <a:gd name="T93" fmla="*/ 4 h 792"/>
                <a:gd name="T94" fmla="*/ 4 w 648"/>
                <a:gd name="T95" fmla="*/ 4 h 792"/>
                <a:gd name="T96" fmla="*/ 4 w 648"/>
                <a:gd name="T97" fmla="*/ 4 h 792"/>
                <a:gd name="T98" fmla="*/ 0 w 648"/>
                <a:gd name="T99" fmla="*/ 4 h 79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648" h="792">
                  <a:moveTo>
                    <a:pt x="0" y="306"/>
                  </a:moveTo>
                  <a:lnTo>
                    <a:pt x="48" y="330"/>
                  </a:lnTo>
                  <a:lnTo>
                    <a:pt x="90" y="330"/>
                  </a:lnTo>
                  <a:lnTo>
                    <a:pt x="132" y="348"/>
                  </a:lnTo>
                  <a:lnTo>
                    <a:pt x="180" y="372"/>
                  </a:lnTo>
                  <a:lnTo>
                    <a:pt x="198" y="414"/>
                  </a:lnTo>
                  <a:lnTo>
                    <a:pt x="222" y="474"/>
                  </a:lnTo>
                  <a:lnTo>
                    <a:pt x="252" y="492"/>
                  </a:lnTo>
                  <a:lnTo>
                    <a:pt x="264" y="540"/>
                  </a:lnTo>
                  <a:lnTo>
                    <a:pt x="276" y="570"/>
                  </a:lnTo>
                  <a:lnTo>
                    <a:pt x="288" y="606"/>
                  </a:lnTo>
                  <a:lnTo>
                    <a:pt x="300" y="636"/>
                  </a:lnTo>
                  <a:lnTo>
                    <a:pt x="288" y="666"/>
                  </a:lnTo>
                  <a:lnTo>
                    <a:pt x="276" y="702"/>
                  </a:lnTo>
                  <a:lnTo>
                    <a:pt x="312" y="744"/>
                  </a:lnTo>
                  <a:lnTo>
                    <a:pt x="342" y="768"/>
                  </a:lnTo>
                  <a:lnTo>
                    <a:pt x="378" y="744"/>
                  </a:lnTo>
                  <a:lnTo>
                    <a:pt x="408" y="768"/>
                  </a:lnTo>
                  <a:lnTo>
                    <a:pt x="450" y="792"/>
                  </a:lnTo>
                  <a:lnTo>
                    <a:pt x="486" y="780"/>
                  </a:lnTo>
                  <a:lnTo>
                    <a:pt x="528" y="744"/>
                  </a:lnTo>
                  <a:lnTo>
                    <a:pt x="564" y="738"/>
                  </a:lnTo>
                  <a:lnTo>
                    <a:pt x="606" y="756"/>
                  </a:lnTo>
                  <a:lnTo>
                    <a:pt x="642" y="738"/>
                  </a:lnTo>
                  <a:lnTo>
                    <a:pt x="648" y="702"/>
                  </a:lnTo>
                  <a:lnTo>
                    <a:pt x="630" y="666"/>
                  </a:lnTo>
                  <a:lnTo>
                    <a:pt x="606" y="624"/>
                  </a:lnTo>
                  <a:lnTo>
                    <a:pt x="564" y="558"/>
                  </a:lnTo>
                  <a:lnTo>
                    <a:pt x="552" y="516"/>
                  </a:lnTo>
                  <a:lnTo>
                    <a:pt x="552" y="474"/>
                  </a:lnTo>
                  <a:lnTo>
                    <a:pt x="552" y="426"/>
                  </a:lnTo>
                  <a:lnTo>
                    <a:pt x="552" y="384"/>
                  </a:lnTo>
                  <a:lnTo>
                    <a:pt x="552" y="348"/>
                  </a:lnTo>
                  <a:lnTo>
                    <a:pt x="510" y="318"/>
                  </a:lnTo>
                  <a:lnTo>
                    <a:pt x="510" y="282"/>
                  </a:lnTo>
                  <a:lnTo>
                    <a:pt x="516" y="240"/>
                  </a:lnTo>
                  <a:lnTo>
                    <a:pt x="510" y="198"/>
                  </a:lnTo>
                  <a:lnTo>
                    <a:pt x="474" y="162"/>
                  </a:lnTo>
                  <a:lnTo>
                    <a:pt x="450" y="174"/>
                  </a:lnTo>
                  <a:lnTo>
                    <a:pt x="432" y="162"/>
                  </a:lnTo>
                  <a:lnTo>
                    <a:pt x="420" y="174"/>
                  </a:lnTo>
                  <a:lnTo>
                    <a:pt x="408" y="162"/>
                  </a:lnTo>
                  <a:lnTo>
                    <a:pt x="384" y="150"/>
                  </a:lnTo>
                  <a:lnTo>
                    <a:pt x="366" y="162"/>
                  </a:lnTo>
                  <a:lnTo>
                    <a:pt x="354" y="198"/>
                  </a:lnTo>
                  <a:lnTo>
                    <a:pt x="342" y="198"/>
                  </a:lnTo>
                  <a:lnTo>
                    <a:pt x="288" y="150"/>
                  </a:lnTo>
                  <a:lnTo>
                    <a:pt x="288" y="162"/>
                  </a:lnTo>
                  <a:lnTo>
                    <a:pt x="264" y="132"/>
                  </a:lnTo>
                  <a:lnTo>
                    <a:pt x="264" y="120"/>
                  </a:lnTo>
                  <a:lnTo>
                    <a:pt x="276" y="78"/>
                  </a:lnTo>
                  <a:lnTo>
                    <a:pt x="276" y="54"/>
                  </a:lnTo>
                  <a:lnTo>
                    <a:pt x="222" y="0"/>
                  </a:lnTo>
                  <a:lnTo>
                    <a:pt x="156" y="1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68" y="42"/>
                  </a:lnTo>
                  <a:lnTo>
                    <a:pt x="168" y="30"/>
                  </a:lnTo>
                  <a:lnTo>
                    <a:pt x="180" y="30"/>
                  </a:lnTo>
                  <a:lnTo>
                    <a:pt x="186" y="18"/>
                  </a:lnTo>
                  <a:lnTo>
                    <a:pt x="210" y="18"/>
                  </a:lnTo>
                  <a:lnTo>
                    <a:pt x="222" y="30"/>
                  </a:lnTo>
                  <a:lnTo>
                    <a:pt x="234" y="42"/>
                  </a:lnTo>
                  <a:lnTo>
                    <a:pt x="234" y="54"/>
                  </a:lnTo>
                  <a:lnTo>
                    <a:pt x="234" y="78"/>
                  </a:lnTo>
                  <a:lnTo>
                    <a:pt x="222" y="96"/>
                  </a:lnTo>
                  <a:lnTo>
                    <a:pt x="234" y="120"/>
                  </a:lnTo>
                  <a:lnTo>
                    <a:pt x="210" y="144"/>
                  </a:lnTo>
                  <a:lnTo>
                    <a:pt x="198" y="132"/>
                  </a:lnTo>
                  <a:lnTo>
                    <a:pt x="180" y="132"/>
                  </a:lnTo>
                  <a:lnTo>
                    <a:pt x="168" y="120"/>
                  </a:lnTo>
                  <a:lnTo>
                    <a:pt x="186" y="96"/>
                  </a:lnTo>
                  <a:lnTo>
                    <a:pt x="168" y="96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32" y="78"/>
                  </a:lnTo>
                  <a:lnTo>
                    <a:pt x="114" y="78"/>
                  </a:lnTo>
                  <a:lnTo>
                    <a:pt x="114" y="84"/>
                  </a:lnTo>
                  <a:lnTo>
                    <a:pt x="102" y="84"/>
                  </a:lnTo>
                  <a:lnTo>
                    <a:pt x="90" y="84"/>
                  </a:lnTo>
                  <a:lnTo>
                    <a:pt x="78" y="120"/>
                  </a:lnTo>
                  <a:lnTo>
                    <a:pt x="90" y="120"/>
                  </a:lnTo>
                  <a:lnTo>
                    <a:pt x="102" y="144"/>
                  </a:lnTo>
                  <a:lnTo>
                    <a:pt x="114" y="150"/>
                  </a:lnTo>
                  <a:lnTo>
                    <a:pt x="102" y="150"/>
                  </a:lnTo>
                  <a:lnTo>
                    <a:pt x="102" y="162"/>
                  </a:lnTo>
                  <a:lnTo>
                    <a:pt x="90" y="150"/>
                  </a:lnTo>
                  <a:lnTo>
                    <a:pt x="78" y="150"/>
                  </a:lnTo>
                  <a:lnTo>
                    <a:pt x="66" y="162"/>
                  </a:lnTo>
                  <a:lnTo>
                    <a:pt x="78" y="186"/>
                  </a:lnTo>
                  <a:lnTo>
                    <a:pt x="66" y="210"/>
                  </a:lnTo>
                  <a:lnTo>
                    <a:pt x="78" y="210"/>
                  </a:lnTo>
                  <a:lnTo>
                    <a:pt x="66" y="228"/>
                  </a:lnTo>
                  <a:lnTo>
                    <a:pt x="60" y="216"/>
                  </a:lnTo>
                  <a:lnTo>
                    <a:pt x="48" y="240"/>
                  </a:lnTo>
                  <a:lnTo>
                    <a:pt x="36" y="252"/>
                  </a:lnTo>
                  <a:lnTo>
                    <a:pt x="12" y="264"/>
                  </a:lnTo>
                  <a:lnTo>
                    <a:pt x="12" y="282"/>
                  </a:lnTo>
                  <a:lnTo>
                    <a:pt x="0" y="294"/>
                  </a:lnTo>
                  <a:lnTo>
                    <a:pt x="0" y="30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0" name="Freeform 37">
              <a:extLst>
                <a:ext uri="{FF2B5EF4-FFF2-40B4-BE49-F238E27FC236}">
                  <a16:creationId xmlns:a16="http://schemas.microsoft.com/office/drawing/2014/main" id="{53453684-9916-4BCC-97FD-8CF5E61B4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" y="3145"/>
              <a:ext cx="570" cy="696"/>
            </a:xfrm>
            <a:custGeom>
              <a:avLst/>
              <a:gdLst>
                <a:gd name="T0" fmla="*/ 4 w 648"/>
                <a:gd name="T1" fmla="*/ 4 h 792"/>
                <a:gd name="T2" fmla="*/ 4 w 648"/>
                <a:gd name="T3" fmla="*/ 4 h 792"/>
                <a:gd name="T4" fmla="*/ 4 w 648"/>
                <a:gd name="T5" fmla="*/ 5 h 792"/>
                <a:gd name="T6" fmla="*/ 4 w 648"/>
                <a:gd name="T7" fmla="*/ 6 h 792"/>
                <a:gd name="T8" fmla="*/ 4 w 648"/>
                <a:gd name="T9" fmla="*/ 7 h 792"/>
                <a:gd name="T10" fmla="*/ 4 w 648"/>
                <a:gd name="T11" fmla="*/ 8 h 792"/>
                <a:gd name="T12" fmla="*/ 4 w 648"/>
                <a:gd name="T13" fmla="*/ 9 h 792"/>
                <a:gd name="T14" fmla="*/ 4 w 648"/>
                <a:gd name="T15" fmla="*/ 10 h 792"/>
                <a:gd name="T16" fmla="*/ 5 w 648"/>
                <a:gd name="T17" fmla="*/ 10 h 792"/>
                <a:gd name="T18" fmla="*/ 7 w 648"/>
                <a:gd name="T19" fmla="*/ 10 h 792"/>
                <a:gd name="T20" fmla="*/ 8 w 648"/>
                <a:gd name="T21" fmla="*/ 9 h 792"/>
                <a:gd name="T22" fmla="*/ 9 w 648"/>
                <a:gd name="T23" fmla="*/ 9 h 792"/>
                <a:gd name="T24" fmla="*/ 9 w 648"/>
                <a:gd name="T25" fmla="*/ 9 h 792"/>
                <a:gd name="T26" fmla="*/ 8 w 648"/>
                <a:gd name="T27" fmla="*/ 7 h 792"/>
                <a:gd name="T28" fmla="*/ 8 w 648"/>
                <a:gd name="T29" fmla="*/ 6 h 792"/>
                <a:gd name="T30" fmla="*/ 8 w 648"/>
                <a:gd name="T31" fmla="*/ 4 h 792"/>
                <a:gd name="T32" fmla="*/ 7 w 648"/>
                <a:gd name="T33" fmla="*/ 4 h 792"/>
                <a:gd name="T34" fmla="*/ 7 w 648"/>
                <a:gd name="T35" fmla="*/ 4 h 792"/>
                <a:gd name="T36" fmla="*/ 7 w 648"/>
                <a:gd name="T37" fmla="*/ 4 h 792"/>
                <a:gd name="T38" fmla="*/ 6 w 648"/>
                <a:gd name="T39" fmla="*/ 4 h 792"/>
                <a:gd name="T40" fmla="*/ 5 w 648"/>
                <a:gd name="T41" fmla="*/ 4 h 792"/>
                <a:gd name="T42" fmla="*/ 5 w 648"/>
                <a:gd name="T43" fmla="*/ 4 h 792"/>
                <a:gd name="T44" fmla="*/ 4 w 648"/>
                <a:gd name="T45" fmla="*/ 4 h 792"/>
                <a:gd name="T46" fmla="*/ 4 w 648"/>
                <a:gd name="T47" fmla="*/ 4 h 792"/>
                <a:gd name="T48" fmla="*/ 4 w 648"/>
                <a:gd name="T49" fmla="*/ 4 h 792"/>
                <a:gd name="T50" fmla="*/ 4 w 648"/>
                <a:gd name="T51" fmla="*/ 4 h 792"/>
                <a:gd name="T52" fmla="*/ 4 w 648"/>
                <a:gd name="T53" fmla="*/ 4 h 792"/>
                <a:gd name="T54" fmla="*/ 4 w 648"/>
                <a:gd name="T55" fmla="*/ 4 h 792"/>
                <a:gd name="T56" fmla="*/ 4 w 648"/>
                <a:gd name="T57" fmla="*/ 4 h 792"/>
                <a:gd name="T58" fmla="*/ 4 w 648"/>
                <a:gd name="T59" fmla="*/ 4 h 792"/>
                <a:gd name="T60" fmla="*/ 4 w 648"/>
                <a:gd name="T61" fmla="*/ 4 h 792"/>
                <a:gd name="T62" fmla="*/ 4 w 648"/>
                <a:gd name="T63" fmla="*/ 4 h 792"/>
                <a:gd name="T64" fmla="*/ 4 w 648"/>
                <a:gd name="T65" fmla="*/ 4 h 792"/>
                <a:gd name="T66" fmla="*/ 4 w 648"/>
                <a:gd name="T67" fmla="*/ 4 h 792"/>
                <a:gd name="T68" fmla="*/ 4 w 648"/>
                <a:gd name="T69" fmla="*/ 4 h 792"/>
                <a:gd name="T70" fmla="*/ 4 w 648"/>
                <a:gd name="T71" fmla="*/ 4 h 792"/>
                <a:gd name="T72" fmla="*/ 4 w 648"/>
                <a:gd name="T73" fmla="*/ 4 h 792"/>
                <a:gd name="T74" fmla="*/ 4 w 648"/>
                <a:gd name="T75" fmla="*/ 4 h 792"/>
                <a:gd name="T76" fmla="*/ 4 w 648"/>
                <a:gd name="T77" fmla="*/ 4 h 792"/>
                <a:gd name="T78" fmla="*/ 4 w 648"/>
                <a:gd name="T79" fmla="*/ 4 h 792"/>
                <a:gd name="T80" fmla="*/ 4 w 648"/>
                <a:gd name="T81" fmla="*/ 4 h 792"/>
                <a:gd name="T82" fmla="*/ 4 w 648"/>
                <a:gd name="T83" fmla="*/ 4 h 792"/>
                <a:gd name="T84" fmla="*/ 4 w 648"/>
                <a:gd name="T85" fmla="*/ 4 h 792"/>
                <a:gd name="T86" fmla="*/ 4 w 648"/>
                <a:gd name="T87" fmla="*/ 4 h 792"/>
                <a:gd name="T88" fmla="*/ 4 w 648"/>
                <a:gd name="T89" fmla="*/ 4 h 792"/>
                <a:gd name="T90" fmla="*/ 4 w 648"/>
                <a:gd name="T91" fmla="*/ 4 h 792"/>
                <a:gd name="T92" fmla="*/ 4 w 648"/>
                <a:gd name="T93" fmla="*/ 4 h 792"/>
                <a:gd name="T94" fmla="*/ 4 w 648"/>
                <a:gd name="T95" fmla="*/ 4 h 792"/>
                <a:gd name="T96" fmla="*/ 4 w 648"/>
                <a:gd name="T97" fmla="*/ 4 h 792"/>
                <a:gd name="T98" fmla="*/ 0 w 648"/>
                <a:gd name="T99" fmla="*/ 4 h 79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648" h="792">
                  <a:moveTo>
                    <a:pt x="0" y="306"/>
                  </a:moveTo>
                  <a:lnTo>
                    <a:pt x="48" y="330"/>
                  </a:lnTo>
                  <a:lnTo>
                    <a:pt x="90" y="330"/>
                  </a:lnTo>
                  <a:lnTo>
                    <a:pt x="132" y="348"/>
                  </a:lnTo>
                  <a:lnTo>
                    <a:pt x="180" y="372"/>
                  </a:lnTo>
                  <a:lnTo>
                    <a:pt x="198" y="414"/>
                  </a:lnTo>
                  <a:lnTo>
                    <a:pt x="222" y="474"/>
                  </a:lnTo>
                  <a:lnTo>
                    <a:pt x="252" y="492"/>
                  </a:lnTo>
                  <a:lnTo>
                    <a:pt x="264" y="540"/>
                  </a:lnTo>
                  <a:lnTo>
                    <a:pt x="276" y="570"/>
                  </a:lnTo>
                  <a:lnTo>
                    <a:pt x="288" y="606"/>
                  </a:lnTo>
                  <a:lnTo>
                    <a:pt x="300" y="636"/>
                  </a:lnTo>
                  <a:lnTo>
                    <a:pt x="288" y="666"/>
                  </a:lnTo>
                  <a:lnTo>
                    <a:pt x="276" y="702"/>
                  </a:lnTo>
                  <a:lnTo>
                    <a:pt x="312" y="744"/>
                  </a:lnTo>
                  <a:lnTo>
                    <a:pt x="342" y="768"/>
                  </a:lnTo>
                  <a:lnTo>
                    <a:pt x="378" y="744"/>
                  </a:lnTo>
                  <a:lnTo>
                    <a:pt x="408" y="768"/>
                  </a:lnTo>
                  <a:lnTo>
                    <a:pt x="450" y="792"/>
                  </a:lnTo>
                  <a:lnTo>
                    <a:pt x="486" y="780"/>
                  </a:lnTo>
                  <a:lnTo>
                    <a:pt x="528" y="744"/>
                  </a:lnTo>
                  <a:lnTo>
                    <a:pt x="564" y="738"/>
                  </a:lnTo>
                  <a:lnTo>
                    <a:pt x="606" y="756"/>
                  </a:lnTo>
                  <a:lnTo>
                    <a:pt x="642" y="738"/>
                  </a:lnTo>
                  <a:lnTo>
                    <a:pt x="648" y="702"/>
                  </a:lnTo>
                  <a:lnTo>
                    <a:pt x="630" y="666"/>
                  </a:lnTo>
                  <a:lnTo>
                    <a:pt x="606" y="624"/>
                  </a:lnTo>
                  <a:lnTo>
                    <a:pt x="564" y="558"/>
                  </a:lnTo>
                  <a:lnTo>
                    <a:pt x="552" y="516"/>
                  </a:lnTo>
                  <a:lnTo>
                    <a:pt x="552" y="474"/>
                  </a:lnTo>
                  <a:lnTo>
                    <a:pt x="552" y="426"/>
                  </a:lnTo>
                  <a:lnTo>
                    <a:pt x="552" y="384"/>
                  </a:lnTo>
                  <a:lnTo>
                    <a:pt x="552" y="348"/>
                  </a:lnTo>
                  <a:lnTo>
                    <a:pt x="510" y="318"/>
                  </a:lnTo>
                  <a:lnTo>
                    <a:pt x="510" y="282"/>
                  </a:lnTo>
                  <a:lnTo>
                    <a:pt x="516" y="240"/>
                  </a:lnTo>
                  <a:lnTo>
                    <a:pt x="510" y="198"/>
                  </a:lnTo>
                  <a:lnTo>
                    <a:pt x="474" y="162"/>
                  </a:lnTo>
                  <a:lnTo>
                    <a:pt x="450" y="174"/>
                  </a:lnTo>
                  <a:lnTo>
                    <a:pt x="432" y="162"/>
                  </a:lnTo>
                  <a:lnTo>
                    <a:pt x="420" y="174"/>
                  </a:lnTo>
                  <a:lnTo>
                    <a:pt x="408" y="162"/>
                  </a:lnTo>
                  <a:lnTo>
                    <a:pt x="384" y="150"/>
                  </a:lnTo>
                  <a:lnTo>
                    <a:pt x="366" y="162"/>
                  </a:lnTo>
                  <a:lnTo>
                    <a:pt x="354" y="198"/>
                  </a:lnTo>
                  <a:lnTo>
                    <a:pt x="342" y="198"/>
                  </a:lnTo>
                  <a:lnTo>
                    <a:pt x="288" y="150"/>
                  </a:lnTo>
                  <a:lnTo>
                    <a:pt x="288" y="162"/>
                  </a:lnTo>
                  <a:lnTo>
                    <a:pt x="264" y="132"/>
                  </a:lnTo>
                  <a:lnTo>
                    <a:pt x="264" y="120"/>
                  </a:lnTo>
                  <a:lnTo>
                    <a:pt x="276" y="78"/>
                  </a:lnTo>
                  <a:lnTo>
                    <a:pt x="276" y="54"/>
                  </a:lnTo>
                  <a:lnTo>
                    <a:pt x="222" y="0"/>
                  </a:lnTo>
                  <a:lnTo>
                    <a:pt x="156" y="1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68" y="42"/>
                  </a:lnTo>
                  <a:lnTo>
                    <a:pt x="168" y="30"/>
                  </a:lnTo>
                  <a:lnTo>
                    <a:pt x="180" y="30"/>
                  </a:lnTo>
                  <a:lnTo>
                    <a:pt x="186" y="18"/>
                  </a:lnTo>
                  <a:lnTo>
                    <a:pt x="210" y="18"/>
                  </a:lnTo>
                  <a:lnTo>
                    <a:pt x="222" y="30"/>
                  </a:lnTo>
                  <a:lnTo>
                    <a:pt x="234" y="42"/>
                  </a:lnTo>
                  <a:lnTo>
                    <a:pt x="234" y="54"/>
                  </a:lnTo>
                  <a:lnTo>
                    <a:pt x="234" y="78"/>
                  </a:lnTo>
                  <a:lnTo>
                    <a:pt x="222" y="96"/>
                  </a:lnTo>
                  <a:lnTo>
                    <a:pt x="234" y="120"/>
                  </a:lnTo>
                  <a:lnTo>
                    <a:pt x="210" y="144"/>
                  </a:lnTo>
                  <a:lnTo>
                    <a:pt x="198" y="132"/>
                  </a:lnTo>
                  <a:lnTo>
                    <a:pt x="180" y="132"/>
                  </a:lnTo>
                  <a:lnTo>
                    <a:pt x="168" y="120"/>
                  </a:lnTo>
                  <a:lnTo>
                    <a:pt x="186" y="96"/>
                  </a:lnTo>
                  <a:lnTo>
                    <a:pt x="168" y="96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32" y="78"/>
                  </a:lnTo>
                  <a:lnTo>
                    <a:pt x="114" y="78"/>
                  </a:lnTo>
                  <a:lnTo>
                    <a:pt x="114" y="84"/>
                  </a:lnTo>
                  <a:lnTo>
                    <a:pt x="102" y="84"/>
                  </a:lnTo>
                  <a:lnTo>
                    <a:pt x="90" y="84"/>
                  </a:lnTo>
                  <a:lnTo>
                    <a:pt x="78" y="120"/>
                  </a:lnTo>
                  <a:lnTo>
                    <a:pt x="90" y="120"/>
                  </a:lnTo>
                  <a:lnTo>
                    <a:pt x="102" y="144"/>
                  </a:lnTo>
                  <a:lnTo>
                    <a:pt x="114" y="150"/>
                  </a:lnTo>
                  <a:lnTo>
                    <a:pt x="102" y="150"/>
                  </a:lnTo>
                  <a:lnTo>
                    <a:pt x="102" y="162"/>
                  </a:lnTo>
                  <a:lnTo>
                    <a:pt x="90" y="150"/>
                  </a:lnTo>
                  <a:lnTo>
                    <a:pt x="78" y="150"/>
                  </a:lnTo>
                  <a:lnTo>
                    <a:pt x="66" y="162"/>
                  </a:lnTo>
                  <a:lnTo>
                    <a:pt x="78" y="186"/>
                  </a:lnTo>
                  <a:lnTo>
                    <a:pt x="66" y="210"/>
                  </a:lnTo>
                  <a:lnTo>
                    <a:pt x="78" y="210"/>
                  </a:lnTo>
                  <a:lnTo>
                    <a:pt x="66" y="228"/>
                  </a:lnTo>
                  <a:lnTo>
                    <a:pt x="60" y="216"/>
                  </a:lnTo>
                  <a:lnTo>
                    <a:pt x="48" y="240"/>
                  </a:lnTo>
                  <a:lnTo>
                    <a:pt x="36" y="252"/>
                  </a:lnTo>
                  <a:lnTo>
                    <a:pt x="12" y="264"/>
                  </a:lnTo>
                  <a:lnTo>
                    <a:pt x="12" y="282"/>
                  </a:lnTo>
                  <a:lnTo>
                    <a:pt x="0" y="294"/>
                  </a:lnTo>
                  <a:lnTo>
                    <a:pt x="0" y="30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1" name="Freeform 38">
              <a:extLst>
                <a:ext uri="{FF2B5EF4-FFF2-40B4-BE49-F238E27FC236}">
                  <a16:creationId xmlns:a16="http://schemas.microsoft.com/office/drawing/2014/main" id="{9213A9A0-E170-497B-94A2-CB8A7CED57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" y="3657"/>
              <a:ext cx="607" cy="248"/>
            </a:xfrm>
            <a:custGeom>
              <a:avLst/>
              <a:gdLst>
                <a:gd name="T0" fmla="*/ 127 w 607"/>
                <a:gd name="T1" fmla="*/ 26 h 248"/>
                <a:gd name="T2" fmla="*/ 137 w 607"/>
                <a:gd name="T3" fmla="*/ 47 h 248"/>
                <a:gd name="T4" fmla="*/ 137 w 607"/>
                <a:gd name="T5" fmla="*/ 58 h 248"/>
                <a:gd name="T6" fmla="*/ 164 w 607"/>
                <a:gd name="T7" fmla="*/ 69 h 248"/>
                <a:gd name="T8" fmla="*/ 185 w 607"/>
                <a:gd name="T9" fmla="*/ 69 h 248"/>
                <a:gd name="T10" fmla="*/ 185 w 607"/>
                <a:gd name="T11" fmla="*/ 95 h 248"/>
                <a:gd name="T12" fmla="*/ 201 w 607"/>
                <a:gd name="T13" fmla="*/ 116 h 248"/>
                <a:gd name="T14" fmla="*/ 185 w 607"/>
                <a:gd name="T15" fmla="*/ 132 h 248"/>
                <a:gd name="T16" fmla="*/ 143 w 607"/>
                <a:gd name="T17" fmla="*/ 132 h 248"/>
                <a:gd name="T18" fmla="*/ 95 w 607"/>
                <a:gd name="T19" fmla="*/ 116 h 248"/>
                <a:gd name="T20" fmla="*/ 74 w 607"/>
                <a:gd name="T21" fmla="*/ 127 h 248"/>
                <a:gd name="T22" fmla="*/ 58 w 607"/>
                <a:gd name="T23" fmla="*/ 116 h 248"/>
                <a:gd name="T24" fmla="*/ 48 w 607"/>
                <a:gd name="T25" fmla="*/ 84 h 248"/>
                <a:gd name="T26" fmla="*/ 11 w 607"/>
                <a:gd name="T27" fmla="*/ 95 h 248"/>
                <a:gd name="T28" fmla="*/ 16 w 607"/>
                <a:gd name="T29" fmla="*/ 132 h 248"/>
                <a:gd name="T30" fmla="*/ 48 w 607"/>
                <a:gd name="T31" fmla="*/ 153 h 248"/>
                <a:gd name="T32" fmla="*/ 74 w 607"/>
                <a:gd name="T33" fmla="*/ 164 h 248"/>
                <a:gd name="T34" fmla="*/ 84 w 607"/>
                <a:gd name="T35" fmla="*/ 179 h 248"/>
                <a:gd name="T36" fmla="*/ 127 w 607"/>
                <a:gd name="T37" fmla="*/ 201 h 248"/>
                <a:gd name="T38" fmla="*/ 201 w 607"/>
                <a:gd name="T39" fmla="*/ 232 h 248"/>
                <a:gd name="T40" fmla="*/ 211 w 607"/>
                <a:gd name="T41" fmla="*/ 222 h 248"/>
                <a:gd name="T42" fmla="*/ 232 w 607"/>
                <a:gd name="T43" fmla="*/ 190 h 248"/>
                <a:gd name="T44" fmla="*/ 269 w 607"/>
                <a:gd name="T45" fmla="*/ 211 h 248"/>
                <a:gd name="T46" fmla="*/ 327 w 607"/>
                <a:gd name="T47" fmla="*/ 201 h 248"/>
                <a:gd name="T48" fmla="*/ 359 w 607"/>
                <a:gd name="T49" fmla="*/ 248 h 248"/>
                <a:gd name="T50" fmla="*/ 406 w 607"/>
                <a:gd name="T51" fmla="*/ 222 h 248"/>
                <a:gd name="T52" fmla="*/ 428 w 607"/>
                <a:gd name="T53" fmla="*/ 222 h 248"/>
                <a:gd name="T54" fmla="*/ 475 w 607"/>
                <a:gd name="T55" fmla="*/ 222 h 248"/>
                <a:gd name="T56" fmla="*/ 523 w 607"/>
                <a:gd name="T57" fmla="*/ 211 h 248"/>
                <a:gd name="T58" fmla="*/ 533 w 607"/>
                <a:gd name="T59" fmla="*/ 211 h 248"/>
                <a:gd name="T60" fmla="*/ 607 w 607"/>
                <a:gd name="T61" fmla="*/ 211 h 248"/>
                <a:gd name="T62" fmla="*/ 591 w 607"/>
                <a:gd name="T63" fmla="*/ 179 h 248"/>
                <a:gd name="T64" fmla="*/ 559 w 607"/>
                <a:gd name="T65" fmla="*/ 174 h 248"/>
                <a:gd name="T66" fmla="*/ 559 w 607"/>
                <a:gd name="T67" fmla="*/ 153 h 248"/>
                <a:gd name="T68" fmla="*/ 512 w 607"/>
                <a:gd name="T69" fmla="*/ 127 h 248"/>
                <a:gd name="T70" fmla="*/ 464 w 607"/>
                <a:gd name="T71" fmla="*/ 106 h 248"/>
                <a:gd name="T72" fmla="*/ 406 w 607"/>
                <a:gd name="T73" fmla="*/ 74 h 248"/>
                <a:gd name="T74" fmla="*/ 359 w 607"/>
                <a:gd name="T75" fmla="*/ 47 h 248"/>
                <a:gd name="T76" fmla="*/ 338 w 607"/>
                <a:gd name="T77" fmla="*/ 26 h 248"/>
                <a:gd name="T78" fmla="*/ 301 w 607"/>
                <a:gd name="T79" fmla="*/ 26 h 248"/>
                <a:gd name="T80" fmla="*/ 269 w 607"/>
                <a:gd name="T81" fmla="*/ 37 h 248"/>
                <a:gd name="T82" fmla="*/ 248 w 607"/>
                <a:gd name="T83" fmla="*/ 21 h 248"/>
                <a:gd name="T84" fmla="*/ 222 w 607"/>
                <a:gd name="T85" fmla="*/ 0 h 248"/>
                <a:gd name="T86" fmla="*/ 201 w 607"/>
                <a:gd name="T87" fmla="*/ 0 h 248"/>
                <a:gd name="T88" fmla="*/ 153 w 607"/>
                <a:gd name="T89" fmla="*/ 11 h 24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607" h="248">
                  <a:moveTo>
                    <a:pt x="153" y="21"/>
                  </a:moveTo>
                  <a:lnTo>
                    <a:pt x="127" y="26"/>
                  </a:lnTo>
                  <a:lnTo>
                    <a:pt x="127" y="37"/>
                  </a:lnTo>
                  <a:lnTo>
                    <a:pt x="137" y="47"/>
                  </a:lnTo>
                  <a:lnTo>
                    <a:pt x="127" y="58"/>
                  </a:lnTo>
                  <a:lnTo>
                    <a:pt x="137" y="58"/>
                  </a:lnTo>
                  <a:lnTo>
                    <a:pt x="153" y="58"/>
                  </a:lnTo>
                  <a:lnTo>
                    <a:pt x="164" y="69"/>
                  </a:lnTo>
                  <a:lnTo>
                    <a:pt x="174" y="58"/>
                  </a:lnTo>
                  <a:lnTo>
                    <a:pt x="185" y="69"/>
                  </a:lnTo>
                  <a:lnTo>
                    <a:pt x="174" y="74"/>
                  </a:lnTo>
                  <a:lnTo>
                    <a:pt x="185" y="95"/>
                  </a:lnTo>
                  <a:lnTo>
                    <a:pt x="185" y="106"/>
                  </a:lnTo>
                  <a:lnTo>
                    <a:pt x="201" y="116"/>
                  </a:lnTo>
                  <a:lnTo>
                    <a:pt x="201" y="132"/>
                  </a:lnTo>
                  <a:lnTo>
                    <a:pt x="185" y="132"/>
                  </a:lnTo>
                  <a:lnTo>
                    <a:pt x="164" y="142"/>
                  </a:lnTo>
                  <a:lnTo>
                    <a:pt x="143" y="132"/>
                  </a:lnTo>
                  <a:lnTo>
                    <a:pt x="106" y="127"/>
                  </a:lnTo>
                  <a:lnTo>
                    <a:pt x="95" y="116"/>
                  </a:lnTo>
                  <a:lnTo>
                    <a:pt x="84" y="127"/>
                  </a:lnTo>
                  <a:lnTo>
                    <a:pt x="74" y="127"/>
                  </a:lnTo>
                  <a:lnTo>
                    <a:pt x="69" y="127"/>
                  </a:lnTo>
                  <a:lnTo>
                    <a:pt x="58" y="116"/>
                  </a:lnTo>
                  <a:lnTo>
                    <a:pt x="58" y="106"/>
                  </a:lnTo>
                  <a:lnTo>
                    <a:pt x="48" y="84"/>
                  </a:lnTo>
                  <a:lnTo>
                    <a:pt x="26" y="84"/>
                  </a:lnTo>
                  <a:lnTo>
                    <a:pt x="11" y="95"/>
                  </a:lnTo>
                  <a:lnTo>
                    <a:pt x="0" y="116"/>
                  </a:lnTo>
                  <a:lnTo>
                    <a:pt x="16" y="132"/>
                  </a:lnTo>
                  <a:lnTo>
                    <a:pt x="37" y="142"/>
                  </a:lnTo>
                  <a:lnTo>
                    <a:pt x="48" y="153"/>
                  </a:lnTo>
                  <a:lnTo>
                    <a:pt x="69" y="164"/>
                  </a:lnTo>
                  <a:lnTo>
                    <a:pt x="74" y="164"/>
                  </a:lnTo>
                  <a:lnTo>
                    <a:pt x="84" y="174"/>
                  </a:lnTo>
                  <a:lnTo>
                    <a:pt x="84" y="179"/>
                  </a:lnTo>
                  <a:lnTo>
                    <a:pt x="106" y="190"/>
                  </a:lnTo>
                  <a:lnTo>
                    <a:pt x="127" y="201"/>
                  </a:lnTo>
                  <a:lnTo>
                    <a:pt x="143" y="211"/>
                  </a:lnTo>
                  <a:lnTo>
                    <a:pt x="201" y="232"/>
                  </a:lnTo>
                  <a:lnTo>
                    <a:pt x="211" y="237"/>
                  </a:lnTo>
                  <a:lnTo>
                    <a:pt x="211" y="222"/>
                  </a:lnTo>
                  <a:lnTo>
                    <a:pt x="211" y="201"/>
                  </a:lnTo>
                  <a:lnTo>
                    <a:pt x="232" y="190"/>
                  </a:lnTo>
                  <a:lnTo>
                    <a:pt x="248" y="201"/>
                  </a:lnTo>
                  <a:lnTo>
                    <a:pt x="269" y="211"/>
                  </a:lnTo>
                  <a:lnTo>
                    <a:pt x="290" y="211"/>
                  </a:lnTo>
                  <a:lnTo>
                    <a:pt x="327" y="201"/>
                  </a:lnTo>
                  <a:lnTo>
                    <a:pt x="338" y="211"/>
                  </a:lnTo>
                  <a:lnTo>
                    <a:pt x="359" y="248"/>
                  </a:lnTo>
                  <a:lnTo>
                    <a:pt x="396" y="227"/>
                  </a:lnTo>
                  <a:lnTo>
                    <a:pt x="406" y="222"/>
                  </a:lnTo>
                  <a:lnTo>
                    <a:pt x="417" y="211"/>
                  </a:lnTo>
                  <a:lnTo>
                    <a:pt x="428" y="222"/>
                  </a:lnTo>
                  <a:lnTo>
                    <a:pt x="454" y="227"/>
                  </a:lnTo>
                  <a:lnTo>
                    <a:pt x="475" y="222"/>
                  </a:lnTo>
                  <a:lnTo>
                    <a:pt x="486" y="227"/>
                  </a:lnTo>
                  <a:lnTo>
                    <a:pt x="523" y="211"/>
                  </a:lnTo>
                  <a:lnTo>
                    <a:pt x="523" y="201"/>
                  </a:lnTo>
                  <a:lnTo>
                    <a:pt x="533" y="211"/>
                  </a:lnTo>
                  <a:lnTo>
                    <a:pt x="591" y="211"/>
                  </a:lnTo>
                  <a:lnTo>
                    <a:pt x="607" y="211"/>
                  </a:lnTo>
                  <a:lnTo>
                    <a:pt x="602" y="201"/>
                  </a:lnTo>
                  <a:lnTo>
                    <a:pt x="591" y="179"/>
                  </a:lnTo>
                  <a:lnTo>
                    <a:pt x="581" y="174"/>
                  </a:lnTo>
                  <a:lnTo>
                    <a:pt x="559" y="174"/>
                  </a:lnTo>
                  <a:lnTo>
                    <a:pt x="559" y="164"/>
                  </a:lnTo>
                  <a:lnTo>
                    <a:pt x="559" y="153"/>
                  </a:lnTo>
                  <a:lnTo>
                    <a:pt x="538" y="142"/>
                  </a:lnTo>
                  <a:lnTo>
                    <a:pt x="512" y="127"/>
                  </a:lnTo>
                  <a:lnTo>
                    <a:pt x="491" y="127"/>
                  </a:lnTo>
                  <a:lnTo>
                    <a:pt x="464" y="106"/>
                  </a:lnTo>
                  <a:lnTo>
                    <a:pt x="443" y="95"/>
                  </a:lnTo>
                  <a:lnTo>
                    <a:pt x="406" y="74"/>
                  </a:lnTo>
                  <a:lnTo>
                    <a:pt x="375" y="69"/>
                  </a:lnTo>
                  <a:lnTo>
                    <a:pt x="359" y="47"/>
                  </a:lnTo>
                  <a:lnTo>
                    <a:pt x="348" y="26"/>
                  </a:lnTo>
                  <a:lnTo>
                    <a:pt x="338" y="26"/>
                  </a:lnTo>
                  <a:lnTo>
                    <a:pt x="317" y="21"/>
                  </a:lnTo>
                  <a:lnTo>
                    <a:pt x="301" y="26"/>
                  </a:lnTo>
                  <a:lnTo>
                    <a:pt x="280" y="37"/>
                  </a:lnTo>
                  <a:lnTo>
                    <a:pt x="269" y="37"/>
                  </a:lnTo>
                  <a:lnTo>
                    <a:pt x="259" y="26"/>
                  </a:lnTo>
                  <a:lnTo>
                    <a:pt x="248" y="21"/>
                  </a:lnTo>
                  <a:lnTo>
                    <a:pt x="243" y="11"/>
                  </a:lnTo>
                  <a:lnTo>
                    <a:pt x="222" y="0"/>
                  </a:lnTo>
                  <a:lnTo>
                    <a:pt x="211" y="0"/>
                  </a:lnTo>
                  <a:lnTo>
                    <a:pt x="201" y="0"/>
                  </a:lnTo>
                  <a:lnTo>
                    <a:pt x="185" y="0"/>
                  </a:lnTo>
                  <a:lnTo>
                    <a:pt x="153" y="11"/>
                  </a:lnTo>
                  <a:lnTo>
                    <a:pt x="153" y="21"/>
                  </a:lnTo>
                  <a:close/>
                </a:path>
              </a:pathLst>
            </a:custGeom>
            <a:solidFill>
              <a:srgbClr val="9FFFAE"/>
            </a:solidFill>
            <a:ln w="317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2" name="Freeform 39">
              <a:extLst>
                <a:ext uri="{FF2B5EF4-FFF2-40B4-BE49-F238E27FC236}">
                  <a16:creationId xmlns:a16="http://schemas.microsoft.com/office/drawing/2014/main" id="{EC0A25DC-EA30-4897-879A-A5D9DB574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6" y="3704"/>
              <a:ext cx="396" cy="317"/>
            </a:xfrm>
            <a:custGeom>
              <a:avLst/>
              <a:gdLst>
                <a:gd name="T0" fmla="*/ 4 w 450"/>
                <a:gd name="T1" fmla="*/ 4 h 360"/>
                <a:gd name="T2" fmla="*/ 4 w 450"/>
                <a:gd name="T3" fmla="*/ 4 h 360"/>
                <a:gd name="T4" fmla="*/ 4 w 450"/>
                <a:gd name="T5" fmla="*/ 4 h 360"/>
                <a:gd name="T6" fmla="*/ 4 w 450"/>
                <a:gd name="T7" fmla="*/ 4 h 360"/>
                <a:gd name="T8" fmla="*/ 4 w 450"/>
                <a:gd name="T9" fmla="*/ 4 h 360"/>
                <a:gd name="T10" fmla="*/ 4 w 450"/>
                <a:gd name="T11" fmla="*/ 4 h 360"/>
                <a:gd name="T12" fmla="*/ 4 w 450"/>
                <a:gd name="T13" fmla="*/ 4 h 360"/>
                <a:gd name="T14" fmla="*/ 4 w 450"/>
                <a:gd name="T15" fmla="*/ 4 h 360"/>
                <a:gd name="T16" fmla="*/ 4 w 450"/>
                <a:gd name="T17" fmla="*/ 4 h 360"/>
                <a:gd name="T18" fmla="*/ 4 w 450"/>
                <a:gd name="T19" fmla="*/ 4 h 360"/>
                <a:gd name="T20" fmla="*/ 4 w 450"/>
                <a:gd name="T21" fmla="*/ 4 h 360"/>
                <a:gd name="T22" fmla="*/ 4 w 450"/>
                <a:gd name="T23" fmla="*/ 4 h 360"/>
                <a:gd name="T24" fmla="*/ 4 w 450"/>
                <a:gd name="T25" fmla="*/ 4 h 360"/>
                <a:gd name="T26" fmla="*/ 4 w 450"/>
                <a:gd name="T27" fmla="*/ 0 h 360"/>
                <a:gd name="T28" fmla="*/ 4 w 450"/>
                <a:gd name="T29" fmla="*/ 4 h 360"/>
                <a:gd name="T30" fmla="*/ 4 w 450"/>
                <a:gd name="T31" fmla="*/ 4 h 360"/>
                <a:gd name="T32" fmla="*/ 4 w 450"/>
                <a:gd name="T33" fmla="*/ 4 h 360"/>
                <a:gd name="T34" fmla="*/ 4 w 450"/>
                <a:gd name="T35" fmla="*/ 4 h 360"/>
                <a:gd name="T36" fmla="*/ 4 w 450"/>
                <a:gd name="T37" fmla="*/ 4 h 360"/>
                <a:gd name="T38" fmla="*/ 4 w 450"/>
                <a:gd name="T39" fmla="*/ 4 h 360"/>
                <a:gd name="T40" fmla="*/ 0 w 450"/>
                <a:gd name="T41" fmla="*/ 4 h 360"/>
                <a:gd name="T42" fmla="*/ 4 w 450"/>
                <a:gd name="T43" fmla="*/ 4 h 360"/>
                <a:gd name="T44" fmla="*/ 4 w 450"/>
                <a:gd name="T45" fmla="*/ 4 h 360"/>
                <a:gd name="T46" fmla="*/ 4 w 450"/>
                <a:gd name="T47" fmla="*/ 4 h 360"/>
                <a:gd name="T48" fmla="*/ 4 w 450"/>
                <a:gd name="T49" fmla="*/ 4 h 360"/>
                <a:gd name="T50" fmla="*/ 4 w 450"/>
                <a:gd name="T51" fmla="*/ 4 h 360"/>
                <a:gd name="T52" fmla="*/ 4 w 450"/>
                <a:gd name="T53" fmla="*/ 4 h 360"/>
                <a:gd name="T54" fmla="*/ 4 w 450"/>
                <a:gd name="T55" fmla="*/ 4 h 360"/>
                <a:gd name="T56" fmla="*/ 4 w 450"/>
                <a:gd name="T57" fmla="*/ 4 h 360"/>
                <a:gd name="T58" fmla="*/ 4 w 450"/>
                <a:gd name="T59" fmla="*/ 4 h 360"/>
                <a:gd name="T60" fmla="*/ 4 w 450"/>
                <a:gd name="T61" fmla="*/ 4 h 360"/>
                <a:gd name="T62" fmla="*/ 4 w 450"/>
                <a:gd name="T63" fmla="*/ 4 h 360"/>
                <a:gd name="T64" fmla="*/ 4 w 450"/>
                <a:gd name="T65" fmla="*/ 4 h 360"/>
                <a:gd name="T66" fmla="*/ 4 w 450"/>
                <a:gd name="T67" fmla="*/ 4 h 360"/>
                <a:gd name="T68" fmla="*/ 4 w 450"/>
                <a:gd name="T69" fmla="*/ 4 h 360"/>
                <a:gd name="T70" fmla="*/ 4 w 450"/>
                <a:gd name="T71" fmla="*/ 4 h 360"/>
                <a:gd name="T72" fmla="*/ 4 w 450"/>
                <a:gd name="T73" fmla="*/ 4 h 360"/>
                <a:gd name="T74" fmla="*/ 5 w 450"/>
                <a:gd name="T75" fmla="*/ 4 h 360"/>
                <a:gd name="T76" fmla="*/ 6 w 450"/>
                <a:gd name="T77" fmla="*/ 4 h 360"/>
                <a:gd name="T78" fmla="*/ 6 w 450"/>
                <a:gd name="T79" fmla="*/ 4 h 360"/>
                <a:gd name="T80" fmla="*/ 6 w 450"/>
                <a:gd name="T81" fmla="*/ 4 h 360"/>
                <a:gd name="T82" fmla="*/ 6 w 450"/>
                <a:gd name="T83" fmla="*/ 4 h 360"/>
                <a:gd name="T84" fmla="*/ 6 w 450"/>
                <a:gd name="T85" fmla="*/ 4 h 360"/>
                <a:gd name="T86" fmla="*/ 6 w 450"/>
                <a:gd name="T87" fmla="*/ 4 h 3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50" h="360">
                  <a:moveTo>
                    <a:pt x="414" y="210"/>
                  </a:moveTo>
                  <a:lnTo>
                    <a:pt x="348" y="186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70" y="132"/>
                  </a:lnTo>
                  <a:lnTo>
                    <a:pt x="264" y="132"/>
                  </a:lnTo>
                  <a:lnTo>
                    <a:pt x="240" y="120"/>
                  </a:lnTo>
                  <a:lnTo>
                    <a:pt x="228" y="108"/>
                  </a:lnTo>
                  <a:lnTo>
                    <a:pt x="204" y="96"/>
                  </a:lnTo>
                  <a:lnTo>
                    <a:pt x="186" y="78"/>
                  </a:lnTo>
                  <a:lnTo>
                    <a:pt x="198" y="54"/>
                  </a:lnTo>
                  <a:lnTo>
                    <a:pt x="216" y="42"/>
                  </a:lnTo>
                  <a:lnTo>
                    <a:pt x="240" y="42"/>
                  </a:lnTo>
                  <a:lnTo>
                    <a:pt x="252" y="66"/>
                  </a:lnTo>
                  <a:lnTo>
                    <a:pt x="252" y="78"/>
                  </a:lnTo>
                  <a:lnTo>
                    <a:pt x="264" y="90"/>
                  </a:lnTo>
                  <a:lnTo>
                    <a:pt x="270" y="90"/>
                  </a:lnTo>
                  <a:lnTo>
                    <a:pt x="282" y="90"/>
                  </a:lnTo>
                  <a:lnTo>
                    <a:pt x="294" y="78"/>
                  </a:lnTo>
                  <a:lnTo>
                    <a:pt x="306" y="78"/>
                  </a:lnTo>
                  <a:lnTo>
                    <a:pt x="282" y="66"/>
                  </a:lnTo>
                  <a:lnTo>
                    <a:pt x="270" y="54"/>
                  </a:lnTo>
                  <a:lnTo>
                    <a:pt x="306" y="42"/>
                  </a:lnTo>
                  <a:lnTo>
                    <a:pt x="294" y="24"/>
                  </a:lnTo>
                  <a:lnTo>
                    <a:pt x="252" y="24"/>
                  </a:lnTo>
                  <a:lnTo>
                    <a:pt x="228" y="0"/>
                  </a:lnTo>
                  <a:lnTo>
                    <a:pt x="198" y="30"/>
                  </a:lnTo>
                  <a:lnTo>
                    <a:pt x="150" y="24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84" y="24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96" y="90"/>
                  </a:lnTo>
                  <a:lnTo>
                    <a:pt x="72" y="108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30" y="150"/>
                  </a:lnTo>
                  <a:lnTo>
                    <a:pt x="0" y="174"/>
                  </a:lnTo>
                  <a:lnTo>
                    <a:pt x="12" y="204"/>
                  </a:lnTo>
                  <a:lnTo>
                    <a:pt x="18" y="216"/>
                  </a:lnTo>
                  <a:lnTo>
                    <a:pt x="30" y="204"/>
                  </a:lnTo>
                  <a:lnTo>
                    <a:pt x="54" y="216"/>
                  </a:lnTo>
                  <a:lnTo>
                    <a:pt x="66" y="228"/>
                  </a:lnTo>
                  <a:lnTo>
                    <a:pt x="72" y="240"/>
                  </a:lnTo>
                  <a:lnTo>
                    <a:pt x="84" y="240"/>
                  </a:lnTo>
                  <a:lnTo>
                    <a:pt x="96" y="204"/>
                  </a:lnTo>
                  <a:lnTo>
                    <a:pt x="120" y="198"/>
                  </a:lnTo>
                  <a:lnTo>
                    <a:pt x="132" y="198"/>
                  </a:lnTo>
                  <a:lnTo>
                    <a:pt x="144" y="216"/>
                  </a:lnTo>
                  <a:lnTo>
                    <a:pt x="150" y="240"/>
                  </a:lnTo>
                  <a:lnTo>
                    <a:pt x="162" y="228"/>
                  </a:lnTo>
                  <a:lnTo>
                    <a:pt x="162" y="216"/>
                  </a:lnTo>
                  <a:lnTo>
                    <a:pt x="174" y="204"/>
                  </a:lnTo>
                  <a:lnTo>
                    <a:pt x="198" y="198"/>
                  </a:lnTo>
                  <a:lnTo>
                    <a:pt x="216" y="204"/>
                  </a:lnTo>
                  <a:lnTo>
                    <a:pt x="228" y="216"/>
                  </a:lnTo>
                  <a:lnTo>
                    <a:pt x="216" y="228"/>
                  </a:lnTo>
                  <a:lnTo>
                    <a:pt x="216" y="240"/>
                  </a:lnTo>
                  <a:lnTo>
                    <a:pt x="228" y="264"/>
                  </a:lnTo>
                  <a:lnTo>
                    <a:pt x="216" y="282"/>
                  </a:lnTo>
                  <a:lnTo>
                    <a:pt x="198" y="306"/>
                  </a:lnTo>
                  <a:lnTo>
                    <a:pt x="198" y="330"/>
                  </a:lnTo>
                  <a:lnTo>
                    <a:pt x="216" y="336"/>
                  </a:lnTo>
                  <a:lnTo>
                    <a:pt x="240" y="336"/>
                  </a:lnTo>
                  <a:lnTo>
                    <a:pt x="252" y="336"/>
                  </a:lnTo>
                  <a:lnTo>
                    <a:pt x="270" y="336"/>
                  </a:lnTo>
                  <a:lnTo>
                    <a:pt x="282" y="348"/>
                  </a:lnTo>
                  <a:lnTo>
                    <a:pt x="306" y="336"/>
                  </a:lnTo>
                  <a:lnTo>
                    <a:pt x="318" y="336"/>
                  </a:lnTo>
                  <a:lnTo>
                    <a:pt x="342" y="348"/>
                  </a:lnTo>
                  <a:lnTo>
                    <a:pt x="360" y="360"/>
                  </a:lnTo>
                  <a:lnTo>
                    <a:pt x="384" y="360"/>
                  </a:lnTo>
                  <a:lnTo>
                    <a:pt x="426" y="360"/>
                  </a:lnTo>
                  <a:lnTo>
                    <a:pt x="438" y="348"/>
                  </a:lnTo>
                  <a:lnTo>
                    <a:pt x="426" y="336"/>
                  </a:lnTo>
                  <a:lnTo>
                    <a:pt x="438" y="330"/>
                  </a:lnTo>
                  <a:lnTo>
                    <a:pt x="438" y="306"/>
                  </a:lnTo>
                  <a:lnTo>
                    <a:pt x="450" y="306"/>
                  </a:lnTo>
                  <a:lnTo>
                    <a:pt x="438" y="282"/>
                  </a:lnTo>
                  <a:lnTo>
                    <a:pt x="414" y="264"/>
                  </a:lnTo>
                  <a:lnTo>
                    <a:pt x="396" y="252"/>
                  </a:lnTo>
                  <a:lnTo>
                    <a:pt x="414" y="228"/>
                  </a:lnTo>
                  <a:lnTo>
                    <a:pt x="432" y="216"/>
                  </a:lnTo>
                  <a:lnTo>
                    <a:pt x="414" y="210"/>
                  </a:lnTo>
                  <a:close/>
                </a:path>
              </a:pathLst>
            </a:custGeom>
            <a:solidFill>
              <a:srgbClr val="9FFFAE"/>
            </a:solidFill>
            <a:ln w="317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3" name="Freeform 40">
              <a:extLst>
                <a:ext uri="{FF2B5EF4-FFF2-40B4-BE49-F238E27FC236}">
                  <a16:creationId xmlns:a16="http://schemas.microsoft.com/office/drawing/2014/main" id="{403164D9-EB87-48EF-B49B-5FFC41C08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6" y="3704"/>
              <a:ext cx="396" cy="317"/>
            </a:xfrm>
            <a:custGeom>
              <a:avLst/>
              <a:gdLst>
                <a:gd name="T0" fmla="*/ 4 w 450"/>
                <a:gd name="T1" fmla="*/ 4 h 360"/>
                <a:gd name="T2" fmla="*/ 4 w 450"/>
                <a:gd name="T3" fmla="*/ 4 h 360"/>
                <a:gd name="T4" fmla="*/ 4 w 450"/>
                <a:gd name="T5" fmla="*/ 4 h 360"/>
                <a:gd name="T6" fmla="*/ 4 w 450"/>
                <a:gd name="T7" fmla="*/ 4 h 360"/>
                <a:gd name="T8" fmla="*/ 4 w 450"/>
                <a:gd name="T9" fmla="*/ 4 h 360"/>
                <a:gd name="T10" fmla="*/ 4 w 450"/>
                <a:gd name="T11" fmla="*/ 4 h 360"/>
                <a:gd name="T12" fmla="*/ 4 w 450"/>
                <a:gd name="T13" fmla="*/ 4 h 360"/>
                <a:gd name="T14" fmla="*/ 4 w 450"/>
                <a:gd name="T15" fmla="*/ 4 h 360"/>
                <a:gd name="T16" fmla="*/ 4 w 450"/>
                <a:gd name="T17" fmla="*/ 4 h 360"/>
                <a:gd name="T18" fmla="*/ 4 w 450"/>
                <a:gd name="T19" fmla="*/ 4 h 360"/>
                <a:gd name="T20" fmla="*/ 4 w 450"/>
                <a:gd name="T21" fmla="*/ 4 h 360"/>
                <a:gd name="T22" fmla="*/ 4 w 450"/>
                <a:gd name="T23" fmla="*/ 4 h 360"/>
                <a:gd name="T24" fmla="*/ 4 w 450"/>
                <a:gd name="T25" fmla="*/ 4 h 360"/>
                <a:gd name="T26" fmla="*/ 4 w 450"/>
                <a:gd name="T27" fmla="*/ 0 h 360"/>
                <a:gd name="T28" fmla="*/ 4 w 450"/>
                <a:gd name="T29" fmla="*/ 4 h 360"/>
                <a:gd name="T30" fmla="*/ 4 w 450"/>
                <a:gd name="T31" fmla="*/ 4 h 360"/>
                <a:gd name="T32" fmla="*/ 4 w 450"/>
                <a:gd name="T33" fmla="*/ 4 h 360"/>
                <a:gd name="T34" fmla="*/ 4 w 450"/>
                <a:gd name="T35" fmla="*/ 4 h 360"/>
                <a:gd name="T36" fmla="*/ 4 w 450"/>
                <a:gd name="T37" fmla="*/ 4 h 360"/>
                <a:gd name="T38" fmla="*/ 4 w 450"/>
                <a:gd name="T39" fmla="*/ 4 h 360"/>
                <a:gd name="T40" fmla="*/ 0 w 450"/>
                <a:gd name="T41" fmla="*/ 4 h 360"/>
                <a:gd name="T42" fmla="*/ 4 w 450"/>
                <a:gd name="T43" fmla="*/ 4 h 360"/>
                <a:gd name="T44" fmla="*/ 4 w 450"/>
                <a:gd name="T45" fmla="*/ 4 h 360"/>
                <a:gd name="T46" fmla="*/ 4 w 450"/>
                <a:gd name="T47" fmla="*/ 4 h 360"/>
                <a:gd name="T48" fmla="*/ 4 w 450"/>
                <a:gd name="T49" fmla="*/ 4 h 360"/>
                <a:gd name="T50" fmla="*/ 4 w 450"/>
                <a:gd name="T51" fmla="*/ 4 h 360"/>
                <a:gd name="T52" fmla="*/ 4 w 450"/>
                <a:gd name="T53" fmla="*/ 4 h 360"/>
                <a:gd name="T54" fmla="*/ 4 w 450"/>
                <a:gd name="T55" fmla="*/ 4 h 360"/>
                <a:gd name="T56" fmla="*/ 4 w 450"/>
                <a:gd name="T57" fmla="*/ 4 h 360"/>
                <a:gd name="T58" fmla="*/ 4 w 450"/>
                <a:gd name="T59" fmla="*/ 4 h 360"/>
                <a:gd name="T60" fmla="*/ 4 w 450"/>
                <a:gd name="T61" fmla="*/ 4 h 360"/>
                <a:gd name="T62" fmla="*/ 4 w 450"/>
                <a:gd name="T63" fmla="*/ 4 h 360"/>
                <a:gd name="T64" fmla="*/ 4 w 450"/>
                <a:gd name="T65" fmla="*/ 4 h 360"/>
                <a:gd name="T66" fmla="*/ 4 w 450"/>
                <a:gd name="T67" fmla="*/ 4 h 360"/>
                <a:gd name="T68" fmla="*/ 4 w 450"/>
                <a:gd name="T69" fmla="*/ 4 h 360"/>
                <a:gd name="T70" fmla="*/ 4 w 450"/>
                <a:gd name="T71" fmla="*/ 4 h 360"/>
                <a:gd name="T72" fmla="*/ 4 w 450"/>
                <a:gd name="T73" fmla="*/ 4 h 360"/>
                <a:gd name="T74" fmla="*/ 5 w 450"/>
                <a:gd name="T75" fmla="*/ 4 h 360"/>
                <a:gd name="T76" fmla="*/ 6 w 450"/>
                <a:gd name="T77" fmla="*/ 4 h 360"/>
                <a:gd name="T78" fmla="*/ 6 w 450"/>
                <a:gd name="T79" fmla="*/ 4 h 360"/>
                <a:gd name="T80" fmla="*/ 6 w 450"/>
                <a:gd name="T81" fmla="*/ 4 h 360"/>
                <a:gd name="T82" fmla="*/ 6 w 450"/>
                <a:gd name="T83" fmla="*/ 4 h 360"/>
                <a:gd name="T84" fmla="*/ 6 w 450"/>
                <a:gd name="T85" fmla="*/ 4 h 360"/>
                <a:gd name="T86" fmla="*/ 6 w 450"/>
                <a:gd name="T87" fmla="*/ 4 h 3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50" h="360">
                  <a:moveTo>
                    <a:pt x="414" y="210"/>
                  </a:moveTo>
                  <a:lnTo>
                    <a:pt x="348" y="186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70" y="132"/>
                  </a:lnTo>
                  <a:lnTo>
                    <a:pt x="264" y="132"/>
                  </a:lnTo>
                  <a:lnTo>
                    <a:pt x="240" y="120"/>
                  </a:lnTo>
                  <a:lnTo>
                    <a:pt x="228" y="108"/>
                  </a:lnTo>
                  <a:lnTo>
                    <a:pt x="204" y="96"/>
                  </a:lnTo>
                  <a:lnTo>
                    <a:pt x="186" y="78"/>
                  </a:lnTo>
                  <a:lnTo>
                    <a:pt x="198" y="54"/>
                  </a:lnTo>
                  <a:lnTo>
                    <a:pt x="216" y="42"/>
                  </a:lnTo>
                  <a:lnTo>
                    <a:pt x="240" y="42"/>
                  </a:lnTo>
                  <a:lnTo>
                    <a:pt x="252" y="66"/>
                  </a:lnTo>
                  <a:lnTo>
                    <a:pt x="252" y="78"/>
                  </a:lnTo>
                  <a:lnTo>
                    <a:pt x="264" y="90"/>
                  </a:lnTo>
                  <a:lnTo>
                    <a:pt x="270" y="90"/>
                  </a:lnTo>
                  <a:lnTo>
                    <a:pt x="282" y="90"/>
                  </a:lnTo>
                  <a:lnTo>
                    <a:pt x="294" y="78"/>
                  </a:lnTo>
                  <a:lnTo>
                    <a:pt x="306" y="78"/>
                  </a:lnTo>
                  <a:lnTo>
                    <a:pt x="282" y="66"/>
                  </a:lnTo>
                  <a:lnTo>
                    <a:pt x="270" y="54"/>
                  </a:lnTo>
                  <a:lnTo>
                    <a:pt x="306" y="42"/>
                  </a:lnTo>
                  <a:lnTo>
                    <a:pt x="294" y="24"/>
                  </a:lnTo>
                  <a:lnTo>
                    <a:pt x="252" y="24"/>
                  </a:lnTo>
                  <a:lnTo>
                    <a:pt x="228" y="0"/>
                  </a:lnTo>
                  <a:lnTo>
                    <a:pt x="198" y="30"/>
                  </a:lnTo>
                  <a:lnTo>
                    <a:pt x="150" y="24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84" y="24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96" y="90"/>
                  </a:lnTo>
                  <a:lnTo>
                    <a:pt x="72" y="108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30" y="150"/>
                  </a:lnTo>
                  <a:lnTo>
                    <a:pt x="0" y="174"/>
                  </a:lnTo>
                  <a:lnTo>
                    <a:pt x="12" y="204"/>
                  </a:lnTo>
                  <a:lnTo>
                    <a:pt x="18" y="216"/>
                  </a:lnTo>
                  <a:lnTo>
                    <a:pt x="30" y="204"/>
                  </a:lnTo>
                  <a:lnTo>
                    <a:pt x="54" y="216"/>
                  </a:lnTo>
                  <a:lnTo>
                    <a:pt x="66" y="228"/>
                  </a:lnTo>
                  <a:lnTo>
                    <a:pt x="72" y="240"/>
                  </a:lnTo>
                  <a:lnTo>
                    <a:pt x="84" y="240"/>
                  </a:lnTo>
                  <a:lnTo>
                    <a:pt x="96" y="204"/>
                  </a:lnTo>
                  <a:lnTo>
                    <a:pt x="120" y="198"/>
                  </a:lnTo>
                  <a:lnTo>
                    <a:pt x="132" y="198"/>
                  </a:lnTo>
                  <a:lnTo>
                    <a:pt x="144" y="216"/>
                  </a:lnTo>
                  <a:lnTo>
                    <a:pt x="150" y="240"/>
                  </a:lnTo>
                  <a:lnTo>
                    <a:pt x="162" y="228"/>
                  </a:lnTo>
                  <a:lnTo>
                    <a:pt x="162" y="216"/>
                  </a:lnTo>
                  <a:lnTo>
                    <a:pt x="174" y="204"/>
                  </a:lnTo>
                  <a:lnTo>
                    <a:pt x="198" y="198"/>
                  </a:lnTo>
                  <a:lnTo>
                    <a:pt x="216" y="204"/>
                  </a:lnTo>
                  <a:lnTo>
                    <a:pt x="228" y="216"/>
                  </a:lnTo>
                  <a:lnTo>
                    <a:pt x="216" y="228"/>
                  </a:lnTo>
                  <a:lnTo>
                    <a:pt x="216" y="240"/>
                  </a:lnTo>
                  <a:lnTo>
                    <a:pt x="228" y="264"/>
                  </a:lnTo>
                  <a:lnTo>
                    <a:pt x="216" y="282"/>
                  </a:lnTo>
                  <a:lnTo>
                    <a:pt x="198" y="306"/>
                  </a:lnTo>
                  <a:lnTo>
                    <a:pt x="198" y="330"/>
                  </a:lnTo>
                  <a:lnTo>
                    <a:pt x="216" y="336"/>
                  </a:lnTo>
                  <a:lnTo>
                    <a:pt x="240" y="336"/>
                  </a:lnTo>
                  <a:lnTo>
                    <a:pt x="252" y="336"/>
                  </a:lnTo>
                  <a:lnTo>
                    <a:pt x="270" y="336"/>
                  </a:lnTo>
                  <a:lnTo>
                    <a:pt x="282" y="348"/>
                  </a:lnTo>
                  <a:lnTo>
                    <a:pt x="306" y="336"/>
                  </a:lnTo>
                  <a:lnTo>
                    <a:pt x="318" y="336"/>
                  </a:lnTo>
                  <a:lnTo>
                    <a:pt x="342" y="348"/>
                  </a:lnTo>
                  <a:lnTo>
                    <a:pt x="360" y="360"/>
                  </a:lnTo>
                  <a:lnTo>
                    <a:pt x="384" y="360"/>
                  </a:lnTo>
                  <a:lnTo>
                    <a:pt x="426" y="360"/>
                  </a:lnTo>
                  <a:lnTo>
                    <a:pt x="438" y="348"/>
                  </a:lnTo>
                  <a:lnTo>
                    <a:pt x="426" y="336"/>
                  </a:lnTo>
                  <a:lnTo>
                    <a:pt x="438" y="330"/>
                  </a:lnTo>
                  <a:lnTo>
                    <a:pt x="438" y="306"/>
                  </a:lnTo>
                  <a:lnTo>
                    <a:pt x="450" y="306"/>
                  </a:lnTo>
                  <a:lnTo>
                    <a:pt x="438" y="282"/>
                  </a:lnTo>
                  <a:lnTo>
                    <a:pt x="414" y="264"/>
                  </a:lnTo>
                  <a:lnTo>
                    <a:pt x="396" y="252"/>
                  </a:lnTo>
                  <a:lnTo>
                    <a:pt x="414" y="228"/>
                  </a:lnTo>
                  <a:lnTo>
                    <a:pt x="432" y="216"/>
                  </a:lnTo>
                  <a:lnTo>
                    <a:pt x="414" y="210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4" name="Freeform 41">
              <a:extLst>
                <a:ext uri="{FF2B5EF4-FFF2-40B4-BE49-F238E27FC236}">
                  <a16:creationId xmlns:a16="http://schemas.microsoft.com/office/drawing/2014/main" id="{018672B7-7CE6-4B04-BBDE-2CF890B38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" y="3113"/>
              <a:ext cx="727" cy="744"/>
            </a:xfrm>
            <a:custGeom>
              <a:avLst/>
              <a:gdLst>
                <a:gd name="T0" fmla="*/ 711 w 727"/>
                <a:gd name="T1" fmla="*/ 578 h 744"/>
                <a:gd name="T2" fmla="*/ 696 w 727"/>
                <a:gd name="T3" fmla="*/ 587 h 744"/>
                <a:gd name="T4" fmla="*/ 726 w 727"/>
                <a:gd name="T5" fmla="*/ 665 h 744"/>
                <a:gd name="T6" fmla="*/ 686 w 727"/>
                <a:gd name="T7" fmla="*/ 686 h 744"/>
                <a:gd name="T8" fmla="*/ 596 w 727"/>
                <a:gd name="T9" fmla="*/ 638 h 744"/>
                <a:gd name="T10" fmla="*/ 617 w 727"/>
                <a:gd name="T11" fmla="*/ 612 h 744"/>
                <a:gd name="T12" fmla="*/ 559 w 727"/>
                <a:gd name="T13" fmla="*/ 591 h 744"/>
                <a:gd name="T14" fmla="*/ 491 w 727"/>
                <a:gd name="T15" fmla="*/ 612 h 744"/>
                <a:gd name="T16" fmla="*/ 464 w 727"/>
                <a:gd name="T17" fmla="*/ 638 h 744"/>
                <a:gd name="T18" fmla="*/ 422 w 727"/>
                <a:gd name="T19" fmla="*/ 617 h 744"/>
                <a:gd name="T20" fmla="*/ 443 w 727"/>
                <a:gd name="T21" fmla="*/ 670 h 744"/>
                <a:gd name="T22" fmla="*/ 422 w 727"/>
                <a:gd name="T23" fmla="*/ 707 h 744"/>
                <a:gd name="T24" fmla="*/ 385 w 727"/>
                <a:gd name="T25" fmla="*/ 723 h 744"/>
                <a:gd name="T26" fmla="*/ 348 w 727"/>
                <a:gd name="T27" fmla="*/ 733 h 744"/>
                <a:gd name="T28" fmla="*/ 327 w 727"/>
                <a:gd name="T29" fmla="*/ 733 h 744"/>
                <a:gd name="T30" fmla="*/ 301 w 727"/>
                <a:gd name="T31" fmla="*/ 707 h 744"/>
                <a:gd name="T32" fmla="*/ 313 w 727"/>
                <a:gd name="T33" fmla="*/ 666 h 744"/>
                <a:gd name="T34" fmla="*/ 306 w 727"/>
                <a:gd name="T35" fmla="*/ 638 h 744"/>
                <a:gd name="T36" fmla="*/ 280 w 727"/>
                <a:gd name="T37" fmla="*/ 602 h 744"/>
                <a:gd name="T38" fmla="*/ 269 w 727"/>
                <a:gd name="T39" fmla="*/ 570 h 744"/>
                <a:gd name="T40" fmla="*/ 227 w 727"/>
                <a:gd name="T41" fmla="*/ 485 h 744"/>
                <a:gd name="T42" fmla="*/ 227 w 727"/>
                <a:gd name="T43" fmla="*/ 443 h 744"/>
                <a:gd name="T44" fmla="*/ 227 w 727"/>
                <a:gd name="T45" fmla="*/ 369 h 744"/>
                <a:gd name="T46" fmla="*/ 211 w 727"/>
                <a:gd name="T47" fmla="*/ 322 h 744"/>
                <a:gd name="T48" fmla="*/ 179 w 727"/>
                <a:gd name="T49" fmla="*/ 295 h 744"/>
                <a:gd name="T50" fmla="*/ 190 w 727"/>
                <a:gd name="T51" fmla="*/ 269 h 744"/>
                <a:gd name="T52" fmla="*/ 195 w 727"/>
                <a:gd name="T53" fmla="*/ 237 h 744"/>
                <a:gd name="T54" fmla="*/ 195 w 727"/>
                <a:gd name="T55" fmla="*/ 206 h 744"/>
                <a:gd name="T56" fmla="*/ 164 w 727"/>
                <a:gd name="T57" fmla="*/ 185 h 744"/>
                <a:gd name="T58" fmla="*/ 142 w 727"/>
                <a:gd name="T59" fmla="*/ 185 h 744"/>
                <a:gd name="T60" fmla="*/ 116 w 727"/>
                <a:gd name="T61" fmla="*/ 185 h 744"/>
                <a:gd name="T62" fmla="*/ 84 w 727"/>
                <a:gd name="T63" fmla="*/ 169 h 744"/>
                <a:gd name="T64" fmla="*/ 58 w 727"/>
                <a:gd name="T65" fmla="*/ 206 h 744"/>
                <a:gd name="T66" fmla="*/ 0 w 727"/>
                <a:gd name="T67" fmla="*/ 174 h 744"/>
                <a:gd name="T68" fmla="*/ 164 w 727"/>
                <a:gd name="T69" fmla="*/ 0 h 744"/>
                <a:gd name="T70" fmla="*/ 290 w 727"/>
                <a:gd name="T71" fmla="*/ 37 h 744"/>
                <a:gd name="T72" fmla="*/ 317 w 727"/>
                <a:gd name="T73" fmla="*/ 47 h 744"/>
                <a:gd name="T74" fmla="*/ 338 w 727"/>
                <a:gd name="T75" fmla="*/ 58 h 744"/>
                <a:gd name="T76" fmla="*/ 348 w 727"/>
                <a:gd name="T77" fmla="*/ 164 h 744"/>
                <a:gd name="T78" fmla="*/ 443 w 727"/>
                <a:gd name="T79" fmla="*/ 311 h 744"/>
                <a:gd name="T80" fmla="*/ 486 w 727"/>
                <a:gd name="T81" fmla="*/ 338 h 744"/>
                <a:gd name="T82" fmla="*/ 491 w 727"/>
                <a:gd name="T83" fmla="*/ 369 h 744"/>
                <a:gd name="T84" fmla="*/ 486 w 727"/>
                <a:gd name="T85" fmla="*/ 406 h 744"/>
                <a:gd name="T86" fmla="*/ 454 w 727"/>
                <a:gd name="T87" fmla="*/ 427 h 744"/>
                <a:gd name="T88" fmla="*/ 443 w 727"/>
                <a:gd name="T89" fmla="*/ 501 h 744"/>
                <a:gd name="T90" fmla="*/ 501 w 727"/>
                <a:gd name="T91" fmla="*/ 565 h 744"/>
                <a:gd name="T92" fmla="*/ 538 w 727"/>
                <a:gd name="T93" fmla="*/ 565 h 744"/>
                <a:gd name="T94" fmla="*/ 660 w 727"/>
                <a:gd name="T95" fmla="*/ 554 h 744"/>
                <a:gd name="T96" fmla="*/ 702 w 727"/>
                <a:gd name="T97" fmla="*/ 545 h 74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27" h="744">
                  <a:moveTo>
                    <a:pt x="702" y="545"/>
                  </a:moveTo>
                  <a:lnTo>
                    <a:pt x="711" y="578"/>
                  </a:lnTo>
                  <a:lnTo>
                    <a:pt x="679" y="582"/>
                  </a:lnTo>
                  <a:lnTo>
                    <a:pt x="696" y="587"/>
                  </a:lnTo>
                  <a:lnTo>
                    <a:pt x="714" y="603"/>
                  </a:lnTo>
                  <a:lnTo>
                    <a:pt x="726" y="665"/>
                  </a:lnTo>
                  <a:lnTo>
                    <a:pt x="727" y="675"/>
                  </a:lnTo>
                  <a:lnTo>
                    <a:pt x="686" y="686"/>
                  </a:lnTo>
                  <a:lnTo>
                    <a:pt x="623" y="670"/>
                  </a:lnTo>
                  <a:lnTo>
                    <a:pt x="596" y="638"/>
                  </a:lnTo>
                  <a:lnTo>
                    <a:pt x="628" y="628"/>
                  </a:lnTo>
                  <a:lnTo>
                    <a:pt x="617" y="612"/>
                  </a:lnTo>
                  <a:lnTo>
                    <a:pt x="581" y="612"/>
                  </a:lnTo>
                  <a:lnTo>
                    <a:pt x="559" y="591"/>
                  </a:lnTo>
                  <a:lnTo>
                    <a:pt x="533" y="617"/>
                  </a:lnTo>
                  <a:lnTo>
                    <a:pt x="491" y="612"/>
                  </a:lnTo>
                  <a:lnTo>
                    <a:pt x="486" y="628"/>
                  </a:lnTo>
                  <a:lnTo>
                    <a:pt x="464" y="638"/>
                  </a:lnTo>
                  <a:lnTo>
                    <a:pt x="433" y="612"/>
                  </a:lnTo>
                  <a:lnTo>
                    <a:pt x="422" y="617"/>
                  </a:lnTo>
                  <a:lnTo>
                    <a:pt x="417" y="628"/>
                  </a:lnTo>
                  <a:lnTo>
                    <a:pt x="443" y="670"/>
                  </a:lnTo>
                  <a:lnTo>
                    <a:pt x="422" y="686"/>
                  </a:lnTo>
                  <a:lnTo>
                    <a:pt x="422" y="707"/>
                  </a:lnTo>
                  <a:lnTo>
                    <a:pt x="406" y="723"/>
                  </a:lnTo>
                  <a:lnTo>
                    <a:pt x="385" y="723"/>
                  </a:lnTo>
                  <a:lnTo>
                    <a:pt x="359" y="744"/>
                  </a:lnTo>
                  <a:lnTo>
                    <a:pt x="348" y="733"/>
                  </a:lnTo>
                  <a:lnTo>
                    <a:pt x="338" y="723"/>
                  </a:lnTo>
                  <a:lnTo>
                    <a:pt x="327" y="733"/>
                  </a:lnTo>
                  <a:lnTo>
                    <a:pt x="306" y="718"/>
                  </a:lnTo>
                  <a:lnTo>
                    <a:pt x="301" y="707"/>
                  </a:lnTo>
                  <a:lnTo>
                    <a:pt x="306" y="675"/>
                  </a:lnTo>
                  <a:lnTo>
                    <a:pt x="313" y="666"/>
                  </a:lnTo>
                  <a:lnTo>
                    <a:pt x="311" y="644"/>
                  </a:lnTo>
                  <a:lnTo>
                    <a:pt x="306" y="638"/>
                  </a:lnTo>
                  <a:lnTo>
                    <a:pt x="301" y="617"/>
                  </a:lnTo>
                  <a:lnTo>
                    <a:pt x="280" y="602"/>
                  </a:lnTo>
                  <a:lnTo>
                    <a:pt x="274" y="580"/>
                  </a:lnTo>
                  <a:lnTo>
                    <a:pt x="269" y="570"/>
                  </a:lnTo>
                  <a:lnTo>
                    <a:pt x="237" y="522"/>
                  </a:lnTo>
                  <a:lnTo>
                    <a:pt x="227" y="485"/>
                  </a:lnTo>
                  <a:lnTo>
                    <a:pt x="216" y="475"/>
                  </a:lnTo>
                  <a:lnTo>
                    <a:pt x="227" y="443"/>
                  </a:lnTo>
                  <a:lnTo>
                    <a:pt x="227" y="406"/>
                  </a:lnTo>
                  <a:lnTo>
                    <a:pt x="227" y="369"/>
                  </a:lnTo>
                  <a:lnTo>
                    <a:pt x="222" y="338"/>
                  </a:lnTo>
                  <a:lnTo>
                    <a:pt x="211" y="322"/>
                  </a:lnTo>
                  <a:lnTo>
                    <a:pt x="190" y="311"/>
                  </a:lnTo>
                  <a:lnTo>
                    <a:pt x="179" y="295"/>
                  </a:lnTo>
                  <a:lnTo>
                    <a:pt x="190" y="280"/>
                  </a:lnTo>
                  <a:lnTo>
                    <a:pt x="190" y="269"/>
                  </a:lnTo>
                  <a:lnTo>
                    <a:pt x="195" y="264"/>
                  </a:lnTo>
                  <a:lnTo>
                    <a:pt x="195" y="237"/>
                  </a:lnTo>
                  <a:lnTo>
                    <a:pt x="195" y="222"/>
                  </a:lnTo>
                  <a:lnTo>
                    <a:pt x="195" y="206"/>
                  </a:lnTo>
                  <a:lnTo>
                    <a:pt x="179" y="190"/>
                  </a:lnTo>
                  <a:lnTo>
                    <a:pt x="164" y="185"/>
                  </a:lnTo>
                  <a:lnTo>
                    <a:pt x="153" y="195"/>
                  </a:lnTo>
                  <a:lnTo>
                    <a:pt x="142" y="185"/>
                  </a:lnTo>
                  <a:lnTo>
                    <a:pt x="127" y="185"/>
                  </a:lnTo>
                  <a:lnTo>
                    <a:pt x="116" y="185"/>
                  </a:lnTo>
                  <a:lnTo>
                    <a:pt x="106" y="179"/>
                  </a:lnTo>
                  <a:lnTo>
                    <a:pt x="84" y="169"/>
                  </a:lnTo>
                  <a:lnTo>
                    <a:pt x="73" y="183"/>
                  </a:lnTo>
                  <a:lnTo>
                    <a:pt x="58" y="206"/>
                  </a:lnTo>
                  <a:lnTo>
                    <a:pt x="47" y="211"/>
                  </a:lnTo>
                  <a:lnTo>
                    <a:pt x="0" y="174"/>
                  </a:lnTo>
                  <a:lnTo>
                    <a:pt x="0" y="164"/>
                  </a:lnTo>
                  <a:lnTo>
                    <a:pt x="164" y="0"/>
                  </a:lnTo>
                  <a:lnTo>
                    <a:pt x="232" y="11"/>
                  </a:lnTo>
                  <a:lnTo>
                    <a:pt x="290" y="37"/>
                  </a:lnTo>
                  <a:lnTo>
                    <a:pt x="306" y="47"/>
                  </a:lnTo>
                  <a:lnTo>
                    <a:pt x="317" y="47"/>
                  </a:lnTo>
                  <a:lnTo>
                    <a:pt x="338" y="47"/>
                  </a:lnTo>
                  <a:lnTo>
                    <a:pt x="338" y="58"/>
                  </a:lnTo>
                  <a:lnTo>
                    <a:pt x="317" y="69"/>
                  </a:lnTo>
                  <a:lnTo>
                    <a:pt x="348" y="164"/>
                  </a:lnTo>
                  <a:lnTo>
                    <a:pt x="348" y="222"/>
                  </a:lnTo>
                  <a:lnTo>
                    <a:pt x="443" y="311"/>
                  </a:lnTo>
                  <a:lnTo>
                    <a:pt x="475" y="301"/>
                  </a:lnTo>
                  <a:lnTo>
                    <a:pt x="486" y="338"/>
                  </a:lnTo>
                  <a:lnTo>
                    <a:pt x="491" y="327"/>
                  </a:lnTo>
                  <a:lnTo>
                    <a:pt x="491" y="369"/>
                  </a:lnTo>
                  <a:lnTo>
                    <a:pt x="501" y="380"/>
                  </a:lnTo>
                  <a:lnTo>
                    <a:pt x="486" y="406"/>
                  </a:lnTo>
                  <a:lnTo>
                    <a:pt x="474" y="420"/>
                  </a:lnTo>
                  <a:lnTo>
                    <a:pt x="454" y="427"/>
                  </a:lnTo>
                  <a:lnTo>
                    <a:pt x="475" y="454"/>
                  </a:lnTo>
                  <a:lnTo>
                    <a:pt x="443" y="501"/>
                  </a:lnTo>
                  <a:lnTo>
                    <a:pt x="512" y="533"/>
                  </a:lnTo>
                  <a:lnTo>
                    <a:pt x="501" y="565"/>
                  </a:lnTo>
                  <a:lnTo>
                    <a:pt x="522" y="563"/>
                  </a:lnTo>
                  <a:lnTo>
                    <a:pt x="538" y="565"/>
                  </a:lnTo>
                  <a:lnTo>
                    <a:pt x="639" y="554"/>
                  </a:lnTo>
                  <a:lnTo>
                    <a:pt x="660" y="554"/>
                  </a:lnTo>
                  <a:lnTo>
                    <a:pt x="676" y="554"/>
                  </a:lnTo>
                  <a:lnTo>
                    <a:pt x="702" y="545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5" name="Freeform 42">
              <a:extLst>
                <a:ext uri="{FF2B5EF4-FFF2-40B4-BE49-F238E27FC236}">
                  <a16:creationId xmlns:a16="http://schemas.microsoft.com/office/drawing/2014/main" id="{A3421809-A5E9-40BB-8713-60B683FE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" y="1983"/>
              <a:ext cx="48" cy="64"/>
            </a:xfrm>
            <a:custGeom>
              <a:avLst/>
              <a:gdLst>
                <a:gd name="T0" fmla="*/ 0 w 54"/>
                <a:gd name="T1" fmla="*/ 4 h 72"/>
                <a:gd name="T2" fmla="*/ 4 w 54"/>
                <a:gd name="T3" fmla="*/ 4 h 72"/>
                <a:gd name="T4" fmla="*/ 4 w 54"/>
                <a:gd name="T5" fmla="*/ 4 h 72"/>
                <a:gd name="T6" fmla="*/ 4 w 54"/>
                <a:gd name="T7" fmla="*/ 4 h 72"/>
                <a:gd name="T8" fmla="*/ 4 w 54"/>
                <a:gd name="T9" fmla="*/ 0 h 72"/>
                <a:gd name="T10" fmla="*/ 4 w 54"/>
                <a:gd name="T11" fmla="*/ 4 h 72"/>
                <a:gd name="T12" fmla="*/ 4 w 54"/>
                <a:gd name="T13" fmla="*/ 4 h 72"/>
                <a:gd name="T14" fmla="*/ 4 w 54"/>
                <a:gd name="T15" fmla="*/ 4 h 72"/>
                <a:gd name="T16" fmla="*/ 4 w 54"/>
                <a:gd name="T17" fmla="*/ 4 h 72"/>
                <a:gd name="T18" fmla="*/ 4 w 54"/>
                <a:gd name="T19" fmla="*/ 4 h 72"/>
                <a:gd name="T20" fmla="*/ 4 w 54"/>
                <a:gd name="T21" fmla="*/ 4 h 72"/>
                <a:gd name="T22" fmla="*/ 4 w 54"/>
                <a:gd name="T23" fmla="*/ 4 h 72"/>
                <a:gd name="T24" fmla="*/ 4 w 54"/>
                <a:gd name="T25" fmla="*/ 4 h 72"/>
                <a:gd name="T26" fmla="*/ 4 w 54"/>
                <a:gd name="T27" fmla="*/ 4 h 72"/>
                <a:gd name="T28" fmla="*/ 4 w 54"/>
                <a:gd name="T29" fmla="*/ 4 h 72"/>
                <a:gd name="T30" fmla="*/ 4 w 54"/>
                <a:gd name="T31" fmla="*/ 4 h 72"/>
                <a:gd name="T32" fmla="*/ 4 w 54"/>
                <a:gd name="T33" fmla="*/ 4 h 72"/>
                <a:gd name="T34" fmla="*/ 0 w 54"/>
                <a:gd name="T35" fmla="*/ 4 h 7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72">
                  <a:moveTo>
                    <a:pt x="0" y="72"/>
                  </a:moveTo>
                  <a:lnTo>
                    <a:pt x="12" y="54"/>
                  </a:lnTo>
                  <a:lnTo>
                    <a:pt x="12" y="42"/>
                  </a:lnTo>
                  <a:lnTo>
                    <a:pt x="24" y="18"/>
                  </a:lnTo>
                  <a:lnTo>
                    <a:pt x="24" y="0"/>
                  </a:lnTo>
                  <a:lnTo>
                    <a:pt x="36" y="6"/>
                  </a:lnTo>
                  <a:lnTo>
                    <a:pt x="36" y="18"/>
                  </a:lnTo>
                  <a:lnTo>
                    <a:pt x="36" y="42"/>
                  </a:lnTo>
                  <a:lnTo>
                    <a:pt x="48" y="30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54" y="42"/>
                  </a:lnTo>
                  <a:lnTo>
                    <a:pt x="48" y="66"/>
                  </a:lnTo>
                  <a:lnTo>
                    <a:pt x="36" y="72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6" name="Freeform 43">
              <a:extLst>
                <a:ext uri="{FF2B5EF4-FFF2-40B4-BE49-F238E27FC236}">
                  <a16:creationId xmlns:a16="http://schemas.microsoft.com/office/drawing/2014/main" id="{A173EF86-4406-4FA0-AB69-D580464B7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" y="1777"/>
              <a:ext cx="95" cy="95"/>
            </a:xfrm>
            <a:custGeom>
              <a:avLst/>
              <a:gdLst>
                <a:gd name="T0" fmla="*/ 4 w 108"/>
                <a:gd name="T1" fmla="*/ 4 h 108"/>
                <a:gd name="T2" fmla="*/ 0 w 108"/>
                <a:gd name="T3" fmla="*/ 4 h 108"/>
                <a:gd name="T4" fmla="*/ 0 w 108"/>
                <a:gd name="T5" fmla="*/ 4 h 108"/>
                <a:gd name="T6" fmla="*/ 4 w 108"/>
                <a:gd name="T7" fmla="*/ 4 h 108"/>
                <a:gd name="T8" fmla="*/ 4 w 108"/>
                <a:gd name="T9" fmla="*/ 4 h 108"/>
                <a:gd name="T10" fmla="*/ 4 w 108"/>
                <a:gd name="T11" fmla="*/ 4 h 108"/>
                <a:gd name="T12" fmla="*/ 4 w 108"/>
                <a:gd name="T13" fmla="*/ 4 h 108"/>
                <a:gd name="T14" fmla="*/ 4 w 108"/>
                <a:gd name="T15" fmla="*/ 4 h 108"/>
                <a:gd name="T16" fmla="*/ 4 w 108"/>
                <a:gd name="T17" fmla="*/ 0 h 108"/>
                <a:gd name="T18" fmla="*/ 4 w 108"/>
                <a:gd name="T19" fmla="*/ 4 h 108"/>
                <a:gd name="T20" fmla="*/ 4 w 108"/>
                <a:gd name="T21" fmla="*/ 4 h 108"/>
                <a:gd name="T22" fmla="*/ 4 w 108"/>
                <a:gd name="T23" fmla="*/ 4 h 108"/>
                <a:gd name="T24" fmla="*/ 4 w 108"/>
                <a:gd name="T25" fmla="*/ 0 h 108"/>
                <a:gd name="T26" fmla="*/ 4 w 108"/>
                <a:gd name="T27" fmla="*/ 4 h 108"/>
                <a:gd name="T28" fmla="*/ 4 w 108"/>
                <a:gd name="T29" fmla="*/ 4 h 108"/>
                <a:gd name="T30" fmla="*/ 4 w 108"/>
                <a:gd name="T31" fmla="*/ 4 h 108"/>
                <a:gd name="T32" fmla="*/ 4 w 108"/>
                <a:gd name="T33" fmla="*/ 4 h 108"/>
                <a:gd name="T34" fmla="*/ 4 w 108"/>
                <a:gd name="T35" fmla="*/ 4 h 108"/>
                <a:gd name="T36" fmla="*/ 4 w 108"/>
                <a:gd name="T37" fmla="*/ 4 h 108"/>
                <a:gd name="T38" fmla="*/ 4 w 108"/>
                <a:gd name="T39" fmla="*/ 4 h 108"/>
                <a:gd name="T40" fmla="*/ 4 w 108"/>
                <a:gd name="T41" fmla="*/ 4 h 108"/>
                <a:gd name="T42" fmla="*/ 4 w 108"/>
                <a:gd name="T43" fmla="*/ 4 h 10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8" h="108">
                  <a:moveTo>
                    <a:pt x="24" y="108"/>
                  </a:moveTo>
                  <a:lnTo>
                    <a:pt x="0" y="108"/>
                  </a:lnTo>
                  <a:lnTo>
                    <a:pt x="0" y="90"/>
                  </a:lnTo>
                  <a:lnTo>
                    <a:pt x="24" y="78"/>
                  </a:lnTo>
                  <a:lnTo>
                    <a:pt x="12" y="54"/>
                  </a:lnTo>
                  <a:lnTo>
                    <a:pt x="24" y="36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66" y="0"/>
                  </a:lnTo>
                  <a:lnTo>
                    <a:pt x="54" y="24"/>
                  </a:lnTo>
                  <a:lnTo>
                    <a:pt x="66" y="36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08" y="24"/>
                  </a:lnTo>
                  <a:lnTo>
                    <a:pt x="108" y="48"/>
                  </a:lnTo>
                  <a:lnTo>
                    <a:pt x="90" y="66"/>
                  </a:lnTo>
                  <a:lnTo>
                    <a:pt x="78" y="66"/>
                  </a:lnTo>
                  <a:lnTo>
                    <a:pt x="66" y="66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42" y="102"/>
                  </a:lnTo>
                  <a:lnTo>
                    <a:pt x="24" y="10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7" name="Freeform 44">
              <a:extLst>
                <a:ext uri="{FF2B5EF4-FFF2-40B4-BE49-F238E27FC236}">
                  <a16:creationId xmlns:a16="http://schemas.microsoft.com/office/drawing/2014/main" id="{1E8B4521-7469-40F8-872A-A8BFACDB5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" y="1693"/>
              <a:ext cx="116" cy="116"/>
            </a:xfrm>
            <a:custGeom>
              <a:avLst/>
              <a:gdLst>
                <a:gd name="T0" fmla="*/ 0 w 132"/>
                <a:gd name="T1" fmla="*/ 4 h 132"/>
                <a:gd name="T2" fmla="*/ 4 w 132"/>
                <a:gd name="T3" fmla="*/ 4 h 132"/>
                <a:gd name="T4" fmla="*/ 4 w 132"/>
                <a:gd name="T5" fmla="*/ 4 h 132"/>
                <a:gd name="T6" fmla="*/ 4 w 132"/>
                <a:gd name="T7" fmla="*/ 4 h 132"/>
                <a:gd name="T8" fmla="*/ 4 w 132"/>
                <a:gd name="T9" fmla="*/ 4 h 132"/>
                <a:gd name="T10" fmla="*/ 4 w 132"/>
                <a:gd name="T11" fmla="*/ 4 h 132"/>
                <a:gd name="T12" fmla="*/ 4 w 132"/>
                <a:gd name="T13" fmla="*/ 4 h 132"/>
                <a:gd name="T14" fmla="*/ 4 w 132"/>
                <a:gd name="T15" fmla="*/ 4 h 132"/>
                <a:gd name="T16" fmla="*/ 4 w 132"/>
                <a:gd name="T17" fmla="*/ 4 h 132"/>
                <a:gd name="T18" fmla="*/ 4 w 132"/>
                <a:gd name="T19" fmla="*/ 4 h 132"/>
                <a:gd name="T20" fmla="*/ 4 w 132"/>
                <a:gd name="T21" fmla="*/ 4 h 132"/>
                <a:gd name="T22" fmla="*/ 4 w 132"/>
                <a:gd name="T23" fmla="*/ 0 h 132"/>
                <a:gd name="T24" fmla="*/ 4 w 132"/>
                <a:gd name="T25" fmla="*/ 4 h 132"/>
                <a:gd name="T26" fmla="*/ 4 w 132"/>
                <a:gd name="T27" fmla="*/ 4 h 132"/>
                <a:gd name="T28" fmla="*/ 4 w 132"/>
                <a:gd name="T29" fmla="*/ 4 h 132"/>
                <a:gd name="T30" fmla="*/ 4 w 132"/>
                <a:gd name="T31" fmla="*/ 4 h 132"/>
                <a:gd name="T32" fmla="*/ 4 w 132"/>
                <a:gd name="T33" fmla="*/ 4 h 132"/>
                <a:gd name="T34" fmla="*/ 4 w 132"/>
                <a:gd name="T35" fmla="*/ 4 h 132"/>
                <a:gd name="T36" fmla="*/ 4 w 132"/>
                <a:gd name="T37" fmla="*/ 4 h 132"/>
                <a:gd name="T38" fmla="*/ 4 w 132"/>
                <a:gd name="T39" fmla="*/ 4 h 132"/>
                <a:gd name="T40" fmla="*/ 4 w 132"/>
                <a:gd name="T41" fmla="*/ 4 h 132"/>
                <a:gd name="T42" fmla="*/ 4 w 132"/>
                <a:gd name="T43" fmla="*/ 4 h 132"/>
                <a:gd name="T44" fmla="*/ 4 w 132"/>
                <a:gd name="T45" fmla="*/ 4 h 132"/>
                <a:gd name="T46" fmla="*/ 0 w 132"/>
                <a:gd name="T47" fmla="*/ 4 h 13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32" h="132">
                  <a:moveTo>
                    <a:pt x="0" y="108"/>
                  </a:moveTo>
                  <a:lnTo>
                    <a:pt x="6" y="120"/>
                  </a:lnTo>
                  <a:lnTo>
                    <a:pt x="30" y="120"/>
                  </a:lnTo>
                  <a:lnTo>
                    <a:pt x="54" y="120"/>
                  </a:lnTo>
                  <a:lnTo>
                    <a:pt x="78" y="132"/>
                  </a:lnTo>
                  <a:lnTo>
                    <a:pt x="84" y="108"/>
                  </a:lnTo>
                  <a:lnTo>
                    <a:pt x="108" y="96"/>
                  </a:lnTo>
                  <a:lnTo>
                    <a:pt x="120" y="84"/>
                  </a:lnTo>
                  <a:lnTo>
                    <a:pt x="120" y="66"/>
                  </a:lnTo>
                  <a:lnTo>
                    <a:pt x="120" y="54"/>
                  </a:lnTo>
                  <a:lnTo>
                    <a:pt x="132" y="30"/>
                  </a:lnTo>
                  <a:lnTo>
                    <a:pt x="132" y="0"/>
                  </a:lnTo>
                  <a:lnTo>
                    <a:pt x="120" y="12"/>
                  </a:lnTo>
                  <a:lnTo>
                    <a:pt x="108" y="12"/>
                  </a:lnTo>
                  <a:lnTo>
                    <a:pt x="96" y="12"/>
                  </a:lnTo>
                  <a:lnTo>
                    <a:pt x="84" y="12"/>
                  </a:lnTo>
                  <a:lnTo>
                    <a:pt x="66" y="30"/>
                  </a:lnTo>
                  <a:lnTo>
                    <a:pt x="66" y="42"/>
                  </a:lnTo>
                  <a:lnTo>
                    <a:pt x="42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6" y="84"/>
                  </a:lnTo>
                  <a:lnTo>
                    <a:pt x="6" y="96"/>
                  </a:lnTo>
                  <a:lnTo>
                    <a:pt x="0" y="10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8" name="Freeform 45">
              <a:extLst>
                <a:ext uri="{FF2B5EF4-FFF2-40B4-BE49-F238E27FC236}">
                  <a16:creationId xmlns:a16="http://schemas.microsoft.com/office/drawing/2014/main" id="{44B57CDA-5298-4808-AABD-8525F119FD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6" y="3203"/>
              <a:ext cx="216" cy="258"/>
            </a:xfrm>
            <a:custGeom>
              <a:avLst/>
              <a:gdLst>
                <a:gd name="T0" fmla="*/ 4 w 246"/>
                <a:gd name="T1" fmla="*/ 4 h 294"/>
                <a:gd name="T2" fmla="*/ 4 w 246"/>
                <a:gd name="T3" fmla="*/ 4 h 294"/>
                <a:gd name="T4" fmla="*/ 4 w 246"/>
                <a:gd name="T5" fmla="*/ 4 h 294"/>
                <a:gd name="T6" fmla="*/ 4 w 246"/>
                <a:gd name="T7" fmla="*/ 4 h 294"/>
                <a:gd name="T8" fmla="*/ 4 w 246"/>
                <a:gd name="T9" fmla="*/ 4 h 294"/>
                <a:gd name="T10" fmla="*/ 4 w 246"/>
                <a:gd name="T11" fmla="*/ 4 h 294"/>
                <a:gd name="T12" fmla="*/ 4 w 246"/>
                <a:gd name="T13" fmla="*/ 4 h 294"/>
                <a:gd name="T14" fmla="*/ 4 w 246"/>
                <a:gd name="T15" fmla="*/ 4 h 294"/>
                <a:gd name="T16" fmla="*/ 4 w 246"/>
                <a:gd name="T17" fmla="*/ 4 h 294"/>
                <a:gd name="T18" fmla="*/ 4 w 246"/>
                <a:gd name="T19" fmla="*/ 4 h 294"/>
                <a:gd name="T20" fmla="*/ 4 w 246"/>
                <a:gd name="T21" fmla="*/ 4 h 294"/>
                <a:gd name="T22" fmla="*/ 4 w 246"/>
                <a:gd name="T23" fmla="*/ 4 h 294"/>
                <a:gd name="T24" fmla="*/ 0 w 246"/>
                <a:gd name="T25" fmla="*/ 4 h 294"/>
                <a:gd name="T26" fmla="*/ 0 w 246"/>
                <a:gd name="T27" fmla="*/ 4 h 294"/>
                <a:gd name="T28" fmla="*/ 4 w 246"/>
                <a:gd name="T29" fmla="*/ 4 h 294"/>
                <a:gd name="T30" fmla="*/ 4 w 246"/>
                <a:gd name="T31" fmla="*/ 4 h 294"/>
                <a:gd name="T32" fmla="*/ 4 w 246"/>
                <a:gd name="T33" fmla="*/ 4 h 294"/>
                <a:gd name="T34" fmla="*/ 4 w 246"/>
                <a:gd name="T35" fmla="*/ 4 h 294"/>
                <a:gd name="T36" fmla="*/ 4 w 246"/>
                <a:gd name="T37" fmla="*/ 4 h 294"/>
                <a:gd name="T38" fmla="*/ 4 w 246"/>
                <a:gd name="T39" fmla="*/ 4 h 294"/>
                <a:gd name="T40" fmla="*/ 4 w 246"/>
                <a:gd name="T41" fmla="*/ 4 h 294"/>
                <a:gd name="T42" fmla="*/ 4 w 246"/>
                <a:gd name="T43" fmla="*/ 4 h 294"/>
                <a:gd name="T44" fmla="*/ 4 w 246"/>
                <a:gd name="T45" fmla="*/ 4 h 294"/>
                <a:gd name="T46" fmla="*/ 4 w 246"/>
                <a:gd name="T47" fmla="*/ 4 h 294"/>
                <a:gd name="T48" fmla="*/ 4 w 246"/>
                <a:gd name="T49" fmla="*/ 4 h 294"/>
                <a:gd name="T50" fmla="*/ 4 w 246"/>
                <a:gd name="T51" fmla="*/ 4 h 294"/>
                <a:gd name="T52" fmla="*/ 4 w 246"/>
                <a:gd name="T53" fmla="*/ 4 h 294"/>
                <a:gd name="T54" fmla="*/ 4 w 246"/>
                <a:gd name="T55" fmla="*/ 4 h 294"/>
                <a:gd name="T56" fmla="*/ 4 w 246"/>
                <a:gd name="T57" fmla="*/ 4 h 294"/>
                <a:gd name="T58" fmla="*/ 4 w 246"/>
                <a:gd name="T59" fmla="*/ 0 h 294"/>
                <a:gd name="T60" fmla="*/ 4 w 246"/>
                <a:gd name="T61" fmla="*/ 4 h 29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46" h="294">
                  <a:moveTo>
                    <a:pt x="222" y="6"/>
                  </a:moveTo>
                  <a:lnTo>
                    <a:pt x="198" y="30"/>
                  </a:lnTo>
                  <a:lnTo>
                    <a:pt x="186" y="78"/>
                  </a:lnTo>
                  <a:lnTo>
                    <a:pt x="180" y="108"/>
                  </a:lnTo>
                  <a:lnTo>
                    <a:pt x="180" y="132"/>
                  </a:lnTo>
                  <a:lnTo>
                    <a:pt x="156" y="150"/>
                  </a:lnTo>
                  <a:lnTo>
                    <a:pt x="144" y="162"/>
                  </a:lnTo>
                  <a:lnTo>
                    <a:pt x="126" y="186"/>
                  </a:lnTo>
                  <a:lnTo>
                    <a:pt x="78" y="216"/>
                  </a:lnTo>
                  <a:lnTo>
                    <a:pt x="78" y="240"/>
                  </a:lnTo>
                  <a:lnTo>
                    <a:pt x="54" y="264"/>
                  </a:lnTo>
                  <a:lnTo>
                    <a:pt x="12" y="270"/>
                  </a:lnTo>
                  <a:lnTo>
                    <a:pt x="0" y="282"/>
                  </a:lnTo>
                  <a:lnTo>
                    <a:pt x="0" y="294"/>
                  </a:lnTo>
                  <a:lnTo>
                    <a:pt x="48" y="294"/>
                  </a:lnTo>
                  <a:lnTo>
                    <a:pt x="102" y="282"/>
                  </a:lnTo>
                  <a:lnTo>
                    <a:pt x="132" y="252"/>
                  </a:lnTo>
                  <a:lnTo>
                    <a:pt x="144" y="240"/>
                  </a:lnTo>
                  <a:lnTo>
                    <a:pt x="198" y="204"/>
                  </a:lnTo>
                  <a:lnTo>
                    <a:pt x="198" y="186"/>
                  </a:lnTo>
                  <a:lnTo>
                    <a:pt x="198" y="162"/>
                  </a:lnTo>
                  <a:lnTo>
                    <a:pt x="210" y="138"/>
                  </a:lnTo>
                  <a:lnTo>
                    <a:pt x="210" y="150"/>
                  </a:lnTo>
                  <a:lnTo>
                    <a:pt x="222" y="138"/>
                  </a:lnTo>
                  <a:lnTo>
                    <a:pt x="222" y="120"/>
                  </a:lnTo>
                  <a:lnTo>
                    <a:pt x="234" y="84"/>
                  </a:lnTo>
                  <a:lnTo>
                    <a:pt x="234" y="54"/>
                  </a:lnTo>
                  <a:lnTo>
                    <a:pt x="234" y="42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22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 cmpd="sng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9" name="Freeform 46">
              <a:extLst>
                <a:ext uri="{FF2B5EF4-FFF2-40B4-BE49-F238E27FC236}">
                  <a16:creationId xmlns:a16="http://schemas.microsoft.com/office/drawing/2014/main" id="{D8116D56-A8AB-4F18-B9F3-B5FD0F8B7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7" y="3124"/>
              <a:ext cx="68" cy="84"/>
            </a:xfrm>
            <a:custGeom>
              <a:avLst/>
              <a:gdLst>
                <a:gd name="T0" fmla="*/ 3 w 78"/>
                <a:gd name="T1" fmla="*/ 4 h 96"/>
                <a:gd name="T2" fmla="*/ 3 w 78"/>
                <a:gd name="T3" fmla="*/ 4 h 96"/>
                <a:gd name="T4" fmla="*/ 3 w 78"/>
                <a:gd name="T5" fmla="*/ 4 h 96"/>
                <a:gd name="T6" fmla="*/ 3 w 78"/>
                <a:gd name="T7" fmla="*/ 4 h 96"/>
                <a:gd name="T8" fmla="*/ 0 w 78"/>
                <a:gd name="T9" fmla="*/ 4 h 96"/>
                <a:gd name="T10" fmla="*/ 3 w 78"/>
                <a:gd name="T11" fmla="*/ 4 h 96"/>
                <a:gd name="T12" fmla="*/ 3 w 78"/>
                <a:gd name="T13" fmla="*/ 4 h 96"/>
                <a:gd name="T14" fmla="*/ 3 w 78"/>
                <a:gd name="T15" fmla="*/ 4 h 96"/>
                <a:gd name="T16" fmla="*/ 3 w 78"/>
                <a:gd name="T17" fmla="*/ 0 h 96"/>
                <a:gd name="T18" fmla="*/ 3 w 78"/>
                <a:gd name="T19" fmla="*/ 4 h 96"/>
                <a:gd name="T20" fmla="*/ 3 w 78"/>
                <a:gd name="T21" fmla="*/ 4 h 96"/>
                <a:gd name="T22" fmla="*/ 3 w 78"/>
                <a:gd name="T23" fmla="*/ 4 h 96"/>
                <a:gd name="T24" fmla="*/ 3 w 78"/>
                <a:gd name="T25" fmla="*/ 4 h 96"/>
                <a:gd name="T26" fmla="*/ 3 w 78"/>
                <a:gd name="T27" fmla="*/ 4 h 96"/>
                <a:gd name="T28" fmla="*/ 3 w 78"/>
                <a:gd name="T29" fmla="*/ 4 h 96"/>
                <a:gd name="T30" fmla="*/ 3 w 78"/>
                <a:gd name="T31" fmla="*/ 4 h 9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78" h="96">
                  <a:moveTo>
                    <a:pt x="36" y="96"/>
                  </a:moveTo>
                  <a:lnTo>
                    <a:pt x="24" y="90"/>
                  </a:lnTo>
                  <a:lnTo>
                    <a:pt x="36" y="66"/>
                  </a:lnTo>
                  <a:lnTo>
                    <a:pt x="36" y="54"/>
                  </a:lnTo>
                  <a:lnTo>
                    <a:pt x="0" y="54"/>
                  </a:lnTo>
                  <a:lnTo>
                    <a:pt x="12" y="30"/>
                  </a:lnTo>
                  <a:lnTo>
                    <a:pt x="36" y="30"/>
                  </a:lnTo>
                  <a:lnTo>
                    <a:pt x="48" y="24"/>
                  </a:lnTo>
                  <a:lnTo>
                    <a:pt x="78" y="0"/>
                  </a:lnTo>
                  <a:lnTo>
                    <a:pt x="66" y="24"/>
                  </a:lnTo>
                  <a:lnTo>
                    <a:pt x="66" y="42"/>
                  </a:lnTo>
                  <a:lnTo>
                    <a:pt x="60" y="42"/>
                  </a:lnTo>
                  <a:lnTo>
                    <a:pt x="60" y="54"/>
                  </a:lnTo>
                  <a:lnTo>
                    <a:pt x="60" y="66"/>
                  </a:lnTo>
                  <a:lnTo>
                    <a:pt x="48" y="96"/>
                  </a:lnTo>
                  <a:lnTo>
                    <a:pt x="36" y="9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0" name="Freeform 47">
              <a:extLst>
                <a:ext uri="{FF2B5EF4-FFF2-40B4-BE49-F238E27FC236}">
                  <a16:creationId xmlns:a16="http://schemas.microsoft.com/office/drawing/2014/main" id="{F8B12335-58A4-48A4-8527-52C247B1D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4" y="3493"/>
              <a:ext cx="291" cy="116"/>
            </a:xfrm>
            <a:custGeom>
              <a:avLst/>
              <a:gdLst>
                <a:gd name="T0" fmla="*/ 4 w 330"/>
                <a:gd name="T1" fmla="*/ 4 h 132"/>
                <a:gd name="T2" fmla="*/ 4 w 330"/>
                <a:gd name="T3" fmla="*/ 4 h 132"/>
                <a:gd name="T4" fmla="*/ 4 w 330"/>
                <a:gd name="T5" fmla="*/ 4 h 132"/>
                <a:gd name="T6" fmla="*/ 4 w 330"/>
                <a:gd name="T7" fmla="*/ 4 h 132"/>
                <a:gd name="T8" fmla="*/ 4 w 330"/>
                <a:gd name="T9" fmla="*/ 4 h 132"/>
                <a:gd name="T10" fmla="*/ 4 w 330"/>
                <a:gd name="T11" fmla="*/ 4 h 132"/>
                <a:gd name="T12" fmla="*/ 4 w 330"/>
                <a:gd name="T13" fmla="*/ 4 h 132"/>
                <a:gd name="T14" fmla="*/ 4 w 330"/>
                <a:gd name="T15" fmla="*/ 4 h 132"/>
                <a:gd name="T16" fmla="*/ 4 w 330"/>
                <a:gd name="T17" fmla="*/ 4 h 132"/>
                <a:gd name="T18" fmla="*/ 4 w 330"/>
                <a:gd name="T19" fmla="*/ 4 h 132"/>
                <a:gd name="T20" fmla="*/ 4 w 330"/>
                <a:gd name="T21" fmla="*/ 4 h 132"/>
                <a:gd name="T22" fmla="*/ 4 w 330"/>
                <a:gd name="T23" fmla="*/ 4 h 132"/>
                <a:gd name="T24" fmla="*/ 4 w 330"/>
                <a:gd name="T25" fmla="*/ 4 h 132"/>
                <a:gd name="T26" fmla="*/ 4 w 330"/>
                <a:gd name="T27" fmla="*/ 4 h 132"/>
                <a:gd name="T28" fmla="*/ 4 w 330"/>
                <a:gd name="T29" fmla="*/ 4 h 132"/>
                <a:gd name="T30" fmla="*/ 4 w 330"/>
                <a:gd name="T31" fmla="*/ 4 h 132"/>
                <a:gd name="T32" fmla="*/ 4 w 330"/>
                <a:gd name="T33" fmla="*/ 4 h 132"/>
                <a:gd name="T34" fmla="*/ 4 w 330"/>
                <a:gd name="T35" fmla="*/ 4 h 132"/>
                <a:gd name="T36" fmla="*/ 4 w 330"/>
                <a:gd name="T37" fmla="*/ 4 h 132"/>
                <a:gd name="T38" fmla="*/ 4 w 330"/>
                <a:gd name="T39" fmla="*/ 4 h 132"/>
                <a:gd name="T40" fmla="*/ 4 w 330"/>
                <a:gd name="T41" fmla="*/ 4 h 132"/>
                <a:gd name="T42" fmla="*/ 4 w 330"/>
                <a:gd name="T43" fmla="*/ 4 h 132"/>
                <a:gd name="T44" fmla="*/ 4 w 330"/>
                <a:gd name="T45" fmla="*/ 4 h 132"/>
                <a:gd name="T46" fmla="*/ 4 w 330"/>
                <a:gd name="T47" fmla="*/ 4 h 132"/>
                <a:gd name="T48" fmla="*/ 4 w 330"/>
                <a:gd name="T49" fmla="*/ 4 h 132"/>
                <a:gd name="T50" fmla="*/ 4 w 330"/>
                <a:gd name="T51" fmla="*/ 4 h 132"/>
                <a:gd name="T52" fmla="*/ 4 w 330"/>
                <a:gd name="T53" fmla="*/ 4 h 132"/>
                <a:gd name="T54" fmla="*/ 4 w 330"/>
                <a:gd name="T55" fmla="*/ 4 h 132"/>
                <a:gd name="T56" fmla="*/ 4 w 330"/>
                <a:gd name="T57" fmla="*/ 4 h 132"/>
                <a:gd name="T58" fmla="*/ 4 w 330"/>
                <a:gd name="T59" fmla="*/ 4 h 132"/>
                <a:gd name="T60" fmla="*/ 4 w 330"/>
                <a:gd name="T61" fmla="*/ 4 h 132"/>
                <a:gd name="T62" fmla="*/ 4 w 330"/>
                <a:gd name="T63" fmla="*/ 4 h 132"/>
                <a:gd name="T64" fmla="*/ 4 w 330"/>
                <a:gd name="T65" fmla="*/ 4 h 132"/>
                <a:gd name="T66" fmla="*/ 4 w 330"/>
                <a:gd name="T67" fmla="*/ 0 h 132"/>
                <a:gd name="T68" fmla="*/ 4 w 330"/>
                <a:gd name="T69" fmla="*/ 0 h 132"/>
                <a:gd name="T70" fmla="*/ 4 w 330"/>
                <a:gd name="T71" fmla="*/ 4 h 132"/>
                <a:gd name="T72" fmla="*/ 4 w 330"/>
                <a:gd name="T73" fmla="*/ 4 h 132"/>
                <a:gd name="T74" fmla="*/ 4 w 330"/>
                <a:gd name="T75" fmla="*/ 4 h 132"/>
                <a:gd name="T76" fmla="*/ 4 w 330"/>
                <a:gd name="T77" fmla="*/ 4 h 132"/>
                <a:gd name="T78" fmla="*/ 0 w 330"/>
                <a:gd name="T79" fmla="*/ 4 h 132"/>
                <a:gd name="T80" fmla="*/ 4 w 330"/>
                <a:gd name="T81" fmla="*/ 4 h 132"/>
                <a:gd name="T82" fmla="*/ 4 w 330"/>
                <a:gd name="T83" fmla="*/ 4 h 132"/>
                <a:gd name="T84" fmla="*/ 0 w 330"/>
                <a:gd name="T85" fmla="*/ 4 h 132"/>
                <a:gd name="T86" fmla="*/ 4 w 330"/>
                <a:gd name="T87" fmla="*/ 4 h 132"/>
                <a:gd name="T88" fmla="*/ 4 w 330"/>
                <a:gd name="T89" fmla="*/ 4 h 132"/>
                <a:gd name="T90" fmla="*/ 4 w 330"/>
                <a:gd name="T91" fmla="*/ 4 h 13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30" h="132">
                  <a:moveTo>
                    <a:pt x="24" y="120"/>
                  </a:moveTo>
                  <a:lnTo>
                    <a:pt x="24" y="108"/>
                  </a:lnTo>
                  <a:lnTo>
                    <a:pt x="24" y="96"/>
                  </a:lnTo>
                  <a:lnTo>
                    <a:pt x="24" y="72"/>
                  </a:lnTo>
                  <a:lnTo>
                    <a:pt x="36" y="72"/>
                  </a:lnTo>
                  <a:lnTo>
                    <a:pt x="48" y="42"/>
                  </a:lnTo>
                  <a:lnTo>
                    <a:pt x="60" y="30"/>
                  </a:lnTo>
                  <a:lnTo>
                    <a:pt x="66" y="42"/>
                  </a:lnTo>
                  <a:lnTo>
                    <a:pt x="78" y="30"/>
                  </a:lnTo>
                  <a:lnTo>
                    <a:pt x="102" y="30"/>
                  </a:lnTo>
                  <a:lnTo>
                    <a:pt x="126" y="30"/>
                  </a:lnTo>
                  <a:lnTo>
                    <a:pt x="132" y="42"/>
                  </a:lnTo>
                  <a:lnTo>
                    <a:pt x="156" y="42"/>
                  </a:lnTo>
                  <a:lnTo>
                    <a:pt x="180" y="54"/>
                  </a:lnTo>
                  <a:lnTo>
                    <a:pt x="198" y="60"/>
                  </a:lnTo>
                  <a:lnTo>
                    <a:pt x="222" y="72"/>
                  </a:lnTo>
                  <a:lnTo>
                    <a:pt x="234" y="84"/>
                  </a:lnTo>
                  <a:lnTo>
                    <a:pt x="258" y="96"/>
                  </a:lnTo>
                  <a:lnTo>
                    <a:pt x="276" y="96"/>
                  </a:lnTo>
                  <a:lnTo>
                    <a:pt x="312" y="108"/>
                  </a:lnTo>
                  <a:lnTo>
                    <a:pt x="318" y="108"/>
                  </a:lnTo>
                  <a:lnTo>
                    <a:pt x="330" y="96"/>
                  </a:lnTo>
                  <a:lnTo>
                    <a:pt x="312" y="84"/>
                  </a:lnTo>
                  <a:lnTo>
                    <a:pt x="300" y="96"/>
                  </a:lnTo>
                  <a:lnTo>
                    <a:pt x="276" y="84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34" y="60"/>
                  </a:lnTo>
                  <a:lnTo>
                    <a:pt x="210" y="54"/>
                  </a:lnTo>
                  <a:lnTo>
                    <a:pt x="198" y="42"/>
                  </a:lnTo>
                  <a:lnTo>
                    <a:pt x="180" y="30"/>
                  </a:lnTo>
                  <a:lnTo>
                    <a:pt x="156" y="18"/>
                  </a:lnTo>
                  <a:lnTo>
                    <a:pt x="144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60" y="6"/>
                  </a:lnTo>
                  <a:lnTo>
                    <a:pt x="48" y="18"/>
                  </a:lnTo>
                  <a:lnTo>
                    <a:pt x="36" y="18"/>
                  </a:lnTo>
                  <a:lnTo>
                    <a:pt x="24" y="18"/>
                  </a:lnTo>
                  <a:lnTo>
                    <a:pt x="0" y="30"/>
                  </a:lnTo>
                  <a:lnTo>
                    <a:pt x="12" y="54"/>
                  </a:lnTo>
                  <a:lnTo>
                    <a:pt x="12" y="72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24" y="132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 cmpd="sng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1" name="Freeform 636">
              <a:extLst>
                <a:ext uri="{FF2B5EF4-FFF2-40B4-BE49-F238E27FC236}">
                  <a16:creationId xmlns:a16="http://schemas.microsoft.com/office/drawing/2014/main" id="{F1D438F2-AFA1-4002-8CF2-0F9580F19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" y="3150"/>
              <a:ext cx="264" cy="185"/>
            </a:xfrm>
            <a:custGeom>
              <a:avLst/>
              <a:gdLst>
                <a:gd name="T0" fmla="*/ 4 w 300"/>
                <a:gd name="T1" fmla="*/ 4 h 210"/>
                <a:gd name="T2" fmla="*/ 4 w 300"/>
                <a:gd name="T3" fmla="*/ 4 h 210"/>
                <a:gd name="T4" fmla="*/ 4 w 300"/>
                <a:gd name="T5" fmla="*/ 4 h 210"/>
                <a:gd name="T6" fmla="*/ 0 w 300"/>
                <a:gd name="T7" fmla="*/ 4 h 210"/>
                <a:gd name="T8" fmla="*/ 0 w 300"/>
                <a:gd name="T9" fmla="*/ 4 h 210"/>
                <a:gd name="T10" fmla="*/ 4 w 300"/>
                <a:gd name="T11" fmla="*/ 4 h 210"/>
                <a:gd name="T12" fmla="*/ 4 w 300"/>
                <a:gd name="T13" fmla="*/ 4 h 210"/>
                <a:gd name="T14" fmla="*/ 4 w 300"/>
                <a:gd name="T15" fmla="*/ 4 h 210"/>
                <a:gd name="T16" fmla="*/ 4 w 300"/>
                <a:gd name="T17" fmla="*/ 4 h 210"/>
                <a:gd name="T18" fmla="*/ 4 w 300"/>
                <a:gd name="T19" fmla="*/ 4 h 210"/>
                <a:gd name="T20" fmla="*/ 4 w 300"/>
                <a:gd name="T21" fmla="*/ 4 h 210"/>
                <a:gd name="T22" fmla="*/ 4 w 300"/>
                <a:gd name="T23" fmla="*/ 4 h 210"/>
                <a:gd name="T24" fmla="*/ 4 w 300"/>
                <a:gd name="T25" fmla="*/ 0 h 210"/>
                <a:gd name="T26" fmla="*/ 4 w 300"/>
                <a:gd name="T27" fmla="*/ 0 h 210"/>
                <a:gd name="T28" fmla="*/ 4 w 300"/>
                <a:gd name="T29" fmla="*/ 0 h 210"/>
                <a:gd name="T30" fmla="*/ 4 w 300"/>
                <a:gd name="T31" fmla="*/ 4 h 210"/>
                <a:gd name="T32" fmla="*/ 4 w 300"/>
                <a:gd name="T33" fmla="*/ 4 h 210"/>
                <a:gd name="T34" fmla="*/ 4 w 300"/>
                <a:gd name="T35" fmla="*/ 4 h 210"/>
                <a:gd name="T36" fmla="*/ 4 w 300"/>
                <a:gd name="T37" fmla="*/ 0 h 210"/>
                <a:gd name="T38" fmla="*/ 4 w 300"/>
                <a:gd name="T39" fmla="*/ 4 h 210"/>
                <a:gd name="T40" fmla="*/ 4 w 300"/>
                <a:gd name="T41" fmla="*/ 0 h 210"/>
                <a:gd name="T42" fmla="*/ 4 w 300"/>
                <a:gd name="T43" fmla="*/ 0 h 210"/>
                <a:gd name="T44" fmla="*/ 4 w 300"/>
                <a:gd name="T45" fmla="*/ 0 h 210"/>
                <a:gd name="T46" fmla="*/ 4 w 300"/>
                <a:gd name="T47" fmla="*/ 4 h 210"/>
                <a:gd name="T48" fmla="*/ 4 w 300"/>
                <a:gd name="T49" fmla="*/ 4 h 210"/>
                <a:gd name="T50" fmla="*/ 4 w 300"/>
                <a:gd name="T51" fmla="*/ 4 h 210"/>
                <a:gd name="T52" fmla="*/ 4 w 300"/>
                <a:gd name="T53" fmla="*/ 4 h 210"/>
                <a:gd name="T54" fmla="*/ 4 w 300"/>
                <a:gd name="T55" fmla="*/ 4 h 210"/>
                <a:gd name="T56" fmla="*/ 4 w 300"/>
                <a:gd name="T57" fmla="*/ 4 h 210"/>
                <a:gd name="T58" fmla="*/ 4 w 300"/>
                <a:gd name="T59" fmla="*/ 4 h 210"/>
                <a:gd name="T60" fmla="*/ 4 w 300"/>
                <a:gd name="T61" fmla="*/ 4 h 210"/>
                <a:gd name="T62" fmla="*/ 4 w 300"/>
                <a:gd name="T63" fmla="*/ 4 h 210"/>
                <a:gd name="T64" fmla="*/ 4 w 300"/>
                <a:gd name="T65" fmla="*/ 4 h 210"/>
                <a:gd name="T66" fmla="*/ 4 w 300"/>
                <a:gd name="T67" fmla="*/ 4 h 210"/>
                <a:gd name="T68" fmla="*/ 4 w 300"/>
                <a:gd name="T69" fmla="*/ 4 h 210"/>
                <a:gd name="T70" fmla="*/ 4 w 300"/>
                <a:gd name="T71" fmla="*/ 4 h 210"/>
                <a:gd name="T72" fmla="*/ 4 w 300"/>
                <a:gd name="T73" fmla="*/ 4 h 210"/>
                <a:gd name="T74" fmla="*/ 4 w 300"/>
                <a:gd name="T75" fmla="*/ 4 h 210"/>
                <a:gd name="T76" fmla="*/ 4 w 300"/>
                <a:gd name="T77" fmla="*/ 4 h 210"/>
                <a:gd name="T78" fmla="*/ 4 w 300"/>
                <a:gd name="T79" fmla="*/ 4 h 210"/>
                <a:gd name="T80" fmla="*/ 4 w 300"/>
                <a:gd name="T81" fmla="*/ 4 h 210"/>
                <a:gd name="T82" fmla="*/ 4 w 300"/>
                <a:gd name="T83" fmla="*/ 4 h 210"/>
                <a:gd name="T84" fmla="*/ 4 w 300"/>
                <a:gd name="T85" fmla="*/ 4 h 210"/>
                <a:gd name="T86" fmla="*/ 4 w 300"/>
                <a:gd name="T87" fmla="*/ 4 h 210"/>
                <a:gd name="T88" fmla="*/ 4 w 300"/>
                <a:gd name="T89" fmla="*/ 4 h 210"/>
                <a:gd name="T90" fmla="*/ 4 w 300"/>
                <a:gd name="T91" fmla="*/ 4 h 210"/>
                <a:gd name="T92" fmla="*/ 4 w 300"/>
                <a:gd name="T93" fmla="*/ 4 h 210"/>
                <a:gd name="T94" fmla="*/ 4 w 300"/>
                <a:gd name="T95" fmla="*/ 4 h 210"/>
                <a:gd name="T96" fmla="*/ 4 w 300"/>
                <a:gd name="T97" fmla="*/ 4 h 210"/>
                <a:gd name="T98" fmla="*/ 4 w 300"/>
                <a:gd name="T99" fmla="*/ 4 h 21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00" h="210">
                  <a:moveTo>
                    <a:pt x="36" y="156"/>
                  </a:moveTo>
                  <a:lnTo>
                    <a:pt x="24" y="14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0" y="102"/>
                  </a:lnTo>
                  <a:lnTo>
                    <a:pt x="24" y="90"/>
                  </a:lnTo>
                  <a:lnTo>
                    <a:pt x="24" y="78"/>
                  </a:lnTo>
                  <a:lnTo>
                    <a:pt x="24" y="66"/>
                  </a:lnTo>
                  <a:lnTo>
                    <a:pt x="42" y="60"/>
                  </a:lnTo>
                  <a:lnTo>
                    <a:pt x="42" y="36"/>
                  </a:lnTo>
                  <a:lnTo>
                    <a:pt x="66" y="24"/>
                  </a:lnTo>
                  <a:lnTo>
                    <a:pt x="90" y="24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132" y="0"/>
                  </a:lnTo>
                  <a:lnTo>
                    <a:pt x="144" y="24"/>
                  </a:lnTo>
                  <a:lnTo>
                    <a:pt x="156" y="24"/>
                  </a:lnTo>
                  <a:lnTo>
                    <a:pt x="168" y="12"/>
                  </a:lnTo>
                  <a:lnTo>
                    <a:pt x="180" y="0"/>
                  </a:lnTo>
                  <a:lnTo>
                    <a:pt x="198" y="12"/>
                  </a:lnTo>
                  <a:lnTo>
                    <a:pt x="210" y="0"/>
                  </a:lnTo>
                  <a:lnTo>
                    <a:pt x="222" y="0"/>
                  </a:lnTo>
                  <a:lnTo>
                    <a:pt x="234" y="0"/>
                  </a:lnTo>
                  <a:lnTo>
                    <a:pt x="252" y="12"/>
                  </a:lnTo>
                  <a:lnTo>
                    <a:pt x="240" y="36"/>
                  </a:lnTo>
                  <a:lnTo>
                    <a:pt x="252" y="36"/>
                  </a:lnTo>
                  <a:lnTo>
                    <a:pt x="264" y="36"/>
                  </a:lnTo>
                  <a:lnTo>
                    <a:pt x="288" y="24"/>
                  </a:lnTo>
                  <a:lnTo>
                    <a:pt x="300" y="36"/>
                  </a:lnTo>
                  <a:lnTo>
                    <a:pt x="300" y="48"/>
                  </a:lnTo>
                  <a:lnTo>
                    <a:pt x="222" y="78"/>
                  </a:lnTo>
                  <a:lnTo>
                    <a:pt x="222" y="120"/>
                  </a:lnTo>
                  <a:lnTo>
                    <a:pt x="234" y="120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0" y="156"/>
                  </a:lnTo>
                  <a:lnTo>
                    <a:pt x="198" y="168"/>
                  </a:lnTo>
                  <a:lnTo>
                    <a:pt x="180" y="156"/>
                  </a:lnTo>
                  <a:lnTo>
                    <a:pt x="168" y="156"/>
                  </a:lnTo>
                  <a:lnTo>
                    <a:pt x="156" y="180"/>
                  </a:lnTo>
                  <a:lnTo>
                    <a:pt x="144" y="168"/>
                  </a:lnTo>
                  <a:lnTo>
                    <a:pt x="132" y="192"/>
                  </a:lnTo>
                  <a:lnTo>
                    <a:pt x="120" y="210"/>
                  </a:lnTo>
                  <a:lnTo>
                    <a:pt x="102" y="198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42" y="180"/>
                  </a:lnTo>
                  <a:lnTo>
                    <a:pt x="42" y="156"/>
                  </a:lnTo>
                  <a:lnTo>
                    <a:pt x="42" y="144"/>
                  </a:lnTo>
                  <a:lnTo>
                    <a:pt x="36" y="156"/>
                  </a:lnTo>
                </a:path>
              </a:pathLst>
            </a:custGeom>
            <a:solidFill>
              <a:srgbClr val="FFFFFF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2" name="Freeform 637">
              <a:extLst>
                <a:ext uri="{FF2B5EF4-FFF2-40B4-BE49-F238E27FC236}">
                  <a16:creationId xmlns:a16="http://schemas.microsoft.com/office/drawing/2014/main" id="{7001333A-1A5D-40D5-9F5E-E43FB3771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" y="1112"/>
              <a:ext cx="79" cy="74"/>
            </a:xfrm>
            <a:custGeom>
              <a:avLst/>
              <a:gdLst>
                <a:gd name="T0" fmla="*/ 0 w 90"/>
                <a:gd name="T1" fmla="*/ 4 h 84"/>
                <a:gd name="T2" fmla="*/ 4 w 90"/>
                <a:gd name="T3" fmla="*/ 4 h 84"/>
                <a:gd name="T4" fmla="*/ 4 w 90"/>
                <a:gd name="T5" fmla="*/ 4 h 84"/>
                <a:gd name="T6" fmla="*/ 4 w 90"/>
                <a:gd name="T7" fmla="*/ 4 h 84"/>
                <a:gd name="T8" fmla="*/ 4 w 90"/>
                <a:gd name="T9" fmla="*/ 4 h 84"/>
                <a:gd name="T10" fmla="*/ 4 w 90"/>
                <a:gd name="T11" fmla="*/ 4 h 84"/>
                <a:gd name="T12" fmla="*/ 4 w 90"/>
                <a:gd name="T13" fmla="*/ 4 h 84"/>
                <a:gd name="T14" fmla="*/ 4 w 90"/>
                <a:gd name="T15" fmla="*/ 4 h 84"/>
                <a:gd name="T16" fmla="*/ 4 w 90"/>
                <a:gd name="T17" fmla="*/ 4 h 84"/>
                <a:gd name="T18" fmla="*/ 4 w 90"/>
                <a:gd name="T19" fmla="*/ 4 h 84"/>
                <a:gd name="T20" fmla="*/ 4 w 90"/>
                <a:gd name="T21" fmla="*/ 4 h 84"/>
                <a:gd name="T22" fmla="*/ 4 w 90"/>
                <a:gd name="T23" fmla="*/ 4 h 84"/>
                <a:gd name="T24" fmla="*/ 4 w 90"/>
                <a:gd name="T25" fmla="*/ 4 h 84"/>
                <a:gd name="T26" fmla="*/ 4 w 90"/>
                <a:gd name="T27" fmla="*/ 4 h 84"/>
                <a:gd name="T28" fmla="*/ 4 w 90"/>
                <a:gd name="T29" fmla="*/ 4 h 84"/>
                <a:gd name="T30" fmla="*/ 4 w 90"/>
                <a:gd name="T31" fmla="*/ 4 h 84"/>
                <a:gd name="T32" fmla="*/ 4 w 90"/>
                <a:gd name="T33" fmla="*/ 4 h 84"/>
                <a:gd name="T34" fmla="*/ 4 w 90"/>
                <a:gd name="T35" fmla="*/ 4 h 84"/>
                <a:gd name="T36" fmla="*/ 4 w 90"/>
                <a:gd name="T37" fmla="*/ 0 h 84"/>
                <a:gd name="T38" fmla="*/ 0 w 90"/>
                <a:gd name="T39" fmla="*/ 0 h 84"/>
                <a:gd name="T40" fmla="*/ 0 w 90"/>
                <a:gd name="T41" fmla="*/ 4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0" h="84">
                  <a:moveTo>
                    <a:pt x="0" y="6"/>
                  </a:moveTo>
                  <a:lnTo>
                    <a:pt x="12" y="12"/>
                  </a:lnTo>
                  <a:lnTo>
                    <a:pt x="24" y="24"/>
                  </a:lnTo>
                  <a:lnTo>
                    <a:pt x="24" y="42"/>
                  </a:lnTo>
                  <a:lnTo>
                    <a:pt x="36" y="48"/>
                  </a:lnTo>
                  <a:lnTo>
                    <a:pt x="36" y="72"/>
                  </a:lnTo>
                  <a:lnTo>
                    <a:pt x="42" y="84"/>
                  </a:lnTo>
                  <a:lnTo>
                    <a:pt x="66" y="84"/>
                  </a:lnTo>
                  <a:lnTo>
                    <a:pt x="78" y="72"/>
                  </a:lnTo>
                  <a:lnTo>
                    <a:pt x="78" y="84"/>
                  </a:lnTo>
                  <a:lnTo>
                    <a:pt x="90" y="72"/>
                  </a:lnTo>
                  <a:lnTo>
                    <a:pt x="90" y="66"/>
                  </a:lnTo>
                  <a:lnTo>
                    <a:pt x="66" y="54"/>
                  </a:lnTo>
                  <a:lnTo>
                    <a:pt x="54" y="42"/>
                  </a:lnTo>
                  <a:lnTo>
                    <a:pt x="42" y="42"/>
                  </a:lnTo>
                  <a:lnTo>
                    <a:pt x="42" y="30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3" name="Freeform 638">
              <a:extLst>
                <a:ext uri="{FF2B5EF4-FFF2-40B4-BE49-F238E27FC236}">
                  <a16:creationId xmlns:a16="http://schemas.microsoft.com/office/drawing/2014/main" id="{53708C2F-1DA2-4540-97A3-F13AB62A9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2" y="3498"/>
              <a:ext cx="217" cy="301"/>
            </a:xfrm>
            <a:custGeom>
              <a:avLst/>
              <a:gdLst>
                <a:gd name="T0" fmla="*/ 4 w 246"/>
                <a:gd name="T1" fmla="*/ 4 h 342"/>
                <a:gd name="T2" fmla="*/ 4 w 246"/>
                <a:gd name="T3" fmla="*/ 4 h 342"/>
                <a:gd name="T4" fmla="*/ 4 w 246"/>
                <a:gd name="T5" fmla="*/ 4 h 342"/>
                <a:gd name="T6" fmla="*/ 4 w 246"/>
                <a:gd name="T7" fmla="*/ 4 h 342"/>
                <a:gd name="T8" fmla="*/ 4 w 246"/>
                <a:gd name="T9" fmla="*/ 4 h 342"/>
                <a:gd name="T10" fmla="*/ 4 w 246"/>
                <a:gd name="T11" fmla="*/ 4 h 342"/>
                <a:gd name="T12" fmla="*/ 4 w 246"/>
                <a:gd name="T13" fmla="*/ 4 h 342"/>
                <a:gd name="T14" fmla="*/ 4 w 246"/>
                <a:gd name="T15" fmla="*/ 4 h 342"/>
                <a:gd name="T16" fmla="*/ 4 w 246"/>
                <a:gd name="T17" fmla="*/ 4 h 342"/>
                <a:gd name="T18" fmla="*/ 4 w 246"/>
                <a:gd name="T19" fmla="*/ 0 h 342"/>
                <a:gd name="T20" fmla="*/ 4 w 246"/>
                <a:gd name="T21" fmla="*/ 4 h 342"/>
                <a:gd name="T22" fmla="*/ 4 w 246"/>
                <a:gd name="T23" fmla="*/ 4 h 342"/>
                <a:gd name="T24" fmla="*/ 4 w 246"/>
                <a:gd name="T25" fmla="*/ 4 h 342"/>
                <a:gd name="T26" fmla="*/ 4 w 246"/>
                <a:gd name="T27" fmla="*/ 4 h 342"/>
                <a:gd name="T28" fmla="*/ 4 w 246"/>
                <a:gd name="T29" fmla="*/ 4 h 342"/>
                <a:gd name="T30" fmla="*/ 4 w 246"/>
                <a:gd name="T31" fmla="*/ 4 h 342"/>
                <a:gd name="T32" fmla="*/ 4 w 246"/>
                <a:gd name="T33" fmla="*/ 4 h 342"/>
                <a:gd name="T34" fmla="*/ 4 w 246"/>
                <a:gd name="T35" fmla="*/ 4 h 342"/>
                <a:gd name="T36" fmla="*/ 4 w 246"/>
                <a:gd name="T37" fmla="*/ 4 h 342"/>
                <a:gd name="T38" fmla="*/ 4 w 246"/>
                <a:gd name="T39" fmla="*/ 4 h 342"/>
                <a:gd name="T40" fmla="*/ 4 w 246"/>
                <a:gd name="T41" fmla="*/ 4 h 342"/>
                <a:gd name="T42" fmla="*/ 4 w 246"/>
                <a:gd name="T43" fmla="*/ 4 h 342"/>
                <a:gd name="T44" fmla="*/ 4 w 246"/>
                <a:gd name="T45" fmla="*/ 4 h 342"/>
                <a:gd name="T46" fmla="*/ 4 w 246"/>
                <a:gd name="T47" fmla="*/ 4 h 342"/>
                <a:gd name="T48" fmla="*/ 4 w 246"/>
                <a:gd name="T49" fmla="*/ 4 h 342"/>
                <a:gd name="T50" fmla="*/ 4 w 246"/>
                <a:gd name="T51" fmla="*/ 4 h 342"/>
                <a:gd name="T52" fmla="*/ 4 w 246"/>
                <a:gd name="T53" fmla="*/ 4 h 342"/>
                <a:gd name="T54" fmla="*/ 4 w 246"/>
                <a:gd name="T55" fmla="*/ 4 h 342"/>
                <a:gd name="T56" fmla="*/ 4 w 246"/>
                <a:gd name="T57" fmla="*/ 4 h 342"/>
                <a:gd name="T58" fmla="*/ 4 w 246"/>
                <a:gd name="T59" fmla="*/ 4 h 342"/>
                <a:gd name="T60" fmla="*/ 4 w 246"/>
                <a:gd name="T61" fmla="*/ 4 h 342"/>
                <a:gd name="T62" fmla="*/ 4 w 246"/>
                <a:gd name="T63" fmla="*/ 4 h 342"/>
                <a:gd name="T64" fmla="*/ 4 w 246"/>
                <a:gd name="T65" fmla="*/ 4 h 342"/>
                <a:gd name="T66" fmla="*/ 0 w 246"/>
                <a:gd name="T67" fmla="*/ 4 h 342"/>
                <a:gd name="T68" fmla="*/ 4 w 246"/>
                <a:gd name="T69" fmla="*/ 4 h 342"/>
                <a:gd name="T70" fmla="*/ 4 w 246"/>
                <a:gd name="T71" fmla="*/ 4 h 342"/>
                <a:gd name="T72" fmla="*/ 4 w 246"/>
                <a:gd name="T73" fmla="*/ 4 h 342"/>
                <a:gd name="T74" fmla="*/ 4 w 246"/>
                <a:gd name="T75" fmla="*/ 4 h 342"/>
                <a:gd name="T76" fmla="*/ 4 w 246"/>
                <a:gd name="T77" fmla="*/ 4 h 342"/>
                <a:gd name="T78" fmla="*/ 4 w 246"/>
                <a:gd name="T79" fmla="*/ 4 h 342"/>
                <a:gd name="T80" fmla="*/ 4 w 246"/>
                <a:gd name="T81" fmla="*/ 4 h 342"/>
                <a:gd name="T82" fmla="*/ 4 w 246"/>
                <a:gd name="T83" fmla="*/ 4 h 34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46" h="342">
                  <a:moveTo>
                    <a:pt x="12" y="24"/>
                  </a:moveTo>
                  <a:lnTo>
                    <a:pt x="24" y="24"/>
                  </a:lnTo>
                  <a:lnTo>
                    <a:pt x="72" y="24"/>
                  </a:lnTo>
                  <a:lnTo>
                    <a:pt x="96" y="48"/>
                  </a:lnTo>
                  <a:lnTo>
                    <a:pt x="96" y="60"/>
                  </a:lnTo>
                  <a:lnTo>
                    <a:pt x="120" y="72"/>
                  </a:lnTo>
                  <a:lnTo>
                    <a:pt x="150" y="60"/>
                  </a:lnTo>
                  <a:lnTo>
                    <a:pt x="186" y="60"/>
                  </a:lnTo>
                  <a:lnTo>
                    <a:pt x="186" y="36"/>
                  </a:lnTo>
                  <a:lnTo>
                    <a:pt x="222" y="0"/>
                  </a:lnTo>
                  <a:lnTo>
                    <a:pt x="234" y="36"/>
                  </a:lnTo>
                  <a:lnTo>
                    <a:pt x="234" y="48"/>
                  </a:lnTo>
                  <a:lnTo>
                    <a:pt x="246" y="48"/>
                  </a:lnTo>
                  <a:lnTo>
                    <a:pt x="234" y="60"/>
                  </a:lnTo>
                  <a:lnTo>
                    <a:pt x="234" y="84"/>
                  </a:lnTo>
                  <a:lnTo>
                    <a:pt x="222" y="96"/>
                  </a:lnTo>
                  <a:lnTo>
                    <a:pt x="186" y="168"/>
                  </a:lnTo>
                  <a:lnTo>
                    <a:pt x="186" y="192"/>
                  </a:lnTo>
                  <a:lnTo>
                    <a:pt x="198" y="222"/>
                  </a:lnTo>
                  <a:lnTo>
                    <a:pt x="162" y="234"/>
                  </a:lnTo>
                  <a:lnTo>
                    <a:pt x="120" y="234"/>
                  </a:lnTo>
                  <a:lnTo>
                    <a:pt x="90" y="210"/>
                  </a:lnTo>
                  <a:lnTo>
                    <a:pt x="60" y="222"/>
                  </a:lnTo>
                  <a:lnTo>
                    <a:pt x="48" y="258"/>
                  </a:lnTo>
                  <a:lnTo>
                    <a:pt x="60" y="294"/>
                  </a:lnTo>
                  <a:lnTo>
                    <a:pt x="72" y="306"/>
                  </a:lnTo>
                  <a:lnTo>
                    <a:pt x="72" y="330"/>
                  </a:lnTo>
                  <a:lnTo>
                    <a:pt x="36" y="318"/>
                  </a:lnTo>
                  <a:lnTo>
                    <a:pt x="24" y="342"/>
                  </a:lnTo>
                  <a:lnTo>
                    <a:pt x="12" y="330"/>
                  </a:lnTo>
                  <a:lnTo>
                    <a:pt x="24" y="318"/>
                  </a:lnTo>
                  <a:lnTo>
                    <a:pt x="24" y="306"/>
                  </a:lnTo>
                  <a:lnTo>
                    <a:pt x="12" y="258"/>
                  </a:lnTo>
                  <a:lnTo>
                    <a:pt x="0" y="222"/>
                  </a:lnTo>
                  <a:lnTo>
                    <a:pt x="12" y="210"/>
                  </a:lnTo>
                  <a:lnTo>
                    <a:pt x="24" y="180"/>
                  </a:lnTo>
                  <a:lnTo>
                    <a:pt x="48" y="156"/>
                  </a:lnTo>
                  <a:lnTo>
                    <a:pt x="48" y="132"/>
                  </a:lnTo>
                  <a:lnTo>
                    <a:pt x="48" y="120"/>
                  </a:lnTo>
                  <a:lnTo>
                    <a:pt x="24" y="96"/>
                  </a:lnTo>
                  <a:lnTo>
                    <a:pt x="12" y="48"/>
                  </a:lnTo>
                  <a:lnTo>
                    <a:pt x="12" y="24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4" name="Freeform 639">
              <a:extLst>
                <a:ext uri="{FF2B5EF4-FFF2-40B4-BE49-F238E27FC236}">
                  <a16:creationId xmlns:a16="http://schemas.microsoft.com/office/drawing/2014/main" id="{B7191D8A-7A4D-4713-A57B-0F06B5520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2" y="3799"/>
              <a:ext cx="196" cy="375"/>
            </a:xfrm>
            <a:custGeom>
              <a:avLst/>
              <a:gdLst>
                <a:gd name="T0" fmla="*/ 4 w 222"/>
                <a:gd name="T1" fmla="*/ 4 h 426"/>
                <a:gd name="T2" fmla="*/ 4 w 222"/>
                <a:gd name="T3" fmla="*/ 4 h 426"/>
                <a:gd name="T4" fmla="*/ 4 w 222"/>
                <a:gd name="T5" fmla="*/ 4 h 426"/>
                <a:gd name="T6" fmla="*/ 4 w 222"/>
                <a:gd name="T7" fmla="*/ 4 h 426"/>
                <a:gd name="T8" fmla="*/ 4 w 222"/>
                <a:gd name="T9" fmla="*/ 4 h 426"/>
                <a:gd name="T10" fmla="*/ 4 w 222"/>
                <a:gd name="T11" fmla="*/ 4 h 426"/>
                <a:gd name="T12" fmla="*/ 4 w 222"/>
                <a:gd name="T13" fmla="*/ 4 h 426"/>
                <a:gd name="T14" fmla="*/ 4 w 222"/>
                <a:gd name="T15" fmla="*/ 4 h 426"/>
                <a:gd name="T16" fmla="*/ 4 w 222"/>
                <a:gd name="T17" fmla="*/ 4 h 426"/>
                <a:gd name="T18" fmla="*/ 4 w 222"/>
                <a:gd name="T19" fmla="*/ 4 h 426"/>
                <a:gd name="T20" fmla="*/ 4 w 222"/>
                <a:gd name="T21" fmla="*/ 4 h 426"/>
                <a:gd name="T22" fmla="*/ 4 w 222"/>
                <a:gd name="T23" fmla="*/ 5 h 426"/>
                <a:gd name="T24" fmla="*/ 4 w 222"/>
                <a:gd name="T25" fmla="*/ 5 h 426"/>
                <a:gd name="T26" fmla="*/ 0 w 222"/>
                <a:gd name="T27" fmla="*/ 6 h 426"/>
                <a:gd name="T28" fmla="*/ 4 w 222"/>
                <a:gd name="T29" fmla="*/ 6 h 426"/>
                <a:gd name="T30" fmla="*/ 4 w 222"/>
                <a:gd name="T31" fmla="*/ 5 h 426"/>
                <a:gd name="T32" fmla="*/ 4 w 222"/>
                <a:gd name="T33" fmla="*/ 4 h 426"/>
                <a:gd name="T34" fmla="*/ 4 w 222"/>
                <a:gd name="T35" fmla="*/ 4 h 426"/>
                <a:gd name="T36" fmla="*/ 4 w 222"/>
                <a:gd name="T37" fmla="*/ 4 h 426"/>
                <a:gd name="T38" fmla="*/ 4 w 222"/>
                <a:gd name="T39" fmla="*/ 4 h 426"/>
                <a:gd name="T40" fmla="*/ 4 w 222"/>
                <a:gd name="T41" fmla="*/ 4 h 426"/>
                <a:gd name="T42" fmla="*/ 4 w 222"/>
                <a:gd name="T43" fmla="*/ 4 h 426"/>
                <a:gd name="T44" fmla="*/ 4 w 222"/>
                <a:gd name="T45" fmla="*/ 4 h 426"/>
                <a:gd name="T46" fmla="*/ 4 w 222"/>
                <a:gd name="T47" fmla="*/ 4 h 426"/>
                <a:gd name="T48" fmla="*/ 4 w 222"/>
                <a:gd name="T49" fmla="*/ 4 h 426"/>
                <a:gd name="T50" fmla="*/ 4 w 222"/>
                <a:gd name="T51" fmla="*/ 4 h 426"/>
                <a:gd name="T52" fmla="*/ 4 w 222"/>
                <a:gd name="T53" fmla="*/ 4 h 426"/>
                <a:gd name="T54" fmla="*/ 4 w 222"/>
                <a:gd name="T55" fmla="*/ 4 h 426"/>
                <a:gd name="T56" fmla="*/ 4 w 222"/>
                <a:gd name="T57" fmla="*/ 4 h 426"/>
                <a:gd name="T58" fmla="*/ 4 w 222"/>
                <a:gd name="T59" fmla="*/ 0 h 426"/>
                <a:gd name="T60" fmla="*/ 4 w 222"/>
                <a:gd name="T61" fmla="*/ 4 h 426"/>
                <a:gd name="T62" fmla="*/ 4 w 222"/>
                <a:gd name="T63" fmla="*/ 4 h 426"/>
                <a:gd name="T64" fmla="*/ 4 w 222"/>
                <a:gd name="T65" fmla="*/ 4 h 426"/>
                <a:gd name="T66" fmla="*/ 4 w 222"/>
                <a:gd name="T67" fmla="*/ 4 h 42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2" h="426">
                  <a:moveTo>
                    <a:pt x="60" y="60"/>
                  </a:moveTo>
                  <a:lnTo>
                    <a:pt x="48" y="96"/>
                  </a:lnTo>
                  <a:lnTo>
                    <a:pt x="60" y="108"/>
                  </a:lnTo>
                  <a:lnTo>
                    <a:pt x="60" y="156"/>
                  </a:lnTo>
                  <a:lnTo>
                    <a:pt x="36" y="180"/>
                  </a:lnTo>
                  <a:lnTo>
                    <a:pt x="72" y="204"/>
                  </a:lnTo>
                  <a:lnTo>
                    <a:pt x="90" y="228"/>
                  </a:lnTo>
                  <a:lnTo>
                    <a:pt x="72" y="270"/>
                  </a:lnTo>
                  <a:lnTo>
                    <a:pt x="48" y="294"/>
                  </a:lnTo>
                  <a:lnTo>
                    <a:pt x="60" y="330"/>
                  </a:lnTo>
                  <a:lnTo>
                    <a:pt x="48" y="342"/>
                  </a:lnTo>
                  <a:lnTo>
                    <a:pt x="36" y="378"/>
                  </a:lnTo>
                  <a:lnTo>
                    <a:pt x="36" y="390"/>
                  </a:lnTo>
                  <a:lnTo>
                    <a:pt x="0" y="426"/>
                  </a:lnTo>
                  <a:lnTo>
                    <a:pt x="186" y="426"/>
                  </a:lnTo>
                  <a:lnTo>
                    <a:pt x="210" y="378"/>
                  </a:lnTo>
                  <a:lnTo>
                    <a:pt x="210" y="354"/>
                  </a:lnTo>
                  <a:lnTo>
                    <a:pt x="198" y="342"/>
                  </a:lnTo>
                  <a:lnTo>
                    <a:pt x="210" y="318"/>
                  </a:lnTo>
                  <a:lnTo>
                    <a:pt x="210" y="282"/>
                  </a:lnTo>
                  <a:lnTo>
                    <a:pt x="222" y="216"/>
                  </a:lnTo>
                  <a:lnTo>
                    <a:pt x="222" y="192"/>
                  </a:lnTo>
                  <a:lnTo>
                    <a:pt x="210" y="156"/>
                  </a:lnTo>
                  <a:lnTo>
                    <a:pt x="198" y="144"/>
                  </a:lnTo>
                  <a:lnTo>
                    <a:pt x="198" y="108"/>
                  </a:lnTo>
                  <a:lnTo>
                    <a:pt x="174" y="84"/>
                  </a:lnTo>
                  <a:lnTo>
                    <a:pt x="174" y="60"/>
                  </a:lnTo>
                  <a:lnTo>
                    <a:pt x="132" y="36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96" y="24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60" y="60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5" name="Freeform 640">
              <a:extLst>
                <a:ext uri="{FF2B5EF4-FFF2-40B4-BE49-F238E27FC236}">
                  <a16:creationId xmlns:a16="http://schemas.microsoft.com/office/drawing/2014/main" id="{D0950FBE-74A0-4E65-957F-D07A871EED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" y="1772"/>
              <a:ext cx="536" cy="698"/>
            </a:xfrm>
            <a:custGeom>
              <a:avLst/>
              <a:gdLst>
                <a:gd name="T0" fmla="*/ 1214 w 518"/>
                <a:gd name="T1" fmla="*/ 201 h 698"/>
                <a:gd name="T2" fmla="*/ 1114 w 518"/>
                <a:gd name="T3" fmla="*/ 132 h 698"/>
                <a:gd name="T4" fmla="*/ 1082 w 518"/>
                <a:gd name="T5" fmla="*/ 74 h 698"/>
                <a:gd name="T6" fmla="*/ 993 w 518"/>
                <a:gd name="T7" fmla="*/ 5 h 698"/>
                <a:gd name="T8" fmla="*/ 777 w 518"/>
                <a:gd name="T9" fmla="*/ 26 h 698"/>
                <a:gd name="T10" fmla="*/ 591 w 518"/>
                <a:gd name="T11" fmla="*/ 21 h 698"/>
                <a:gd name="T12" fmla="*/ 367 w 518"/>
                <a:gd name="T13" fmla="*/ 21 h 698"/>
                <a:gd name="T14" fmla="*/ 184 w 518"/>
                <a:gd name="T15" fmla="*/ 37 h 698"/>
                <a:gd name="T16" fmla="*/ 184 w 518"/>
                <a:gd name="T17" fmla="*/ 116 h 698"/>
                <a:gd name="T18" fmla="*/ 405 w 518"/>
                <a:gd name="T19" fmla="*/ 190 h 698"/>
                <a:gd name="T20" fmla="*/ 301 w 518"/>
                <a:gd name="T21" fmla="*/ 248 h 698"/>
                <a:gd name="T22" fmla="*/ 167 w 518"/>
                <a:gd name="T23" fmla="*/ 306 h 698"/>
                <a:gd name="T24" fmla="*/ 0 w 518"/>
                <a:gd name="T25" fmla="*/ 364 h 698"/>
                <a:gd name="T26" fmla="*/ 219 w 518"/>
                <a:gd name="T27" fmla="*/ 406 h 698"/>
                <a:gd name="T28" fmla="*/ 405 w 518"/>
                <a:gd name="T29" fmla="*/ 406 h 698"/>
                <a:gd name="T30" fmla="*/ 554 w 518"/>
                <a:gd name="T31" fmla="*/ 471 h 698"/>
                <a:gd name="T32" fmla="*/ 741 w 518"/>
                <a:gd name="T33" fmla="*/ 480 h 698"/>
                <a:gd name="T34" fmla="*/ 881 w 518"/>
                <a:gd name="T35" fmla="*/ 512 h 698"/>
                <a:gd name="T36" fmla="*/ 881 w 518"/>
                <a:gd name="T37" fmla="*/ 528 h 698"/>
                <a:gd name="T38" fmla="*/ 657 w 518"/>
                <a:gd name="T39" fmla="*/ 501 h 698"/>
                <a:gd name="T40" fmla="*/ 469 w 518"/>
                <a:gd name="T41" fmla="*/ 464 h 698"/>
                <a:gd name="T42" fmla="*/ 436 w 518"/>
                <a:gd name="T43" fmla="*/ 475 h 698"/>
                <a:gd name="T44" fmla="*/ 502 w 518"/>
                <a:gd name="T45" fmla="*/ 528 h 698"/>
                <a:gd name="T46" fmla="*/ 287 w 518"/>
                <a:gd name="T47" fmla="*/ 522 h 698"/>
                <a:gd name="T48" fmla="*/ 184 w 518"/>
                <a:gd name="T49" fmla="*/ 570 h 698"/>
                <a:gd name="T50" fmla="*/ 319 w 518"/>
                <a:gd name="T51" fmla="*/ 617 h 698"/>
                <a:gd name="T52" fmla="*/ 537 w 518"/>
                <a:gd name="T53" fmla="*/ 649 h 698"/>
                <a:gd name="T54" fmla="*/ 537 w 518"/>
                <a:gd name="T55" fmla="*/ 586 h 698"/>
                <a:gd name="T56" fmla="*/ 537 w 518"/>
                <a:gd name="T57" fmla="*/ 528 h 698"/>
                <a:gd name="T58" fmla="*/ 625 w 518"/>
                <a:gd name="T59" fmla="*/ 570 h 698"/>
                <a:gd name="T60" fmla="*/ 809 w 518"/>
                <a:gd name="T61" fmla="*/ 586 h 698"/>
                <a:gd name="T62" fmla="*/ 959 w 518"/>
                <a:gd name="T63" fmla="*/ 639 h 698"/>
                <a:gd name="T64" fmla="*/ 1137 w 518"/>
                <a:gd name="T65" fmla="*/ 657 h 698"/>
                <a:gd name="T66" fmla="*/ 1306 w 518"/>
                <a:gd name="T67" fmla="*/ 668 h 698"/>
                <a:gd name="T68" fmla="*/ 1530 w 518"/>
                <a:gd name="T69" fmla="*/ 665 h 698"/>
                <a:gd name="T70" fmla="*/ 1597 w 518"/>
                <a:gd name="T71" fmla="*/ 596 h 698"/>
                <a:gd name="T72" fmla="*/ 1561 w 518"/>
                <a:gd name="T73" fmla="*/ 528 h 698"/>
                <a:gd name="T74" fmla="*/ 1515 w 518"/>
                <a:gd name="T75" fmla="*/ 501 h 698"/>
                <a:gd name="T76" fmla="*/ 1475 w 518"/>
                <a:gd name="T77" fmla="*/ 464 h 698"/>
                <a:gd name="T78" fmla="*/ 1503 w 518"/>
                <a:gd name="T79" fmla="*/ 435 h 698"/>
                <a:gd name="T80" fmla="*/ 1487 w 518"/>
                <a:gd name="T81" fmla="*/ 406 h 698"/>
                <a:gd name="T82" fmla="*/ 1592 w 518"/>
                <a:gd name="T83" fmla="*/ 372 h 698"/>
                <a:gd name="T84" fmla="*/ 1652 w 518"/>
                <a:gd name="T85" fmla="*/ 347 h 698"/>
                <a:gd name="T86" fmla="*/ 1549 w 518"/>
                <a:gd name="T87" fmla="*/ 280 h 698"/>
                <a:gd name="T88" fmla="*/ 1539 w 518"/>
                <a:gd name="T89" fmla="*/ 259 h 698"/>
                <a:gd name="T90" fmla="*/ 1284 w 518"/>
                <a:gd name="T91" fmla="*/ 243 h 69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518" h="698">
                  <a:moveTo>
                    <a:pt x="401" y="243"/>
                  </a:moveTo>
                  <a:lnTo>
                    <a:pt x="380" y="201"/>
                  </a:lnTo>
                  <a:lnTo>
                    <a:pt x="380" y="164"/>
                  </a:lnTo>
                  <a:lnTo>
                    <a:pt x="349" y="132"/>
                  </a:lnTo>
                  <a:lnTo>
                    <a:pt x="349" y="106"/>
                  </a:lnTo>
                  <a:lnTo>
                    <a:pt x="338" y="74"/>
                  </a:lnTo>
                  <a:lnTo>
                    <a:pt x="338" y="47"/>
                  </a:lnTo>
                  <a:lnTo>
                    <a:pt x="312" y="5"/>
                  </a:lnTo>
                  <a:lnTo>
                    <a:pt x="264" y="0"/>
                  </a:lnTo>
                  <a:lnTo>
                    <a:pt x="243" y="26"/>
                  </a:lnTo>
                  <a:lnTo>
                    <a:pt x="217" y="26"/>
                  </a:lnTo>
                  <a:lnTo>
                    <a:pt x="185" y="21"/>
                  </a:lnTo>
                  <a:lnTo>
                    <a:pt x="158" y="5"/>
                  </a:lnTo>
                  <a:lnTo>
                    <a:pt x="116" y="21"/>
                  </a:lnTo>
                  <a:lnTo>
                    <a:pt x="79" y="5"/>
                  </a:lnTo>
                  <a:lnTo>
                    <a:pt x="58" y="37"/>
                  </a:lnTo>
                  <a:lnTo>
                    <a:pt x="58" y="74"/>
                  </a:lnTo>
                  <a:lnTo>
                    <a:pt x="58" y="116"/>
                  </a:lnTo>
                  <a:lnTo>
                    <a:pt x="69" y="153"/>
                  </a:lnTo>
                  <a:lnTo>
                    <a:pt x="127" y="190"/>
                  </a:lnTo>
                  <a:lnTo>
                    <a:pt x="106" y="222"/>
                  </a:lnTo>
                  <a:lnTo>
                    <a:pt x="95" y="248"/>
                  </a:lnTo>
                  <a:lnTo>
                    <a:pt x="79" y="280"/>
                  </a:lnTo>
                  <a:lnTo>
                    <a:pt x="53" y="306"/>
                  </a:lnTo>
                  <a:lnTo>
                    <a:pt x="11" y="317"/>
                  </a:lnTo>
                  <a:lnTo>
                    <a:pt x="0" y="364"/>
                  </a:lnTo>
                  <a:lnTo>
                    <a:pt x="42" y="396"/>
                  </a:lnTo>
                  <a:lnTo>
                    <a:pt x="69" y="406"/>
                  </a:lnTo>
                  <a:lnTo>
                    <a:pt x="100" y="406"/>
                  </a:lnTo>
                  <a:lnTo>
                    <a:pt x="127" y="406"/>
                  </a:lnTo>
                  <a:lnTo>
                    <a:pt x="158" y="433"/>
                  </a:lnTo>
                  <a:lnTo>
                    <a:pt x="174" y="471"/>
                  </a:lnTo>
                  <a:lnTo>
                    <a:pt x="206" y="480"/>
                  </a:lnTo>
                  <a:lnTo>
                    <a:pt x="232" y="480"/>
                  </a:lnTo>
                  <a:lnTo>
                    <a:pt x="264" y="480"/>
                  </a:lnTo>
                  <a:lnTo>
                    <a:pt x="275" y="512"/>
                  </a:lnTo>
                  <a:lnTo>
                    <a:pt x="301" y="522"/>
                  </a:lnTo>
                  <a:lnTo>
                    <a:pt x="275" y="528"/>
                  </a:lnTo>
                  <a:lnTo>
                    <a:pt x="243" y="512"/>
                  </a:lnTo>
                  <a:lnTo>
                    <a:pt x="206" y="501"/>
                  </a:lnTo>
                  <a:lnTo>
                    <a:pt x="174" y="480"/>
                  </a:lnTo>
                  <a:lnTo>
                    <a:pt x="148" y="464"/>
                  </a:lnTo>
                  <a:lnTo>
                    <a:pt x="127" y="433"/>
                  </a:lnTo>
                  <a:lnTo>
                    <a:pt x="137" y="475"/>
                  </a:lnTo>
                  <a:lnTo>
                    <a:pt x="137" y="501"/>
                  </a:lnTo>
                  <a:lnTo>
                    <a:pt x="158" y="528"/>
                  </a:lnTo>
                  <a:lnTo>
                    <a:pt x="116" y="522"/>
                  </a:lnTo>
                  <a:lnTo>
                    <a:pt x="90" y="522"/>
                  </a:lnTo>
                  <a:lnTo>
                    <a:pt x="90" y="559"/>
                  </a:lnTo>
                  <a:lnTo>
                    <a:pt x="58" y="570"/>
                  </a:lnTo>
                  <a:lnTo>
                    <a:pt x="69" y="596"/>
                  </a:lnTo>
                  <a:lnTo>
                    <a:pt x="100" y="617"/>
                  </a:lnTo>
                  <a:lnTo>
                    <a:pt x="127" y="628"/>
                  </a:lnTo>
                  <a:lnTo>
                    <a:pt x="169" y="649"/>
                  </a:lnTo>
                  <a:lnTo>
                    <a:pt x="169" y="617"/>
                  </a:lnTo>
                  <a:lnTo>
                    <a:pt x="169" y="586"/>
                  </a:lnTo>
                  <a:lnTo>
                    <a:pt x="158" y="559"/>
                  </a:lnTo>
                  <a:lnTo>
                    <a:pt x="169" y="528"/>
                  </a:lnTo>
                  <a:lnTo>
                    <a:pt x="169" y="559"/>
                  </a:lnTo>
                  <a:lnTo>
                    <a:pt x="195" y="570"/>
                  </a:lnTo>
                  <a:lnTo>
                    <a:pt x="222" y="586"/>
                  </a:lnTo>
                  <a:lnTo>
                    <a:pt x="254" y="586"/>
                  </a:lnTo>
                  <a:lnTo>
                    <a:pt x="275" y="617"/>
                  </a:lnTo>
                  <a:lnTo>
                    <a:pt x="301" y="639"/>
                  </a:lnTo>
                  <a:lnTo>
                    <a:pt x="322" y="665"/>
                  </a:lnTo>
                  <a:lnTo>
                    <a:pt x="357" y="657"/>
                  </a:lnTo>
                  <a:lnTo>
                    <a:pt x="390" y="657"/>
                  </a:lnTo>
                  <a:lnTo>
                    <a:pt x="410" y="668"/>
                  </a:lnTo>
                  <a:lnTo>
                    <a:pt x="422" y="698"/>
                  </a:lnTo>
                  <a:lnTo>
                    <a:pt x="479" y="665"/>
                  </a:lnTo>
                  <a:lnTo>
                    <a:pt x="503" y="629"/>
                  </a:lnTo>
                  <a:lnTo>
                    <a:pt x="501" y="596"/>
                  </a:lnTo>
                  <a:lnTo>
                    <a:pt x="489" y="554"/>
                  </a:lnTo>
                  <a:lnTo>
                    <a:pt x="489" y="528"/>
                  </a:lnTo>
                  <a:lnTo>
                    <a:pt x="482" y="509"/>
                  </a:lnTo>
                  <a:lnTo>
                    <a:pt x="474" y="501"/>
                  </a:lnTo>
                  <a:lnTo>
                    <a:pt x="465" y="489"/>
                  </a:lnTo>
                  <a:lnTo>
                    <a:pt x="460" y="464"/>
                  </a:lnTo>
                  <a:lnTo>
                    <a:pt x="467" y="446"/>
                  </a:lnTo>
                  <a:lnTo>
                    <a:pt x="471" y="435"/>
                  </a:lnTo>
                  <a:lnTo>
                    <a:pt x="475" y="422"/>
                  </a:lnTo>
                  <a:lnTo>
                    <a:pt x="465" y="406"/>
                  </a:lnTo>
                  <a:lnTo>
                    <a:pt x="483" y="387"/>
                  </a:lnTo>
                  <a:lnTo>
                    <a:pt x="498" y="372"/>
                  </a:lnTo>
                  <a:lnTo>
                    <a:pt x="507" y="354"/>
                  </a:lnTo>
                  <a:lnTo>
                    <a:pt x="518" y="347"/>
                  </a:lnTo>
                  <a:lnTo>
                    <a:pt x="512" y="326"/>
                  </a:lnTo>
                  <a:lnTo>
                    <a:pt x="486" y="280"/>
                  </a:lnTo>
                  <a:lnTo>
                    <a:pt x="475" y="259"/>
                  </a:lnTo>
                  <a:lnTo>
                    <a:pt x="481" y="259"/>
                  </a:lnTo>
                  <a:lnTo>
                    <a:pt x="438" y="232"/>
                  </a:lnTo>
                  <a:lnTo>
                    <a:pt x="401" y="243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6" name="Freeform 641">
              <a:extLst>
                <a:ext uri="{FF2B5EF4-FFF2-40B4-BE49-F238E27FC236}">
                  <a16:creationId xmlns:a16="http://schemas.microsoft.com/office/drawing/2014/main" id="{9DD3EDA3-E0EA-4994-B1E6-6D9CEC2A9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" y="1717"/>
              <a:ext cx="404" cy="330"/>
            </a:xfrm>
            <a:custGeom>
              <a:avLst/>
              <a:gdLst>
                <a:gd name="T0" fmla="*/ 613 w 397"/>
                <a:gd name="T1" fmla="*/ 439 h 311"/>
                <a:gd name="T2" fmla="*/ 572 w 397"/>
                <a:gd name="T3" fmla="*/ 299 h 311"/>
                <a:gd name="T4" fmla="*/ 526 w 397"/>
                <a:gd name="T5" fmla="*/ 317 h 311"/>
                <a:gd name="T6" fmla="*/ 508 w 397"/>
                <a:gd name="T7" fmla="*/ 395 h 311"/>
                <a:gd name="T8" fmla="*/ 480 w 397"/>
                <a:gd name="T9" fmla="*/ 317 h 311"/>
                <a:gd name="T10" fmla="*/ 461 w 397"/>
                <a:gd name="T11" fmla="*/ 237 h 311"/>
                <a:gd name="T12" fmla="*/ 429 w 397"/>
                <a:gd name="T13" fmla="*/ 232 h 311"/>
                <a:gd name="T14" fmla="*/ 402 w 397"/>
                <a:gd name="T15" fmla="*/ 237 h 311"/>
                <a:gd name="T16" fmla="*/ 384 w 397"/>
                <a:gd name="T17" fmla="*/ 237 h 311"/>
                <a:gd name="T18" fmla="*/ 356 w 397"/>
                <a:gd name="T19" fmla="*/ 153 h 311"/>
                <a:gd name="T20" fmla="*/ 326 w 397"/>
                <a:gd name="T21" fmla="*/ 121 h 311"/>
                <a:gd name="T22" fmla="*/ 297 w 397"/>
                <a:gd name="T23" fmla="*/ 85 h 311"/>
                <a:gd name="T24" fmla="*/ 279 w 397"/>
                <a:gd name="T25" fmla="*/ 0 h 311"/>
                <a:gd name="T26" fmla="*/ 208 w 397"/>
                <a:gd name="T27" fmla="*/ 85 h 311"/>
                <a:gd name="T28" fmla="*/ 175 w 397"/>
                <a:gd name="T29" fmla="*/ 153 h 311"/>
                <a:gd name="T30" fmla="*/ 157 w 397"/>
                <a:gd name="T31" fmla="*/ 237 h 311"/>
                <a:gd name="T32" fmla="*/ 100 w 397"/>
                <a:gd name="T33" fmla="*/ 237 h 311"/>
                <a:gd name="T34" fmla="*/ 67 w 397"/>
                <a:gd name="T35" fmla="*/ 317 h 311"/>
                <a:gd name="T36" fmla="*/ 0 w 397"/>
                <a:gd name="T37" fmla="*/ 419 h 311"/>
                <a:gd name="T38" fmla="*/ 1 w 397"/>
                <a:gd name="T39" fmla="*/ 395 h 311"/>
                <a:gd name="T40" fmla="*/ 72 w 397"/>
                <a:gd name="T41" fmla="*/ 439 h 311"/>
                <a:gd name="T42" fmla="*/ 132 w 397"/>
                <a:gd name="T43" fmla="*/ 748 h 311"/>
                <a:gd name="T44" fmla="*/ 132 w 397"/>
                <a:gd name="T45" fmla="*/ 953 h 311"/>
                <a:gd name="T46" fmla="*/ 157 w 397"/>
                <a:gd name="T47" fmla="*/ 1199 h 311"/>
                <a:gd name="T48" fmla="*/ 157 w 397"/>
                <a:gd name="T49" fmla="*/ 1387 h 311"/>
                <a:gd name="T50" fmla="*/ 191 w 397"/>
                <a:gd name="T51" fmla="*/ 1547 h 311"/>
                <a:gd name="T52" fmla="*/ 208 w 397"/>
                <a:gd name="T53" fmla="*/ 1627 h 311"/>
                <a:gd name="T54" fmla="*/ 208 w 397"/>
                <a:gd name="T55" fmla="*/ 1830 h 311"/>
                <a:gd name="T56" fmla="*/ 208 w 397"/>
                <a:gd name="T57" fmla="*/ 1915 h 311"/>
                <a:gd name="T58" fmla="*/ 240 w 397"/>
                <a:gd name="T59" fmla="*/ 2187 h 311"/>
                <a:gd name="T60" fmla="*/ 251 w 397"/>
                <a:gd name="T61" fmla="*/ 2226 h 311"/>
                <a:gd name="T62" fmla="*/ 314 w 397"/>
                <a:gd name="T63" fmla="*/ 2156 h 311"/>
                <a:gd name="T64" fmla="*/ 314 w 397"/>
                <a:gd name="T65" fmla="*/ 2156 h 311"/>
                <a:gd name="T66" fmla="*/ 387 w 397"/>
                <a:gd name="T67" fmla="*/ 2335 h 311"/>
                <a:gd name="T68" fmla="*/ 422 w 397"/>
                <a:gd name="T69" fmla="*/ 2229 h 311"/>
                <a:gd name="T70" fmla="*/ 442 w 397"/>
                <a:gd name="T71" fmla="*/ 2156 h 311"/>
                <a:gd name="T72" fmla="*/ 469 w 397"/>
                <a:gd name="T73" fmla="*/ 2043 h 311"/>
                <a:gd name="T74" fmla="*/ 515 w 397"/>
                <a:gd name="T75" fmla="*/ 2188 h 311"/>
                <a:gd name="T76" fmla="*/ 572 w 397"/>
                <a:gd name="T77" fmla="*/ 2062 h 311"/>
                <a:gd name="T78" fmla="*/ 584 w 397"/>
                <a:gd name="T79" fmla="*/ 1824 h 311"/>
                <a:gd name="T80" fmla="*/ 594 w 397"/>
                <a:gd name="T81" fmla="*/ 1708 h 311"/>
                <a:gd name="T82" fmla="*/ 613 w 397"/>
                <a:gd name="T83" fmla="*/ 1627 h 311"/>
                <a:gd name="T84" fmla="*/ 632 w 397"/>
                <a:gd name="T85" fmla="*/ 1472 h 311"/>
                <a:gd name="T86" fmla="*/ 652 w 397"/>
                <a:gd name="T87" fmla="*/ 1387 h 311"/>
                <a:gd name="T88" fmla="*/ 674 w 397"/>
                <a:gd name="T89" fmla="*/ 1387 h 311"/>
                <a:gd name="T90" fmla="*/ 705 w 397"/>
                <a:gd name="T91" fmla="*/ 1382 h 311"/>
                <a:gd name="T92" fmla="*/ 717 w 397"/>
                <a:gd name="T93" fmla="*/ 1199 h 311"/>
                <a:gd name="T94" fmla="*/ 714 w 397"/>
                <a:gd name="T95" fmla="*/ 1063 h 311"/>
                <a:gd name="T96" fmla="*/ 699 w 397"/>
                <a:gd name="T97" fmla="*/ 953 h 311"/>
                <a:gd name="T98" fmla="*/ 681 w 397"/>
                <a:gd name="T99" fmla="*/ 794 h 311"/>
                <a:gd name="T100" fmla="*/ 674 w 397"/>
                <a:gd name="T101" fmla="*/ 748 h 311"/>
                <a:gd name="T102" fmla="*/ 674 w 397"/>
                <a:gd name="T103" fmla="*/ 676 h 311"/>
                <a:gd name="T104" fmla="*/ 671 w 397"/>
                <a:gd name="T105" fmla="*/ 501 h 31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397" h="311">
                  <a:moveTo>
                    <a:pt x="339" y="58"/>
                  </a:moveTo>
                  <a:lnTo>
                    <a:pt x="315" y="40"/>
                  </a:lnTo>
                  <a:lnTo>
                    <a:pt x="291" y="42"/>
                  </a:lnTo>
                  <a:lnTo>
                    <a:pt x="281" y="53"/>
                  </a:lnTo>
                  <a:lnTo>
                    <a:pt x="265" y="42"/>
                  </a:lnTo>
                  <a:lnTo>
                    <a:pt x="254" y="32"/>
                  </a:lnTo>
                  <a:lnTo>
                    <a:pt x="238" y="31"/>
                  </a:lnTo>
                  <a:lnTo>
                    <a:pt x="223" y="32"/>
                  </a:lnTo>
                  <a:lnTo>
                    <a:pt x="212" y="32"/>
                  </a:lnTo>
                  <a:lnTo>
                    <a:pt x="196" y="21"/>
                  </a:lnTo>
                  <a:lnTo>
                    <a:pt x="181" y="17"/>
                  </a:lnTo>
                  <a:lnTo>
                    <a:pt x="165" y="11"/>
                  </a:lnTo>
                  <a:lnTo>
                    <a:pt x="154" y="0"/>
                  </a:lnTo>
                  <a:lnTo>
                    <a:pt x="117" y="11"/>
                  </a:lnTo>
                  <a:lnTo>
                    <a:pt x="96" y="21"/>
                  </a:lnTo>
                  <a:lnTo>
                    <a:pt x="85" y="32"/>
                  </a:lnTo>
                  <a:lnTo>
                    <a:pt x="59" y="32"/>
                  </a:lnTo>
                  <a:lnTo>
                    <a:pt x="33" y="42"/>
                  </a:lnTo>
                  <a:lnTo>
                    <a:pt x="0" y="56"/>
                  </a:lnTo>
                  <a:lnTo>
                    <a:pt x="1" y="53"/>
                  </a:lnTo>
                  <a:lnTo>
                    <a:pt x="38" y="58"/>
                  </a:lnTo>
                  <a:lnTo>
                    <a:pt x="75" y="100"/>
                  </a:lnTo>
                  <a:lnTo>
                    <a:pt x="75" y="127"/>
                  </a:lnTo>
                  <a:lnTo>
                    <a:pt x="85" y="159"/>
                  </a:lnTo>
                  <a:lnTo>
                    <a:pt x="85" y="185"/>
                  </a:lnTo>
                  <a:lnTo>
                    <a:pt x="107" y="206"/>
                  </a:lnTo>
                  <a:lnTo>
                    <a:pt x="117" y="217"/>
                  </a:lnTo>
                  <a:lnTo>
                    <a:pt x="117" y="243"/>
                  </a:lnTo>
                  <a:lnTo>
                    <a:pt x="117" y="254"/>
                  </a:lnTo>
                  <a:lnTo>
                    <a:pt x="133" y="291"/>
                  </a:lnTo>
                  <a:lnTo>
                    <a:pt x="138" y="296"/>
                  </a:lnTo>
                  <a:lnTo>
                    <a:pt x="175" y="286"/>
                  </a:lnTo>
                  <a:lnTo>
                    <a:pt x="214" y="311"/>
                  </a:lnTo>
                  <a:lnTo>
                    <a:pt x="234" y="298"/>
                  </a:lnTo>
                  <a:lnTo>
                    <a:pt x="244" y="286"/>
                  </a:lnTo>
                  <a:lnTo>
                    <a:pt x="258" y="272"/>
                  </a:lnTo>
                  <a:lnTo>
                    <a:pt x="285" y="292"/>
                  </a:lnTo>
                  <a:lnTo>
                    <a:pt x="315" y="275"/>
                  </a:lnTo>
                  <a:lnTo>
                    <a:pt x="322" y="242"/>
                  </a:lnTo>
                  <a:lnTo>
                    <a:pt x="328" y="226"/>
                  </a:lnTo>
                  <a:lnTo>
                    <a:pt x="339" y="217"/>
                  </a:lnTo>
                  <a:lnTo>
                    <a:pt x="349" y="196"/>
                  </a:lnTo>
                  <a:lnTo>
                    <a:pt x="360" y="185"/>
                  </a:lnTo>
                  <a:lnTo>
                    <a:pt x="371" y="185"/>
                  </a:lnTo>
                  <a:lnTo>
                    <a:pt x="390" y="184"/>
                  </a:lnTo>
                  <a:lnTo>
                    <a:pt x="397" y="159"/>
                  </a:lnTo>
                  <a:lnTo>
                    <a:pt x="394" y="140"/>
                  </a:lnTo>
                  <a:lnTo>
                    <a:pt x="386" y="127"/>
                  </a:lnTo>
                  <a:lnTo>
                    <a:pt x="376" y="106"/>
                  </a:lnTo>
                  <a:lnTo>
                    <a:pt x="371" y="100"/>
                  </a:lnTo>
                  <a:lnTo>
                    <a:pt x="371" y="90"/>
                  </a:lnTo>
                  <a:lnTo>
                    <a:pt x="370" y="67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7" name="Freeform 642">
              <a:extLst>
                <a:ext uri="{FF2B5EF4-FFF2-40B4-BE49-F238E27FC236}">
                  <a16:creationId xmlns:a16="http://schemas.microsoft.com/office/drawing/2014/main" id="{42A5D27F-0CC4-4B1E-935E-CB045B3AD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" y="1545"/>
              <a:ext cx="174" cy="249"/>
            </a:xfrm>
            <a:custGeom>
              <a:avLst/>
              <a:gdLst>
                <a:gd name="T0" fmla="*/ 174 w 174"/>
                <a:gd name="T1" fmla="*/ 197 h 244"/>
                <a:gd name="T2" fmla="*/ 174 w 174"/>
                <a:gd name="T3" fmla="*/ 209 h 244"/>
                <a:gd name="T4" fmla="*/ 174 w 174"/>
                <a:gd name="T5" fmla="*/ 231 h 244"/>
                <a:gd name="T6" fmla="*/ 174 w 174"/>
                <a:gd name="T7" fmla="*/ 255 h 244"/>
                <a:gd name="T8" fmla="*/ 174 w 174"/>
                <a:gd name="T9" fmla="*/ 271 h 244"/>
                <a:gd name="T10" fmla="*/ 174 w 174"/>
                <a:gd name="T11" fmla="*/ 307 h 244"/>
                <a:gd name="T12" fmla="*/ 174 w 174"/>
                <a:gd name="T13" fmla="*/ 326 h 244"/>
                <a:gd name="T14" fmla="*/ 174 w 174"/>
                <a:gd name="T15" fmla="*/ 386 h 244"/>
                <a:gd name="T16" fmla="*/ 169 w 174"/>
                <a:gd name="T17" fmla="*/ 434 h 244"/>
                <a:gd name="T18" fmla="*/ 157 w 174"/>
                <a:gd name="T19" fmla="*/ 453 h 244"/>
                <a:gd name="T20" fmla="*/ 136 w 174"/>
                <a:gd name="T21" fmla="*/ 470 h 244"/>
                <a:gd name="T22" fmla="*/ 105 w 174"/>
                <a:gd name="T23" fmla="*/ 460 h 244"/>
                <a:gd name="T24" fmla="*/ 100 w 174"/>
                <a:gd name="T25" fmla="*/ 482 h 244"/>
                <a:gd name="T26" fmla="*/ 97 w 174"/>
                <a:gd name="T27" fmla="*/ 485 h 244"/>
                <a:gd name="T28" fmla="*/ 69 w 174"/>
                <a:gd name="T29" fmla="*/ 462 h 244"/>
                <a:gd name="T30" fmla="*/ 42 w 174"/>
                <a:gd name="T31" fmla="*/ 434 h 244"/>
                <a:gd name="T32" fmla="*/ 53 w 174"/>
                <a:gd name="T33" fmla="*/ 368 h 244"/>
                <a:gd name="T34" fmla="*/ 58 w 174"/>
                <a:gd name="T35" fmla="*/ 348 h 244"/>
                <a:gd name="T36" fmla="*/ 58 w 174"/>
                <a:gd name="T37" fmla="*/ 313 h 244"/>
                <a:gd name="T38" fmla="*/ 58 w 174"/>
                <a:gd name="T39" fmla="*/ 294 h 244"/>
                <a:gd name="T40" fmla="*/ 58 w 174"/>
                <a:gd name="T41" fmla="*/ 255 h 244"/>
                <a:gd name="T42" fmla="*/ 53 w 174"/>
                <a:gd name="T43" fmla="*/ 255 h 244"/>
                <a:gd name="T44" fmla="*/ 53 w 174"/>
                <a:gd name="T45" fmla="*/ 209 h 244"/>
                <a:gd name="T46" fmla="*/ 53 w 174"/>
                <a:gd name="T47" fmla="*/ 197 h 244"/>
                <a:gd name="T48" fmla="*/ 53 w 174"/>
                <a:gd name="T49" fmla="*/ 159 h 244"/>
                <a:gd name="T50" fmla="*/ 53 w 174"/>
                <a:gd name="T51" fmla="*/ 137 h 244"/>
                <a:gd name="T52" fmla="*/ 32 w 174"/>
                <a:gd name="T53" fmla="*/ 110 h 244"/>
                <a:gd name="T54" fmla="*/ 32 w 174"/>
                <a:gd name="T55" fmla="*/ 78 h 244"/>
                <a:gd name="T56" fmla="*/ 32 w 174"/>
                <a:gd name="T57" fmla="*/ 66 h 244"/>
                <a:gd name="T58" fmla="*/ 21 w 174"/>
                <a:gd name="T59" fmla="*/ 66 h 244"/>
                <a:gd name="T60" fmla="*/ 0 w 174"/>
                <a:gd name="T61" fmla="*/ 21 h 244"/>
                <a:gd name="T62" fmla="*/ 32 w 174"/>
                <a:gd name="T63" fmla="*/ 0 h 244"/>
                <a:gd name="T64" fmla="*/ 58 w 174"/>
                <a:gd name="T65" fmla="*/ 0 h 244"/>
                <a:gd name="T66" fmla="*/ 79 w 174"/>
                <a:gd name="T67" fmla="*/ 0 h 244"/>
                <a:gd name="T68" fmla="*/ 100 w 174"/>
                <a:gd name="T69" fmla="*/ 0 h 244"/>
                <a:gd name="T70" fmla="*/ 116 w 174"/>
                <a:gd name="T71" fmla="*/ 11 h 244"/>
                <a:gd name="T72" fmla="*/ 116 w 174"/>
                <a:gd name="T73" fmla="*/ 21 h 244"/>
                <a:gd name="T74" fmla="*/ 105 w 174"/>
                <a:gd name="T75" fmla="*/ 66 h 244"/>
                <a:gd name="T76" fmla="*/ 105 w 174"/>
                <a:gd name="T77" fmla="*/ 78 h 244"/>
                <a:gd name="T78" fmla="*/ 100 w 174"/>
                <a:gd name="T79" fmla="*/ 110 h 244"/>
                <a:gd name="T80" fmla="*/ 100 w 174"/>
                <a:gd name="T81" fmla="*/ 137 h 244"/>
                <a:gd name="T82" fmla="*/ 90 w 174"/>
                <a:gd name="T83" fmla="*/ 159 h 244"/>
                <a:gd name="T84" fmla="*/ 100 w 174"/>
                <a:gd name="T85" fmla="*/ 197 h 244"/>
                <a:gd name="T86" fmla="*/ 105 w 174"/>
                <a:gd name="T87" fmla="*/ 197 h 244"/>
                <a:gd name="T88" fmla="*/ 127 w 174"/>
                <a:gd name="T89" fmla="*/ 177 h 244"/>
                <a:gd name="T90" fmla="*/ 137 w 174"/>
                <a:gd name="T91" fmla="*/ 159 h 244"/>
                <a:gd name="T92" fmla="*/ 148 w 174"/>
                <a:gd name="T93" fmla="*/ 159 h 244"/>
                <a:gd name="T94" fmla="*/ 158 w 174"/>
                <a:gd name="T95" fmla="*/ 177 h 244"/>
                <a:gd name="T96" fmla="*/ 169 w 174"/>
                <a:gd name="T97" fmla="*/ 197 h 244"/>
                <a:gd name="T98" fmla="*/ 174 w 174"/>
                <a:gd name="T99" fmla="*/ 197 h 24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74" h="244">
                  <a:moveTo>
                    <a:pt x="174" y="100"/>
                  </a:moveTo>
                  <a:lnTo>
                    <a:pt x="174" y="106"/>
                  </a:lnTo>
                  <a:lnTo>
                    <a:pt x="174" y="116"/>
                  </a:lnTo>
                  <a:lnTo>
                    <a:pt x="174" y="127"/>
                  </a:lnTo>
                  <a:lnTo>
                    <a:pt x="174" y="137"/>
                  </a:lnTo>
                  <a:lnTo>
                    <a:pt x="174" y="155"/>
                  </a:lnTo>
                  <a:lnTo>
                    <a:pt x="174" y="164"/>
                  </a:lnTo>
                  <a:lnTo>
                    <a:pt x="174" y="195"/>
                  </a:lnTo>
                  <a:lnTo>
                    <a:pt x="169" y="217"/>
                  </a:lnTo>
                  <a:lnTo>
                    <a:pt x="157" y="227"/>
                  </a:lnTo>
                  <a:lnTo>
                    <a:pt x="136" y="236"/>
                  </a:lnTo>
                  <a:lnTo>
                    <a:pt x="105" y="230"/>
                  </a:lnTo>
                  <a:lnTo>
                    <a:pt x="100" y="243"/>
                  </a:lnTo>
                  <a:lnTo>
                    <a:pt x="97" y="244"/>
                  </a:lnTo>
                  <a:lnTo>
                    <a:pt x="69" y="232"/>
                  </a:lnTo>
                  <a:lnTo>
                    <a:pt x="42" y="217"/>
                  </a:lnTo>
                  <a:lnTo>
                    <a:pt x="53" y="185"/>
                  </a:lnTo>
                  <a:lnTo>
                    <a:pt x="58" y="174"/>
                  </a:lnTo>
                  <a:lnTo>
                    <a:pt x="58" y="158"/>
                  </a:lnTo>
                  <a:lnTo>
                    <a:pt x="58" y="148"/>
                  </a:lnTo>
                  <a:lnTo>
                    <a:pt x="58" y="127"/>
                  </a:lnTo>
                  <a:lnTo>
                    <a:pt x="53" y="127"/>
                  </a:lnTo>
                  <a:lnTo>
                    <a:pt x="53" y="106"/>
                  </a:lnTo>
                  <a:lnTo>
                    <a:pt x="53" y="100"/>
                  </a:lnTo>
                  <a:lnTo>
                    <a:pt x="53" y="79"/>
                  </a:lnTo>
                  <a:lnTo>
                    <a:pt x="53" y="69"/>
                  </a:lnTo>
                  <a:lnTo>
                    <a:pt x="32" y="58"/>
                  </a:lnTo>
                  <a:lnTo>
                    <a:pt x="32" y="42"/>
                  </a:lnTo>
                  <a:lnTo>
                    <a:pt x="32" y="32"/>
                  </a:lnTo>
                  <a:lnTo>
                    <a:pt x="21" y="32"/>
                  </a:lnTo>
                  <a:lnTo>
                    <a:pt x="0" y="21"/>
                  </a:lnTo>
                  <a:lnTo>
                    <a:pt x="32" y="0"/>
                  </a:lnTo>
                  <a:lnTo>
                    <a:pt x="58" y="0"/>
                  </a:lnTo>
                  <a:lnTo>
                    <a:pt x="79" y="0"/>
                  </a:lnTo>
                  <a:lnTo>
                    <a:pt x="100" y="0"/>
                  </a:lnTo>
                  <a:lnTo>
                    <a:pt x="116" y="11"/>
                  </a:lnTo>
                  <a:lnTo>
                    <a:pt x="116" y="21"/>
                  </a:lnTo>
                  <a:lnTo>
                    <a:pt x="105" y="32"/>
                  </a:lnTo>
                  <a:lnTo>
                    <a:pt x="105" y="42"/>
                  </a:lnTo>
                  <a:lnTo>
                    <a:pt x="100" y="58"/>
                  </a:lnTo>
                  <a:lnTo>
                    <a:pt x="100" y="69"/>
                  </a:lnTo>
                  <a:lnTo>
                    <a:pt x="90" y="79"/>
                  </a:lnTo>
                  <a:lnTo>
                    <a:pt x="100" y="100"/>
                  </a:lnTo>
                  <a:lnTo>
                    <a:pt x="105" y="100"/>
                  </a:lnTo>
                  <a:lnTo>
                    <a:pt x="127" y="90"/>
                  </a:lnTo>
                  <a:lnTo>
                    <a:pt x="137" y="79"/>
                  </a:lnTo>
                  <a:lnTo>
                    <a:pt x="148" y="79"/>
                  </a:lnTo>
                  <a:lnTo>
                    <a:pt x="158" y="90"/>
                  </a:lnTo>
                  <a:lnTo>
                    <a:pt x="169" y="100"/>
                  </a:lnTo>
                  <a:lnTo>
                    <a:pt x="174" y="100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8" name="Freeform 643">
              <a:extLst>
                <a:ext uri="{FF2B5EF4-FFF2-40B4-BE49-F238E27FC236}">
                  <a16:creationId xmlns:a16="http://schemas.microsoft.com/office/drawing/2014/main" id="{E2250B1A-3B93-4A3E-875D-DEF525DEA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" y="1566"/>
              <a:ext cx="143" cy="181"/>
            </a:xfrm>
            <a:custGeom>
              <a:avLst/>
              <a:gdLst>
                <a:gd name="T0" fmla="*/ 2 w 143"/>
                <a:gd name="T1" fmla="*/ 549 h 175"/>
                <a:gd name="T2" fmla="*/ 0 w 143"/>
                <a:gd name="T3" fmla="*/ 462 h 175"/>
                <a:gd name="T4" fmla="*/ 6 w 143"/>
                <a:gd name="T5" fmla="*/ 247 h 175"/>
                <a:gd name="T6" fmla="*/ 6 w 143"/>
                <a:gd name="T7" fmla="*/ 247 h 175"/>
                <a:gd name="T8" fmla="*/ 27 w 143"/>
                <a:gd name="T9" fmla="*/ 280 h 175"/>
                <a:gd name="T10" fmla="*/ 37 w 143"/>
                <a:gd name="T11" fmla="*/ 247 h 175"/>
                <a:gd name="T12" fmla="*/ 37 w 143"/>
                <a:gd name="T13" fmla="*/ 180 h 175"/>
                <a:gd name="T14" fmla="*/ 16 w 143"/>
                <a:gd name="T15" fmla="*/ 152 h 175"/>
                <a:gd name="T16" fmla="*/ 16 w 143"/>
                <a:gd name="T17" fmla="*/ 132 h 175"/>
                <a:gd name="T18" fmla="*/ 27 w 143"/>
                <a:gd name="T19" fmla="*/ 66 h 175"/>
                <a:gd name="T20" fmla="*/ 37 w 143"/>
                <a:gd name="T21" fmla="*/ 66 h 175"/>
                <a:gd name="T22" fmla="*/ 48 w 143"/>
                <a:gd name="T23" fmla="*/ 11 h 175"/>
                <a:gd name="T24" fmla="*/ 48 w 143"/>
                <a:gd name="T25" fmla="*/ 0 h 175"/>
                <a:gd name="T26" fmla="*/ 58 w 143"/>
                <a:gd name="T27" fmla="*/ 0 h 175"/>
                <a:gd name="T28" fmla="*/ 64 w 143"/>
                <a:gd name="T29" fmla="*/ 0 h 175"/>
                <a:gd name="T30" fmla="*/ 85 w 143"/>
                <a:gd name="T31" fmla="*/ 11 h 175"/>
                <a:gd name="T32" fmla="*/ 95 w 143"/>
                <a:gd name="T33" fmla="*/ 11 h 175"/>
                <a:gd name="T34" fmla="*/ 95 w 143"/>
                <a:gd name="T35" fmla="*/ 66 h 175"/>
                <a:gd name="T36" fmla="*/ 117 w 143"/>
                <a:gd name="T37" fmla="*/ 132 h 175"/>
                <a:gd name="T38" fmla="*/ 106 w 143"/>
                <a:gd name="T39" fmla="*/ 180 h 175"/>
                <a:gd name="T40" fmla="*/ 122 w 143"/>
                <a:gd name="T41" fmla="*/ 180 h 175"/>
                <a:gd name="T42" fmla="*/ 122 w 143"/>
                <a:gd name="T43" fmla="*/ 216 h 175"/>
                <a:gd name="T44" fmla="*/ 132 w 143"/>
                <a:gd name="T45" fmla="*/ 247 h 175"/>
                <a:gd name="T46" fmla="*/ 132 w 143"/>
                <a:gd name="T47" fmla="*/ 280 h 175"/>
                <a:gd name="T48" fmla="*/ 132 w 143"/>
                <a:gd name="T49" fmla="*/ 299 h 175"/>
                <a:gd name="T50" fmla="*/ 143 w 143"/>
                <a:gd name="T51" fmla="*/ 366 h 175"/>
                <a:gd name="T52" fmla="*/ 143 w 143"/>
                <a:gd name="T53" fmla="*/ 395 h 175"/>
                <a:gd name="T54" fmla="*/ 122 w 143"/>
                <a:gd name="T55" fmla="*/ 395 h 175"/>
                <a:gd name="T56" fmla="*/ 106 w 143"/>
                <a:gd name="T57" fmla="*/ 395 h 175"/>
                <a:gd name="T58" fmla="*/ 72 w 143"/>
                <a:gd name="T59" fmla="*/ 408 h 175"/>
                <a:gd name="T60" fmla="*/ 65 w 143"/>
                <a:gd name="T61" fmla="*/ 479 h 175"/>
                <a:gd name="T62" fmla="*/ 48 w 143"/>
                <a:gd name="T63" fmla="*/ 548 h 175"/>
                <a:gd name="T64" fmla="*/ 27 w 143"/>
                <a:gd name="T65" fmla="*/ 547 h 175"/>
                <a:gd name="T66" fmla="*/ 6 w 143"/>
                <a:gd name="T67" fmla="*/ 548 h 175"/>
                <a:gd name="T68" fmla="*/ 6 w 143"/>
                <a:gd name="T69" fmla="*/ 548 h 17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43" h="175">
                  <a:moveTo>
                    <a:pt x="2" y="175"/>
                  </a:moveTo>
                  <a:lnTo>
                    <a:pt x="0" y="146"/>
                  </a:lnTo>
                  <a:lnTo>
                    <a:pt x="6" y="79"/>
                  </a:lnTo>
                  <a:lnTo>
                    <a:pt x="27" y="90"/>
                  </a:lnTo>
                  <a:lnTo>
                    <a:pt x="37" y="79"/>
                  </a:lnTo>
                  <a:lnTo>
                    <a:pt x="37" y="58"/>
                  </a:lnTo>
                  <a:lnTo>
                    <a:pt x="16" y="48"/>
                  </a:lnTo>
                  <a:lnTo>
                    <a:pt x="16" y="42"/>
                  </a:lnTo>
                  <a:lnTo>
                    <a:pt x="27" y="21"/>
                  </a:lnTo>
                  <a:lnTo>
                    <a:pt x="37" y="21"/>
                  </a:lnTo>
                  <a:lnTo>
                    <a:pt x="48" y="11"/>
                  </a:lnTo>
                  <a:lnTo>
                    <a:pt x="48" y="0"/>
                  </a:lnTo>
                  <a:lnTo>
                    <a:pt x="58" y="0"/>
                  </a:lnTo>
                  <a:lnTo>
                    <a:pt x="64" y="0"/>
                  </a:lnTo>
                  <a:lnTo>
                    <a:pt x="85" y="11"/>
                  </a:lnTo>
                  <a:lnTo>
                    <a:pt x="95" y="11"/>
                  </a:lnTo>
                  <a:lnTo>
                    <a:pt x="95" y="21"/>
                  </a:lnTo>
                  <a:lnTo>
                    <a:pt x="117" y="42"/>
                  </a:lnTo>
                  <a:lnTo>
                    <a:pt x="106" y="58"/>
                  </a:lnTo>
                  <a:lnTo>
                    <a:pt x="122" y="58"/>
                  </a:lnTo>
                  <a:lnTo>
                    <a:pt x="122" y="69"/>
                  </a:lnTo>
                  <a:lnTo>
                    <a:pt x="132" y="79"/>
                  </a:lnTo>
                  <a:lnTo>
                    <a:pt x="132" y="90"/>
                  </a:lnTo>
                  <a:lnTo>
                    <a:pt x="132" y="95"/>
                  </a:lnTo>
                  <a:lnTo>
                    <a:pt x="143" y="116"/>
                  </a:lnTo>
                  <a:lnTo>
                    <a:pt x="143" y="127"/>
                  </a:lnTo>
                  <a:lnTo>
                    <a:pt x="122" y="127"/>
                  </a:lnTo>
                  <a:lnTo>
                    <a:pt x="106" y="127"/>
                  </a:lnTo>
                  <a:lnTo>
                    <a:pt x="72" y="130"/>
                  </a:lnTo>
                  <a:lnTo>
                    <a:pt x="65" y="152"/>
                  </a:lnTo>
                  <a:lnTo>
                    <a:pt x="48" y="174"/>
                  </a:lnTo>
                  <a:lnTo>
                    <a:pt x="27" y="173"/>
                  </a:lnTo>
                  <a:lnTo>
                    <a:pt x="6" y="174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9" name="Freeform 644">
              <a:extLst>
                <a:ext uri="{FF2B5EF4-FFF2-40B4-BE49-F238E27FC236}">
                  <a16:creationId xmlns:a16="http://schemas.microsoft.com/office/drawing/2014/main" id="{A131801C-6F1A-417F-8728-56936D2E8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" y="3657"/>
              <a:ext cx="607" cy="248"/>
            </a:xfrm>
            <a:custGeom>
              <a:avLst/>
              <a:gdLst>
                <a:gd name="T0" fmla="*/ 174 w 607"/>
                <a:gd name="T1" fmla="*/ 21 h 248"/>
                <a:gd name="T2" fmla="*/ 153 w 607"/>
                <a:gd name="T3" fmla="*/ 21 h 248"/>
                <a:gd name="T4" fmla="*/ 127 w 607"/>
                <a:gd name="T5" fmla="*/ 37 h 248"/>
                <a:gd name="T6" fmla="*/ 134 w 607"/>
                <a:gd name="T7" fmla="*/ 44 h 248"/>
                <a:gd name="T8" fmla="*/ 153 w 607"/>
                <a:gd name="T9" fmla="*/ 58 h 248"/>
                <a:gd name="T10" fmla="*/ 174 w 607"/>
                <a:gd name="T11" fmla="*/ 58 h 248"/>
                <a:gd name="T12" fmla="*/ 174 w 607"/>
                <a:gd name="T13" fmla="*/ 74 h 248"/>
                <a:gd name="T14" fmla="*/ 185 w 607"/>
                <a:gd name="T15" fmla="*/ 106 h 248"/>
                <a:gd name="T16" fmla="*/ 201 w 607"/>
                <a:gd name="T17" fmla="*/ 132 h 248"/>
                <a:gd name="T18" fmla="*/ 164 w 607"/>
                <a:gd name="T19" fmla="*/ 142 h 248"/>
                <a:gd name="T20" fmla="*/ 106 w 607"/>
                <a:gd name="T21" fmla="*/ 127 h 248"/>
                <a:gd name="T22" fmla="*/ 84 w 607"/>
                <a:gd name="T23" fmla="*/ 127 h 248"/>
                <a:gd name="T24" fmla="*/ 69 w 607"/>
                <a:gd name="T25" fmla="*/ 127 h 248"/>
                <a:gd name="T26" fmla="*/ 58 w 607"/>
                <a:gd name="T27" fmla="*/ 106 h 248"/>
                <a:gd name="T28" fmla="*/ 26 w 607"/>
                <a:gd name="T29" fmla="*/ 84 h 248"/>
                <a:gd name="T30" fmla="*/ 0 w 607"/>
                <a:gd name="T31" fmla="*/ 116 h 248"/>
                <a:gd name="T32" fmla="*/ 37 w 607"/>
                <a:gd name="T33" fmla="*/ 142 h 248"/>
                <a:gd name="T34" fmla="*/ 69 w 607"/>
                <a:gd name="T35" fmla="*/ 164 h 248"/>
                <a:gd name="T36" fmla="*/ 84 w 607"/>
                <a:gd name="T37" fmla="*/ 174 h 248"/>
                <a:gd name="T38" fmla="*/ 106 w 607"/>
                <a:gd name="T39" fmla="*/ 190 h 248"/>
                <a:gd name="T40" fmla="*/ 143 w 607"/>
                <a:gd name="T41" fmla="*/ 211 h 248"/>
                <a:gd name="T42" fmla="*/ 211 w 607"/>
                <a:gd name="T43" fmla="*/ 237 h 248"/>
                <a:gd name="T44" fmla="*/ 211 w 607"/>
                <a:gd name="T45" fmla="*/ 201 h 248"/>
                <a:gd name="T46" fmla="*/ 248 w 607"/>
                <a:gd name="T47" fmla="*/ 201 h 248"/>
                <a:gd name="T48" fmla="*/ 290 w 607"/>
                <a:gd name="T49" fmla="*/ 211 h 248"/>
                <a:gd name="T50" fmla="*/ 338 w 607"/>
                <a:gd name="T51" fmla="*/ 211 h 248"/>
                <a:gd name="T52" fmla="*/ 396 w 607"/>
                <a:gd name="T53" fmla="*/ 227 h 248"/>
                <a:gd name="T54" fmla="*/ 417 w 607"/>
                <a:gd name="T55" fmla="*/ 211 h 248"/>
                <a:gd name="T56" fmla="*/ 454 w 607"/>
                <a:gd name="T57" fmla="*/ 227 h 248"/>
                <a:gd name="T58" fmla="*/ 486 w 607"/>
                <a:gd name="T59" fmla="*/ 227 h 248"/>
                <a:gd name="T60" fmla="*/ 523 w 607"/>
                <a:gd name="T61" fmla="*/ 198 h 248"/>
                <a:gd name="T62" fmla="*/ 591 w 607"/>
                <a:gd name="T63" fmla="*/ 211 h 248"/>
                <a:gd name="T64" fmla="*/ 602 w 607"/>
                <a:gd name="T65" fmla="*/ 201 h 248"/>
                <a:gd name="T66" fmla="*/ 581 w 607"/>
                <a:gd name="T67" fmla="*/ 174 h 248"/>
                <a:gd name="T68" fmla="*/ 559 w 607"/>
                <a:gd name="T69" fmla="*/ 164 h 248"/>
                <a:gd name="T70" fmla="*/ 538 w 607"/>
                <a:gd name="T71" fmla="*/ 142 h 248"/>
                <a:gd name="T72" fmla="*/ 491 w 607"/>
                <a:gd name="T73" fmla="*/ 127 h 248"/>
                <a:gd name="T74" fmla="*/ 443 w 607"/>
                <a:gd name="T75" fmla="*/ 95 h 248"/>
                <a:gd name="T76" fmla="*/ 375 w 607"/>
                <a:gd name="T77" fmla="*/ 69 h 248"/>
                <a:gd name="T78" fmla="*/ 348 w 607"/>
                <a:gd name="T79" fmla="*/ 26 h 248"/>
                <a:gd name="T80" fmla="*/ 324 w 607"/>
                <a:gd name="T81" fmla="*/ 23 h 248"/>
                <a:gd name="T82" fmla="*/ 280 w 607"/>
                <a:gd name="T83" fmla="*/ 37 h 248"/>
                <a:gd name="T84" fmla="*/ 259 w 607"/>
                <a:gd name="T85" fmla="*/ 26 h 248"/>
                <a:gd name="T86" fmla="*/ 243 w 607"/>
                <a:gd name="T87" fmla="*/ 11 h 248"/>
                <a:gd name="T88" fmla="*/ 211 w 607"/>
                <a:gd name="T89" fmla="*/ 0 h 248"/>
                <a:gd name="T90" fmla="*/ 185 w 607"/>
                <a:gd name="T91" fmla="*/ 0 h 248"/>
                <a:gd name="T92" fmla="*/ 174 w 607"/>
                <a:gd name="T93" fmla="*/ 11 h 24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607" h="248">
                  <a:moveTo>
                    <a:pt x="174" y="11"/>
                  </a:moveTo>
                  <a:lnTo>
                    <a:pt x="174" y="21"/>
                  </a:lnTo>
                  <a:lnTo>
                    <a:pt x="174" y="26"/>
                  </a:lnTo>
                  <a:lnTo>
                    <a:pt x="153" y="21"/>
                  </a:lnTo>
                  <a:lnTo>
                    <a:pt x="127" y="26"/>
                  </a:lnTo>
                  <a:lnTo>
                    <a:pt x="127" y="37"/>
                  </a:lnTo>
                  <a:lnTo>
                    <a:pt x="137" y="47"/>
                  </a:lnTo>
                  <a:lnTo>
                    <a:pt x="134" y="44"/>
                  </a:lnTo>
                  <a:lnTo>
                    <a:pt x="137" y="58"/>
                  </a:lnTo>
                  <a:lnTo>
                    <a:pt x="153" y="58"/>
                  </a:lnTo>
                  <a:lnTo>
                    <a:pt x="164" y="69"/>
                  </a:lnTo>
                  <a:lnTo>
                    <a:pt x="174" y="58"/>
                  </a:lnTo>
                  <a:lnTo>
                    <a:pt x="185" y="69"/>
                  </a:lnTo>
                  <a:lnTo>
                    <a:pt x="174" y="74"/>
                  </a:lnTo>
                  <a:lnTo>
                    <a:pt x="185" y="95"/>
                  </a:lnTo>
                  <a:lnTo>
                    <a:pt x="185" y="106"/>
                  </a:lnTo>
                  <a:lnTo>
                    <a:pt x="201" y="116"/>
                  </a:lnTo>
                  <a:lnTo>
                    <a:pt x="201" y="132"/>
                  </a:lnTo>
                  <a:lnTo>
                    <a:pt x="185" y="132"/>
                  </a:lnTo>
                  <a:lnTo>
                    <a:pt x="164" y="142"/>
                  </a:lnTo>
                  <a:lnTo>
                    <a:pt x="143" y="132"/>
                  </a:lnTo>
                  <a:lnTo>
                    <a:pt x="106" y="127"/>
                  </a:lnTo>
                  <a:lnTo>
                    <a:pt x="95" y="116"/>
                  </a:lnTo>
                  <a:lnTo>
                    <a:pt x="84" y="127"/>
                  </a:lnTo>
                  <a:lnTo>
                    <a:pt x="74" y="127"/>
                  </a:lnTo>
                  <a:lnTo>
                    <a:pt x="69" y="127"/>
                  </a:lnTo>
                  <a:lnTo>
                    <a:pt x="58" y="116"/>
                  </a:lnTo>
                  <a:lnTo>
                    <a:pt x="58" y="106"/>
                  </a:lnTo>
                  <a:lnTo>
                    <a:pt x="48" y="84"/>
                  </a:lnTo>
                  <a:lnTo>
                    <a:pt x="26" y="84"/>
                  </a:lnTo>
                  <a:lnTo>
                    <a:pt x="11" y="95"/>
                  </a:lnTo>
                  <a:lnTo>
                    <a:pt x="0" y="116"/>
                  </a:lnTo>
                  <a:lnTo>
                    <a:pt x="16" y="132"/>
                  </a:lnTo>
                  <a:lnTo>
                    <a:pt x="37" y="142"/>
                  </a:lnTo>
                  <a:lnTo>
                    <a:pt x="48" y="153"/>
                  </a:lnTo>
                  <a:lnTo>
                    <a:pt x="69" y="164"/>
                  </a:lnTo>
                  <a:lnTo>
                    <a:pt x="74" y="164"/>
                  </a:lnTo>
                  <a:lnTo>
                    <a:pt x="84" y="174"/>
                  </a:lnTo>
                  <a:lnTo>
                    <a:pt x="84" y="179"/>
                  </a:lnTo>
                  <a:lnTo>
                    <a:pt x="106" y="190"/>
                  </a:lnTo>
                  <a:lnTo>
                    <a:pt x="127" y="201"/>
                  </a:lnTo>
                  <a:lnTo>
                    <a:pt x="143" y="211"/>
                  </a:lnTo>
                  <a:lnTo>
                    <a:pt x="201" y="232"/>
                  </a:lnTo>
                  <a:lnTo>
                    <a:pt x="211" y="237"/>
                  </a:lnTo>
                  <a:lnTo>
                    <a:pt x="211" y="222"/>
                  </a:lnTo>
                  <a:lnTo>
                    <a:pt x="211" y="201"/>
                  </a:lnTo>
                  <a:lnTo>
                    <a:pt x="232" y="190"/>
                  </a:lnTo>
                  <a:lnTo>
                    <a:pt x="248" y="201"/>
                  </a:lnTo>
                  <a:lnTo>
                    <a:pt x="269" y="211"/>
                  </a:lnTo>
                  <a:lnTo>
                    <a:pt x="290" y="211"/>
                  </a:lnTo>
                  <a:lnTo>
                    <a:pt x="327" y="201"/>
                  </a:lnTo>
                  <a:lnTo>
                    <a:pt x="338" y="211"/>
                  </a:lnTo>
                  <a:lnTo>
                    <a:pt x="359" y="248"/>
                  </a:lnTo>
                  <a:lnTo>
                    <a:pt x="396" y="227"/>
                  </a:lnTo>
                  <a:lnTo>
                    <a:pt x="406" y="222"/>
                  </a:lnTo>
                  <a:lnTo>
                    <a:pt x="417" y="211"/>
                  </a:lnTo>
                  <a:lnTo>
                    <a:pt x="428" y="222"/>
                  </a:lnTo>
                  <a:lnTo>
                    <a:pt x="454" y="227"/>
                  </a:lnTo>
                  <a:lnTo>
                    <a:pt x="475" y="222"/>
                  </a:lnTo>
                  <a:lnTo>
                    <a:pt x="486" y="227"/>
                  </a:lnTo>
                  <a:lnTo>
                    <a:pt x="523" y="211"/>
                  </a:lnTo>
                  <a:lnTo>
                    <a:pt x="523" y="198"/>
                  </a:lnTo>
                  <a:lnTo>
                    <a:pt x="533" y="211"/>
                  </a:lnTo>
                  <a:lnTo>
                    <a:pt x="591" y="211"/>
                  </a:lnTo>
                  <a:lnTo>
                    <a:pt x="607" y="211"/>
                  </a:lnTo>
                  <a:lnTo>
                    <a:pt x="602" y="201"/>
                  </a:lnTo>
                  <a:lnTo>
                    <a:pt x="591" y="179"/>
                  </a:lnTo>
                  <a:lnTo>
                    <a:pt x="581" y="174"/>
                  </a:lnTo>
                  <a:lnTo>
                    <a:pt x="559" y="174"/>
                  </a:lnTo>
                  <a:lnTo>
                    <a:pt x="559" y="164"/>
                  </a:lnTo>
                  <a:lnTo>
                    <a:pt x="559" y="153"/>
                  </a:lnTo>
                  <a:lnTo>
                    <a:pt x="538" y="142"/>
                  </a:lnTo>
                  <a:lnTo>
                    <a:pt x="512" y="127"/>
                  </a:lnTo>
                  <a:lnTo>
                    <a:pt x="491" y="127"/>
                  </a:lnTo>
                  <a:lnTo>
                    <a:pt x="464" y="106"/>
                  </a:lnTo>
                  <a:lnTo>
                    <a:pt x="443" y="95"/>
                  </a:lnTo>
                  <a:lnTo>
                    <a:pt x="406" y="74"/>
                  </a:lnTo>
                  <a:lnTo>
                    <a:pt x="375" y="69"/>
                  </a:lnTo>
                  <a:lnTo>
                    <a:pt x="359" y="47"/>
                  </a:lnTo>
                  <a:lnTo>
                    <a:pt x="348" y="26"/>
                  </a:lnTo>
                  <a:lnTo>
                    <a:pt x="338" y="26"/>
                  </a:lnTo>
                  <a:lnTo>
                    <a:pt x="324" y="23"/>
                  </a:lnTo>
                  <a:lnTo>
                    <a:pt x="306" y="23"/>
                  </a:lnTo>
                  <a:lnTo>
                    <a:pt x="280" y="37"/>
                  </a:lnTo>
                  <a:lnTo>
                    <a:pt x="269" y="37"/>
                  </a:lnTo>
                  <a:lnTo>
                    <a:pt x="259" y="26"/>
                  </a:lnTo>
                  <a:lnTo>
                    <a:pt x="248" y="21"/>
                  </a:lnTo>
                  <a:lnTo>
                    <a:pt x="243" y="11"/>
                  </a:lnTo>
                  <a:lnTo>
                    <a:pt x="222" y="0"/>
                  </a:lnTo>
                  <a:lnTo>
                    <a:pt x="211" y="0"/>
                  </a:lnTo>
                  <a:lnTo>
                    <a:pt x="201" y="0"/>
                  </a:lnTo>
                  <a:lnTo>
                    <a:pt x="185" y="0"/>
                  </a:lnTo>
                  <a:lnTo>
                    <a:pt x="153" y="11"/>
                  </a:lnTo>
                  <a:lnTo>
                    <a:pt x="174" y="11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0" name="Freeform 645">
              <a:extLst>
                <a:ext uri="{FF2B5EF4-FFF2-40B4-BE49-F238E27FC236}">
                  <a16:creationId xmlns:a16="http://schemas.microsoft.com/office/drawing/2014/main" id="{0E0194A9-D96D-4AC8-96B3-934AE6B8A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2" y="3524"/>
              <a:ext cx="1449" cy="644"/>
            </a:xfrm>
            <a:custGeom>
              <a:avLst/>
              <a:gdLst>
                <a:gd name="T0" fmla="*/ 1250 w 1449"/>
                <a:gd name="T1" fmla="*/ 60 h 644"/>
                <a:gd name="T2" fmla="*/ 1240 w 1449"/>
                <a:gd name="T3" fmla="*/ 129 h 644"/>
                <a:gd name="T4" fmla="*/ 1262 w 1449"/>
                <a:gd name="T5" fmla="*/ 167 h 644"/>
                <a:gd name="T6" fmla="*/ 1319 w 1449"/>
                <a:gd name="T7" fmla="*/ 166 h 644"/>
                <a:gd name="T8" fmla="*/ 1351 w 1449"/>
                <a:gd name="T9" fmla="*/ 138 h 644"/>
                <a:gd name="T10" fmla="*/ 1406 w 1449"/>
                <a:gd name="T11" fmla="*/ 158 h 644"/>
                <a:gd name="T12" fmla="*/ 1436 w 1449"/>
                <a:gd name="T13" fmla="*/ 187 h 644"/>
                <a:gd name="T14" fmla="*/ 1416 w 1449"/>
                <a:gd name="T15" fmla="*/ 220 h 644"/>
                <a:gd name="T16" fmla="*/ 1380 w 1449"/>
                <a:gd name="T17" fmla="*/ 221 h 644"/>
                <a:gd name="T18" fmla="*/ 1339 w 1449"/>
                <a:gd name="T19" fmla="*/ 240 h 644"/>
                <a:gd name="T20" fmla="*/ 1298 w 1449"/>
                <a:gd name="T21" fmla="*/ 274 h 644"/>
                <a:gd name="T22" fmla="*/ 1257 w 1449"/>
                <a:gd name="T23" fmla="*/ 339 h 644"/>
                <a:gd name="T24" fmla="*/ 1212 w 1449"/>
                <a:gd name="T25" fmla="*/ 343 h 644"/>
                <a:gd name="T26" fmla="*/ 1178 w 1449"/>
                <a:gd name="T27" fmla="*/ 386 h 644"/>
                <a:gd name="T28" fmla="*/ 1121 w 1449"/>
                <a:gd name="T29" fmla="*/ 393 h 644"/>
                <a:gd name="T30" fmla="*/ 1075 w 1449"/>
                <a:gd name="T31" fmla="*/ 382 h 644"/>
                <a:gd name="T32" fmla="*/ 1053 w 1449"/>
                <a:gd name="T33" fmla="*/ 425 h 644"/>
                <a:gd name="T34" fmla="*/ 1068 w 1449"/>
                <a:gd name="T35" fmla="*/ 455 h 644"/>
                <a:gd name="T36" fmla="*/ 1037 w 1449"/>
                <a:gd name="T37" fmla="*/ 512 h 644"/>
                <a:gd name="T38" fmla="*/ 987 w 1449"/>
                <a:gd name="T39" fmla="*/ 565 h 644"/>
                <a:gd name="T40" fmla="*/ 910 w 1449"/>
                <a:gd name="T41" fmla="*/ 585 h 644"/>
                <a:gd name="T42" fmla="*/ 850 w 1449"/>
                <a:gd name="T43" fmla="*/ 583 h 644"/>
                <a:gd name="T44" fmla="*/ 767 w 1449"/>
                <a:gd name="T45" fmla="*/ 619 h 644"/>
                <a:gd name="T46" fmla="*/ 707 w 1449"/>
                <a:gd name="T47" fmla="*/ 644 h 644"/>
                <a:gd name="T48" fmla="*/ 662 w 1449"/>
                <a:gd name="T49" fmla="*/ 627 h 644"/>
                <a:gd name="T50" fmla="*/ 595 w 1449"/>
                <a:gd name="T51" fmla="*/ 602 h 644"/>
                <a:gd name="T52" fmla="*/ 556 w 1449"/>
                <a:gd name="T53" fmla="*/ 579 h 644"/>
                <a:gd name="T54" fmla="*/ 498 w 1449"/>
                <a:gd name="T55" fmla="*/ 551 h 644"/>
                <a:gd name="T56" fmla="*/ 417 w 1449"/>
                <a:gd name="T57" fmla="*/ 556 h 644"/>
                <a:gd name="T58" fmla="*/ 338 w 1449"/>
                <a:gd name="T59" fmla="*/ 543 h 644"/>
                <a:gd name="T60" fmla="*/ 308 w 1449"/>
                <a:gd name="T61" fmla="*/ 517 h 644"/>
                <a:gd name="T62" fmla="*/ 291 w 1449"/>
                <a:gd name="T63" fmla="*/ 469 h 644"/>
                <a:gd name="T64" fmla="*/ 263 w 1449"/>
                <a:gd name="T65" fmla="*/ 407 h 644"/>
                <a:gd name="T66" fmla="*/ 217 w 1449"/>
                <a:gd name="T67" fmla="*/ 363 h 644"/>
                <a:gd name="T68" fmla="*/ 171 w 1449"/>
                <a:gd name="T69" fmla="*/ 337 h 644"/>
                <a:gd name="T70" fmla="*/ 123 w 1449"/>
                <a:gd name="T71" fmla="*/ 330 h 644"/>
                <a:gd name="T72" fmla="*/ 86 w 1449"/>
                <a:gd name="T73" fmla="*/ 298 h 644"/>
                <a:gd name="T74" fmla="*/ 106 w 1449"/>
                <a:gd name="T75" fmla="*/ 249 h 644"/>
                <a:gd name="T76" fmla="*/ 110 w 1449"/>
                <a:gd name="T77" fmla="*/ 183 h 644"/>
                <a:gd name="T78" fmla="*/ 99 w 1449"/>
                <a:gd name="T79" fmla="*/ 117 h 644"/>
                <a:gd name="T80" fmla="*/ 56 w 1449"/>
                <a:gd name="T81" fmla="*/ 91 h 644"/>
                <a:gd name="T82" fmla="*/ 20 w 1449"/>
                <a:gd name="T83" fmla="*/ 59 h 644"/>
                <a:gd name="T84" fmla="*/ 0 w 1449"/>
                <a:gd name="T85" fmla="*/ 0 h 64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49" h="644">
                  <a:moveTo>
                    <a:pt x="1268" y="14"/>
                  </a:moveTo>
                  <a:lnTo>
                    <a:pt x="1250" y="60"/>
                  </a:lnTo>
                  <a:lnTo>
                    <a:pt x="1245" y="102"/>
                  </a:lnTo>
                  <a:lnTo>
                    <a:pt x="1240" y="129"/>
                  </a:lnTo>
                  <a:lnTo>
                    <a:pt x="1226" y="156"/>
                  </a:lnTo>
                  <a:lnTo>
                    <a:pt x="1262" y="167"/>
                  </a:lnTo>
                  <a:lnTo>
                    <a:pt x="1292" y="158"/>
                  </a:lnTo>
                  <a:lnTo>
                    <a:pt x="1319" y="166"/>
                  </a:lnTo>
                  <a:lnTo>
                    <a:pt x="1336" y="150"/>
                  </a:lnTo>
                  <a:lnTo>
                    <a:pt x="1351" y="138"/>
                  </a:lnTo>
                  <a:lnTo>
                    <a:pt x="1378" y="137"/>
                  </a:lnTo>
                  <a:lnTo>
                    <a:pt x="1406" y="158"/>
                  </a:lnTo>
                  <a:lnTo>
                    <a:pt x="1421" y="172"/>
                  </a:lnTo>
                  <a:lnTo>
                    <a:pt x="1436" y="187"/>
                  </a:lnTo>
                  <a:lnTo>
                    <a:pt x="1449" y="207"/>
                  </a:lnTo>
                  <a:lnTo>
                    <a:pt x="1416" y="220"/>
                  </a:lnTo>
                  <a:lnTo>
                    <a:pt x="1398" y="221"/>
                  </a:lnTo>
                  <a:lnTo>
                    <a:pt x="1380" y="221"/>
                  </a:lnTo>
                  <a:lnTo>
                    <a:pt x="1357" y="243"/>
                  </a:lnTo>
                  <a:lnTo>
                    <a:pt x="1339" y="240"/>
                  </a:lnTo>
                  <a:lnTo>
                    <a:pt x="1315" y="259"/>
                  </a:lnTo>
                  <a:lnTo>
                    <a:pt x="1298" y="274"/>
                  </a:lnTo>
                  <a:lnTo>
                    <a:pt x="1283" y="305"/>
                  </a:lnTo>
                  <a:lnTo>
                    <a:pt x="1257" y="339"/>
                  </a:lnTo>
                  <a:lnTo>
                    <a:pt x="1234" y="345"/>
                  </a:lnTo>
                  <a:lnTo>
                    <a:pt x="1212" y="343"/>
                  </a:lnTo>
                  <a:lnTo>
                    <a:pt x="1192" y="370"/>
                  </a:lnTo>
                  <a:lnTo>
                    <a:pt x="1178" y="386"/>
                  </a:lnTo>
                  <a:lnTo>
                    <a:pt x="1154" y="395"/>
                  </a:lnTo>
                  <a:lnTo>
                    <a:pt x="1121" y="393"/>
                  </a:lnTo>
                  <a:lnTo>
                    <a:pt x="1102" y="382"/>
                  </a:lnTo>
                  <a:lnTo>
                    <a:pt x="1075" y="382"/>
                  </a:lnTo>
                  <a:lnTo>
                    <a:pt x="1052" y="407"/>
                  </a:lnTo>
                  <a:lnTo>
                    <a:pt x="1053" y="425"/>
                  </a:lnTo>
                  <a:lnTo>
                    <a:pt x="1053" y="443"/>
                  </a:lnTo>
                  <a:lnTo>
                    <a:pt x="1068" y="455"/>
                  </a:lnTo>
                  <a:lnTo>
                    <a:pt x="1072" y="482"/>
                  </a:lnTo>
                  <a:lnTo>
                    <a:pt x="1037" y="512"/>
                  </a:lnTo>
                  <a:lnTo>
                    <a:pt x="1014" y="543"/>
                  </a:lnTo>
                  <a:lnTo>
                    <a:pt x="987" y="565"/>
                  </a:lnTo>
                  <a:lnTo>
                    <a:pt x="946" y="584"/>
                  </a:lnTo>
                  <a:lnTo>
                    <a:pt x="910" y="585"/>
                  </a:lnTo>
                  <a:lnTo>
                    <a:pt x="880" y="583"/>
                  </a:lnTo>
                  <a:lnTo>
                    <a:pt x="850" y="583"/>
                  </a:lnTo>
                  <a:lnTo>
                    <a:pt x="826" y="590"/>
                  </a:lnTo>
                  <a:lnTo>
                    <a:pt x="767" y="619"/>
                  </a:lnTo>
                  <a:lnTo>
                    <a:pt x="725" y="641"/>
                  </a:lnTo>
                  <a:lnTo>
                    <a:pt x="707" y="644"/>
                  </a:lnTo>
                  <a:lnTo>
                    <a:pt x="692" y="624"/>
                  </a:lnTo>
                  <a:lnTo>
                    <a:pt x="662" y="627"/>
                  </a:lnTo>
                  <a:lnTo>
                    <a:pt x="622" y="613"/>
                  </a:lnTo>
                  <a:lnTo>
                    <a:pt x="595" y="602"/>
                  </a:lnTo>
                  <a:lnTo>
                    <a:pt x="559" y="597"/>
                  </a:lnTo>
                  <a:lnTo>
                    <a:pt x="556" y="579"/>
                  </a:lnTo>
                  <a:lnTo>
                    <a:pt x="525" y="562"/>
                  </a:lnTo>
                  <a:lnTo>
                    <a:pt x="498" y="551"/>
                  </a:lnTo>
                  <a:lnTo>
                    <a:pt x="441" y="552"/>
                  </a:lnTo>
                  <a:lnTo>
                    <a:pt x="417" y="556"/>
                  </a:lnTo>
                  <a:lnTo>
                    <a:pt x="375" y="548"/>
                  </a:lnTo>
                  <a:lnTo>
                    <a:pt x="338" y="543"/>
                  </a:lnTo>
                  <a:lnTo>
                    <a:pt x="317" y="538"/>
                  </a:lnTo>
                  <a:lnTo>
                    <a:pt x="308" y="517"/>
                  </a:lnTo>
                  <a:lnTo>
                    <a:pt x="289" y="502"/>
                  </a:lnTo>
                  <a:lnTo>
                    <a:pt x="291" y="469"/>
                  </a:lnTo>
                  <a:lnTo>
                    <a:pt x="282" y="442"/>
                  </a:lnTo>
                  <a:lnTo>
                    <a:pt x="263" y="407"/>
                  </a:lnTo>
                  <a:lnTo>
                    <a:pt x="235" y="381"/>
                  </a:lnTo>
                  <a:lnTo>
                    <a:pt x="217" y="363"/>
                  </a:lnTo>
                  <a:lnTo>
                    <a:pt x="192" y="349"/>
                  </a:lnTo>
                  <a:lnTo>
                    <a:pt x="171" y="337"/>
                  </a:lnTo>
                  <a:lnTo>
                    <a:pt x="150" y="329"/>
                  </a:lnTo>
                  <a:lnTo>
                    <a:pt x="123" y="330"/>
                  </a:lnTo>
                  <a:lnTo>
                    <a:pt x="113" y="312"/>
                  </a:lnTo>
                  <a:lnTo>
                    <a:pt x="86" y="298"/>
                  </a:lnTo>
                  <a:lnTo>
                    <a:pt x="85" y="268"/>
                  </a:lnTo>
                  <a:lnTo>
                    <a:pt x="106" y="249"/>
                  </a:lnTo>
                  <a:lnTo>
                    <a:pt x="110" y="207"/>
                  </a:lnTo>
                  <a:lnTo>
                    <a:pt x="110" y="183"/>
                  </a:lnTo>
                  <a:lnTo>
                    <a:pt x="94" y="141"/>
                  </a:lnTo>
                  <a:lnTo>
                    <a:pt x="99" y="117"/>
                  </a:lnTo>
                  <a:lnTo>
                    <a:pt x="72" y="112"/>
                  </a:lnTo>
                  <a:lnTo>
                    <a:pt x="56" y="91"/>
                  </a:lnTo>
                  <a:lnTo>
                    <a:pt x="32" y="92"/>
                  </a:lnTo>
                  <a:lnTo>
                    <a:pt x="20" y="59"/>
                  </a:lnTo>
                  <a:lnTo>
                    <a:pt x="4" y="36"/>
                  </a:lnTo>
                  <a:lnTo>
                    <a:pt x="0" y="0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1" name="Freeform 646">
              <a:extLst>
                <a:ext uri="{FF2B5EF4-FFF2-40B4-BE49-F238E27FC236}">
                  <a16:creationId xmlns:a16="http://schemas.microsoft.com/office/drawing/2014/main" id="{AB7D10D5-A771-40F5-B4BD-B0A870C4C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1" y="4021"/>
              <a:ext cx="220" cy="152"/>
            </a:xfrm>
            <a:custGeom>
              <a:avLst/>
              <a:gdLst>
                <a:gd name="T0" fmla="*/ 220 w 220"/>
                <a:gd name="T1" fmla="*/ 0 h 152"/>
                <a:gd name="T2" fmla="*/ 214 w 220"/>
                <a:gd name="T3" fmla="*/ 17 h 152"/>
                <a:gd name="T4" fmla="*/ 208 w 220"/>
                <a:gd name="T5" fmla="*/ 32 h 152"/>
                <a:gd name="T6" fmla="*/ 175 w 220"/>
                <a:gd name="T7" fmla="*/ 27 h 152"/>
                <a:gd name="T8" fmla="*/ 148 w 220"/>
                <a:gd name="T9" fmla="*/ 14 h 152"/>
                <a:gd name="T10" fmla="*/ 111 w 220"/>
                <a:gd name="T11" fmla="*/ 6 h 152"/>
                <a:gd name="T12" fmla="*/ 79 w 220"/>
                <a:gd name="T13" fmla="*/ 6 h 152"/>
                <a:gd name="T14" fmla="*/ 42 w 220"/>
                <a:gd name="T15" fmla="*/ 11 h 152"/>
                <a:gd name="T16" fmla="*/ 12 w 220"/>
                <a:gd name="T17" fmla="*/ 15 h 152"/>
                <a:gd name="T18" fmla="*/ 0 w 220"/>
                <a:gd name="T19" fmla="*/ 26 h 152"/>
                <a:gd name="T20" fmla="*/ 15 w 220"/>
                <a:gd name="T21" fmla="*/ 42 h 152"/>
                <a:gd name="T22" fmla="*/ 26 w 220"/>
                <a:gd name="T23" fmla="*/ 152 h 15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0" h="152">
                  <a:moveTo>
                    <a:pt x="220" y="0"/>
                  </a:moveTo>
                  <a:lnTo>
                    <a:pt x="214" y="17"/>
                  </a:lnTo>
                  <a:lnTo>
                    <a:pt x="208" y="32"/>
                  </a:lnTo>
                  <a:lnTo>
                    <a:pt x="175" y="27"/>
                  </a:lnTo>
                  <a:lnTo>
                    <a:pt x="148" y="14"/>
                  </a:lnTo>
                  <a:lnTo>
                    <a:pt x="111" y="6"/>
                  </a:lnTo>
                  <a:lnTo>
                    <a:pt x="79" y="6"/>
                  </a:lnTo>
                  <a:lnTo>
                    <a:pt x="42" y="11"/>
                  </a:lnTo>
                  <a:lnTo>
                    <a:pt x="12" y="15"/>
                  </a:lnTo>
                  <a:lnTo>
                    <a:pt x="0" y="26"/>
                  </a:lnTo>
                  <a:lnTo>
                    <a:pt x="15" y="42"/>
                  </a:lnTo>
                  <a:lnTo>
                    <a:pt x="26" y="152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2" name="Freeform 647">
              <a:extLst>
                <a:ext uri="{FF2B5EF4-FFF2-40B4-BE49-F238E27FC236}">
                  <a16:creationId xmlns:a16="http://schemas.microsoft.com/office/drawing/2014/main" id="{F3305E7D-8E24-4A0E-9158-B4912ED97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" y="3791"/>
              <a:ext cx="184" cy="382"/>
            </a:xfrm>
            <a:custGeom>
              <a:avLst/>
              <a:gdLst>
                <a:gd name="T0" fmla="*/ 184 w 184"/>
                <a:gd name="T1" fmla="*/ 0 h 382"/>
                <a:gd name="T2" fmla="*/ 165 w 184"/>
                <a:gd name="T3" fmla="*/ 21 h 382"/>
                <a:gd name="T4" fmla="*/ 147 w 184"/>
                <a:gd name="T5" fmla="*/ 45 h 382"/>
                <a:gd name="T6" fmla="*/ 135 w 184"/>
                <a:gd name="T7" fmla="*/ 63 h 382"/>
                <a:gd name="T8" fmla="*/ 123 w 184"/>
                <a:gd name="T9" fmla="*/ 77 h 382"/>
                <a:gd name="T10" fmla="*/ 91 w 184"/>
                <a:gd name="T11" fmla="*/ 83 h 382"/>
                <a:gd name="T12" fmla="*/ 72 w 184"/>
                <a:gd name="T13" fmla="*/ 105 h 382"/>
                <a:gd name="T14" fmla="*/ 64 w 184"/>
                <a:gd name="T15" fmla="*/ 134 h 382"/>
                <a:gd name="T16" fmla="*/ 76 w 184"/>
                <a:gd name="T17" fmla="*/ 144 h 382"/>
                <a:gd name="T18" fmla="*/ 60 w 184"/>
                <a:gd name="T19" fmla="*/ 156 h 382"/>
                <a:gd name="T20" fmla="*/ 39 w 184"/>
                <a:gd name="T21" fmla="*/ 182 h 382"/>
                <a:gd name="T22" fmla="*/ 30 w 184"/>
                <a:gd name="T23" fmla="*/ 215 h 382"/>
                <a:gd name="T24" fmla="*/ 9 w 184"/>
                <a:gd name="T25" fmla="*/ 240 h 382"/>
                <a:gd name="T26" fmla="*/ 0 w 184"/>
                <a:gd name="T27" fmla="*/ 266 h 382"/>
                <a:gd name="T28" fmla="*/ 13 w 184"/>
                <a:gd name="T29" fmla="*/ 284 h 382"/>
                <a:gd name="T30" fmla="*/ 15 w 184"/>
                <a:gd name="T31" fmla="*/ 301 h 382"/>
                <a:gd name="T32" fmla="*/ 23 w 184"/>
                <a:gd name="T33" fmla="*/ 346 h 382"/>
                <a:gd name="T34" fmla="*/ 21 w 184"/>
                <a:gd name="T35" fmla="*/ 382 h 38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84" h="382">
                  <a:moveTo>
                    <a:pt x="184" y="0"/>
                  </a:moveTo>
                  <a:lnTo>
                    <a:pt x="165" y="21"/>
                  </a:lnTo>
                  <a:lnTo>
                    <a:pt x="147" y="45"/>
                  </a:lnTo>
                  <a:lnTo>
                    <a:pt x="135" y="63"/>
                  </a:lnTo>
                  <a:lnTo>
                    <a:pt x="123" y="77"/>
                  </a:lnTo>
                  <a:lnTo>
                    <a:pt x="91" y="83"/>
                  </a:lnTo>
                  <a:lnTo>
                    <a:pt x="72" y="105"/>
                  </a:lnTo>
                  <a:lnTo>
                    <a:pt x="64" y="134"/>
                  </a:lnTo>
                  <a:lnTo>
                    <a:pt x="76" y="144"/>
                  </a:lnTo>
                  <a:lnTo>
                    <a:pt x="60" y="156"/>
                  </a:lnTo>
                  <a:lnTo>
                    <a:pt x="39" y="182"/>
                  </a:lnTo>
                  <a:lnTo>
                    <a:pt x="30" y="215"/>
                  </a:lnTo>
                  <a:lnTo>
                    <a:pt x="9" y="240"/>
                  </a:lnTo>
                  <a:lnTo>
                    <a:pt x="0" y="266"/>
                  </a:lnTo>
                  <a:lnTo>
                    <a:pt x="13" y="284"/>
                  </a:lnTo>
                  <a:lnTo>
                    <a:pt x="15" y="301"/>
                  </a:lnTo>
                  <a:lnTo>
                    <a:pt x="23" y="346"/>
                  </a:lnTo>
                  <a:lnTo>
                    <a:pt x="21" y="382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3" name="Freeform 648">
              <a:extLst>
                <a:ext uri="{FF2B5EF4-FFF2-40B4-BE49-F238E27FC236}">
                  <a16:creationId xmlns:a16="http://schemas.microsoft.com/office/drawing/2014/main" id="{EAE57AA0-72B9-46B0-9B92-692202F04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" y="2959"/>
              <a:ext cx="234" cy="318"/>
            </a:xfrm>
            <a:custGeom>
              <a:avLst/>
              <a:gdLst>
                <a:gd name="T0" fmla="*/ 0 w 234"/>
                <a:gd name="T1" fmla="*/ 318 h 318"/>
                <a:gd name="T2" fmla="*/ 37 w 234"/>
                <a:gd name="T3" fmla="*/ 311 h 318"/>
                <a:gd name="T4" fmla="*/ 47 w 234"/>
                <a:gd name="T5" fmla="*/ 299 h 318"/>
                <a:gd name="T6" fmla="*/ 68 w 234"/>
                <a:gd name="T7" fmla="*/ 300 h 318"/>
                <a:gd name="T8" fmla="*/ 88 w 234"/>
                <a:gd name="T9" fmla="*/ 294 h 318"/>
                <a:gd name="T10" fmla="*/ 91 w 234"/>
                <a:gd name="T11" fmla="*/ 269 h 318"/>
                <a:gd name="T12" fmla="*/ 91 w 234"/>
                <a:gd name="T13" fmla="*/ 252 h 318"/>
                <a:gd name="T14" fmla="*/ 89 w 234"/>
                <a:gd name="T15" fmla="*/ 222 h 318"/>
                <a:gd name="T16" fmla="*/ 103 w 234"/>
                <a:gd name="T17" fmla="*/ 204 h 318"/>
                <a:gd name="T18" fmla="*/ 103 w 234"/>
                <a:gd name="T19" fmla="*/ 191 h 318"/>
                <a:gd name="T20" fmla="*/ 116 w 234"/>
                <a:gd name="T21" fmla="*/ 173 h 318"/>
                <a:gd name="T22" fmla="*/ 116 w 234"/>
                <a:gd name="T23" fmla="*/ 161 h 318"/>
                <a:gd name="T24" fmla="*/ 127 w 234"/>
                <a:gd name="T25" fmla="*/ 141 h 318"/>
                <a:gd name="T26" fmla="*/ 128 w 234"/>
                <a:gd name="T27" fmla="*/ 122 h 318"/>
                <a:gd name="T28" fmla="*/ 146 w 234"/>
                <a:gd name="T29" fmla="*/ 113 h 318"/>
                <a:gd name="T30" fmla="*/ 143 w 234"/>
                <a:gd name="T31" fmla="*/ 99 h 318"/>
                <a:gd name="T32" fmla="*/ 140 w 234"/>
                <a:gd name="T33" fmla="*/ 89 h 318"/>
                <a:gd name="T34" fmla="*/ 148 w 234"/>
                <a:gd name="T35" fmla="*/ 81 h 318"/>
                <a:gd name="T36" fmla="*/ 163 w 234"/>
                <a:gd name="T37" fmla="*/ 74 h 318"/>
                <a:gd name="T38" fmla="*/ 169 w 234"/>
                <a:gd name="T39" fmla="*/ 60 h 318"/>
                <a:gd name="T40" fmla="*/ 184 w 234"/>
                <a:gd name="T41" fmla="*/ 45 h 318"/>
                <a:gd name="T42" fmla="*/ 196 w 234"/>
                <a:gd name="T43" fmla="*/ 20 h 318"/>
                <a:gd name="T44" fmla="*/ 205 w 234"/>
                <a:gd name="T45" fmla="*/ 0 h 318"/>
                <a:gd name="T46" fmla="*/ 234 w 234"/>
                <a:gd name="T47" fmla="*/ 0 h 31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34" h="318">
                  <a:moveTo>
                    <a:pt x="0" y="318"/>
                  </a:moveTo>
                  <a:lnTo>
                    <a:pt x="37" y="311"/>
                  </a:lnTo>
                  <a:lnTo>
                    <a:pt x="47" y="299"/>
                  </a:lnTo>
                  <a:lnTo>
                    <a:pt x="68" y="300"/>
                  </a:lnTo>
                  <a:lnTo>
                    <a:pt x="88" y="294"/>
                  </a:lnTo>
                  <a:lnTo>
                    <a:pt x="91" y="269"/>
                  </a:lnTo>
                  <a:lnTo>
                    <a:pt x="91" y="252"/>
                  </a:lnTo>
                  <a:lnTo>
                    <a:pt x="89" y="222"/>
                  </a:lnTo>
                  <a:lnTo>
                    <a:pt x="103" y="204"/>
                  </a:lnTo>
                  <a:lnTo>
                    <a:pt x="103" y="191"/>
                  </a:lnTo>
                  <a:lnTo>
                    <a:pt x="116" y="173"/>
                  </a:lnTo>
                  <a:lnTo>
                    <a:pt x="116" y="161"/>
                  </a:lnTo>
                  <a:lnTo>
                    <a:pt x="127" y="141"/>
                  </a:lnTo>
                  <a:lnTo>
                    <a:pt x="128" y="122"/>
                  </a:lnTo>
                  <a:lnTo>
                    <a:pt x="146" y="113"/>
                  </a:lnTo>
                  <a:lnTo>
                    <a:pt x="143" y="99"/>
                  </a:lnTo>
                  <a:lnTo>
                    <a:pt x="140" y="89"/>
                  </a:lnTo>
                  <a:lnTo>
                    <a:pt x="148" y="81"/>
                  </a:lnTo>
                  <a:lnTo>
                    <a:pt x="163" y="74"/>
                  </a:lnTo>
                  <a:lnTo>
                    <a:pt x="169" y="60"/>
                  </a:lnTo>
                  <a:lnTo>
                    <a:pt x="184" y="45"/>
                  </a:lnTo>
                  <a:lnTo>
                    <a:pt x="196" y="20"/>
                  </a:lnTo>
                  <a:lnTo>
                    <a:pt x="205" y="0"/>
                  </a:lnTo>
                  <a:lnTo>
                    <a:pt x="234" y="0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4" name="Freeform 649">
              <a:extLst>
                <a:ext uri="{FF2B5EF4-FFF2-40B4-BE49-F238E27FC236}">
                  <a16:creationId xmlns:a16="http://schemas.microsoft.com/office/drawing/2014/main" id="{73139EE3-5D73-4DA9-8469-0187137BF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" y="3004"/>
              <a:ext cx="119" cy="101"/>
            </a:xfrm>
            <a:custGeom>
              <a:avLst/>
              <a:gdLst>
                <a:gd name="T0" fmla="*/ 119 w 119"/>
                <a:gd name="T1" fmla="*/ 101 h 101"/>
                <a:gd name="T2" fmla="*/ 107 w 119"/>
                <a:gd name="T3" fmla="*/ 81 h 101"/>
                <a:gd name="T4" fmla="*/ 98 w 119"/>
                <a:gd name="T5" fmla="*/ 69 h 101"/>
                <a:gd name="T6" fmla="*/ 74 w 119"/>
                <a:gd name="T7" fmla="*/ 48 h 101"/>
                <a:gd name="T8" fmla="*/ 59 w 119"/>
                <a:gd name="T9" fmla="*/ 33 h 101"/>
                <a:gd name="T10" fmla="*/ 56 w 119"/>
                <a:gd name="T11" fmla="*/ 14 h 101"/>
                <a:gd name="T12" fmla="*/ 47 w 119"/>
                <a:gd name="T13" fmla="*/ 3 h 101"/>
                <a:gd name="T14" fmla="*/ 30 w 119"/>
                <a:gd name="T15" fmla="*/ 6 h 101"/>
                <a:gd name="T16" fmla="*/ 14 w 119"/>
                <a:gd name="T17" fmla="*/ 0 h 101"/>
                <a:gd name="T18" fmla="*/ 0 w 119"/>
                <a:gd name="T19" fmla="*/ 11 h 10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9" h="101">
                  <a:moveTo>
                    <a:pt x="119" y="101"/>
                  </a:moveTo>
                  <a:lnTo>
                    <a:pt x="107" y="81"/>
                  </a:lnTo>
                  <a:lnTo>
                    <a:pt x="98" y="69"/>
                  </a:lnTo>
                  <a:lnTo>
                    <a:pt x="74" y="48"/>
                  </a:lnTo>
                  <a:lnTo>
                    <a:pt x="59" y="33"/>
                  </a:lnTo>
                  <a:lnTo>
                    <a:pt x="56" y="14"/>
                  </a:lnTo>
                  <a:lnTo>
                    <a:pt x="47" y="3"/>
                  </a:lnTo>
                  <a:lnTo>
                    <a:pt x="30" y="6"/>
                  </a:lnTo>
                  <a:lnTo>
                    <a:pt x="14" y="0"/>
                  </a:lnTo>
                  <a:lnTo>
                    <a:pt x="0" y="11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5" name="Freeform 650">
              <a:extLst>
                <a:ext uri="{FF2B5EF4-FFF2-40B4-BE49-F238E27FC236}">
                  <a16:creationId xmlns:a16="http://schemas.microsoft.com/office/drawing/2014/main" id="{04FC6FA6-B84B-4A57-8DAA-DF831CB10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2" y="1719"/>
              <a:ext cx="95" cy="48"/>
            </a:xfrm>
            <a:custGeom>
              <a:avLst/>
              <a:gdLst>
                <a:gd name="T0" fmla="*/ 0 w 108"/>
                <a:gd name="T1" fmla="*/ 4 h 54"/>
                <a:gd name="T2" fmla="*/ 4 w 108"/>
                <a:gd name="T3" fmla="*/ 4 h 54"/>
                <a:gd name="T4" fmla="*/ 4 w 108"/>
                <a:gd name="T5" fmla="*/ 4 h 54"/>
                <a:gd name="T6" fmla="*/ 4 w 108"/>
                <a:gd name="T7" fmla="*/ 4 h 54"/>
                <a:gd name="T8" fmla="*/ 4 w 108"/>
                <a:gd name="T9" fmla="*/ 4 h 54"/>
                <a:gd name="T10" fmla="*/ 4 w 108"/>
                <a:gd name="T11" fmla="*/ 4 h 54"/>
                <a:gd name="T12" fmla="*/ 4 w 108"/>
                <a:gd name="T13" fmla="*/ 4 h 54"/>
                <a:gd name="T14" fmla="*/ 4 w 108"/>
                <a:gd name="T15" fmla="*/ 4 h 54"/>
                <a:gd name="T16" fmla="*/ 4 w 108"/>
                <a:gd name="T17" fmla="*/ 4 h 54"/>
                <a:gd name="T18" fmla="*/ 4 w 108"/>
                <a:gd name="T19" fmla="*/ 0 h 54"/>
                <a:gd name="T20" fmla="*/ 4 w 108"/>
                <a:gd name="T21" fmla="*/ 0 h 54"/>
                <a:gd name="T22" fmla="*/ 4 w 108"/>
                <a:gd name="T23" fmla="*/ 0 h 54"/>
                <a:gd name="T24" fmla="*/ 4 w 108"/>
                <a:gd name="T25" fmla="*/ 4 h 54"/>
                <a:gd name="T26" fmla="*/ 4 w 108"/>
                <a:gd name="T27" fmla="*/ 0 h 54"/>
                <a:gd name="T28" fmla="*/ 4 w 108"/>
                <a:gd name="T29" fmla="*/ 0 h 54"/>
                <a:gd name="T30" fmla="*/ 4 w 108"/>
                <a:gd name="T31" fmla="*/ 4 h 54"/>
                <a:gd name="T32" fmla="*/ 4 w 108"/>
                <a:gd name="T33" fmla="*/ 4 h 54"/>
                <a:gd name="T34" fmla="*/ 4 w 108"/>
                <a:gd name="T35" fmla="*/ 4 h 54"/>
                <a:gd name="T36" fmla="*/ 0 w 108"/>
                <a:gd name="T37" fmla="*/ 4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08" h="54">
                  <a:moveTo>
                    <a:pt x="0" y="36"/>
                  </a:moveTo>
                  <a:lnTo>
                    <a:pt x="24" y="36"/>
                  </a:lnTo>
                  <a:lnTo>
                    <a:pt x="30" y="48"/>
                  </a:lnTo>
                  <a:lnTo>
                    <a:pt x="54" y="54"/>
                  </a:lnTo>
                  <a:lnTo>
                    <a:pt x="66" y="48"/>
                  </a:lnTo>
                  <a:lnTo>
                    <a:pt x="90" y="48"/>
                  </a:lnTo>
                  <a:lnTo>
                    <a:pt x="96" y="36"/>
                  </a:lnTo>
                  <a:lnTo>
                    <a:pt x="108" y="36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78" y="0"/>
                  </a:lnTo>
                  <a:lnTo>
                    <a:pt x="54" y="12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30" y="12"/>
                  </a:lnTo>
                  <a:lnTo>
                    <a:pt x="24" y="24"/>
                  </a:lnTo>
                  <a:lnTo>
                    <a:pt x="12" y="24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6" name="Freeform 651">
              <a:extLst>
                <a:ext uri="{FF2B5EF4-FFF2-40B4-BE49-F238E27FC236}">
                  <a16:creationId xmlns:a16="http://schemas.microsoft.com/office/drawing/2014/main" id="{54564372-D5D1-4D0B-B989-C915E37E3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8" y="1741"/>
              <a:ext cx="163" cy="116"/>
            </a:xfrm>
            <a:custGeom>
              <a:avLst/>
              <a:gdLst>
                <a:gd name="T0" fmla="*/ 4 w 186"/>
                <a:gd name="T1" fmla="*/ 4 h 132"/>
                <a:gd name="T2" fmla="*/ 4 w 186"/>
                <a:gd name="T3" fmla="*/ 4 h 132"/>
                <a:gd name="T4" fmla="*/ 4 w 186"/>
                <a:gd name="T5" fmla="*/ 4 h 132"/>
                <a:gd name="T6" fmla="*/ 4 w 186"/>
                <a:gd name="T7" fmla="*/ 4 h 132"/>
                <a:gd name="T8" fmla="*/ 4 w 186"/>
                <a:gd name="T9" fmla="*/ 4 h 132"/>
                <a:gd name="T10" fmla="*/ 4 w 186"/>
                <a:gd name="T11" fmla="*/ 4 h 132"/>
                <a:gd name="T12" fmla="*/ 4 w 186"/>
                <a:gd name="T13" fmla="*/ 4 h 132"/>
                <a:gd name="T14" fmla="*/ 4 w 186"/>
                <a:gd name="T15" fmla="*/ 4 h 132"/>
                <a:gd name="T16" fmla="*/ 4 w 186"/>
                <a:gd name="T17" fmla="*/ 4 h 132"/>
                <a:gd name="T18" fmla="*/ 4 w 186"/>
                <a:gd name="T19" fmla="*/ 4 h 132"/>
                <a:gd name="T20" fmla="*/ 4 w 186"/>
                <a:gd name="T21" fmla="*/ 4 h 132"/>
                <a:gd name="T22" fmla="*/ 4 w 186"/>
                <a:gd name="T23" fmla="*/ 0 h 132"/>
                <a:gd name="T24" fmla="*/ 4 w 186"/>
                <a:gd name="T25" fmla="*/ 4 h 132"/>
                <a:gd name="T26" fmla="*/ 4 w 186"/>
                <a:gd name="T27" fmla="*/ 4 h 132"/>
                <a:gd name="T28" fmla="*/ 4 w 186"/>
                <a:gd name="T29" fmla="*/ 4 h 132"/>
                <a:gd name="T30" fmla="*/ 4 w 186"/>
                <a:gd name="T31" fmla="*/ 4 h 132"/>
                <a:gd name="T32" fmla="*/ 4 w 186"/>
                <a:gd name="T33" fmla="*/ 4 h 132"/>
                <a:gd name="T34" fmla="*/ 4 w 186"/>
                <a:gd name="T35" fmla="*/ 4 h 132"/>
                <a:gd name="T36" fmla="*/ 4 w 186"/>
                <a:gd name="T37" fmla="*/ 4 h 132"/>
                <a:gd name="T38" fmla="*/ 4 w 186"/>
                <a:gd name="T39" fmla="*/ 4 h 132"/>
                <a:gd name="T40" fmla="*/ 4 w 186"/>
                <a:gd name="T41" fmla="*/ 4 h 132"/>
                <a:gd name="T42" fmla="*/ 4 w 186"/>
                <a:gd name="T43" fmla="*/ 4 h 132"/>
                <a:gd name="T44" fmla="*/ 4 w 186"/>
                <a:gd name="T45" fmla="*/ 4 h 132"/>
                <a:gd name="T46" fmla="*/ 4 w 186"/>
                <a:gd name="T47" fmla="*/ 4 h 132"/>
                <a:gd name="T48" fmla="*/ 4 w 186"/>
                <a:gd name="T49" fmla="*/ 4 h 132"/>
                <a:gd name="T50" fmla="*/ 4 w 186"/>
                <a:gd name="T51" fmla="*/ 4 h 132"/>
                <a:gd name="T52" fmla="*/ 0 w 186"/>
                <a:gd name="T53" fmla="*/ 4 h 132"/>
                <a:gd name="T54" fmla="*/ 4 w 186"/>
                <a:gd name="T55" fmla="*/ 4 h 132"/>
                <a:gd name="T56" fmla="*/ 4 w 186"/>
                <a:gd name="T57" fmla="*/ 4 h 132"/>
                <a:gd name="T58" fmla="*/ 4 w 186"/>
                <a:gd name="T59" fmla="*/ 4 h 132"/>
                <a:gd name="T60" fmla="*/ 4 w 186"/>
                <a:gd name="T61" fmla="*/ 4 h 132"/>
                <a:gd name="T62" fmla="*/ 4 w 186"/>
                <a:gd name="T63" fmla="*/ 4 h 132"/>
                <a:gd name="T64" fmla="*/ 4 w 186"/>
                <a:gd name="T65" fmla="*/ 4 h 132"/>
                <a:gd name="T66" fmla="*/ 4 w 186"/>
                <a:gd name="T67" fmla="*/ 4 h 132"/>
                <a:gd name="T68" fmla="*/ 4 w 186"/>
                <a:gd name="T69" fmla="*/ 4 h 132"/>
                <a:gd name="T70" fmla="*/ 4 w 186"/>
                <a:gd name="T71" fmla="*/ 4 h 132"/>
                <a:gd name="T72" fmla="*/ 4 w 186"/>
                <a:gd name="T73" fmla="*/ 4 h 132"/>
                <a:gd name="T74" fmla="*/ 4 w 186"/>
                <a:gd name="T75" fmla="*/ 4 h 132"/>
                <a:gd name="T76" fmla="*/ 4 w 186"/>
                <a:gd name="T77" fmla="*/ 4 h 132"/>
                <a:gd name="T78" fmla="*/ 4 w 186"/>
                <a:gd name="T79" fmla="*/ 4 h 132"/>
                <a:gd name="T80" fmla="*/ 4 w 186"/>
                <a:gd name="T81" fmla="*/ 4 h 132"/>
                <a:gd name="T82" fmla="*/ 4 w 186"/>
                <a:gd name="T83" fmla="*/ 4 h 132"/>
                <a:gd name="T84" fmla="*/ 4 w 186"/>
                <a:gd name="T85" fmla="*/ 4 h 132"/>
                <a:gd name="T86" fmla="*/ 4 w 186"/>
                <a:gd name="T87" fmla="*/ 4 h 132"/>
                <a:gd name="T88" fmla="*/ 4 w 186"/>
                <a:gd name="T89" fmla="*/ 4 h 132"/>
                <a:gd name="T90" fmla="*/ 4 w 186"/>
                <a:gd name="T91" fmla="*/ 4 h 132"/>
                <a:gd name="T92" fmla="*/ 4 w 186"/>
                <a:gd name="T93" fmla="*/ 4 h 132"/>
                <a:gd name="T94" fmla="*/ 4 w 186"/>
                <a:gd name="T95" fmla="*/ 4 h 132"/>
                <a:gd name="T96" fmla="*/ 4 w 186"/>
                <a:gd name="T97" fmla="*/ 4 h 132"/>
                <a:gd name="T98" fmla="*/ 4 w 186"/>
                <a:gd name="T99" fmla="*/ 4 h 132"/>
                <a:gd name="T100" fmla="*/ 4 w 186"/>
                <a:gd name="T101" fmla="*/ 4 h 13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86" h="132">
                  <a:moveTo>
                    <a:pt x="120" y="30"/>
                  </a:moveTo>
                  <a:lnTo>
                    <a:pt x="132" y="42"/>
                  </a:lnTo>
                  <a:lnTo>
                    <a:pt x="144" y="54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74" y="54"/>
                  </a:lnTo>
                  <a:lnTo>
                    <a:pt x="186" y="42"/>
                  </a:lnTo>
                  <a:lnTo>
                    <a:pt x="186" y="30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24"/>
                  </a:lnTo>
                  <a:lnTo>
                    <a:pt x="120" y="12"/>
                  </a:lnTo>
                  <a:lnTo>
                    <a:pt x="96" y="12"/>
                  </a:lnTo>
                  <a:lnTo>
                    <a:pt x="84" y="12"/>
                  </a:lnTo>
                  <a:lnTo>
                    <a:pt x="84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84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30" y="30"/>
                  </a:lnTo>
                  <a:lnTo>
                    <a:pt x="24" y="30"/>
                  </a:lnTo>
                  <a:lnTo>
                    <a:pt x="12" y="42"/>
                  </a:lnTo>
                  <a:lnTo>
                    <a:pt x="0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24" y="108"/>
                  </a:lnTo>
                  <a:lnTo>
                    <a:pt x="24" y="120"/>
                  </a:lnTo>
                  <a:lnTo>
                    <a:pt x="30" y="132"/>
                  </a:lnTo>
                  <a:lnTo>
                    <a:pt x="54" y="132"/>
                  </a:lnTo>
                  <a:lnTo>
                    <a:pt x="66" y="132"/>
                  </a:lnTo>
                  <a:lnTo>
                    <a:pt x="84" y="132"/>
                  </a:lnTo>
                  <a:lnTo>
                    <a:pt x="96" y="132"/>
                  </a:lnTo>
                  <a:lnTo>
                    <a:pt x="96" y="120"/>
                  </a:lnTo>
                  <a:lnTo>
                    <a:pt x="96" y="108"/>
                  </a:lnTo>
                  <a:lnTo>
                    <a:pt x="108" y="108"/>
                  </a:lnTo>
                  <a:lnTo>
                    <a:pt x="120" y="108"/>
                  </a:lnTo>
                  <a:lnTo>
                    <a:pt x="132" y="96"/>
                  </a:lnTo>
                  <a:lnTo>
                    <a:pt x="132" y="90"/>
                  </a:lnTo>
                  <a:lnTo>
                    <a:pt x="144" y="90"/>
                  </a:lnTo>
                  <a:lnTo>
                    <a:pt x="162" y="90"/>
                  </a:lnTo>
                  <a:lnTo>
                    <a:pt x="162" y="78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6"/>
                  </a:lnTo>
                  <a:lnTo>
                    <a:pt x="120" y="54"/>
                  </a:lnTo>
                  <a:lnTo>
                    <a:pt x="120" y="42"/>
                  </a:lnTo>
                  <a:lnTo>
                    <a:pt x="120" y="30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7" name="Freeform 652">
              <a:extLst>
                <a:ext uri="{FF2B5EF4-FFF2-40B4-BE49-F238E27FC236}">
                  <a16:creationId xmlns:a16="http://schemas.microsoft.com/office/drawing/2014/main" id="{4BD7951B-1866-436D-9885-6AA8D5C48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4" y="1867"/>
              <a:ext cx="69" cy="48"/>
            </a:xfrm>
            <a:custGeom>
              <a:avLst/>
              <a:gdLst>
                <a:gd name="T0" fmla="*/ 0 w 78"/>
                <a:gd name="T1" fmla="*/ 4 h 54"/>
                <a:gd name="T2" fmla="*/ 4 w 78"/>
                <a:gd name="T3" fmla="*/ 4 h 54"/>
                <a:gd name="T4" fmla="*/ 4 w 78"/>
                <a:gd name="T5" fmla="*/ 4 h 54"/>
                <a:gd name="T6" fmla="*/ 4 w 78"/>
                <a:gd name="T7" fmla="*/ 4 h 54"/>
                <a:gd name="T8" fmla="*/ 4 w 78"/>
                <a:gd name="T9" fmla="*/ 0 h 54"/>
                <a:gd name="T10" fmla="*/ 4 w 78"/>
                <a:gd name="T11" fmla="*/ 0 h 54"/>
                <a:gd name="T12" fmla="*/ 4 w 78"/>
                <a:gd name="T13" fmla="*/ 0 h 54"/>
                <a:gd name="T14" fmla="*/ 4 w 78"/>
                <a:gd name="T15" fmla="*/ 4 h 54"/>
                <a:gd name="T16" fmla="*/ 4 w 78"/>
                <a:gd name="T17" fmla="*/ 4 h 54"/>
                <a:gd name="T18" fmla="*/ 4 w 78"/>
                <a:gd name="T19" fmla="*/ 4 h 54"/>
                <a:gd name="T20" fmla="*/ 4 w 78"/>
                <a:gd name="T21" fmla="*/ 4 h 54"/>
                <a:gd name="T22" fmla="*/ 4 w 78"/>
                <a:gd name="T23" fmla="*/ 4 h 54"/>
                <a:gd name="T24" fmla="*/ 4 w 78"/>
                <a:gd name="T25" fmla="*/ 4 h 54"/>
                <a:gd name="T26" fmla="*/ 4 w 78"/>
                <a:gd name="T27" fmla="*/ 4 h 54"/>
                <a:gd name="T28" fmla="*/ 0 w 78"/>
                <a:gd name="T29" fmla="*/ 4 h 5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8" h="54">
                  <a:moveTo>
                    <a:pt x="0" y="54"/>
                  </a:moveTo>
                  <a:lnTo>
                    <a:pt x="12" y="42"/>
                  </a:lnTo>
                  <a:lnTo>
                    <a:pt x="12" y="30"/>
                  </a:lnTo>
                  <a:lnTo>
                    <a:pt x="18" y="6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66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8" y="30"/>
                  </a:lnTo>
                  <a:lnTo>
                    <a:pt x="66" y="30"/>
                  </a:lnTo>
                  <a:lnTo>
                    <a:pt x="54" y="42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8" name="Freeform 653">
              <a:extLst>
                <a:ext uri="{FF2B5EF4-FFF2-40B4-BE49-F238E27FC236}">
                  <a16:creationId xmlns:a16="http://schemas.microsoft.com/office/drawing/2014/main" id="{44D54F23-9C42-4F35-B8EF-C798BA35F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3" y="1867"/>
              <a:ext cx="21" cy="16"/>
            </a:xfrm>
            <a:custGeom>
              <a:avLst/>
              <a:gdLst>
                <a:gd name="T0" fmla="*/ 4 w 24"/>
                <a:gd name="T1" fmla="*/ 4 h 18"/>
                <a:gd name="T2" fmla="*/ 0 w 24"/>
                <a:gd name="T3" fmla="*/ 4 h 18"/>
                <a:gd name="T4" fmla="*/ 0 w 24"/>
                <a:gd name="T5" fmla="*/ 4 h 18"/>
                <a:gd name="T6" fmla="*/ 0 w 24"/>
                <a:gd name="T7" fmla="*/ 0 h 18"/>
                <a:gd name="T8" fmla="*/ 4 w 24"/>
                <a:gd name="T9" fmla="*/ 0 h 18"/>
                <a:gd name="T10" fmla="*/ 4 w 24"/>
                <a:gd name="T11" fmla="*/ 0 h 18"/>
                <a:gd name="T12" fmla="*/ 4 w 24"/>
                <a:gd name="T13" fmla="*/ 4 h 18"/>
                <a:gd name="T14" fmla="*/ 4 w 24"/>
                <a:gd name="T15" fmla="*/ 4 h 18"/>
                <a:gd name="T16" fmla="*/ 4 w 24"/>
                <a:gd name="T17" fmla="*/ 4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4" h="18">
                  <a:moveTo>
                    <a:pt x="12" y="18"/>
                  </a:move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18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9" name="Freeform 654">
              <a:extLst>
                <a:ext uri="{FF2B5EF4-FFF2-40B4-BE49-F238E27FC236}">
                  <a16:creationId xmlns:a16="http://schemas.microsoft.com/office/drawing/2014/main" id="{AB4CD4A1-A795-4499-94F9-3B6D20B18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9" y="1709"/>
              <a:ext cx="85" cy="90"/>
            </a:xfrm>
            <a:custGeom>
              <a:avLst/>
              <a:gdLst>
                <a:gd name="T0" fmla="*/ 0 w 96"/>
                <a:gd name="T1" fmla="*/ 4 h 102"/>
                <a:gd name="T2" fmla="*/ 0 w 96"/>
                <a:gd name="T3" fmla="*/ 4 h 102"/>
                <a:gd name="T4" fmla="*/ 0 w 96"/>
                <a:gd name="T5" fmla="*/ 4 h 102"/>
                <a:gd name="T6" fmla="*/ 4 w 96"/>
                <a:gd name="T7" fmla="*/ 4 h 102"/>
                <a:gd name="T8" fmla="*/ 4 w 96"/>
                <a:gd name="T9" fmla="*/ 4 h 102"/>
                <a:gd name="T10" fmla="*/ 4 w 96"/>
                <a:gd name="T11" fmla="*/ 4 h 102"/>
                <a:gd name="T12" fmla="*/ 4 w 96"/>
                <a:gd name="T13" fmla="*/ 4 h 102"/>
                <a:gd name="T14" fmla="*/ 4 w 96"/>
                <a:gd name="T15" fmla="*/ 4 h 102"/>
                <a:gd name="T16" fmla="*/ 4 w 96"/>
                <a:gd name="T17" fmla="*/ 0 h 102"/>
                <a:gd name="T18" fmla="*/ 4 w 96"/>
                <a:gd name="T19" fmla="*/ 0 h 102"/>
                <a:gd name="T20" fmla="*/ 4 w 96"/>
                <a:gd name="T21" fmla="*/ 4 h 102"/>
                <a:gd name="T22" fmla="*/ 4 w 96"/>
                <a:gd name="T23" fmla="*/ 4 h 102"/>
                <a:gd name="T24" fmla="*/ 4 w 96"/>
                <a:gd name="T25" fmla="*/ 4 h 102"/>
                <a:gd name="T26" fmla="*/ 4 w 96"/>
                <a:gd name="T27" fmla="*/ 4 h 102"/>
                <a:gd name="T28" fmla="*/ 4 w 96"/>
                <a:gd name="T29" fmla="*/ 4 h 102"/>
                <a:gd name="T30" fmla="*/ 4 w 96"/>
                <a:gd name="T31" fmla="*/ 4 h 102"/>
                <a:gd name="T32" fmla="*/ 4 w 96"/>
                <a:gd name="T33" fmla="*/ 4 h 102"/>
                <a:gd name="T34" fmla="*/ 4 w 96"/>
                <a:gd name="T35" fmla="*/ 4 h 102"/>
                <a:gd name="T36" fmla="*/ 4 w 96"/>
                <a:gd name="T37" fmla="*/ 4 h 102"/>
                <a:gd name="T38" fmla="*/ 4 w 96"/>
                <a:gd name="T39" fmla="*/ 4 h 102"/>
                <a:gd name="T40" fmla="*/ 4 w 96"/>
                <a:gd name="T41" fmla="*/ 4 h 102"/>
                <a:gd name="T42" fmla="*/ 4 w 96"/>
                <a:gd name="T43" fmla="*/ 4 h 102"/>
                <a:gd name="T44" fmla="*/ 4 w 96"/>
                <a:gd name="T45" fmla="*/ 4 h 102"/>
                <a:gd name="T46" fmla="*/ 4 w 96"/>
                <a:gd name="T47" fmla="*/ 4 h 102"/>
                <a:gd name="T48" fmla="*/ 4 w 96"/>
                <a:gd name="T49" fmla="*/ 4 h 102"/>
                <a:gd name="T50" fmla="*/ 0 w 96"/>
                <a:gd name="T51" fmla="*/ 4 h 102"/>
                <a:gd name="T52" fmla="*/ 0 w 96"/>
                <a:gd name="T53" fmla="*/ 4 h 10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96" h="102">
                  <a:moveTo>
                    <a:pt x="0" y="90"/>
                  </a:moveTo>
                  <a:lnTo>
                    <a:pt x="0" y="78"/>
                  </a:lnTo>
                  <a:lnTo>
                    <a:pt x="0" y="66"/>
                  </a:lnTo>
                  <a:lnTo>
                    <a:pt x="12" y="60"/>
                  </a:lnTo>
                  <a:lnTo>
                    <a:pt x="12" y="48"/>
                  </a:lnTo>
                  <a:lnTo>
                    <a:pt x="18" y="36"/>
                  </a:lnTo>
                  <a:lnTo>
                    <a:pt x="30" y="36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54" y="0"/>
                  </a:lnTo>
                  <a:lnTo>
                    <a:pt x="42" y="24"/>
                  </a:lnTo>
                  <a:lnTo>
                    <a:pt x="66" y="12"/>
                  </a:lnTo>
                  <a:lnTo>
                    <a:pt x="78" y="12"/>
                  </a:lnTo>
                  <a:lnTo>
                    <a:pt x="78" y="24"/>
                  </a:lnTo>
                  <a:lnTo>
                    <a:pt x="84" y="36"/>
                  </a:lnTo>
                  <a:lnTo>
                    <a:pt x="96" y="36"/>
                  </a:lnTo>
                  <a:lnTo>
                    <a:pt x="96" y="48"/>
                  </a:lnTo>
                  <a:lnTo>
                    <a:pt x="84" y="60"/>
                  </a:lnTo>
                  <a:lnTo>
                    <a:pt x="84" y="66"/>
                  </a:lnTo>
                  <a:lnTo>
                    <a:pt x="78" y="78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30" y="90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00" name="Freeform 655">
              <a:extLst>
                <a:ext uri="{FF2B5EF4-FFF2-40B4-BE49-F238E27FC236}">
                  <a16:creationId xmlns:a16="http://schemas.microsoft.com/office/drawing/2014/main" id="{7D842E74-DF8F-440F-B296-283E1FF03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8" y="1973"/>
              <a:ext cx="137" cy="74"/>
            </a:xfrm>
            <a:custGeom>
              <a:avLst/>
              <a:gdLst>
                <a:gd name="T0" fmla="*/ 4 w 156"/>
                <a:gd name="T1" fmla="*/ 4 h 84"/>
                <a:gd name="T2" fmla="*/ 4 w 156"/>
                <a:gd name="T3" fmla="*/ 4 h 84"/>
                <a:gd name="T4" fmla="*/ 4 w 156"/>
                <a:gd name="T5" fmla="*/ 4 h 84"/>
                <a:gd name="T6" fmla="*/ 0 w 156"/>
                <a:gd name="T7" fmla="*/ 4 h 84"/>
                <a:gd name="T8" fmla="*/ 4 w 156"/>
                <a:gd name="T9" fmla="*/ 4 h 84"/>
                <a:gd name="T10" fmla="*/ 4 w 156"/>
                <a:gd name="T11" fmla="*/ 4 h 84"/>
                <a:gd name="T12" fmla="*/ 4 w 156"/>
                <a:gd name="T13" fmla="*/ 4 h 84"/>
                <a:gd name="T14" fmla="*/ 4 w 156"/>
                <a:gd name="T15" fmla="*/ 4 h 84"/>
                <a:gd name="T16" fmla="*/ 4 w 156"/>
                <a:gd name="T17" fmla="*/ 4 h 84"/>
                <a:gd name="T18" fmla="*/ 4 w 156"/>
                <a:gd name="T19" fmla="*/ 4 h 84"/>
                <a:gd name="T20" fmla="*/ 4 w 156"/>
                <a:gd name="T21" fmla="*/ 4 h 84"/>
                <a:gd name="T22" fmla="*/ 4 w 156"/>
                <a:gd name="T23" fmla="*/ 0 h 84"/>
                <a:gd name="T24" fmla="*/ 4 w 156"/>
                <a:gd name="T25" fmla="*/ 0 h 84"/>
                <a:gd name="T26" fmla="*/ 4 w 156"/>
                <a:gd name="T27" fmla="*/ 4 h 84"/>
                <a:gd name="T28" fmla="*/ 4 w 156"/>
                <a:gd name="T29" fmla="*/ 4 h 84"/>
                <a:gd name="T30" fmla="*/ 4 w 156"/>
                <a:gd name="T31" fmla="*/ 4 h 84"/>
                <a:gd name="T32" fmla="*/ 4 w 156"/>
                <a:gd name="T33" fmla="*/ 4 h 84"/>
                <a:gd name="T34" fmla="*/ 4 w 156"/>
                <a:gd name="T35" fmla="*/ 4 h 84"/>
                <a:gd name="T36" fmla="*/ 4 w 156"/>
                <a:gd name="T37" fmla="*/ 4 h 84"/>
                <a:gd name="T38" fmla="*/ 4 w 156"/>
                <a:gd name="T39" fmla="*/ 4 h 84"/>
                <a:gd name="T40" fmla="*/ 4 w 156"/>
                <a:gd name="T41" fmla="*/ 4 h 84"/>
                <a:gd name="T42" fmla="*/ 4 w 156"/>
                <a:gd name="T43" fmla="*/ 4 h 84"/>
                <a:gd name="T44" fmla="*/ 4 w 156"/>
                <a:gd name="T45" fmla="*/ 4 h 84"/>
                <a:gd name="T46" fmla="*/ 4 w 156"/>
                <a:gd name="T47" fmla="*/ 4 h 84"/>
                <a:gd name="T48" fmla="*/ 4 w 156"/>
                <a:gd name="T49" fmla="*/ 4 h 84"/>
                <a:gd name="T50" fmla="*/ 4 w 156"/>
                <a:gd name="T51" fmla="*/ 4 h 8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6" h="84">
                  <a:moveTo>
                    <a:pt x="24" y="84"/>
                  </a:moveTo>
                  <a:lnTo>
                    <a:pt x="12" y="78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12" y="30"/>
                  </a:lnTo>
                  <a:lnTo>
                    <a:pt x="36" y="18"/>
                  </a:lnTo>
                  <a:lnTo>
                    <a:pt x="36" y="30"/>
                  </a:lnTo>
                  <a:lnTo>
                    <a:pt x="54" y="30"/>
                  </a:lnTo>
                  <a:lnTo>
                    <a:pt x="66" y="30"/>
                  </a:lnTo>
                  <a:lnTo>
                    <a:pt x="90" y="18"/>
                  </a:lnTo>
                  <a:lnTo>
                    <a:pt x="90" y="12"/>
                  </a:lnTo>
                  <a:lnTo>
                    <a:pt x="102" y="0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44" y="18"/>
                  </a:lnTo>
                  <a:lnTo>
                    <a:pt x="156" y="30"/>
                  </a:lnTo>
                  <a:lnTo>
                    <a:pt x="132" y="30"/>
                  </a:lnTo>
                  <a:lnTo>
                    <a:pt x="114" y="42"/>
                  </a:lnTo>
                  <a:lnTo>
                    <a:pt x="102" y="42"/>
                  </a:lnTo>
                  <a:lnTo>
                    <a:pt x="78" y="42"/>
                  </a:lnTo>
                  <a:lnTo>
                    <a:pt x="66" y="54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78"/>
                  </a:lnTo>
                  <a:lnTo>
                    <a:pt x="48" y="84"/>
                  </a:lnTo>
                  <a:lnTo>
                    <a:pt x="24" y="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01" name="Freeform 656">
              <a:extLst>
                <a:ext uri="{FF2B5EF4-FFF2-40B4-BE49-F238E27FC236}">
                  <a16:creationId xmlns:a16="http://schemas.microsoft.com/office/drawing/2014/main" id="{4BF85834-1332-44C9-9D20-01E3E24671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5" y="2099"/>
              <a:ext cx="101" cy="74"/>
            </a:xfrm>
            <a:custGeom>
              <a:avLst/>
              <a:gdLst>
                <a:gd name="T0" fmla="*/ 0 w 114"/>
                <a:gd name="T1" fmla="*/ 4 h 84"/>
                <a:gd name="T2" fmla="*/ 0 w 114"/>
                <a:gd name="T3" fmla="*/ 4 h 84"/>
                <a:gd name="T4" fmla="*/ 4 w 114"/>
                <a:gd name="T5" fmla="*/ 4 h 84"/>
                <a:gd name="T6" fmla="*/ 4 w 114"/>
                <a:gd name="T7" fmla="*/ 4 h 84"/>
                <a:gd name="T8" fmla="*/ 4 w 114"/>
                <a:gd name="T9" fmla="*/ 4 h 84"/>
                <a:gd name="T10" fmla="*/ 4 w 114"/>
                <a:gd name="T11" fmla="*/ 4 h 84"/>
                <a:gd name="T12" fmla="*/ 4 w 114"/>
                <a:gd name="T13" fmla="*/ 4 h 84"/>
                <a:gd name="T14" fmla="*/ 4 w 114"/>
                <a:gd name="T15" fmla="*/ 4 h 84"/>
                <a:gd name="T16" fmla="*/ 4 w 114"/>
                <a:gd name="T17" fmla="*/ 0 h 84"/>
                <a:gd name="T18" fmla="*/ 4 w 114"/>
                <a:gd name="T19" fmla="*/ 0 h 84"/>
                <a:gd name="T20" fmla="*/ 4 w 114"/>
                <a:gd name="T21" fmla="*/ 0 h 84"/>
                <a:gd name="T22" fmla="*/ 4 w 114"/>
                <a:gd name="T23" fmla="*/ 4 h 84"/>
                <a:gd name="T24" fmla="*/ 4 w 114"/>
                <a:gd name="T25" fmla="*/ 4 h 84"/>
                <a:gd name="T26" fmla="*/ 4 w 114"/>
                <a:gd name="T27" fmla="*/ 4 h 84"/>
                <a:gd name="T28" fmla="*/ 4 w 114"/>
                <a:gd name="T29" fmla="*/ 4 h 84"/>
                <a:gd name="T30" fmla="*/ 4 w 114"/>
                <a:gd name="T31" fmla="*/ 4 h 84"/>
                <a:gd name="T32" fmla="*/ 4 w 114"/>
                <a:gd name="T33" fmla="*/ 4 h 84"/>
                <a:gd name="T34" fmla="*/ 4 w 114"/>
                <a:gd name="T35" fmla="*/ 4 h 84"/>
                <a:gd name="T36" fmla="*/ 0 w 114"/>
                <a:gd name="T37" fmla="*/ 4 h 8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14" h="84">
                  <a:moveTo>
                    <a:pt x="0" y="84"/>
                  </a:moveTo>
                  <a:lnTo>
                    <a:pt x="0" y="72"/>
                  </a:lnTo>
                  <a:lnTo>
                    <a:pt x="12" y="66"/>
                  </a:lnTo>
                  <a:lnTo>
                    <a:pt x="36" y="66"/>
                  </a:lnTo>
                  <a:lnTo>
                    <a:pt x="60" y="42"/>
                  </a:lnTo>
                  <a:lnTo>
                    <a:pt x="60" y="30"/>
                  </a:lnTo>
                  <a:lnTo>
                    <a:pt x="78" y="18"/>
                  </a:lnTo>
                  <a:lnTo>
                    <a:pt x="78" y="6"/>
                  </a:lnTo>
                  <a:lnTo>
                    <a:pt x="90" y="0"/>
                  </a:lnTo>
                  <a:lnTo>
                    <a:pt x="102" y="0"/>
                  </a:lnTo>
                  <a:lnTo>
                    <a:pt x="114" y="0"/>
                  </a:lnTo>
                  <a:lnTo>
                    <a:pt x="102" y="18"/>
                  </a:lnTo>
                  <a:lnTo>
                    <a:pt x="90" y="30"/>
                  </a:lnTo>
                  <a:lnTo>
                    <a:pt x="78" y="42"/>
                  </a:lnTo>
                  <a:lnTo>
                    <a:pt x="60" y="54"/>
                  </a:lnTo>
                  <a:lnTo>
                    <a:pt x="48" y="66"/>
                  </a:lnTo>
                  <a:lnTo>
                    <a:pt x="36" y="72"/>
                  </a:lnTo>
                  <a:lnTo>
                    <a:pt x="24" y="72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02" name="Freeform 657">
              <a:extLst>
                <a:ext uri="{FF2B5EF4-FFF2-40B4-BE49-F238E27FC236}">
                  <a16:creationId xmlns:a16="http://schemas.microsoft.com/office/drawing/2014/main" id="{D2381180-275F-448F-B466-7ACAE57A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4053"/>
              <a:ext cx="90" cy="122"/>
            </a:xfrm>
            <a:custGeom>
              <a:avLst/>
              <a:gdLst>
                <a:gd name="T0" fmla="*/ 0 w 90"/>
                <a:gd name="T1" fmla="*/ 0 h 122"/>
                <a:gd name="T2" fmla="*/ 18 w 90"/>
                <a:gd name="T3" fmla="*/ 22 h 122"/>
                <a:gd name="T4" fmla="*/ 40 w 90"/>
                <a:gd name="T5" fmla="*/ 56 h 122"/>
                <a:gd name="T6" fmla="*/ 62 w 90"/>
                <a:gd name="T7" fmla="*/ 82 h 122"/>
                <a:gd name="T8" fmla="*/ 58 w 90"/>
                <a:gd name="T9" fmla="*/ 98 h 122"/>
                <a:gd name="T10" fmla="*/ 90 w 90"/>
                <a:gd name="T11" fmla="*/ 122 h 1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122">
                  <a:moveTo>
                    <a:pt x="0" y="0"/>
                  </a:moveTo>
                  <a:lnTo>
                    <a:pt x="18" y="22"/>
                  </a:lnTo>
                  <a:lnTo>
                    <a:pt x="40" y="56"/>
                  </a:lnTo>
                  <a:lnTo>
                    <a:pt x="62" y="82"/>
                  </a:lnTo>
                  <a:lnTo>
                    <a:pt x="58" y="98"/>
                  </a:lnTo>
                  <a:lnTo>
                    <a:pt x="90" y="122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90624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1520" y="161925"/>
            <a:ext cx="6533455" cy="1020763"/>
          </a:xfrm>
        </p:spPr>
        <p:txBody>
          <a:bodyPr/>
          <a:lstStyle/>
          <a:p>
            <a:pPr eaLnBrk="1" hangingPunct="1">
              <a:defRPr/>
            </a:pPr>
            <a:r>
              <a:rPr lang="en-GB" dirty="0"/>
              <a:t>Linde Gas</a:t>
            </a:r>
            <a:br>
              <a:rPr lang="en-GB" dirty="0"/>
            </a:br>
            <a:r>
              <a:rPr lang="ru-RU" b="0" dirty="0"/>
              <a:t>Референцные заводы в России</a:t>
            </a:r>
            <a:endParaRPr lang="en-GB" b="0" dirty="0"/>
          </a:p>
        </p:txBody>
      </p:sp>
      <p:sp>
        <p:nvSpPr>
          <p:cNvPr id="661" name="Rectangle 151"/>
          <p:cNvSpPr>
            <a:spLocks noChangeAspect="1" noChangeArrowheads="1"/>
          </p:cNvSpPr>
          <p:nvPr/>
        </p:nvSpPr>
        <p:spPr bwMode="gray">
          <a:xfrm>
            <a:off x="1171397" y="2488701"/>
            <a:ext cx="91440" cy="91440"/>
          </a:xfrm>
          <a:prstGeom prst="rect">
            <a:avLst/>
          </a:prstGeom>
          <a:solidFill>
            <a:srgbClr val="53A14B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62" name="Rectangle 147"/>
          <p:cNvSpPr>
            <a:spLocks noChangeAspect="1" noChangeArrowheads="1"/>
          </p:cNvSpPr>
          <p:nvPr/>
        </p:nvSpPr>
        <p:spPr bwMode="gray">
          <a:xfrm>
            <a:off x="1147038" y="2911127"/>
            <a:ext cx="91440" cy="91440"/>
          </a:xfrm>
          <a:prstGeom prst="rect">
            <a:avLst/>
          </a:prstGeom>
          <a:solidFill>
            <a:srgbClr val="00A6D6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63" name="Rectangle 151"/>
          <p:cNvSpPr>
            <a:spLocks noChangeAspect="1" noChangeArrowheads="1"/>
          </p:cNvSpPr>
          <p:nvPr/>
        </p:nvSpPr>
        <p:spPr bwMode="gray">
          <a:xfrm>
            <a:off x="1247597" y="2924941"/>
            <a:ext cx="91440" cy="91440"/>
          </a:xfrm>
          <a:prstGeom prst="rect">
            <a:avLst/>
          </a:prstGeom>
          <a:solidFill>
            <a:srgbClr val="53A14B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64" name="Rectangle 151"/>
          <p:cNvSpPr>
            <a:spLocks noChangeAspect="1" noChangeArrowheads="1"/>
          </p:cNvSpPr>
          <p:nvPr/>
        </p:nvSpPr>
        <p:spPr bwMode="gray">
          <a:xfrm>
            <a:off x="1391613" y="3064765"/>
            <a:ext cx="91440" cy="91440"/>
          </a:xfrm>
          <a:prstGeom prst="rect">
            <a:avLst/>
          </a:prstGeom>
          <a:solidFill>
            <a:srgbClr val="53A14B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65" name="Rectangle 151"/>
          <p:cNvSpPr>
            <a:spLocks noChangeAspect="1" noChangeArrowheads="1"/>
          </p:cNvSpPr>
          <p:nvPr/>
        </p:nvSpPr>
        <p:spPr bwMode="gray">
          <a:xfrm>
            <a:off x="1891477" y="2560709"/>
            <a:ext cx="91440" cy="91440"/>
          </a:xfrm>
          <a:prstGeom prst="rect">
            <a:avLst/>
          </a:prstGeom>
          <a:solidFill>
            <a:srgbClr val="53A14B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66" name="Oval 148"/>
          <p:cNvSpPr>
            <a:spLocks noChangeAspect="1" noChangeArrowheads="1"/>
          </p:cNvSpPr>
          <p:nvPr/>
        </p:nvSpPr>
        <p:spPr bwMode="gray">
          <a:xfrm>
            <a:off x="1961897" y="2924941"/>
            <a:ext cx="93347" cy="93347"/>
          </a:xfrm>
          <a:prstGeom prst="ellipse">
            <a:avLst/>
          </a:prstGeom>
          <a:solidFill>
            <a:srgbClr val="53A14B"/>
          </a:solidFill>
          <a:ln w="12700" algn="ctr">
            <a:solidFill>
              <a:srgbClr val="273F4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67" name="Oval 150"/>
          <p:cNvSpPr>
            <a:spLocks noChangeAspect="1" noChangeArrowheads="1"/>
          </p:cNvSpPr>
          <p:nvPr/>
        </p:nvSpPr>
        <p:spPr bwMode="gray">
          <a:xfrm>
            <a:off x="2177921" y="2991169"/>
            <a:ext cx="93347" cy="93347"/>
          </a:xfrm>
          <a:prstGeom prst="ellipse">
            <a:avLst/>
          </a:prstGeom>
          <a:solidFill>
            <a:srgbClr val="E60D2E"/>
          </a:solidFill>
          <a:ln w="12700" algn="ctr">
            <a:solidFill>
              <a:srgbClr val="273F4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68" name="Rectangle 145"/>
          <p:cNvSpPr>
            <a:spLocks noChangeAspect="1" noChangeArrowheads="1"/>
          </p:cNvSpPr>
          <p:nvPr/>
        </p:nvSpPr>
        <p:spPr bwMode="gray">
          <a:xfrm>
            <a:off x="2327717" y="2996949"/>
            <a:ext cx="91440" cy="91440"/>
          </a:xfrm>
          <a:prstGeom prst="rect">
            <a:avLst/>
          </a:prstGeom>
          <a:solidFill>
            <a:srgbClr val="E60D2E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69" name="Rectangle 147"/>
          <p:cNvSpPr>
            <a:spLocks noChangeArrowheads="1"/>
          </p:cNvSpPr>
          <p:nvPr/>
        </p:nvSpPr>
        <p:spPr bwMode="gray">
          <a:xfrm>
            <a:off x="2255712" y="3140968"/>
            <a:ext cx="76200" cy="76200"/>
          </a:xfrm>
          <a:prstGeom prst="rect">
            <a:avLst/>
          </a:prstGeom>
          <a:solidFill>
            <a:srgbClr val="00A6D6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70" name="Rectangle 151"/>
          <p:cNvSpPr>
            <a:spLocks noChangeArrowheads="1"/>
          </p:cNvSpPr>
          <p:nvPr/>
        </p:nvSpPr>
        <p:spPr bwMode="gray">
          <a:xfrm>
            <a:off x="2107504" y="3140968"/>
            <a:ext cx="76200" cy="76200"/>
          </a:xfrm>
          <a:prstGeom prst="rect">
            <a:avLst/>
          </a:prstGeom>
          <a:solidFill>
            <a:srgbClr val="53A14B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72" name="Line 74"/>
          <p:cNvSpPr>
            <a:spLocks noChangeShapeType="1"/>
          </p:cNvSpPr>
          <p:nvPr/>
        </p:nvSpPr>
        <p:spPr bwMode="auto">
          <a:xfrm>
            <a:off x="883391" y="2257254"/>
            <a:ext cx="257175" cy="0"/>
          </a:xfrm>
          <a:prstGeom prst="line">
            <a:avLst/>
          </a:prstGeom>
          <a:noFill/>
          <a:ln w="12700">
            <a:solidFill>
              <a:srgbClr val="0D5C9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73" name="Line 75"/>
          <p:cNvSpPr>
            <a:spLocks noChangeShapeType="1"/>
          </p:cNvSpPr>
          <p:nvPr/>
        </p:nvSpPr>
        <p:spPr bwMode="auto">
          <a:xfrm flipH="1">
            <a:off x="1134216" y="2257254"/>
            <a:ext cx="0" cy="387350"/>
          </a:xfrm>
          <a:prstGeom prst="line">
            <a:avLst/>
          </a:prstGeom>
          <a:noFill/>
          <a:ln w="12700">
            <a:solidFill>
              <a:srgbClr val="0D5C9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74" name="Rectangle 76"/>
          <p:cNvSpPr>
            <a:spLocks noChangeArrowheads="1"/>
          </p:cNvSpPr>
          <p:nvPr/>
        </p:nvSpPr>
        <p:spPr bwMode="auto">
          <a:xfrm>
            <a:off x="4801832" y="4236071"/>
            <a:ext cx="53219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Россия</a:t>
            </a:r>
            <a:endParaRPr kumimoji="0" lang="de-DE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75" name="Rectangle 77"/>
          <p:cNvSpPr>
            <a:spLocks noChangeArrowheads="1"/>
          </p:cNvSpPr>
          <p:nvPr/>
        </p:nvSpPr>
        <p:spPr bwMode="auto">
          <a:xfrm>
            <a:off x="4944217" y="5813256"/>
            <a:ext cx="56906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Монголия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76" name="Rectangle 78"/>
          <p:cNvSpPr>
            <a:spLocks noChangeArrowheads="1"/>
          </p:cNvSpPr>
          <p:nvPr/>
        </p:nvSpPr>
        <p:spPr bwMode="auto">
          <a:xfrm>
            <a:off x="6646017" y="5813256"/>
            <a:ext cx="3286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Китай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77" name="Rectangle 79"/>
          <p:cNvSpPr>
            <a:spLocks noChangeArrowheads="1"/>
          </p:cNvSpPr>
          <p:nvPr/>
        </p:nvSpPr>
        <p:spPr bwMode="auto">
          <a:xfrm>
            <a:off x="2634404" y="4941718"/>
            <a:ext cx="54662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Казахстан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78" name="Rectangle 82"/>
          <p:cNvSpPr>
            <a:spLocks noChangeArrowheads="1"/>
          </p:cNvSpPr>
          <p:nvPr/>
        </p:nvSpPr>
        <p:spPr bwMode="auto">
          <a:xfrm>
            <a:off x="1835891" y="5352880"/>
            <a:ext cx="62998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Узбекистан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79" name="Rectangle 83"/>
          <p:cNvSpPr>
            <a:spLocks noChangeArrowheads="1"/>
          </p:cNvSpPr>
          <p:nvPr/>
        </p:nvSpPr>
        <p:spPr bwMode="auto">
          <a:xfrm>
            <a:off x="3550391" y="6152981"/>
            <a:ext cx="3286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Китай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80" name="Rectangle 84"/>
          <p:cNvSpPr>
            <a:spLocks noChangeArrowheads="1"/>
          </p:cNvSpPr>
          <p:nvPr/>
        </p:nvSpPr>
        <p:spPr bwMode="auto">
          <a:xfrm>
            <a:off x="829416" y="5713243"/>
            <a:ext cx="28533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Иран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81" name="Rectangle 85"/>
          <p:cNvSpPr>
            <a:spLocks noChangeArrowheads="1"/>
          </p:cNvSpPr>
          <p:nvPr/>
        </p:nvSpPr>
        <p:spPr bwMode="auto">
          <a:xfrm>
            <a:off x="1562841" y="6183143"/>
            <a:ext cx="64921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Афганистан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82" name="Rectangle 86"/>
          <p:cNvSpPr>
            <a:spLocks noChangeArrowheads="1"/>
          </p:cNvSpPr>
          <p:nvPr/>
        </p:nvSpPr>
        <p:spPr bwMode="auto">
          <a:xfrm>
            <a:off x="451591" y="4230517"/>
            <a:ext cx="4023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Турция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83" name="Rectangle 102"/>
          <p:cNvSpPr>
            <a:spLocks noChangeArrowheads="1"/>
          </p:cNvSpPr>
          <p:nvPr/>
        </p:nvSpPr>
        <p:spPr bwMode="auto">
          <a:xfrm>
            <a:off x="850054" y="3204992"/>
            <a:ext cx="47128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Украина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84" name="Rectangle 103"/>
          <p:cNvSpPr>
            <a:spLocks noChangeArrowheads="1"/>
          </p:cNvSpPr>
          <p:nvPr/>
        </p:nvSpPr>
        <p:spPr bwMode="auto">
          <a:xfrm>
            <a:off x="2075604" y="3068467"/>
            <a:ext cx="42479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Москва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85" name="Rectangle 117"/>
          <p:cNvSpPr>
            <a:spLocks noChangeArrowheads="1"/>
          </p:cNvSpPr>
          <p:nvPr/>
        </p:nvSpPr>
        <p:spPr bwMode="auto">
          <a:xfrm>
            <a:off x="1834304" y="4341642"/>
            <a:ext cx="39433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Атырау</a:t>
            </a:r>
            <a:endParaRPr kumimoji="0" lang="de-DE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86" name="Rectangle 118"/>
          <p:cNvSpPr>
            <a:spLocks noChangeArrowheads="1"/>
          </p:cNvSpPr>
          <p:nvPr/>
        </p:nvSpPr>
        <p:spPr bwMode="auto">
          <a:xfrm>
            <a:off x="451591" y="2165179"/>
            <a:ext cx="511358" cy="125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Беларусь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87" name="Rectangle 119"/>
          <p:cNvSpPr>
            <a:spLocks noChangeArrowheads="1"/>
          </p:cNvSpPr>
          <p:nvPr/>
        </p:nvSpPr>
        <p:spPr bwMode="auto">
          <a:xfrm>
            <a:off x="451591" y="1950866"/>
            <a:ext cx="328616" cy="125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Литва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88" name="Rectangle 120"/>
          <p:cNvSpPr>
            <a:spLocks noChangeArrowheads="1"/>
          </p:cNvSpPr>
          <p:nvPr/>
        </p:nvSpPr>
        <p:spPr bwMode="auto">
          <a:xfrm>
            <a:off x="451591" y="1717503"/>
            <a:ext cx="392736" cy="125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Латвия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89" name="Rectangle 121"/>
          <p:cNvSpPr>
            <a:spLocks noChangeArrowheads="1"/>
          </p:cNvSpPr>
          <p:nvPr/>
        </p:nvSpPr>
        <p:spPr bwMode="auto">
          <a:xfrm>
            <a:off x="451591" y="1503191"/>
            <a:ext cx="447238" cy="125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Эстония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90" name="Line 122"/>
          <p:cNvSpPr>
            <a:spLocks noChangeShapeType="1"/>
          </p:cNvSpPr>
          <p:nvPr/>
        </p:nvSpPr>
        <p:spPr bwMode="auto">
          <a:xfrm>
            <a:off x="981816" y="2042941"/>
            <a:ext cx="381000" cy="0"/>
          </a:xfrm>
          <a:prstGeom prst="line">
            <a:avLst/>
          </a:prstGeom>
          <a:noFill/>
          <a:ln w="12700">
            <a:solidFill>
              <a:srgbClr val="0D5C9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91" name="Line 123"/>
          <p:cNvSpPr>
            <a:spLocks noChangeShapeType="1"/>
          </p:cNvSpPr>
          <p:nvPr/>
        </p:nvSpPr>
        <p:spPr bwMode="auto">
          <a:xfrm>
            <a:off x="1356466" y="2036591"/>
            <a:ext cx="0" cy="369888"/>
          </a:xfrm>
          <a:prstGeom prst="line">
            <a:avLst/>
          </a:prstGeom>
          <a:noFill/>
          <a:ln w="12700">
            <a:solidFill>
              <a:srgbClr val="0D5C9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92" name="Line 124"/>
          <p:cNvSpPr>
            <a:spLocks noChangeShapeType="1"/>
          </p:cNvSpPr>
          <p:nvPr/>
        </p:nvSpPr>
        <p:spPr bwMode="auto">
          <a:xfrm>
            <a:off x="743691" y="1773066"/>
            <a:ext cx="774700" cy="1588"/>
          </a:xfrm>
          <a:prstGeom prst="line">
            <a:avLst/>
          </a:prstGeom>
          <a:noFill/>
          <a:ln w="12700">
            <a:solidFill>
              <a:srgbClr val="0D5C9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93" name="Line 125"/>
          <p:cNvSpPr>
            <a:spLocks noChangeShapeType="1"/>
          </p:cNvSpPr>
          <p:nvPr/>
        </p:nvSpPr>
        <p:spPr bwMode="auto">
          <a:xfrm>
            <a:off x="1535854" y="1773066"/>
            <a:ext cx="0" cy="539750"/>
          </a:xfrm>
          <a:prstGeom prst="line">
            <a:avLst/>
          </a:prstGeom>
          <a:noFill/>
          <a:ln w="12700">
            <a:solidFill>
              <a:srgbClr val="0D5C9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94" name="Line 126"/>
          <p:cNvSpPr>
            <a:spLocks noChangeShapeType="1"/>
          </p:cNvSpPr>
          <p:nvPr/>
        </p:nvSpPr>
        <p:spPr bwMode="auto">
          <a:xfrm>
            <a:off x="875454" y="1592091"/>
            <a:ext cx="906463" cy="0"/>
          </a:xfrm>
          <a:prstGeom prst="line">
            <a:avLst/>
          </a:prstGeom>
          <a:noFill/>
          <a:ln w="12700">
            <a:solidFill>
              <a:srgbClr val="0D5C9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95" name="Line 127"/>
          <p:cNvSpPr>
            <a:spLocks noChangeShapeType="1"/>
          </p:cNvSpPr>
          <p:nvPr/>
        </p:nvSpPr>
        <p:spPr bwMode="auto">
          <a:xfrm flipH="1">
            <a:off x="1775566" y="1585741"/>
            <a:ext cx="4763" cy="798513"/>
          </a:xfrm>
          <a:prstGeom prst="line">
            <a:avLst/>
          </a:prstGeom>
          <a:noFill/>
          <a:ln w="12700">
            <a:solidFill>
              <a:srgbClr val="0D5C9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6D4D35D1-E3C9-4ED2-AAEE-79E9A8303AE2}"/>
              </a:ext>
            </a:extLst>
          </p:cNvPr>
          <p:cNvGrpSpPr/>
          <p:nvPr/>
        </p:nvGrpSpPr>
        <p:grpSpPr>
          <a:xfrm>
            <a:off x="2634347" y="944746"/>
            <a:ext cx="1770339" cy="2401299"/>
            <a:chOff x="2623416" y="811629"/>
            <a:chExt cx="1770339" cy="2401299"/>
          </a:xfrm>
        </p:grpSpPr>
        <p:sp>
          <p:nvSpPr>
            <p:cNvPr id="659" name="Gleichschenkliges Dreieck 1"/>
            <p:cNvSpPr>
              <a:spLocks noChangeAspect="1"/>
            </p:cNvSpPr>
            <p:nvPr/>
          </p:nvSpPr>
          <p:spPr bwMode="auto">
            <a:xfrm>
              <a:off x="2641328" y="2330819"/>
              <a:ext cx="95307" cy="110507"/>
            </a:xfrm>
            <a:prstGeom prst="triangle">
              <a:avLst/>
            </a:prstGeom>
            <a:solidFill>
              <a:srgbClr val="FFFF00"/>
            </a:solidFill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82800" rIns="90000" bIns="82800" numCol="1" rtlCol="0" anchor="t" anchorCtr="0" compatLnSpc="1">
              <a:prstTxWarp prst="textNoShape">
                <a:avLst/>
              </a:prstTxWarp>
            </a:bodyPr>
            <a:lstStyle/>
            <a:p>
              <a:pPr marL="266700" marR="0" lvl="0" indent="-266700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LindeDaxPowerPoint" pitchFamily="34" charset="0"/>
                <a:buChar char="—"/>
                <a:tabLst/>
                <a:defRPr/>
              </a:pPr>
              <a:endPara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</a:endParaRPr>
            </a:p>
          </p:txBody>
        </p:sp>
        <p:sp>
          <p:nvSpPr>
            <p:cNvPr id="660" name="Stern mit 5 Zacken 2"/>
            <p:cNvSpPr>
              <a:spLocks noChangeAspect="1"/>
            </p:cNvSpPr>
            <p:nvPr/>
          </p:nvSpPr>
          <p:spPr bwMode="auto">
            <a:xfrm>
              <a:off x="2623416" y="2745596"/>
              <a:ext cx="148793" cy="158139"/>
            </a:xfrm>
            <a:prstGeom prst="star5">
              <a:avLst/>
            </a:prstGeom>
            <a:solidFill>
              <a:srgbClr val="FFFF00"/>
            </a:solidFill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82800" rIns="90000" bIns="82800" numCol="1" rtlCol="0" anchor="t" anchorCtr="0" compatLnSpc="1">
              <a:prstTxWarp prst="textNoShape">
                <a:avLst/>
              </a:prstTxWarp>
            </a:bodyPr>
            <a:lstStyle/>
            <a:p>
              <a:pPr marL="266700" marR="0" lvl="0" indent="-266700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LindeDaxPowerPoint" pitchFamily="34" charset="0"/>
                <a:buChar char="—"/>
                <a:tabLst/>
                <a:defRPr/>
              </a:pPr>
              <a:endPara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</a:endParaRPr>
            </a:p>
          </p:txBody>
        </p:sp>
        <p:sp>
          <p:nvSpPr>
            <p:cNvPr id="696" name="Rectangle 145"/>
            <p:cNvSpPr>
              <a:spLocks noChangeAspect="1" noChangeArrowheads="1"/>
            </p:cNvSpPr>
            <p:nvPr/>
          </p:nvSpPr>
          <p:spPr bwMode="gray">
            <a:xfrm>
              <a:off x="2637213" y="2135822"/>
              <a:ext cx="93993" cy="92075"/>
            </a:xfrm>
            <a:prstGeom prst="rect">
              <a:avLst/>
            </a:prstGeom>
            <a:solidFill>
              <a:srgbClr val="E60D2E"/>
            </a:solidFill>
            <a:ln w="12700" algn="ctr">
              <a:solidFill>
                <a:srgbClr val="273F44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697" name="Rectangle 146"/>
            <p:cNvSpPr>
              <a:spLocks noChangeArrowheads="1"/>
            </p:cNvSpPr>
            <p:nvPr/>
          </p:nvSpPr>
          <p:spPr bwMode="auto">
            <a:xfrm>
              <a:off x="2761529" y="811629"/>
              <a:ext cx="1632226" cy="24012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2075" tIns="46038" rIns="92075" bIns="46038" anchor="b">
              <a:spAutoFit/>
            </a:bodyPr>
            <a:lstStyle/>
            <a:p>
              <a:pPr marL="0" marR="0" lvl="0" indent="0" algn="l" defTabSz="76200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lang="ru-RU" sz="1000" kern="0" dirty="0">
                <a:solidFill>
                  <a:srgbClr val="000000"/>
                </a:solidFill>
                <a:cs typeface="Arial" charset="0"/>
              </a:endParaRPr>
            </a:p>
            <a:p>
              <a:pPr marL="0" marR="0" lvl="0" indent="0" algn="l" defTabSz="76200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000" kern="0" dirty="0">
                  <a:solidFill>
                    <a:srgbClr val="000000"/>
                  </a:solidFill>
                  <a:cs typeface="Arial" charset="0"/>
                </a:rPr>
                <a:t>ВРУ</a:t>
              </a: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  <a:p>
              <a:pPr marL="0" marR="0" lvl="0" indent="0" algn="l" defTabSz="76200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Планируемые ВРУ</a:t>
              </a: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  <a:p>
              <a:pPr marL="0" marR="0" lvl="0" indent="0" algn="l" defTabSz="76200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Производство ацетилена</a:t>
              </a: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  <a:p>
              <a:pPr marL="0" marR="0" lvl="0" indent="0" algn="l" defTabSz="76200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Наполнительные станции</a:t>
              </a: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  <a:p>
              <a:pPr marL="0" marR="0" lvl="0" indent="0" algn="l" defTabSz="76200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Ecovar</a:t>
              </a: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  <a:p>
              <a:pPr marL="0" marR="0" lvl="0" indent="0" algn="l" defTabSz="76200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Установки </a:t>
              </a: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SPG</a:t>
              </a:r>
            </a:p>
            <a:p>
              <a:pPr marL="0" marR="0" lvl="0" indent="0" algn="l" defTabSz="76200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Планируемое про-во синтез-газа</a:t>
              </a: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  <a:p>
              <a:pPr marL="0" marR="0" lvl="0" indent="0" algn="l" defTabSz="76200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Планируемые наполнительные</a:t>
              </a:r>
              <a:r>
                <a:rPr kumimoji="0" lang="ru-RU" sz="1000" b="0" i="0" u="none" strike="noStrike" kern="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 станции</a:t>
              </a: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  <a:p>
              <a:pPr marL="0" marR="0" lvl="0" indent="0" algn="l" defTabSz="76200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698" name="Rectangle 147"/>
            <p:cNvSpPr>
              <a:spLocks noChangeAspect="1" noChangeArrowheads="1"/>
            </p:cNvSpPr>
            <p:nvPr/>
          </p:nvSpPr>
          <p:spPr bwMode="gray">
            <a:xfrm>
              <a:off x="2630345" y="1528650"/>
              <a:ext cx="93993" cy="92075"/>
            </a:xfrm>
            <a:prstGeom prst="rect">
              <a:avLst/>
            </a:prstGeom>
            <a:solidFill>
              <a:srgbClr val="00A6D6"/>
            </a:solidFill>
            <a:ln w="12700" algn="ctr">
              <a:solidFill>
                <a:srgbClr val="273F44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699" name="Oval 148"/>
            <p:cNvSpPr>
              <a:spLocks noChangeAspect="1" noChangeArrowheads="1"/>
            </p:cNvSpPr>
            <p:nvPr/>
          </p:nvSpPr>
          <p:spPr bwMode="gray">
            <a:xfrm>
              <a:off x="2631534" y="1937817"/>
              <a:ext cx="95614" cy="93663"/>
            </a:xfrm>
            <a:prstGeom prst="ellipse">
              <a:avLst/>
            </a:prstGeom>
            <a:solidFill>
              <a:srgbClr val="53A14B"/>
            </a:solidFill>
            <a:ln w="12700" algn="ctr">
              <a:solidFill>
                <a:srgbClr val="273F4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700" name="Oval 149"/>
            <p:cNvSpPr>
              <a:spLocks noChangeArrowheads="1"/>
            </p:cNvSpPr>
            <p:nvPr/>
          </p:nvSpPr>
          <p:spPr bwMode="gray">
            <a:xfrm>
              <a:off x="2625037" y="1330351"/>
              <a:ext cx="93993" cy="93663"/>
            </a:xfrm>
            <a:prstGeom prst="ellipse">
              <a:avLst/>
            </a:prstGeom>
            <a:solidFill>
              <a:srgbClr val="FFFF00"/>
            </a:solidFill>
            <a:ln w="12700" algn="ctr">
              <a:solidFill>
                <a:srgbClr val="273F4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701" name="Oval 150"/>
            <p:cNvSpPr>
              <a:spLocks noChangeAspect="1" noChangeArrowheads="1"/>
            </p:cNvSpPr>
            <p:nvPr/>
          </p:nvSpPr>
          <p:spPr bwMode="gray">
            <a:xfrm>
              <a:off x="2623416" y="1113458"/>
              <a:ext cx="95614" cy="93663"/>
            </a:xfrm>
            <a:prstGeom prst="ellipse">
              <a:avLst/>
            </a:prstGeom>
            <a:solidFill>
              <a:srgbClr val="E60D2E"/>
            </a:solidFill>
            <a:ln w="12700" algn="ctr">
              <a:solidFill>
                <a:srgbClr val="273F4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702" name="Rectangle 151"/>
            <p:cNvSpPr>
              <a:spLocks noChangeAspect="1" noChangeArrowheads="1"/>
            </p:cNvSpPr>
            <p:nvPr/>
          </p:nvSpPr>
          <p:spPr bwMode="gray">
            <a:xfrm>
              <a:off x="2630344" y="1723073"/>
              <a:ext cx="93993" cy="92075"/>
            </a:xfrm>
            <a:prstGeom prst="rect">
              <a:avLst/>
            </a:prstGeom>
            <a:solidFill>
              <a:srgbClr val="53A14B"/>
            </a:solidFill>
            <a:ln w="12700" algn="ctr">
              <a:solidFill>
                <a:srgbClr val="273F44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703" name="Oval 150"/>
          <p:cNvSpPr>
            <a:spLocks noChangeAspect="1" noChangeArrowheads="1"/>
          </p:cNvSpPr>
          <p:nvPr/>
        </p:nvSpPr>
        <p:spPr bwMode="gray">
          <a:xfrm>
            <a:off x="1823661" y="3140965"/>
            <a:ext cx="93347" cy="93347"/>
          </a:xfrm>
          <a:prstGeom prst="ellipse">
            <a:avLst/>
          </a:prstGeom>
          <a:solidFill>
            <a:srgbClr val="E60D2E"/>
          </a:solidFill>
          <a:ln w="12700" algn="ctr">
            <a:solidFill>
              <a:srgbClr val="273F4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04" name="Oval 149"/>
          <p:cNvSpPr>
            <a:spLocks noChangeAspect="1" noChangeArrowheads="1"/>
          </p:cNvSpPr>
          <p:nvPr/>
        </p:nvSpPr>
        <p:spPr bwMode="gray">
          <a:xfrm>
            <a:off x="2399725" y="3485286"/>
            <a:ext cx="93347" cy="93347"/>
          </a:xfrm>
          <a:prstGeom prst="ellipse">
            <a:avLst/>
          </a:prstGeom>
          <a:solidFill>
            <a:srgbClr val="FFFF00"/>
          </a:solidFill>
          <a:ln w="12700" algn="ctr">
            <a:solidFill>
              <a:srgbClr val="273F4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05" name="Stern mit 5 Zacken 197"/>
          <p:cNvSpPr>
            <a:spLocks noChangeAspect="1"/>
          </p:cNvSpPr>
          <p:nvPr/>
        </p:nvSpPr>
        <p:spPr bwMode="auto">
          <a:xfrm>
            <a:off x="2543740" y="3441251"/>
            <a:ext cx="145734" cy="158114"/>
          </a:xfrm>
          <a:prstGeom prst="star5">
            <a:avLst/>
          </a:prstGeom>
          <a:solidFill>
            <a:srgbClr val="FFFF00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266700" marR="0" lvl="0" indent="-2667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itchFamily="34" charset="0"/>
              <a:buChar char="—"/>
              <a:tabLst/>
              <a:defRPr/>
            </a:pPr>
            <a:endParaRPr kumimoji="0" lang="de-DE" sz="16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</a:endParaRPr>
          </a:p>
        </p:txBody>
      </p:sp>
      <p:sp>
        <p:nvSpPr>
          <p:cNvPr id="706" name="Gleichschenkliges Dreieck 266"/>
          <p:cNvSpPr>
            <a:spLocks noChangeAspect="1"/>
          </p:cNvSpPr>
          <p:nvPr/>
        </p:nvSpPr>
        <p:spPr bwMode="auto">
          <a:xfrm>
            <a:off x="2399725" y="3840975"/>
            <a:ext cx="93347" cy="110491"/>
          </a:xfrm>
          <a:prstGeom prst="triangle">
            <a:avLst/>
          </a:prstGeom>
          <a:solidFill>
            <a:srgbClr val="FFFF00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266700" marR="0" lvl="0" indent="-2667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itchFamily="34" charset="0"/>
              <a:buChar char="—"/>
              <a:tabLst/>
              <a:defRPr/>
            </a:pPr>
            <a:endParaRPr kumimoji="0" lang="de-DE" sz="16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</a:endParaRPr>
          </a:p>
        </p:txBody>
      </p:sp>
      <p:sp>
        <p:nvSpPr>
          <p:cNvPr id="707" name="Rectangle 151"/>
          <p:cNvSpPr>
            <a:spLocks noChangeAspect="1" noChangeArrowheads="1"/>
          </p:cNvSpPr>
          <p:nvPr/>
        </p:nvSpPr>
        <p:spPr bwMode="gray">
          <a:xfrm>
            <a:off x="2543741" y="3928861"/>
            <a:ext cx="91440" cy="91440"/>
          </a:xfrm>
          <a:prstGeom prst="rect">
            <a:avLst/>
          </a:prstGeom>
          <a:solidFill>
            <a:srgbClr val="53A14B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08" name="Oval 148"/>
          <p:cNvSpPr>
            <a:spLocks noChangeAspect="1" noChangeArrowheads="1"/>
          </p:cNvSpPr>
          <p:nvPr/>
        </p:nvSpPr>
        <p:spPr bwMode="gray">
          <a:xfrm>
            <a:off x="3191813" y="3711249"/>
            <a:ext cx="93347" cy="93347"/>
          </a:xfrm>
          <a:prstGeom prst="ellipse">
            <a:avLst/>
          </a:prstGeom>
          <a:solidFill>
            <a:srgbClr val="53A14B"/>
          </a:solidFill>
          <a:ln w="12700" algn="ctr">
            <a:solidFill>
              <a:srgbClr val="273F4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09" name="Rectangle 147"/>
          <p:cNvSpPr>
            <a:spLocks noChangeArrowheads="1"/>
          </p:cNvSpPr>
          <p:nvPr/>
        </p:nvSpPr>
        <p:spPr bwMode="gray">
          <a:xfrm>
            <a:off x="3479844" y="4000868"/>
            <a:ext cx="91440" cy="91440"/>
          </a:xfrm>
          <a:prstGeom prst="rect">
            <a:avLst/>
          </a:prstGeom>
          <a:solidFill>
            <a:srgbClr val="00A6D6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710" name="Rectangle 151"/>
          <p:cNvSpPr>
            <a:spLocks noChangeAspect="1" noChangeArrowheads="1"/>
          </p:cNvSpPr>
          <p:nvPr/>
        </p:nvSpPr>
        <p:spPr bwMode="gray">
          <a:xfrm>
            <a:off x="3475653" y="3933053"/>
            <a:ext cx="91440" cy="91440"/>
          </a:xfrm>
          <a:prstGeom prst="rect">
            <a:avLst/>
          </a:prstGeom>
          <a:solidFill>
            <a:srgbClr val="53A14B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11" name="Oval 150"/>
          <p:cNvSpPr>
            <a:spLocks noChangeAspect="1" noChangeArrowheads="1"/>
          </p:cNvSpPr>
          <p:nvPr/>
        </p:nvSpPr>
        <p:spPr bwMode="gray">
          <a:xfrm>
            <a:off x="3551853" y="3999281"/>
            <a:ext cx="93346" cy="93346"/>
          </a:xfrm>
          <a:prstGeom prst="ellipse">
            <a:avLst/>
          </a:prstGeom>
          <a:solidFill>
            <a:srgbClr val="E60D2E"/>
          </a:solidFill>
          <a:ln w="12700" algn="ctr">
            <a:solidFill>
              <a:srgbClr val="273F4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12" name="Oval 150"/>
          <p:cNvSpPr>
            <a:spLocks noChangeAspect="1" noChangeArrowheads="1"/>
          </p:cNvSpPr>
          <p:nvPr/>
        </p:nvSpPr>
        <p:spPr bwMode="gray">
          <a:xfrm>
            <a:off x="3263821" y="4725141"/>
            <a:ext cx="93347" cy="93347"/>
          </a:xfrm>
          <a:prstGeom prst="ellipse">
            <a:avLst/>
          </a:prstGeom>
          <a:solidFill>
            <a:srgbClr val="E60D2E"/>
          </a:solidFill>
          <a:ln w="12700" algn="ctr">
            <a:solidFill>
              <a:srgbClr val="273F4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13" name="Rectangle 103"/>
          <p:cNvSpPr>
            <a:spLocks noChangeArrowheads="1"/>
          </p:cNvSpPr>
          <p:nvPr/>
        </p:nvSpPr>
        <p:spPr bwMode="auto">
          <a:xfrm>
            <a:off x="3259034" y="3608928"/>
            <a:ext cx="36869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FFFFFF"/>
                </a:solidFill>
                <a:cs typeface="Arial" charset="0"/>
              </a:rPr>
              <a:t>Пермь</a:t>
            </a:r>
            <a:endParaRPr lang="de-DE" sz="10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14" name="Rectangle 103"/>
          <p:cNvSpPr>
            <a:spLocks noChangeArrowheads="1"/>
          </p:cNvSpPr>
          <p:nvPr/>
        </p:nvSpPr>
        <p:spPr bwMode="auto">
          <a:xfrm>
            <a:off x="3617509" y="3896960"/>
            <a:ext cx="75822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FFFFFF"/>
                </a:solidFill>
                <a:cs typeface="Arial" charset="0"/>
              </a:rPr>
              <a:t>Екатеринбург</a:t>
            </a:r>
            <a:endParaRPr lang="de-DE" sz="10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15" name="Rectangle 103"/>
          <p:cNvSpPr>
            <a:spLocks noChangeArrowheads="1"/>
          </p:cNvSpPr>
          <p:nvPr/>
        </p:nvSpPr>
        <p:spPr bwMode="auto">
          <a:xfrm>
            <a:off x="2041762" y="3945088"/>
            <a:ext cx="50013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FFFFFF"/>
                </a:solidFill>
                <a:cs typeface="Arial" charset="0"/>
              </a:rPr>
              <a:t>Тольятти</a:t>
            </a:r>
            <a:endParaRPr lang="de-DE" sz="10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16" name="Rectangle 103"/>
          <p:cNvSpPr>
            <a:spLocks noChangeArrowheads="1"/>
          </p:cNvSpPr>
          <p:nvPr/>
        </p:nvSpPr>
        <p:spPr bwMode="auto">
          <a:xfrm>
            <a:off x="2516074" y="4075601"/>
            <a:ext cx="41517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FFFFFF"/>
                </a:solidFill>
                <a:cs typeface="Arial" charset="0"/>
              </a:rPr>
              <a:t>Самара</a:t>
            </a:r>
            <a:endParaRPr lang="de-DE" sz="10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17" name="Rectangle 103"/>
          <p:cNvSpPr>
            <a:spLocks noChangeArrowheads="1"/>
          </p:cNvSpPr>
          <p:nvPr/>
        </p:nvSpPr>
        <p:spPr bwMode="auto">
          <a:xfrm>
            <a:off x="1348335" y="3140968"/>
            <a:ext cx="3911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FFFFFF"/>
                </a:solidFill>
                <a:cs typeface="Arial" charset="0"/>
              </a:rPr>
              <a:t>Брянск</a:t>
            </a:r>
            <a:endParaRPr lang="de-DE" sz="10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18" name="Rectangle 103"/>
          <p:cNvSpPr>
            <a:spLocks noChangeArrowheads="1"/>
          </p:cNvSpPr>
          <p:nvPr/>
        </p:nvSpPr>
        <p:spPr bwMode="auto">
          <a:xfrm>
            <a:off x="1150935" y="2962548"/>
            <a:ext cx="246862" cy="11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solidFill>
                  <a:srgbClr val="FFFFFF"/>
                </a:solidFill>
                <a:cs typeface="Arial" charset="0"/>
              </a:rPr>
              <a:t>Брест</a:t>
            </a:r>
            <a:endParaRPr lang="de-DE" sz="8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19" name="Rectangle 103"/>
          <p:cNvSpPr>
            <a:spLocks noChangeArrowheads="1"/>
          </p:cNvSpPr>
          <p:nvPr/>
        </p:nvSpPr>
        <p:spPr bwMode="auto">
          <a:xfrm>
            <a:off x="2147085" y="3573013"/>
            <a:ext cx="103714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FFFFFF"/>
                </a:solidFill>
                <a:cs typeface="Arial" charset="0"/>
              </a:rPr>
              <a:t>Нижний Новгород</a:t>
            </a:r>
            <a:endParaRPr lang="de-DE" sz="10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20" name="Номер слайда 3"/>
          <p:cNvSpPr txBox="1">
            <a:spLocks noGrp="1"/>
          </p:cNvSpPr>
          <p:nvPr/>
        </p:nvSpPr>
        <p:spPr bwMode="gray">
          <a:xfrm>
            <a:off x="6959600" y="6453188"/>
            <a:ext cx="186055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453C6BBD-34A5-4C4F-AE79-1BB500D7BE2E}" type="slidenum">
              <a:rPr lang="en-GB" sz="1400"/>
              <a:pPr algn="r">
                <a:lnSpc>
                  <a:spcPct val="100000"/>
                </a:lnSpc>
              </a:pPr>
              <a:t>4</a:t>
            </a:fld>
            <a:endParaRPr lang="en-GB" sz="1400" dirty="0"/>
          </a:p>
        </p:txBody>
      </p:sp>
      <p:sp>
        <p:nvSpPr>
          <p:cNvPr id="204" name="Rectangle 70">
            <a:extLst>
              <a:ext uri="{FF2B5EF4-FFF2-40B4-BE49-F238E27FC236}">
                <a16:creationId xmlns:a16="http://schemas.microsoft.com/office/drawing/2014/main" id="{55D97E34-0775-4ECA-953D-B37785022E2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315248" y="1329621"/>
            <a:ext cx="4457249" cy="718047"/>
          </a:xfrm>
          <a:prstGeom prst="rect">
            <a:avLst/>
          </a:prstGeom>
          <a:solidFill>
            <a:schemeClr val="bg1">
              <a:alpha val="70000"/>
            </a:schemeClr>
          </a:solidFill>
          <a:ln w="9525" algn="ctr">
            <a:solidFill>
              <a:schemeClr val="accent2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marL="2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tabLst>
                <a:tab pos="803275" algn="l"/>
              </a:tabLst>
            </a:pPr>
            <a:r>
              <a:rPr lang="ru-RU" dirty="0"/>
              <a:t>Компания </a:t>
            </a:r>
            <a:r>
              <a:rPr lang="en-US" dirty="0"/>
              <a:t>Linde Gas</a:t>
            </a:r>
            <a:r>
              <a:rPr lang="ru-RU" dirty="0"/>
              <a:t> начала работу в России в 2001 году, со штаб-квартирой в г. Балашиха, М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36866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6"/>
          <p:cNvSpPr>
            <a:spLocks noChangeArrowheads="1"/>
          </p:cNvSpPr>
          <p:nvPr/>
        </p:nvSpPr>
        <p:spPr bwMode="gray">
          <a:xfrm>
            <a:off x="2159126" y="3038517"/>
            <a:ext cx="6786579" cy="1500198"/>
          </a:xfrm>
          <a:prstGeom prst="rect">
            <a:avLst/>
          </a:prstGeom>
          <a:solidFill>
            <a:srgbClr val="D0DBE8"/>
          </a:solidFill>
          <a:ln w="15875" algn="ctr">
            <a:noFill/>
            <a:miter lim="800000"/>
            <a:headEnd/>
            <a:tailEnd/>
          </a:ln>
        </p:spPr>
        <p:txBody>
          <a:bodyPr wrap="none" lIns="90000" tIns="82800" rIns="90000" bIns="46800" anchor="ctr"/>
          <a:lstStyle/>
          <a:p>
            <a:pPr marL="271463" indent="-271463" algn="l">
              <a:lnSpc>
                <a:spcPct val="110000"/>
              </a:lnSpc>
              <a:spcBef>
                <a:spcPts val="300"/>
              </a:spcBef>
            </a:pPr>
            <a:r>
              <a:rPr lang="en-US" b="1" dirty="0">
                <a:latin typeface="+mn-lt"/>
              </a:rPr>
              <a:t>2 </a:t>
            </a:r>
            <a:r>
              <a:rPr lang="ru-RU" b="1" dirty="0">
                <a:latin typeface="+mn-lt"/>
              </a:rPr>
              <a:t>установки ВРУ</a:t>
            </a:r>
            <a:r>
              <a:rPr lang="en-US" b="1" dirty="0">
                <a:latin typeface="+mn-lt"/>
              </a:rPr>
              <a:t> </a:t>
            </a:r>
            <a:r>
              <a:rPr lang="ru-RU" b="1" dirty="0">
                <a:latin typeface="+mn-lt"/>
              </a:rPr>
              <a:t>для компании СИБУР-Нефтехим</a:t>
            </a:r>
            <a:r>
              <a:rPr lang="en-US" b="1" dirty="0">
                <a:latin typeface="+mn-lt"/>
              </a:rPr>
              <a:t> (</a:t>
            </a:r>
            <a:r>
              <a:rPr lang="ru-RU" b="1" dirty="0">
                <a:latin typeface="+mn-lt"/>
              </a:rPr>
              <a:t>Дзержинск</a:t>
            </a:r>
            <a:r>
              <a:rPr lang="en-US" b="1" dirty="0">
                <a:latin typeface="+mn-lt"/>
              </a:rPr>
              <a:t>)</a:t>
            </a:r>
          </a:p>
          <a:p>
            <a:pPr marL="285750" indent="-285750" eaLnBrk="0" hangingPunct="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</a:pPr>
            <a:r>
              <a:rPr lang="ru-RU" sz="1500" dirty="0">
                <a:solidFill>
                  <a:srgbClr val="00305C"/>
                </a:solidFill>
                <a:latin typeface="+mn-lt"/>
              </a:rPr>
              <a:t>Мощность </a:t>
            </a:r>
            <a:r>
              <a:rPr lang="en-US" sz="1500" dirty="0">
                <a:solidFill>
                  <a:srgbClr val="00305C"/>
                </a:solidFill>
                <a:latin typeface="+mn-lt"/>
              </a:rPr>
              <a:t> </a:t>
            </a:r>
            <a:r>
              <a:rPr lang="ru-RU" sz="1500" dirty="0">
                <a:solidFill>
                  <a:srgbClr val="00305C"/>
                </a:solidFill>
                <a:latin typeface="+mn-lt"/>
              </a:rPr>
              <a:t>– </a:t>
            </a:r>
            <a:r>
              <a:rPr lang="en-US" sz="1500" dirty="0">
                <a:solidFill>
                  <a:srgbClr val="00305C"/>
                </a:solidFill>
                <a:latin typeface="+mn-lt"/>
              </a:rPr>
              <a:t> </a:t>
            </a:r>
            <a:r>
              <a:rPr lang="ru-RU" sz="1500" dirty="0">
                <a:solidFill>
                  <a:srgbClr val="00305C"/>
                </a:solidFill>
                <a:latin typeface="+mn-lt"/>
              </a:rPr>
              <a:t>540</a:t>
            </a:r>
            <a:r>
              <a:rPr lang="en-US" sz="1500" dirty="0">
                <a:solidFill>
                  <a:srgbClr val="00305C"/>
                </a:solidFill>
                <a:latin typeface="+mn-lt"/>
              </a:rPr>
              <a:t> </a:t>
            </a:r>
            <a:r>
              <a:rPr lang="ru-RU" sz="1500" dirty="0">
                <a:solidFill>
                  <a:srgbClr val="00305C"/>
                </a:solidFill>
                <a:latin typeface="+mn-lt"/>
              </a:rPr>
              <a:t>т/день каждая ВРУ</a:t>
            </a:r>
            <a:r>
              <a:rPr lang="en-US" sz="1500" dirty="0">
                <a:solidFill>
                  <a:srgbClr val="00305C"/>
                </a:solidFill>
                <a:latin typeface="+mn-lt"/>
              </a:rPr>
              <a:t> </a:t>
            </a:r>
          </a:p>
          <a:p>
            <a:pPr marL="285750" indent="-285750" eaLnBrk="0" hangingPunct="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</a:pPr>
            <a:r>
              <a:rPr lang="ru-RU" sz="1500" dirty="0">
                <a:solidFill>
                  <a:srgbClr val="00305C"/>
                </a:solidFill>
              </a:rPr>
              <a:t>Запущены в </a:t>
            </a:r>
            <a:r>
              <a:rPr lang="en-US" sz="1500" dirty="0">
                <a:solidFill>
                  <a:srgbClr val="00305C"/>
                </a:solidFill>
              </a:rPr>
              <a:t>201</a:t>
            </a:r>
            <a:r>
              <a:rPr lang="ru-RU" sz="1500" dirty="0">
                <a:solidFill>
                  <a:srgbClr val="00305C"/>
                </a:solidFill>
              </a:rPr>
              <a:t>6 году</a:t>
            </a:r>
            <a:r>
              <a:rPr lang="en-US" sz="1500" dirty="0">
                <a:solidFill>
                  <a:srgbClr val="00305C"/>
                </a:solidFill>
              </a:rPr>
              <a:t>,</a:t>
            </a:r>
            <a:r>
              <a:rPr lang="ru-RU" sz="1500" dirty="0">
                <a:solidFill>
                  <a:srgbClr val="00305C"/>
                </a:solidFill>
              </a:rPr>
              <a:t> компания</a:t>
            </a:r>
            <a:r>
              <a:rPr lang="en-US" sz="1500" dirty="0">
                <a:solidFill>
                  <a:srgbClr val="00305C"/>
                </a:solidFill>
              </a:rPr>
              <a:t> Linde Engineering </a:t>
            </a:r>
            <a:r>
              <a:rPr lang="ru-RU" sz="1500" dirty="0">
                <a:solidFill>
                  <a:srgbClr val="00305C"/>
                </a:solidFill>
              </a:rPr>
              <a:t>являлась</a:t>
            </a:r>
            <a:r>
              <a:rPr lang="en-US" sz="1500" dirty="0">
                <a:solidFill>
                  <a:srgbClr val="00305C"/>
                </a:solidFill>
              </a:rPr>
              <a:t> EPC</a:t>
            </a:r>
            <a:r>
              <a:rPr lang="ru-RU" sz="1500" dirty="0">
                <a:solidFill>
                  <a:srgbClr val="00305C"/>
                </a:solidFill>
              </a:rPr>
              <a:t> подрядчиком</a:t>
            </a:r>
            <a:r>
              <a:rPr lang="en-US" sz="1500" dirty="0">
                <a:solidFill>
                  <a:srgbClr val="00305C"/>
                </a:solidFill>
              </a:rPr>
              <a:t>  </a:t>
            </a:r>
            <a:endParaRPr lang="ru-RU" altLang="ko-KR" sz="1500" dirty="0">
              <a:solidFill>
                <a:srgbClr val="00305C"/>
              </a:solidFill>
            </a:endParaRPr>
          </a:p>
          <a:p>
            <a:pPr marL="285750" indent="-285750" eaLnBrk="0" hangingPunct="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</a:pPr>
            <a:r>
              <a:rPr lang="ru-RU" sz="1500" dirty="0">
                <a:solidFill>
                  <a:srgbClr val="00305C"/>
                </a:solidFill>
              </a:rPr>
              <a:t>Инвестиции составили около 70 млн. евро</a:t>
            </a:r>
            <a:endParaRPr lang="en-US" sz="1500" dirty="0">
              <a:solidFill>
                <a:srgbClr val="00305C"/>
              </a:solidFill>
            </a:endParaRPr>
          </a:p>
        </p:txBody>
      </p:sp>
      <p:sp>
        <p:nvSpPr>
          <p:cNvPr id="12293" name="Rectangle 7"/>
          <p:cNvSpPr>
            <a:spLocks noChangeArrowheads="1"/>
          </p:cNvSpPr>
          <p:nvPr/>
        </p:nvSpPr>
        <p:spPr bwMode="gray">
          <a:xfrm>
            <a:off x="2159126" y="4669724"/>
            <a:ext cx="6786579" cy="1857388"/>
          </a:xfrm>
          <a:prstGeom prst="rect">
            <a:avLst/>
          </a:prstGeom>
          <a:solidFill>
            <a:srgbClr val="D0DBE8"/>
          </a:solidFill>
          <a:ln w="15875" algn="ctr">
            <a:noFill/>
            <a:miter lim="800000"/>
            <a:headEnd/>
            <a:tailEnd/>
          </a:ln>
        </p:spPr>
        <p:txBody>
          <a:bodyPr wrap="none" lIns="90000" tIns="82800" rIns="90000" bIns="46800" anchor="ctr"/>
          <a:lstStyle/>
          <a:p>
            <a:pPr marL="271463" indent="-271463" algn="l">
              <a:lnSpc>
                <a:spcPct val="110000"/>
              </a:lnSpc>
              <a:spcBef>
                <a:spcPts val="600"/>
              </a:spcBef>
            </a:pPr>
            <a:r>
              <a:rPr lang="ru-RU" b="1" dirty="0">
                <a:latin typeface="+mn-lt"/>
              </a:rPr>
              <a:t>Узел отгрузки гелия </a:t>
            </a:r>
            <a:r>
              <a:rPr lang="en-US" b="1" dirty="0">
                <a:latin typeface="+mn-lt"/>
              </a:rPr>
              <a:t>(</a:t>
            </a:r>
            <a:r>
              <a:rPr lang="ru-RU" b="1" dirty="0">
                <a:latin typeface="+mn-lt"/>
              </a:rPr>
              <a:t>Балашиха</a:t>
            </a:r>
            <a:r>
              <a:rPr lang="en-US" b="1" dirty="0">
                <a:latin typeface="+mn-lt"/>
              </a:rPr>
              <a:t>)</a:t>
            </a:r>
          </a:p>
          <a:p>
            <a:pPr marL="285750" indent="-285750" eaLnBrk="0" hangingPunct="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</a:pPr>
            <a:r>
              <a:rPr lang="ru-RU" dirty="0">
                <a:solidFill>
                  <a:srgbClr val="00305C"/>
                </a:solidFill>
                <a:latin typeface="+mn-lt"/>
              </a:rPr>
              <a:t>Вход на рынок жидкого гелия в России с долей около</a:t>
            </a:r>
            <a:r>
              <a:rPr lang="en-US" dirty="0">
                <a:solidFill>
                  <a:srgbClr val="00305C"/>
                </a:solidFill>
                <a:latin typeface="+mn-lt"/>
              </a:rPr>
              <a:t> 5%</a:t>
            </a:r>
          </a:p>
          <a:p>
            <a:pPr marL="285750" indent="-285750" eaLnBrk="0" hangingPunct="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</a:pPr>
            <a:r>
              <a:rPr lang="ru-RU" dirty="0">
                <a:solidFill>
                  <a:srgbClr val="00305C"/>
                </a:solidFill>
                <a:latin typeface="+mn-lt"/>
              </a:rPr>
              <a:t>Обслуживание медицинского оборудования</a:t>
            </a:r>
          </a:p>
          <a:p>
            <a:pPr marL="285750" indent="-285750" eaLnBrk="0" hangingPunct="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</a:pPr>
            <a:r>
              <a:rPr lang="ru-RU" dirty="0">
                <a:solidFill>
                  <a:srgbClr val="00305C"/>
                </a:solidFill>
                <a:latin typeface="+mn-lt"/>
              </a:rPr>
              <a:t>Инвестиции около 2 млн. евро</a:t>
            </a:r>
            <a:endParaRPr lang="de-DE" dirty="0">
              <a:solidFill>
                <a:srgbClr val="00305C"/>
              </a:solidFill>
              <a:latin typeface="+mn-lt"/>
            </a:endParaRPr>
          </a:p>
        </p:txBody>
      </p:sp>
      <p:pic>
        <p:nvPicPr>
          <p:cNvPr id="12295" name="Picture 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174625" y="3038517"/>
            <a:ext cx="1882757" cy="150019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</p:pic>
      <p:sp>
        <p:nvSpPr>
          <p:cNvPr id="12297" name="Rectangle 7"/>
          <p:cNvSpPr>
            <a:spLocks noChangeArrowheads="1"/>
          </p:cNvSpPr>
          <p:nvPr/>
        </p:nvSpPr>
        <p:spPr bwMode="gray">
          <a:xfrm>
            <a:off x="2159127" y="1285872"/>
            <a:ext cx="6786578" cy="1643062"/>
          </a:xfrm>
          <a:prstGeom prst="rect">
            <a:avLst/>
          </a:prstGeom>
          <a:solidFill>
            <a:srgbClr val="D0DBE8"/>
          </a:solidFill>
          <a:ln w="15875" algn="ctr">
            <a:noFill/>
            <a:miter lim="800000"/>
            <a:headEnd/>
            <a:tailEnd/>
          </a:ln>
        </p:spPr>
        <p:txBody>
          <a:bodyPr wrap="none" lIns="90000" tIns="82800" rIns="90000" bIns="46800" anchor="ctr"/>
          <a:lstStyle/>
          <a:p>
            <a:pPr marL="190500" indent="-190500" algn="l" eaLnBrk="0" fontAlgn="b" hangingPunct="0">
              <a:lnSpc>
                <a:spcPct val="100000"/>
              </a:lnSpc>
              <a:spcBef>
                <a:spcPts val="400"/>
              </a:spcBef>
            </a:pPr>
            <a:r>
              <a:rPr lang="ru-RU" b="1" dirty="0">
                <a:latin typeface="+mn-lt"/>
              </a:rPr>
              <a:t>Новый завод производства водорода/аммиака </a:t>
            </a:r>
          </a:p>
          <a:p>
            <a:pPr marL="190500" indent="-190500" algn="l" eaLnBrk="0" fontAlgn="b" hangingPunct="0">
              <a:lnSpc>
                <a:spcPct val="100000"/>
              </a:lnSpc>
              <a:spcBef>
                <a:spcPts val="400"/>
              </a:spcBef>
            </a:pPr>
            <a:r>
              <a:rPr lang="ru-RU" b="1" dirty="0">
                <a:latin typeface="+mn-lt"/>
              </a:rPr>
              <a:t>для ПАО «Куйбышевазот» </a:t>
            </a:r>
            <a:r>
              <a:rPr lang="en-US" b="1" dirty="0">
                <a:latin typeface="+mn-lt"/>
              </a:rPr>
              <a:t>(</a:t>
            </a:r>
            <a:r>
              <a:rPr lang="ru-RU" b="1" dirty="0">
                <a:latin typeface="+mn-lt"/>
              </a:rPr>
              <a:t>Тольятти</a:t>
            </a:r>
            <a:r>
              <a:rPr lang="en-US" b="1" dirty="0">
                <a:latin typeface="+mn-lt"/>
              </a:rPr>
              <a:t>)</a:t>
            </a:r>
            <a:endParaRPr lang="en-GB" dirty="0">
              <a:latin typeface="+mn-lt"/>
            </a:endParaRPr>
          </a:p>
          <a:p>
            <a:pPr marL="285750" indent="-285750" algn="l" eaLnBrk="0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ru-RU" sz="1500" dirty="0">
                <a:solidFill>
                  <a:srgbClr val="00305C"/>
                </a:solidFill>
                <a:latin typeface="+mn-lt"/>
              </a:rPr>
              <a:t>Мощность</a:t>
            </a:r>
            <a:r>
              <a:rPr lang="en-GB" sz="1500" dirty="0">
                <a:solidFill>
                  <a:srgbClr val="00305C"/>
                </a:solidFill>
                <a:latin typeface="+mn-lt"/>
              </a:rPr>
              <a:t> 1340 </a:t>
            </a:r>
            <a:r>
              <a:rPr lang="ru-RU" sz="1500" dirty="0">
                <a:solidFill>
                  <a:srgbClr val="00305C"/>
                </a:solidFill>
                <a:latin typeface="+mn-lt"/>
              </a:rPr>
              <a:t>т/день по аммиаку</a:t>
            </a:r>
            <a:r>
              <a:rPr lang="en-GB" sz="1500" dirty="0">
                <a:solidFill>
                  <a:srgbClr val="00305C"/>
                </a:solidFill>
                <a:latin typeface="+mn-lt"/>
              </a:rPr>
              <a:t> </a:t>
            </a:r>
            <a:r>
              <a:rPr lang="ru-RU" sz="1500" dirty="0">
                <a:solidFill>
                  <a:srgbClr val="00305C"/>
                </a:solidFill>
                <a:latin typeface="+mn-lt"/>
              </a:rPr>
              <a:t>и</a:t>
            </a:r>
            <a:r>
              <a:rPr lang="en-GB" sz="1500" dirty="0">
                <a:solidFill>
                  <a:srgbClr val="00305C"/>
                </a:solidFill>
                <a:latin typeface="+mn-lt"/>
              </a:rPr>
              <a:t> 8 000 </a:t>
            </a:r>
            <a:r>
              <a:rPr lang="ru-RU" sz="1500" dirty="0">
                <a:solidFill>
                  <a:srgbClr val="00305C"/>
                </a:solidFill>
                <a:latin typeface="+mn-lt"/>
              </a:rPr>
              <a:t>м</a:t>
            </a:r>
            <a:r>
              <a:rPr lang="en-US" sz="1500" dirty="0">
                <a:solidFill>
                  <a:srgbClr val="00305C"/>
                </a:solidFill>
                <a:latin typeface="+mn-lt"/>
              </a:rPr>
              <a:t>3</a:t>
            </a:r>
            <a:r>
              <a:rPr lang="en-GB" sz="1500" dirty="0">
                <a:solidFill>
                  <a:srgbClr val="00305C"/>
                </a:solidFill>
                <a:latin typeface="+mn-lt"/>
              </a:rPr>
              <a:t>/</a:t>
            </a:r>
            <a:r>
              <a:rPr lang="ru-RU" sz="1500" dirty="0">
                <a:solidFill>
                  <a:srgbClr val="00305C"/>
                </a:solidFill>
                <a:latin typeface="+mn-lt"/>
              </a:rPr>
              <a:t>ч</a:t>
            </a:r>
            <a:r>
              <a:rPr lang="en-GB" sz="1500" dirty="0">
                <a:solidFill>
                  <a:srgbClr val="00305C"/>
                </a:solidFill>
                <a:latin typeface="+mn-lt"/>
              </a:rPr>
              <a:t> </a:t>
            </a:r>
            <a:r>
              <a:rPr lang="ru-RU" sz="1500" dirty="0">
                <a:solidFill>
                  <a:srgbClr val="00305C"/>
                </a:solidFill>
                <a:latin typeface="+mn-lt"/>
              </a:rPr>
              <a:t>по водороду</a:t>
            </a:r>
          </a:p>
          <a:p>
            <a:pPr marL="285750" indent="-285750" eaLnBrk="0" hangingPunct="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</a:pPr>
            <a:r>
              <a:rPr lang="ru-RU" sz="1500" dirty="0">
                <a:solidFill>
                  <a:srgbClr val="00305C"/>
                </a:solidFill>
                <a:latin typeface="+mn-lt"/>
              </a:rPr>
              <a:t>Запущен в </a:t>
            </a:r>
            <a:r>
              <a:rPr lang="en-US" sz="1500" dirty="0">
                <a:solidFill>
                  <a:srgbClr val="00305C"/>
                </a:solidFill>
                <a:latin typeface="+mn-lt"/>
              </a:rPr>
              <a:t>2017</a:t>
            </a:r>
            <a:r>
              <a:rPr lang="ru-RU" sz="1500" dirty="0">
                <a:solidFill>
                  <a:srgbClr val="00305C"/>
                </a:solidFill>
                <a:latin typeface="+mn-lt"/>
              </a:rPr>
              <a:t> году</a:t>
            </a:r>
            <a:r>
              <a:rPr lang="en-US" sz="1500" dirty="0">
                <a:solidFill>
                  <a:srgbClr val="00305C"/>
                </a:solidFill>
                <a:latin typeface="+mn-lt"/>
              </a:rPr>
              <a:t>,</a:t>
            </a:r>
            <a:r>
              <a:rPr lang="ru-RU" sz="1500" dirty="0">
                <a:solidFill>
                  <a:srgbClr val="00305C"/>
                </a:solidFill>
                <a:latin typeface="+mn-lt"/>
              </a:rPr>
              <a:t> компания</a:t>
            </a:r>
            <a:r>
              <a:rPr lang="en-US" sz="1500" dirty="0">
                <a:solidFill>
                  <a:srgbClr val="00305C"/>
                </a:solidFill>
                <a:latin typeface="+mn-lt"/>
              </a:rPr>
              <a:t> </a:t>
            </a:r>
            <a:r>
              <a:rPr lang="en-US" sz="1500" dirty="0">
                <a:solidFill>
                  <a:srgbClr val="00305C"/>
                </a:solidFill>
              </a:rPr>
              <a:t>Linde Engineering </a:t>
            </a:r>
            <a:r>
              <a:rPr lang="ru-RU" sz="1500" dirty="0">
                <a:solidFill>
                  <a:srgbClr val="00305C"/>
                </a:solidFill>
              </a:rPr>
              <a:t>являлась</a:t>
            </a:r>
            <a:r>
              <a:rPr lang="en-US" sz="1500" dirty="0">
                <a:solidFill>
                  <a:srgbClr val="00305C"/>
                </a:solidFill>
              </a:rPr>
              <a:t> EPC</a:t>
            </a:r>
            <a:r>
              <a:rPr lang="ru-RU" sz="1500" dirty="0">
                <a:solidFill>
                  <a:srgbClr val="00305C"/>
                </a:solidFill>
              </a:rPr>
              <a:t> подрядчиком</a:t>
            </a:r>
            <a:r>
              <a:rPr lang="en-US" sz="1500" dirty="0">
                <a:solidFill>
                  <a:srgbClr val="00305C"/>
                </a:solidFill>
              </a:rPr>
              <a:t> </a:t>
            </a:r>
            <a:r>
              <a:rPr lang="en-US" sz="1500" dirty="0">
                <a:solidFill>
                  <a:srgbClr val="00305C"/>
                </a:solidFill>
                <a:latin typeface="+mn-lt"/>
              </a:rPr>
              <a:t> </a:t>
            </a:r>
            <a:endParaRPr lang="ru-RU" altLang="ko-KR" sz="1500" dirty="0">
              <a:solidFill>
                <a:srgbClr val="00305C"/>
              </a:solidFill>
              <a:latin typeface="+mn-lt"/>
            </a:endParaRPr>
          </a:p>
          <a:p>
            <a:pPr marL="285750" indent="-285750" algn="l" eaLnBrk="0" hangingPunct="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</a:pPr>
            <a:r>
              <a:rPr lang="ru-RU" sz="1500" dirty="0">
                <a:solidFill>
                  <a:srgbClr val="00305C"/>
                </a:solidFill>
                <a:latin typeface="+mn-lt"/>
              </a:rPr>
              <a:t>Инвестиции составили около 260 млн. евро</a:t>
            </a:r>
            <a:endParaRPr lang="en-US" sz="1500" dirty="0">
              <a:solidFill>
                <a:srgbClr val="00305C"/>
              </a:solidFill>
              <a:latin typeface="+mn-lt"/>
            </a:endParaRPr>
          </a:p>
        </p:txBody>
      </p:sp>
      <p:pic>
        <p:nvPicPr>
          <p:cNvPr id="27652" name="Picture 4" descr="http://im5-tub-ru.yandex.net/i?id=18299068-23-72&amp;n=2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4624" y="1285872"/>
            <a:ext cx="1882758" cy="1643062"/>
          </a:xfrm>
          <a:prstGeom prst="rect">
            <a:avLst/>
          </a:prstGeom>
          <a:noFill/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625" y="4669724"/>
            <a:ext cx="1882758" cy="1857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161925" y="161925"/>
            <a:ext cx="6784975" cy="1020763"/>
          </a:xfrm>
        </p:spPr>
        <p:txBody>
          <a:bodyPr/>
          <a:lstStyle/>
          <a:p>
            <a:pPr>
              <a:spcAft>
                <a:spcPct val="30000"/>
              </a:spcAft>
            </a:pPr>
            <a:r>
              <a:rPr lang="en-US" kern="1200" dirty="0">
                <a:latin typeface="LindeDaxPowerPoint" pitchFamily="34" charset="0"/>
              </a:rPr>
              <a:t>Linde Gas</a:t>
            </a:r>
            <a:br>
              <a:rPr lang="en-US" kern="1200" dirty="0">
                <a:latin typeface="LindeDaxPowerPoint" pitchFamily="34" charset="0"/>
              </a:rPr>
            </a:br>
            <a:r>
              <a:rPr lang="ru-RU" kern="1200" dirty="0">
                <a:latin typeface="LindeDaxPowerPoint" pitchFamily="34" charset="0"/>
              </a:rPr>
              <a:t>Недавние проекты в России</a:t>
            </a:r>
            <a:endParaRPr lang="de-DE" b="0" kern="1200" dirty="0">
              <a:latin typeface="LindeDaxPowerPoint" pitchFamily="34" charset="0"/>
            </a:endParaRPr>
          </a:p>
        </p:txBody>
      </p:sp>
      <p:sp>
        <p:nvSpPr>
          <p:cNvPr id="10" name="Slide Number Placeholder 4"/>
          <p:cNvSpPr txBox="1">
            <a:spLocks noGrp="1"/>
          </p:cNvSpPr>
          <p:nvPr/>
        </p:nvSpPr>
        <p:spPr bwMode="gray">
          <a:xfrm>
            <a:off x="6959600" y="6453188"/>
            <a:ext cx="186055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>
            <a:defPPr>
              <a:defRPr lang="en-US"/>
            </a:defPPr>
            <a:lvl1pPr algn="r">
              <a:lnSpc>
                <a:spcPct val="100000"/>
              </a:lnSpc>
              <a:defRPr sz="1400"/>
            </a:lvl1pPr>
          </a:lstStyle>
          <a:p>
            <a:fld id="{EAE39CC8-55C0-4E61-B62C-527734F31101}" type="slidenum">
              <a:rPr lang="en-GB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5966361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6242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>
              <a:defRPr/>
            </a:pPr>
            <a:r>
              <a:rPr lang="en-GB" dirty="0"/>
              <a:t>Linde Engineering</a:t>
            </a:r>
            <a:br>
              <a:rPr lang="en-GB" dirty="0"/>
            </a:br>
            <a:r>
              <a:rPr lang="ru-RU" b="0" dirty="0"/>
              <a:t>Референцные заводы в России</a:t>
            </a:r>
            <a:endParaRPr lang="en-GB" b="0" dirty="0"/>
          </a:p>
        </p:txBody>
      </p:sp>
      <p:grpSp>
        <p:nvGrpSpPr>
          <p:cNvPr id="177" name="Group 181"/>
          <p:cNvGrpSpPr>
            <a:grpSpLocks/>
          </p:cNvGrpSpPr>
          <p:nvPr/>
        </p:nvGrpSpPr>
        <p:grpSpPr bwMode="auto">
          <a:xfrm>
            <a:off x="380446" y="1271557"/>
            <a:ext cx="8231188" cy="5132388"/>
            <a:chOff x="86" y="942"/>
            <a:chExt cx="5185" cy="3233"/>
          </a:xfrm>
        </p:grpSpPr>
        <p:sp>
          <p:nvSpPr>
            <p:cNvPr id="178" name="Freeform 3"/>
            <p:cNvSpPr>
              <a:spLocks/>
            </p:cNvSpPr>
            <p:nvPr/>
          </p:nvSpPr>
          <p:spPr bwMode="auto">
            <a:xfrm>
              <a:off x="4416" y="2986"/>
              <a:ext cx="27" cy="43"/>
            </a:xfrm>
            <a:custGeom>
              <a:avLst/>
              <a:gdLst>
                <a:gd name="T0" fmla="*/ 5 w 30"/>
                <a:gd name="T1" fmla="*/ 4 h 48"/>
                <a:gd name="T2" fmla="*/ 0 w 30"/>
                <a:gd name="T3" fmla="*/ 4 h 48"/>
                <a:gd name="T4" fmla="*/ 0 w 30"/>
                <a:gd name="T5" fmla="*/ 4 h 48"/>
                <a:gd name="T6" fmla="*/ 0 w 30"/>
                <a:gd name="T7" fmla="*/ 4 h 48"/>
                <a:gd name="T8" fmla="*/ 0 w 30"/>
                <a:gd name="T9" fmla="*/ 4 h 48"/>
                <a:gd name="T10" fmla="*/ 5 w 30"/>
                <a:gd name="T11" fmla="*/ 0 h 48"/>
                <a:gd name="T12" fmla="*/ 5 w 30"/>
                <a:gd name="T13" fmla="*/ 0 h 48"/>
                <a:gd name="T14" fmla="*/ 5 w 30"/>
                <a:gd name="T15" fmla="*/ 4 h 48"/>
                <a:gd name="T16" fmla="*/ 5 w 30"/>
                <a:gd name="T17" fmla="*/ 4 h 48"/>
                <a:gd name="T18" fmla="*/ 5 w 30"/>
                <a:gd name="T19" fmla="*/ 4 h 48"/>
                <a:gd name="T20" fmla="*/ 5 w 30"/>
                <a:gd name="T21" fmla="*/ 4 h 48"/>
                <a:gd name="T22" fmla="*/ 5 w 30"/>
                <a:gd name="T23" fmla="*/ 4 h 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0" h="48">
                  <a:moveTo>
                    <a:pt x="12" y="48"/>
                  </a:moveTo>
                  <a:lnTo>
                    <a:pt x="0" y="48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30" y="12"/>
                  </a:lnTo>
                  <a:lnTo>
                    <a:pt x="30" y="24"/>
                  </a:lnTo>
                  <a:lnTo>
                    <a:pt x="30" y="36"/>
                  </a:lnTo>
                  <a:lnTo>
                    <a:pt x="18" y="48"/>
                  </a:lnTo>
                  <a:lnTo>
                    <a:pt x="12" y="4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79" name="Freeform 4"/>
            <p:cNvSpPr>
              <a:spLocks/>
            </p:cNvSpPr>
            <p:nvPr/>
          </p:nvSpPr>
          <p:spPr bwMode="auto">
            <a:xfrm>
              <a:off x="4617" y="2960"/>
              <a:ext cx="322" cy="491"/>
            </a:xfrm>
            <a:custGeom>
              <a:avLst/>
              <a:gdLst>
                <a:gd name="T0" fmla="*/ 4 w 366"/>
                <a:gd name="T1" fmla="*/ 4 h 558"/>
                <a:gd name="T2" fmla="*/ 4 w 366"/>
                <a:gd name="T3" fmla="*/ 4 h 558"/>
                <a:gd name="T4" fmla="*/ 4 w 366"/>
                <a:gd name="T5" fmla="*/ 4 h 558"/>
                <a:gd name="T6" fmla="*/ 4 w 366"/>
                <a:gd name="T7" fmla="*/ 0 h 558"/>
                <a:gd name="T8" fmla="*/ 4 w 366"/>
                <a:gd name="T9" fmla="*/ 4 h 558"/>
                <a:gd name="T10" fmla="*/ 4 w 366"/>
                <a:gd name="T11" fmla="*/ 4 h 558"/>
                <a:gd name="T12" fmla="*/ 4 w 366"/>
                <a:gd name="T13" fmla="*/ 4 h 558"/>
                <a:gd name="T14" fmla="*/ 4 w 366"/>
                <a:gd name="T15" fmla="*/ 4 h 558"/>
                <a:gd name="T16" fmla="*/ 4 w 366"/>
                <a:gd name="T17" fmla="*/ 4 h 558"/>
                <a:gd name="T18" fmla="*/ 4 w 366"/>
                <a:gd name="T19" fmla="*/ 4 h 558"/>
                <a:gd name="T20" fmla="*/ 4 w 366"/>
                <a:gd name="T21" fmla="*/ 4 h 558"/>
                <a:gd name="T22" fmla="*/ 4 w 366"/>
                <a:gd name="T23" fmla="*/ 4 h 558"/>
                <a:gd name="T24" fmla="*/ 4 w 366"/>
                <a:gd name="T25" fmla="*/ 4 h 558"/>
                <a:gd name="T26" fmla="*/ 4 w 366"/>
                <a:gd name="T27" fmla="*/ 4 h 558"/>
                <a:gd name="T28" fmla="*/ 4 w 366"/>
                <a:gd name="T29" fmla="*/ 4 h 558"/>
                <a:gd name="T30" fmla="*/ 4 w 366"/>
                <a:gd name="T31" fmla="*/ 4 h 558"/>
                <a:gd name="T32" fmla="*/ 4 w 366"/>
                <a:gd name="T33" fmla="*/ 4 h 558"/>
                <a:gd name="T34" fmla="*/ 4 w 366"/>
                <a:gd name="T35" fmla="*/ 4 h 558"/>
                <a:gd name="T36" fmla="*/ 4 w 366"/>
                <a:gd name="T37" fmla="*/ 4 h 558"/>
                <a:gd name="T38" fmla="*/ 4 w 366"/>
                <a:gd name="T39" fmla="*/ 4 h 558"/>
                <a:gd name="T40" fmla="*/ 4 w 366"/>
                <a:gd name="T41" fmla="*/ 4 h 558"/>
                <a:gd name="T42" fmla="*/ 4 w 366"/>
                <a:gd name="T43" fmla="*/ 5 h 558"/>
                <a:gd name="T44" fmla="*/ 4 w 366"/>
                <a:gd name="T45" fmla="*/ 6 h 558"/>
                <a:gd name="T46" fmla="*/ 4 w 366"/>
                <a:gd name="T47" fmla="*/ 6 h 558"/>
                <a:gd name="T48" fmla="*/ 4 w 366"/>
                <a:gd name="T49" fmla="*/ 6 h 558"/>
                <a:gd name="T50" fmla="*/ 4 w 366"/>
                <a:gd name="T51" fmla="*/ 6 h 558"/>
                <a:gd name="T52" fmla="*/ 4 w 366"/>
                <a:gd name="T53" fmla="*/ 6 h 558"/>
                <a:gd name="T54" fmla="*/ 5 w 366"/>
                <a:gd name="T55" fmla="*/ 7 h 558"/>
                <a:gd name="T56" fmla="*/ 4 w 366"/>
                <a:gd name="T57" fmla="*/ 7 h 558"/>
                <a:gd name="T58" fmla="*/ 4 w 366"/>
                <a:gd name="T59" fmla="*/ 7 h 558"/>
                <a:gd name="T60" fmla="*/ 4 w 366"/>
                <a:gd name="T61" fmla="*/ 7 h 558"/>
                <a:gd name="T62" fmla="*/ 4 w 366"/>
                <a:gd name="T63" fmla="*/ 7 h 558"/>
                <a:gd name="T64" fmla="*/ 4 w 366"/>
                <a:gd name="T65" fmla="*/ 7 h 558"/>
                <a:gd name="T66" fmla="*/ 4 w 366"/>
                <a:gd name="T67" fmla="*/ 8 h 558"/>
                <a:gd name="T68" fmla="*/ 4 w 366"/>
                <a:gd name="T69" fmla="*/ 8 h 558"/>
                <a:gd name="T70" fmla="*/ 4 w 366"/>
                <a:gd name="T71" fmla="*/ 7 h 558"/>
                <a:gd name="T72" fmla="*/ 4 w 366"/>
                <a:gd name="T73" fmla="*/ 7 h 558"/>
                <a:gd name="T74" fmla="*/ 4 w 366"/>
                <a:gd name="T75" fmla="*/ 7 h 558"/>
                <a:gd name="T76" fmla="*/ 4 w 366"/>
                <a:gd name="T77" fmla="*/ 6 h 558"/>
                <a:gd name="T78" fmla="*/ 4 w 366"/>
                <a:gd name="T79" fmla="*/ 5 h 558"/>
                <a:gd name="T80" fmla="*/ 4 w 366"/>
                <a:gd name="T81" fmla="*/ 5 h 558"/>
                <a:gd name="T82" fmla="*/ 4 w 366"/>
                <a:gd name="T83" fmla="*/ 4 h 558"/>
                <a:gd name="T84" fmla="*/ 4 w 366"/>
                <a:gd name="T85" fmla="*/ 4 h 558"/>
                <a:gd name="T86" fmla="*/ 4 w 366"/>
                <a:gd name="T87" fmla="*/ 4 h 558"/>
                <a:gd name="T88" fmla="*/ 4 w 366"/>
                <a:gd name="T89" fmla="*/ 4 h 558"/>
                <a:gd name="T90" fmla="*/ 4 w 366"/>
                <a:gd name="T91" fmla="*/ 4 h 558"/>
                <a:gd name="T92" fmla="*/ 4 w 366"/>
                <a:gd name="T93" fmla="*/ 4 h 558"/>
                <a:gd name="T94" fmla="*/ 4 w 366"/>
                <a:gd name="T95" fmla="*/ 4 h 558"/>
                <a:gd name="T96" fmla="*/ 4 w 366"/>
                <a:gd name="T97" fmla="*/ 4 h 558"/>
                <a:gd name="T98" fmla="*/ 4 w 366"/>
                <a:gd name="T99" fmla="*/ 4 h 55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66" h="558">
                  <a:moveTo>
                    <a:pt x="12" y="84"/>
                  </a:moveTo>
                  <a:lnTo>
                    <a:pt x="24" y="66"/>
                  </a:lnTo>
                  <a:lnTo>
                    <a:pt x="36" y="54"/>
                  </a:lnTo>
                  <a:lnTo>
                    <a:pt x="36" y="42"/>
                  </a:lnTo>
                  <a:lnTo>
                    <a:pt x="24" y="30"/>
                  </a:lnTo>
                  <a:lnTo>
                    <a:pt x="12" y="24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4" y="24"/>
                  </a:lnTo>
                  <a:lnTo>
                    <a:pt x="36" y="30"/>
                  </a:lnTo>
                  <a:lnTo>
                    <a:pt x="48" y="42"/>
                  </a:lnTo>
                  <a:lnTo>
                    <a:pt x="66" y="54"/>
                  </a:lnTo>
                  <a:lnTo>
                    <a:pt x="78" y="78"/>
                  </a:lnTo>
                  <a:lnTo>
                    <a:pt x="90" y="84"/>
                  </a:lnTo>
                  <a:lnTo>
                    <a:pt x="102" y="108"/>
                  </a:lnTo>
                  <a:lnTo>
                    <a:pt x="114" y="132"/>
                  </a:lnTo>
                  <a:lnTo>
                    <a:pt x="126" y="144"/>
                  </a:lnTo>
                  <a:lnTo>
                    <a:pt x="144" y="162"/>
                  </a:lnTo>
                  <a:lnTo>
                    <a:pt x="180" y="186"/>
                  </a:lnTo>
                  <a:lnTo>
                    <a:pt x="180" y="210"/>
                  </a:lnTo>
                  <a:lnTo>
                    <a:pt x="198" y="216"/>
                  </a:lnTo>
                  <a:lnTo>
                    <a:pt x="210" y="216"/>
                  </a:lnTo>
                  <a:lnTo>
                    <a:pt x="222" y="240"/>
                  </a:lnTo>
                  <a:lnTo>
                    <a:pt x="234" y="252"/>
                  </a:lnTo>
                  <a:lnTo>
                    <a:pt x="246" y="264"/>
                  </a:lnTo>
                  <a:lnTo>
                    <a:pt x="276" y="276"/>
                  </a:lnTo>
                  <a:lnTo>
                    <a:pt x="276" y="282"/>
                  </a:lnTo>
                  <a:lnTo>
                    <a:pt x="300" y="294"/>
                  </a:lnTo>
                  <a:lnTo>
                    <a:pt x="312" y="306"/>
                  </a:lnTo>
                  <a:lnTo>
                    <a:pt x="330" y="318"/>
                  </a:lnTo>
                  <a:lnTo>
                    <a:pt x="324" y="318"/>
                  </a:lnTo>
                  <a:lnTo>
                    <a:pt x="312" y="318"/>
                  </a:lnTo>
                  <a:lnTo>
                    <a:pt x="300" y="306"/>
                  </a:lnTo>
                  <a:lnTo>
                    <a:pt x="276" y="294"/>
                  </a:lnTo>
                  <a:lnTo>
                    <a:pt x="270" y="294"/>
                  </a:lnTo>
                  <a:lnTo>
                    <a:pt x="258" y="294"/>
                  </a:lnTo>
                  <a:lnTo>
                    <a:pt x="246" y="306"/>
                  </a:lnTo>
                  <a:lnTo>
                    <a:pt x="234" y="318"/>
                  </a:lnTo>
                  <a:lnTo>
                    <a:pt x="222" y="330"/>
                  </a:lnTo>
                  <a:lnTo>
                    <a:pt x="234" y="336"/>
                  </a:lnTo>
                  <a:lnTo>
                    <a:pt x="246" y="354"/>
                  </a:lnTo>
                  <a:lnTo>
                    <a:pt x="246" y="360"/>
                  </a:lnTo>
                  <a:lnTo>
                    <a:pt x="246" y="372"/>
                  </a:lnTo>
                  <a:lnTo>
                    <a:pt x="246" y="396"/>
                  </a:lnTo>
                  <a:lnTo>
                    <a:pt x="258" y="408"/>
                  </a:lnTo>
                  <a:lnTo>
                    <a:pt x="270" y="414"/>
                  </a:lnTo>
                  <a:lnTo>
                    <a:pt x="276" y="414"/>
                  </a:lnTo>
                  <a:lnTo>
                    <a:pt x="276" y="426"/>
                  </a:lnTo>
                  <a:lnTo>
                    <a:pt x="288" y="438"/>
                  </a:lnTo>
                  <a:lnTo>
                    <a:pt x="300" y="438"/>
                  </a:lnTo>
                  <a:lnTo>
                    <a:pt x="312" y="450"/>
                  </a:lnTo>
                  <a:lnTo>
                    <a:pt x="312" y="462"/>
                  </a:lnTo>
                  <a:lnTo>
                    <a:pt x="342" y="462"/>
                  </a:lnTo>
                  <a:lnTo>
                    <a:pt x="354" y="462"/>
                  </a:lnTo>
                  <a:lnTo>
                    <a:pt x="354" y="474"/>
                  </a:lnTo>
                  <a:lnTo>
                    <a:pt x="366" y="480"/>
                  </a:lnTo>
                  <a:lnTo>
                    <a:pt x="366" y="492"/>
                  </a:lnTo>
                  <a:lnTo>
                    <a:pt x="354" y="504"/>
                  </a:lnTo>
                  <a:lnTo>
                    <a:pt x="354" y="492"/>
                  </a:lnTo>
                  <a:lnTo>
                    <a:pt x="354" y="480"/>
                  </a:lnTo>
                  <a:lnTo>
                    <a:pt x="342" y="492"/>
                  </a:lnTo>
                  <a:lnTo>
                    <a:pt x="330" y="492"/>
                  </a:lnTo>
                  <a:lnTo>
                    <a:pt x="312" y="480"/>
                  </a:lnTo>
                  <a:lnTo>
                    <a:pt x="312" y="492"/>
                  </a:lnTo>
                  <a:lnTo>
                    <a:pt x="312" y="504"/>
                  </a:lnTo>
                  <a:lnTo>
                    <a:pt x="312" y="516"/>
                  </a:lnTo>
                  <a:lnTo>
                    <a:pt x="324" y="528"/>
                  </a:lnTo>
                  <a:lnTo>
                    <a:pt x="324" y="546"/>
                  </a:lnTo>
                  <a:lnTo>
                    <a:pt x="312" y="558"/>
                  </a:lnTo>
                  <a:lnTo>
                    <a:pt x="300" y="558"/>
                  </a:lnTo>
                  <a:lnTo>
                    <a:pt x="288" y="540"/>
                  </a:lnTo>
                  <a:lnTo>
                    <a:pt x="276" y="528"/>
                  </a:lnTo>
                  <a:lnTo>
                    <a:pt x="270" y="516"/>
                  </a:lnTo>
                  <a:lnTo>
                    <a:pt x="270" y="504"/>
                  </a:lnTo>
                  <a:lnTo>
                    <a:pt x="258" y="480"/>
                  </a:lnTo>
                  <a:lnTo>
                    <a:pt x="246" y="474"/>
                  </a:lnTo>
                  <a:lnTo>
                    <a:pt x="234" y="450"/>
                  </a:lnTo>
                  <a:lnTo>
                    <a:pt x="234" y="438"/>
                  </a:lnTo>
                  <a:lnTo>
                    <a:pt x="234" y="426"/>
                  </a:lnTo>
                  <a:lnTo>
                    <a:pt x="222" y="408"/>
                  </a:lnTo>
                  <a:lnTo>
                    <a:pt x="210" y="396"/>
                  </a:lnTo>
                  <a:lnTo>
                    <a:pt x="192" y="384"/>
                  </a:lnTo>
                  <a:lnTo>
                    <a:pt x="192" y="372"/>
                  </a:lnTo>
                  <a:lnTo>
                    <a:pt x="180" y="354"/>
                  </a:lnTo>
                  <a:lnTo>
                    <a:pt x="180" y="330"/>
                  </a:lnTo>
                  <a:lnTo>
                    <a:pt x="168" y="318"/>
                  </a:lnTo>
                  <a:lnTo>
                    <a:pt x="156" y="294"/>
                  </a:lnTo>
                  <a:lnTo>
                    <a:pt x="132" y="28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26" y="210"/>
                  </a:lnTo>
                  <a:lnTo>
                    <a:pt x="102" y="198"/>
                  </a:lnTo>
                  <a:lnTo>
                    <a:pt x="66" y="186"/>
                  </a:lnTo>
                  <a:lnTo>
                    <a:pt x="60" y="174"/>
                  </a:lnTo>
                  <a:lnTo>
                    <a:pt x="48" y="150"/>
                  </a:lnTo>
                  <a:lnTo>
                    <a:pt x="36" y="144"/>
                  </a:lnTo>
                  <a:lnTo>
                    <a:pt x="36" y="132"/>
                  </a:lnTo>
                  <a:lnTo>
                    <a:pt x="36" y="120"/>
                  </a:lnTo>
                  <a:lnTo>
                    <a:pt x="24" y="108"/>
                  </a:lnTo>
                  <a:lnTo>
                    <a:pt x="12" y="8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0" name="Freeform 5"/>
            <p:cNvSpPr>
              <a:spLocks/>
            </p:cNvSpPr>
            <p:nvPr/>
          </p:nvSpPr>
          <p:spPr bwMode="auto">
            <a:xfrm>
              <a:off x="3049" y="1577"/>
              <a:ext cx="90" cy="69"/>
            </a:xfrm>
            <a:custGeom>
              <a:avLst/>
              <a:gdLst>
                <a:gd name="T0" fmla="*/ 4 w 102"/>
                <a:gd name="T1" fmla="*/ 4 h 78"/>
                <a:gd name="T2" fmla="*/ 4 w 102"/>
                <a:gd name="T3" fmla="*/ 4 h 78"/>
                <a:gd name="T4" fmla="*/ 0 w 102"/>
                <a:gd name="T5" fmla="*/ 4 h 78"/>
                <a:gd name="T6" fmla="*/ 0 w 102"/>
                <a:gd name="T7" fmla="*/ 4 h 78"/>
                <a:gd name="T8" fmla="*/ 4 w 102"/>
                <a:gd name="T9" fmla="*/ 4 h 78"/>
                <a:gd name="T10" fmla="*/ 4 w 102"/>
                <a:gd name="T11" fmla="*/ 4 h 78"/>
                <a:gd name="T12" fmla="*/ 4 w 102"/>
                <a:gd name="T13" fmla="*/ 4 h 78"/>
                <a:gd name="T14" fmla="*/ 4 w 102"/>
                <a:gd name="T15" fmla="*/ 4 h 78"/>
                <a:gd name="T16" fmla="*/ 4 w 102"/>
                <a:gd name="T17" fmla="*/ 4 h 78"/>
                <a:gd name="T18" fmla="*/ 4 w 102"/>
                <a:gd name="T19" fmla="*/ 0 h 78"/>
                <a:gd name="T20" fmla="*/ 4 w 102"/>
                <a:gd name="T21" fmla="*/ 0 h 78"/>
                <a:gd name="T22" fmla="*/ 4 w 102"/>
                <a:gd name="T23" fmla="*/ 4 h 78"/>
                <a:gd name="T24" fmla="*/ 4 w 102"/>
                <a:gd name="T25" fmla="*/ 4 h 78"/>
                <a:gd name="T26" fmla="*/ 4 w 102"/>
                <a:gd name="T27" fmla="*/ 4 h 78"/>
                <a:gd name="T28" fmla="*/ 4 w 102"/>
                <a:gd name="T29" fmla="*/ 4 h 78"/>
                <a:gd name="T30" fmla="*/ 4 w 102"/>
                <a:gd name="T31" fmla="*/ 4 h 78"/>
                <a:gd name="T32" fmla="*/ 4 w 102"/>
                <a:gd name="T33" fmla="*/ 4 h 78"/>
                <a:gd name="T34" fmla="*/ 4 w 102"/>
                <a:gd name="T35" fmla="*/ 4 h 78"/>
                <a:gd name="T36" fmla="*/ 4 w 102"/>
                <a:gd name="T37" fmla="*/ 4 h 78"/>
                <a:gd name="T38" fmla="*/ 4 w 102"/>
                <a:gd name="T39" fmla="*/ 4 h 78"/>
                <a:gd name="T40" fmla="*/ 4 w 102"/>
                <a:gd name="T41" fmla="*/ 4 h 7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02" h="78">
                  <a:moveTo>
                    <a:pt x="24" y="78"/>
                  </a:moveTo>
                  <a:lnTo>
                    <a:pt x="24" y="66"/>
                  </a:lnTo>
                  <a:lnTo>
                    <a:pt x="0" y="66"/>
                  </a:lnTo>
                  <a:lnTo>
                    <a:pt x="0" y="54"/>
                  </a:lnTo>
                  <a:lnTo>
                    <a:pt x="12" y="42"/>
                  </a:lnTo>
                  <a:lnTo>
                    <a:pt x="24" y="30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60" y="12"/>
                  </a:lnTo>
                  <a:lnTo>
                    <a:pt x="66" y="0"/>
                  </a:lnTo>
                  <a:lnTo>
                    <a:pt x="78" y="0"/>
                  </a:lnTo>
                  <a:lnTo>
                    <a:pt x="78" y="12"/>
                  </a:lnTo>
                  <a:lnTo>
                    <a:pt x="90" y="18"/>
                  </a:lnTo>
                  <a:lnTo>
                    <a:pt x="102" y="30"/>
                  </a:lnTo>
                  <a:lnTo>
                    <a:pt x="90" y="42"/>
                  </a:lnTo>
                  <a:lnTo>
                    <a:pt x="90" y="54"/>
                  </a:lnTo>
                  <a:lnTo>
                    <a:pt x="78" y="66"/>
                  </a:lnTo>
                  <a:lnTo>
                    <a:pt x="66" y="66"/>
                  </a:lnTo>
                  <a:lnTo>
                    <a:pt x="48" y="66"/>
                  </a:lnTo>
                  <a:lnTo>
                    <a:pt x="48" y="78"/>
                  </a:lnTo>
                  <a:lnTo>
                    <a:pt x="24" y="7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1" name="Freeform 6"/>
            <p:cNvSpPr>
              <a:spLocks/>
            </p:cNvSpPr>
            <p:nvPr/>
          </p:nvSpPr>
          <p:spPr bwMode="auto">
            <a:xfrm>
              <a:off x="4301" y="3849"/>
              <a:ext cx="218" cy="324"/>
            </a:xfrm>
            <a:custGeom>
              <a:avLst/>
              <a:gdLst>
                <a:gd name="T0" fmla="*/ 4 w 218"/>
                <a:gd name="T1" fmla="*/ 240 h 324"/>
                <a:gd name="T2" fmla="*/ 16 w 218"/>
                <a:gd name="T3" fmla="*/ 250 h 324"/>
                <a:gd name="T4" fmla="*/ 6 w 218"/>
                <a:gd name="T5" fmla="*/ 262 h 324"/>
                <a:gd name="T6" fmla="*/ 0 w 218"/>
                <a:gd name="T7" fmla="*/ 274 h 324"/>
                <a:gd name="T8" fmla="*/ 6 w 218"/>
                <a:gd name="T9" fmla="*/ 284 h 324"/>
                <a:gd name="T10" fmla="*/ 34 w 218"/>
                <a:gd name="T11" fmla="*/ 282 h 324"/>
                <a:gd name="T12" fmla="*/ 46 w 218"/>
                <a:gd name="T13" fmla="*/ 280 h 324"/>
                <a:gd name="T14" fmla="*/ 62 w 218"/>
                <a:gd name="T15" fmla="*/ 296 h 324"/>
                <a:gd name="T16" fmla="*/ 72 w 218"/>
                <a:gd name="T17" fmla="*/ 324 h 324"/>
                <a:gd name="T18" fmla="*/ 218 w 218"/>
                <a:gd name="T19" fmla="*/ 324 h 324"/>
                <a:gd name="T20" fmla="*/ 194 w 218"/>
                <a:gd name="T21" fmla="*/ 288 h 324"/>
                <a:gd name="T22" fmla="*/ 176 w 218"/>
                <a:gd name="T23" fmla="*/ 268 h 324"/>
                <a:gd name="T24" fmla="*/ 172 w 218"/>
                <a:gd name="T25" fmla="*/ 228 h 324"/>
                <a:gd name="T26" fmla="*/ 176 w 218"/>
                <a:gd name="T27" fmla="*/ 194 h 324"/>
                <a:gd name="T28" fmla="*/ 176 w 218"/>
                <a:gd name="T29" fmla="*/ 162 h 324"/>
                <a:gd name="T30" fmla="*/ 160 w 218"/>
                <a:gd name="T31" fmla="*/ 140 h 324"/>
                <a:gd name="T32" fmla="*/ 176 w 218"/>
                <a:gd name="T33" fmla="*/ 106 h 324"/>
                <a:gd name="T34" fmla="*/ 170 w 218"/>
                <a:gd name="T35" fmla="*/ 60 h 324"/>
                <a:gd name="T36" fmla="*/ 186 w 218"/>
                <a:gd name="T37" fmla="*/ 24 h 324"/>
                <a:gd name="T38" fmla="*/ 188 w 218"/>
                <a:gd name="T39" fmla="*/ 0 h 324"/>
                <a:gd name="T40" fmla="*/ 170 w 218"/>
                <a:gd name="T41" fmla="*/ 12 h 324"/>
                <a:gd name="T42" fmla="*/ 142 w 218"/>
                <a:gd name="T43" fmla="*/ 54 h 324"/>
                <a:gd name="T44" fmla="*/ 130 w 218"/>
                <a:gd name="T45" fmla="*/ 92 h 324"/>
                <a:gd name="T46" fmla="*/ 106 w 218"/>
                <a:gd name="T47" fmla="*/ 108 h 324"/>
                <a:gd name="T48" fmla="*/ 102 w 218"/>
                <a:gd name="T49" fmla="*/ 120 h 324"/>
                <a:gd name="T50" fmla="*/ 82 w 218"/>
                <a:gd name="T51" fmla="*/ 138 h 324"/>
                <a:gd name="T52" fmla="*/ 58 w 218"/>
                <a:gd name="T53" fmla="*/ 182 h 324"/>
                <a:gd name="T54" fmla="*/ 50 w 218"/>
                <a:gd name="T55" fmla="*/ 194 h 324"/>
                <a:gd name="T56" fmla="*/ 20 w 218"/>
                <a:gd name="T57" fmla="*/ 214 h 324"/>
                <a:gd name="T58" fmla="*/ 8 w 218"/>
                <a:gd name="T59" fmla="*/ 226 h 324"/>
                <a:gd name="T60" fmla="*/ 4 w 218"/>
                <a:gd name="T61" fmla="*/ 240 h 32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18" h="324">
                  <a:moveTo>
                    <a:pt x="4" y="240"/>
                  </a:moveTo>
                  <a:lnTo>
                    <a:pt x="16" y="250"/>
                  </a:lnTo>
                  <a:lnTo>
                    <a:pt x="6" y="262"/>
                  </a:lnTo>
                  <a:lnTo>
                    <a:pt x="0" y="274"/>
                  </a:lnTo>
                  <a:lnTo>
                    <a:pt x="6" y="284"/>
                  </a:lnTo>
                  <a:lnTo>
                    <a:pt x="34" y="282"/>
                  </a:lnTo>
                  <a:lnTo>
                    <a:pt x="46" y="280"/>
                  </a:lnTo>
                  <a:lnTo>
                    <a:pt x="62" y="296"/>
                  </a:lnTo>
                  <a:lnTo>
                    <a:pt x="72" y="324"/>
                  </a:lnTo>
                  <a:lnTo>
                    <a:pt x="218" y="324"/>
                  </a:lnTo>
                  <a:lnTo>
                    <a:pt x="194" y="288"/>
                  </a:lnTo>
                  <a:lnTo>
                    <a:pt x="176" y="268"/>
                  </a:lnTo>
                  <a:lnTo>
                    <a:pt x="172" y="228"/>
                  </a:lnTo>
                  <a:lnTo>
                    <a:pt x="176" y="194"/>
                  </a:lnTo>
                  <a:lnTo>
                    <a:pt x="176" y="162"/>
                  </a:lnTo>
                  <a:lnTo>
                    <a:pt x="160" y="140"/>
                  </a:lnTo>
                  <a:lnTo>
                    <a:pt x="176" y="106"/>
                  </a:lnTo>
                  <a:lnTo>
                    <a:pt x="170" y="60"/>
                  </a:lnTo>
                  <a:lnTo>
                    <a:pt x="186" y="24"/>
                  </a:lnTo>
                  <a:lnTo>
                    <a:pt x="188" y="0"/>
                  </a:lnTo>
                  <a:lnTo>
                    <a:pt x="170" y="12"/>
                  </a:lnTo>
                  <a:lnTo>
                    <a:pt x="142" y="54"/>
                  </a:lnTo>
                  <a:lnTo>
                    <a:pt x="130" y="92"/>
                  </a:lnTo>
                  <a:lnTo>
                    <a:pt x="106" y="108"/>
                  </a:lnTo>
                  <a:lnTo>
                    <a:pt x="102" y="120"/>
                  </a:lnTo>
                  <a:lnTo>
                    <a:pt x="82" y="138"/>
                  </a:lnTo>
                  <a:lnTo>
                    <a:pt x="58" y="182"/>
                  </a:lnTo>
                  <a:lnTo>
                    <a:pt x="50" y="194"/>
                  </a:lnTo>
                  <a:lnTo>
                    <a:pt x="20" y="214"/>
                  </a:lnTo>
                  <a:lnTo>
                    <a:pt x="8" y="226"/>
                  </a:lnTo>
                  <a:lnTo>
                    <a:pt x="4" y="240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2" name="Freeform 7"/>
            <p:cNvSpPr>
              <a:spLocks/>
            </p:cNvSpPr>
            <p:nvPr/>
          </p:nvSpPr>
          <p:spPr bwMode="auto">
            <a:xfrm>
              <a:off x="326" y="2627"/>
              <a:ext cx="179" cy="349"/>
            </a:xfrm>
            <a:custGeom>
              <a:avLst/>
              <a:gdLst>
                <a:gd name="T0" fmla="*/ 4 w 204"/>
                <a:gd name="T1" fmla="*/ 5 h 396"/>
                <a:gd name="T2" fmla="*/ 4 w 204"/>
                <a:gd name="T3" fmla="*/ 4 h 396"/>
                <a:gd name="T4" fmla="*/ 4 w 204"/>
                <a:gd name="T5" fmla="*/ 4 h 396"/>
                <a:gd name="T6" fmla="*/ 4 w 204"/>
                <a:gd name="T7" fmla="*/ 4 h 396"/>
                <a:gd name="T8" fmla="*/ 4 w 204"/>
                <a:gd name="T9" fmla="*/ 4 h 396"/>
                <a:gd name="T10" fmla="*/ 4 w 204"/>
                <a:gd name="T11" fmla="*/ 4 h 396"/>
                <a:gd name="T12" fmla="*/ 4 w 204"/>
                <a:gd name="T13" fmla="*/ 4 h 396"/>
                <a:gd name="T14" fmla="*/ 4 w 204"/>
                <a:gd name="T15" fmla="*/ 4 h 396"/>
                <a:gd name="T16" fmla="*/ 4 w 204"/>
                <a:gd name="T17" fmla="*/ 4 h 396"/>
                <a:gd name="T18" fmla="*/ 4 w 204"/>
                <a:gd name="T19" fmla="*/ 4 h 396"/>
                <a:gd name="T20" fmla="*/ 4 w 204"/>
                <a:gd name="T21" fmla="*/ 4 h 396"/>
                <a:gd name="T22" fmla="*/ 4 w 204"/>
                <a:gd name="T23" fmla="*/ 4 h 396"/>
                <a:gd name="T24" fmla="*/ 4 w 204"/>
                <a:gd name="T25" fmla="*/ 4 h 396"/>
                <a:gd name="T26" fmla="*/ 4 w 204"/>
                <a:gd name="T27" fmla="*/ 0 h 396"/>
                <a:gd name="T28" fmla="*/ 4 w 204"/>
                <a:gd name="T29" fmla="*/ 4 h 396"/>
                <a:gd name="T30" fmla="*/ 4 w 204"/>
                <a:gd name="T31" fmla="*/ 4 h 396"/>
                <a:gd name="T32" fmla="*/ 4 w 204"/>
                <a:gd name="T33" fmla="*/ 4 h 396"/>
                <a:gd name="T34" fmla="*/ 4 w 204"/>
                <a:gd name="T35" fmla="*/ 4 h 396"/>
                <a:gd name="T36" fmla="*/ 4 w 204"/>
                <a:gd name="T37" fmla="*/ 4 h 396"/>
                <a:gd name="T38" fmla="*/ 4 w 204"/>
                <a:gd name="T39" fmla="*/ 4 h 396"/>
                <a:gd name="T40" fmla="*/ 4 w 204"/>
                <a:gd name="T41" fmla="*/ 4 h 396"/>
                <a:gd name="T42" fmla="*/ 4 w 204"/>
                <a:gd name="T43" fmla="*/ 4 h 396"/>
                <a:gd name="T44" fmla="*/ 4 w 204"/>
                <a:gd name="T45" fmla="*/ 4 h 396"/>
                <a:gd name="T46" fmla="*/ 4 w 204"/>
                <a:gd name="T47" fmla="*/ 4 h 396"/>
                <a:gd name="T48" fmla="*/ 4 w 204"/>
                <a:gd name="T49" fmla="*/ 4 h 396"/>
                <a:gd name="T50" fmla="*/ 4 w 204"/>
                <a:gd name="T51" fmla="*/ 4 h 396"/>
                <a:gd name="T52" fmla="*/ 0 w 204"/>
                <a:gd name="T53" fmla="*/ 4 h 396"/>
                <a:gd name="T54" fmla="*/ 4 w 204"/>
                <a:gd name="T55" fmla="*/ 4 h 396"/>
                <a:gd name="T56" fmla="*/ 4 w 204"/>
                <a:gd name="T57" fmla="*/ 4 h 396"/>
                <a:gd name="T58" fmla="*/ 4 w 204"/>
                <a:gd name="T59" fmla="*/ 4 h 396"/>
                <a:gd name="T60" fmla="*/ 4 w 204"/>
                <a:gd name="T61" fmla="*/ 4 h 396"/>
                <a:gd name="T62" fmla="*/ 4 w 204"/>
                <a:gd name="T63" fmla="*/ 4 h 396"/>
                <a:gd name="T64" fmla="*/ 4 w 204"/>
                <a:gd name="T65" fmla="*/ 4 h 396"/>
                <a:gd name="T66" fmla="*/ 4 w 204"/>
                <a:gd name="T67" fmla="*/ 4 h 396"/>
                <a:gd name="T68" fmla="*/ 4 w 204"/>
                <a:gd name="T69" fmla="*/ 4 h 396"/>
                <a:gd name="T70" fmla="*/ 4 w 204"/>
                <a:gd name="T71" fmla="*/ 4 h 396"/>
                <a:gd name="T72" fmla="*/ 4 w 204"/>
                <a:gd name="T73" fmla="*/ 4 h 396"/>
                <a:gd name="T74" fmla="*/ 4 w 204"/>
                <a:gd name="T75" fmla="*/ 4 h 396"/>
                <a:gd name="T76" fmla="*/ 4 w 204"/>
                <a:gd name="T77" fmla="*/ 4 h 396"/>
                <a:gd name="T78" fmla="*/ 4 w 204"/>
                <a:gd name="T79" fmla="*/ 4 h 396"/>
                <a:gd name="T80" fmla="*/ 4 w 204"/>
                <a:gd name="T81" fmla="*/ 4 h 396"/>
                <a:gd name="T82" fmla="*/ 4 w 204"/>
                <a:gd name="T83" fmla="*/ 5 h 396"/>
                <a:gd name="T84" fmla="*/ 4 w 204"/>
                <a:gd name="T85" fmla="*/ 5 h 396"/>
                <a:gd name="T86" fmla="*/ 4 w 204"/>
                <a:gd name="T87" fmla="*/ 5 h 396"/>
                <a:gd name="T88" fmla="*/ 4 w 204"/>
                <a:gd name="T89" fmla="*/ 6 h 396"/>
                <a:gd name="T90" fmla="*/ 4 w 204"/>
                <a:gd name="T91" fmla="*/ 6 h 396"/>
                <a:gd name="T92" fmla="*/ 4 w 204"/>
                <a:gd name="T93" fmla="*/ 5 h 396"/>
                <a:gd name="T94" fmla="*/ 4 w 204"/>
                <a:gd name="T95" fmla="*/ 5 h 396"/>
                <a:gd name="T96" fmla="*/ 4 w 204"/>
                <a:gd name="T97" fmla="*/ 5 h 396"/>
                <a:gd name="T98" fmla="*/ 4 w 204"/>
                <a:gd name="T99" fmla="*/ 5 h 39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204" h="396">
                  <a:moveTo>
                    <a:pt x="204" y="354"/>
                  </a:moveTo>
                  <a:lnTo>
                    <a:pt x="192" y="336"/>
                  </a:lnTo>
                  <a:lnTo>
                    <a:pt x="192" y="324"/>
                  </a:lnTo>
                  <a:lnTo>
                    <a:pt x="198" y="300"/>
                  </a:lnTo>
                  <a:lnTo>
                    <a:pt x="186" y="264"/>
                  </a:lnTo>
                  <a:lnTo>
                    <a:pt x="186" y="240"/>
                  </a:lnTo>
                  <a:lnTo>
                    <a:pt x="168" y="210"/>
                  </a:lnTo>
                  <a:lnTo>
                    <a:pt x="162" y="192"/>
                  </a:lnTo>
                  <a:lnTo>
                    <a:pt x="144" y="168"/>
                  </a:lnTo>
                  <a:lnTo>
                    <a:pt x="132" y="120"/>
                  </a:lnTo>
                  <a:lnTo>
                    <a:pt x="108" y="90"/>
                  </a:lnTo>
                  <a:lnTo>
                    <a:pt x="96" y="54"/>
                  </a:lnTo>
                  <a:lnTo>
                    <a:pt x="84" y="24"/>
                  </a:lnTo>
                  <a:lnTo>
                    <a:pt x="78" y="0"/>
                  </a:lnTo>
                  <a:lnTo>
                    <a:pt x="66" y="24"/>
                  </a:lnTo>
                  <a:lnTo>
                    <a:pt x="66" y="36"/>
                  </a:lnTo>
                  <a:lnTo>
                    <a:pt x="66" y="48"/>
                  </a:lnTo>
                  <a:lnTo>
                    <a:pt x="78" y="54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66" y="90"/>
                  </a:lnTo>
                  <a:lnTo>
                    <a:pt x="66" y="114"/>
                  </a:lnTo>
                  <a:lnTo>
                    <a:pt x="42" y="120"/>
                  </a:lnTo>
                  <a:lnTo>
                    <a:pt x="42" y="132"/>
                  </a:lnTo>
                  <a:lnTo>
                    <a:pt x="30" y="144"/>
                  </a:lnTo>
                  <a:lnTo>
                    <a:pt x="18" y="156"/>
                  </a:lnTo>
                  <a:lnTo>
                    <a:pt x="0" y="156"/>
                  </a:lnTo>
                  <a:lnTo>
                    <a:pt x="12" y="168"/>
                  </a:lnTo>
                  <a:lnTo>
                    <a:pt x="18" y="192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42" y="264"/>
                  </a:lnTo>
                  <a:lnTo>
                    <a:pt x="54" y="276"/>
                  </a:lnTo>
                  <a:lnTo>
                    <a:pt x="72" y="288"/>
                  </a:lnTo>
                  <a:lnTo>
                    <a:pt x="72" y="300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26" y="324"/>
                  </a:lnTo>
                  <a:lnTo>
                    <a:pt x="126" y="360"/>
                  </a:lnTo>
                  <a:lnTo>
                    <a:pt x="144" y="354"/>
                  </a:lnTo>
                  <a:lnTo>
                    <a:pt x="162" y="384"/>
                  </a:lnTo>
                  <a:lnTo>
                    <a:pt x="162" y="396"/>
                  </a:lnTo>
                  <a:lnTo>
                    <a:pt x="174" y="396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86" y="366"/>
                  </a:lnTo>
                  <a:lnTo>
                    <a:pt x="204" y="35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3" name="Freeform 8"/>
            <p:cNvSpPr>
              <a:spLocks/>
            </p:cNvSpPr>
            <p:nvPr/>
          </p:nvSpPr>
          <p:spPr bwMode="auto">
            <a:xfrm>
              <a:off x="88" y="2522"/>
              <a:ext cx="4513" cy="1652"/>
            </a:xfrm>
            <a:custGeom>
              <a:avLst/>
              <a:gdLst>
                <a:gd name="T0" fmla="*/ 4513 w 4513"/>
                <a:gd name="T1" fmla="*/ 1082 h 1652"/>
                <a:gd name="T2" fmla="*/ 4244 w 4513"/>
                <a:gd name="T3" fmla="*/ 771 h 1652"/>
                <a:gd name="T4" fmla="*/ 3473 w 4513"/>
                <a:gd name="T5" fmla="*/ 707 h 1652"/>
                <a:gd name="T6" fmla="*/ 913 w 4513"/>
                <a:gd name="T7" fmla="*/ 955 h 1652"/>
                <a:gd name="T8" fmla="*/ 480 w 4513"/>
                <a:gd name="T9" fmla="*/ 908 h 1652"/>
                <a:gd name="T10" fmla="*/ 464 w 4513"/>
                <a:gd name="T11" fmla="*/ 924 h 1652"/>
                <a:gd name="T12" fmla="*/ 443 w 4513"/>
                <a:gd name="T13" fmla="*/ 929 h 1652"/>
                <a:gd name="T14" fmla="*/ 422 w 4513"/>
                <a:gd name="T15" fmla="*/ 918 h 1652"/>
                <a:gd name="T16" fmla="*/ 412 w 4513"/>
                <a:gd name="T17" fmla="*/ 903 h 1652"/>
                <a:gd name="T18" fmla="*/ 422 w 4513"/>
                <a:gd name="T19" fmla="*/ 897 h 1652"/>
                <a:gd name="T20" fmla="*/ 417 w 4513"/>
                <a:gd name="T21" fmla="*/ 892 h 1652"/>
                <a:gd name="T22" fmla="*/ 391 w 4513"/>
                <a:gd name="T23" fmla="*/ 881 h 1652"/>
                <a:gd name="T24" fmla="*/ 369 w 4513"/>
                <a:gd name="T25" fmla="*/ 881 h 1652"/>
                <a:gd name="T26" fmla="*/ 348 w 4513"/>
                <a:gd name="T27" fmla="*/ 876 h 1652"/>
                <a:gd name="T28" fmla="*/ 317 w 4513"/>
                <a:gd name="T29" fmla="*/ 839 h 1652"/>
                <a:gd name="T30" fmla="*/ 327 w 4513"/>
                <a:gd name="T31" fmla="*/ 797 h 1652"/>
                <a:gd name="T32" fmla="*/ 317 w 4513"/>
                <a:gd name="T33" fmla="*/ 765 h 1652"/>
                <a:gd name="T34" fmla="*/ 306 w 4513"/>
                <a:gd name="T35" fmla="*/ 749 h 1652"/>
                <a:gd name="T36" fmla="*/ 296 w 4513"/>
                <a:gd name="T37" fmla="*/ 749 h 1652"/>
                <a:gd name="T38" fmla="*/ 296 w 4513"/>
                <a:gd name="T39" fmla="*/ 744 h 1652"/>
                <a:gd name="T40" fmla="*/ 290 w 4513"/>
                <a:gd name="T41" fmla="*/ 728 h 1652"/>
                <a:gd name="T42" fmla="*/ 301 w 4513"/>
                <a:gd name="T43" fmla="*/ 713 h 1652"/>
                <a:gd name="T44" fmla="*/ 301 w 4513"/>
                <a:gd name="T45" fmla="*/ 702 h 1652"/>
                <a:gd name="T46" fmla="*/ 306 w 4513"/>
                <a:gd name="T47" fmla="*/ 691 h 1652"/>
                <a:gd name="T48" fmla="*/ 317 w 4513"/>
                <a:gd name="T49" fmla="*/ 681 h 1652"/>
                <a:gd name="T50" fmla="*/ 333 w 4513"/>
                <a:gd name="T51" fmla="*/ 623 h 1652"/>
                <a:gd name="T52" fmla="*/ 301 w 4513"/>
                <a:gd name="T53" fmla="*/ 417 h 1652"/>
                <a:gd name="T54" fmla="*/ 238 w 4513"/>
                <a:gd name="T55" fmla="*/ 243 h 1652"/>
                <a:gd name="T56" fmla="*/ 201 w 4513"/>
                <a:gd name="T57" fmla="*/ 232 h 1652"/>
                <a:gd name="T58" fmla="*/ 185 w 4513"/>
                <a:gd name="T59" fmla="*/ 222 h 1652"/>
                <a:gd name="T60" fmla="*/ 158 w 4513"/>
                <a:gd name="T61" fmla="*/ 222 h 1652"/>
                <a:gd name="T62" fmla="*/ 132 w 4513"/>
                <a:gd name="T63" fmla="*/ 216 h 1652"/>
                <a:gd name="T64" fmla="*/ 116 w 4513"/>
                <a:gd name="T65" fmla="*/ 211 h 1652"/>
                <a:gd name="T66" fmla="*/ 106 w 4513"/>
                <a:gd name="T67" fmla="*/ 169 h 1652"/>
                <a:gd name="T68" fmla="*/ 74 w 4513"/>
                <a:gd name="T69" fmla="*/ 158 h 1652"/>
                <a:gd name="T70" fmla="*/ 63 w 4513"/>
                <a:gd name="T71" fmla="*/ 137 h 1652"/>
                <a:gd name="T72" fmla="*/ 42 w 4513"/>
                <a:gd name="T73" fmla="*/ 106 h 1652"/>
                <a:gd name="T74" fmla="*/ 42 w 4513"/>
                <a:gd name="T75" fmla="*/ 53 h 1652"/>
                <a:gd name="T76" fmla="*/ 0 w 4513"/>
                <a:gd name="T77" fmla="*/ 0 h 1652"/>
                <a:gd name="T78" fmla="*/ 4139 w 4513"/>
                <a:gd name="T79" fmla="*/ 1651 h 1652"/>
                <a:gd name="T80" fmla="*/ 4157 w 4513"/>
                <a:gd name="T81" fmla="*/ 1631 h 1652"/>
                <a:gd name="T82" fmla="*/ 4177 w 4513"/>
                <a:gd name="T83" fmla="*/ 1603 h 1652"/>
                <a:gd name="T84" fmla="*/ 4217 w 4513"/>
                <a:gd name="T85" fmla="*/ 1567 h 1652"/>
                <a:gd name="T86" fmla="*/ 4253 w 4513"/>
                <a:gd name="T87" fmla="*/ 1537 h 1652"/>
                <a:gd name="T88" fmla="*/ 4279 w 4513"/>
                <a:gd name="T89" fmla="*/ 1503 h 1652"/>
                <a:gd name="T90" fmla="*/ 4311 w 4513"/>
                <a:gd name="T91" fmla="*/ 1453 h 1652"/>
                <a:gd name="T92" fmla="*/ 4331 w 4513"/>
                <a:gd name="T93" fmla="*/ 1429 h 1652"/>
                <a:gd name="T94" fmla="*/ 4353 w 4513"/>
                <a:gd name="T95" fmla="*/ 1399 h 1652"/>
                <a:gd name="T96" fmla="*/ 4415 w 4513"/>
                <a:gd name="T97" fmla="*/ 1263 h 165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13" h="1652">
                  <a:moveTo>
                    <a:pt x="4415" y="1263"/>
                  </a:moveTo>
                  <a:lnTo>
                    <a:pt x="4513" y="1082"/>
                  </a:lnTo>
                  <a:lnTo>
                    <a:pt x="4439" y="903"/>
                  </a:lnTo>
                  <a:lnTo>
                    <a:pt x="4244" y="771"/>
                  </a:lnTo>
                  <a:lnTo>
                    <a:pt x="3785" y="602"/>
                  </a:lnTo>
                  <a:lnTo>
                    <a:pt x="3473" y="707"/>
                  </a:lnTo>
                  <a:lnTo>
                    <a:pt x="2096" y="844"/>
                  </a:lnTo>
                  <a:lnTo>
                    <a:pt x="913" y="955"/>
                  </a:lnTo>
                  <a:lnTo>
                    <a:pt x="486" y="892"/>
                  </a:lnTo>
                  <a:lnTo>
                    <a:pt x="480" y="908"/>
                  </a:lnTo>
                  <a:lnTo>
                    <a:pt x="480" y="913"/>
                  </a:lnTo>
                  <a:lnTo>
                    <a:pt x="464" y="924"/>
                  </a:lnTo>
                  <a:lnTo>
                    <a:pt x="459" y="929"/>
                  </a:lnTo>
                  <a:lnTo>
                    <a:pt x="443" y="929"/>
                  </a:lnTo>
                  <a:lnTo>
                    <a:pt x="428" y="924"/>
                  </a:lnTo>
                  <a:lnTo>
                    <a:pt x="422" y="918"/>
                  </a:lnTo>
                  <a:lnTo>
                    <a:pt x="412" y="903"/>
                  </a:lnTo>
                  <a:lnTo>
                    <a:pt x="422" y="897"/>
                  </a:lnTo>
                  <a:lnTo>
                    <a:pt x="422" y="892"/>
                  </a:lnTo>
                  <a:lnTo>
                    <a:pt x="417" y="892"/>
                  </a:lnTo>
                  <a:lnTo>
                    <a:pt x="401" y="887"/>
                  </a:lnTo>
                  <a:lnTo>
                    <a:pt x="391" y="881"/>
                  </a:lnTo>
                  <a:lnTo>
                    <a:pt x="380" y="881"/>
                  </a:lnTo>
                  <a:lnTo>
                    <a:pt x="369" y="881"/>
                  </a:lnTo>
                  <a:lnTo>
                    <a:pt x="359" y="881"/>
                  </a:lnTo>
                  <a:lnTo>
                    <a:pt x="348" y="876"/>
                  </a:lnTo>
                  <a:lnTo>
                    <a:pt x="333" y="855"/>
                  </a:lnTo>
                  <a:lnTo>
                    <a:pt x="317" y="839"/>
                  </a:lnTo>
                  <a:lnTo>
                    <a:pt x="317" y="829"/>
                  </a:lnTo>
                  <a:lnTo>
                    <a:pt x="327" y="797"/>
                  </a:lnTo>
                  <a:lnTo>
                    <a:pt x="322" y="776"/>
                  </a:lnTo>
                  <a:lnTo>
                    <a:pt x="317" y="765"/>
                  </a:lnTo>
                  <a:lnTo>
                    <a:pt x="306" y="755"/>
                  </a:lnTo>
                  <a:lnTo>
                    <a:pt x="306" y="749"/>
                  </a:lnTo>
                  <a:lnTo>
                    <a:pt x="301" y="749"/>
                  </a:lnTo>
                  <a:lnTo>
                    <a:pt x="296" y="749"/>
                  </a:lnTo>
                  <a:lnTo>
                    <a:pt x="296" y="744"/>
                  </a:lnTo>
                  <a:lnTo>
                    <a:pt x="285" y="728"/>
                  </a:lnTo>
                  <a:lnTo>
                    <a:pt x="290" y="728"/>
                  </a:lnTo>
                  <a:lnTo>
                    <a:pt x="296" y="723"/>
                  </a:lnTo>
                  <a:lnTo>
                    <a:pt x="301" y="713"/>
                  </a:lnTo>
                  <a:lnTo>
                    <a:pt x="296" y="707"/>
                  </a:lnTo>
                  <a:lnTo>
                    <a:pt x="301" y="702"/>
                  </a:lnTo>
                  <a:lnTo>
                    <a:pt x="306" y="697"/>
                  </a:lnTo>
                  <a:lnTo>
                    <a:pt x="306" y="691"/>
                  </a:lnTo>
                  <a:lnTo>
                    <a:pt x="311" y="686"/>
                  </a:lnTo>
                  <a:lnTo>
                    <a:pt x="317" y="681"/>
                  </a:lnTo>
                  <a:lnTo>
                    <a:pt x="333" y="665"/>
                  </a:lnTo>
                  <a:lnTo>
                    <a:pt x="333" y="623"/>
                  </a:lnTo>
                  <a:lnTo>
                    <a:pt x="385" y="581"/>
                  </a:lnTo>
                  <a:lnTo>
                    <a:pt x="301" y="417"/>
                  </a:lnTo>
                  <a:lnTo>
                    <a:pt x="290" y="259"/>
                  </a:lnTo>
                  <a:lnTo>
                    <a:pt x="238" y="243"/>
                  </a:lnTo>
                  <a:lnTo>
                    <a:pt x="216" y="238"/>
                  </a:lnTo>
                  <a:lnTo>
                    <a:pt x="201" y="232"/>
                  </a:lnTo>
                  <a:lnTo>
                    <a:pt x="201" y="227"/>
                  </a:lnTo>
                  <a:lnTo>
                    <a:pt x="185" y="222"/>
                  </a:lnTo>
                  <a:lnTo>
                    <a:pt x="179" y="222"/>
                  </a:lnTo>
                  <a:lnTo>
                    <a:pt x="158" y="222"/>
                  </a:lnTo>
                  <a:lnTo>
                    <a:pt x="137" y="216"/>
                  </a:lnTo>
                  <a:lnTo>
                    <a:pt x="132" y="216"/>
                  </a:lnTo>
                  <a:lnTo>
                    <a:pt x="121" y="211"/>
                  </a:lnTo>
                  <a:lnTo>
                    <a:pt x="116" y="211"/>
                  </a:lnTo>
                  <a:lnTo>
                    <a:pt x="116" y="190"/>
                  </a:lnTo>
                  <a:lnTo>
                    <a:pt x="106" y="169"/>
                  </a:lnTo>
                  <a:lnTo>
                    <a:pt x="84" y="169"/>
                  </a:lnTo>
                  <a:lnTo>
                    <a:pt x="74" y="158"/>
                  </a:lnTo>
                  <a:lnTo>
                    <a:pt x="74" y="148"/>
                  </a:lnTo>
                  <a:lnTo>
                    <a:pt x="63" y="137"/>
                  </a:lnTo>
                  <a:lnTo>
                    <a:pt x="53" y="116"/>
                  </a:lnTo>
                  <a:lnTo>
                    <a:pt x="42" y="106"/>
                  </a:lnTo>
                  <a:lnTo>
                    <a:pt x="42" y="84"/>
                  </a:lnTo>
                  <a:lnTo>
                    <a:pt x="42" y="53"/>
                  </a:lnTo>
                  <a:lnTo>
                    <a:pt x="21" y="42"/>
                  </a:lnTo>
                  <a:lnTo>
                    <a:pt x="0" y="0"/>
                  </a:lnTo>
                  <a:lnTo>
                    <a:pt x="0" y="1652"/>
                  </a:lnTo>
                  <a:lnTo>
                    <a:pt x="4139" y="1651"/>
                  </a:lnTo>
                  <a:lnTo>
                    <a:pt x="4143" y="1639"/>
                  </a:lnTo>
                  <a:lnTo>
                    <a:pt x="4157" y="1631"/>
                  </a:lnTo>
                  <a:lnTo>
                    <a:pt x="4171" y="1619"/>
                  </a:lnTo>
                  <a:lnTo>
                    <a:pt x="4177" y="1603"/>
                  </a:lnTo>
                  <a:lnTo>
                    <a:pt x="4189" y="1577"/>
                  </a:lnTo>
                  <a:lnTo>
                    <a:pt x="4217" y="1567"/>
                  </a:lnTo>
                  <a:lnTo>
                    <a:pt x="4241" y="1545"/>
                  </a:lnTo>
                  <a:lnTo>
                    <a:pt x="4253" y="1537"/>
                  </a:lnTo>
                  <a:lnTo>
                    <a:pt x="4271" y="1521"/>
                  </a:lnTo>
                  <a:lnTo>
                    <a:pt x="4279" y="1503"/>
                  </a:lnTo>
                  <a:lnTo>
                    <a:pt x="4291" y="1479"/>
                  </a:lnTo>
                  <a:lnTo>
                    <a:pt x="4311" y="1453"/>
                  </a:lnTo>
                  <a:lnTo>
                    <a:pt x="4323" y="1447"/>
                  </a:lnTo>
                  <a:lnTo>
                    <a:pt x="4331" y="1429"/>
                  </a:lnTo>
                  <a:lnTo>
                    <a:pt x="4349" y="1421"/>
                  </a:lnTo>
                  <a:lnTo>
                    <a:pt x="4353" y="1399"/>
                  </a:lnTo>
                  <a:lnTo>
                    <a:pt x="4373" y="1361"/>
                  </a:lnTo>
                  <a:lnTo>
                    <a:pt x="4415" y="1263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4" name="Freeform 9"/>
            <p:cNvSpPr>
              <a:spLocks/>
            </p:cNvSpPr>
            <p:nvPr/>
          </p:nvSpPr>
          <p:spPr bwMode="auto">
            <a:xfrm>
              <a:off x="718" y="2607"/>
              <a:ext cx="1694" cy="1267"/>
            </a:xfrm>
            <a:custGeom>
              <a:avLst/>
              <a:gdLst>
                <a:gd name="T0" fmla="*/ 343 w 1694"/>
                <a:gd name="T1" fmla="*/ 517 h 1267"/>
                <a:gd name="T2" fmla="*/ 459 w 1694"/>
                <a:gd name="T3" fmla="*/ 676 h 1267"/>
                <a:gd name="T4" fmla="*/ 580 w 1694"/>
                <a:gd name="T5" fmla="*/ 808 h 1267"/>
                <a:gd name="T6" fmla="*/ 591 w 1694"/>
                <a:gd name="T7" fmla="*/ 913 h 1267"/>
                <a:gd name="T8" fmla="*/ 554 w 1694"/>
                <a:gd name="T9" fmla="*/ 1014 h 1267"/>
                <a:gd name="T10" fmla="*/ 649 w 1694"/>
                <a:gd name="T11" fmla="*/ 1072 h 1267"/>
                <a:gd name="T12" fmla="*/ 813 w 1694"/>
                <a:gd name="T13" fmla="*/ 1051 h 1267"/>
                <a:gd name="T14" fmla="*/ 902 w 1694"/>
                <a:gd name="T15" fmla="*/ 1088 h 1267"/>
                <a:gd name="T16" fmla="*/ 977 w 1694"/>
                <a:gd name="T17" fmla="*/ 1076 h 1267"/>
                <a:gd name="T18" fmla="*/ 1077 w 1694"/>
                <a:gd name="T19" fmla="*/ 1151 h 1267"/>
                <a:gd name="T20" fmla="*/ 1193 w 1694"/>
                <a:gd name="T21" fmla="*/ 1225 h 1267"/>
                <a:gd name="T22" fmla="*/ 1261 w 1694"/>
                <a:gd name="T23" fmla="*/ 1225 h 1267"/>
                <a:gd name="T24" fmla="*/ 1267 w 1694"/>
                <a:gd name="T25" fmla="*/ 1088 h 1267"/>
                <a:gd name="T26" fmla="*/ 1393 w 1694"/>
                <a:gd name="T27" fmla="*/ 1109 h 1267"/>
                <a:gd name="T28" fmla="*/ 1472 w 1694"/>
                <a:gd name="T29" fmla="*/ 1003 h 1267"/>
                <a:gd name="T30" fmla="*/ 1567 w 1694"/>
                <a:gd name="T31" fmla="*/ 1029 h 1267"/>
                <a:gd name="T32" fmla="*/ 1657 w 1694"/>
                <a:gd name="T33" fmla="*/ 956 h 1267"/>
                <a:gd name="T34" fmla="*/ 1625 w 1694"/>
                <a:gd name="T35" fmla="*/ 876 h 1267"/>
                <a:gd name="T36" fmla="*/ 1562 w 1694"/>
                <a:gd name="T37" fmla="*/ 760 h 1267"/>
                <a:gd name="T38" fmla="*/ 1464 w 1694"/>
                <a:gd name="T39" fmla="*/ 707 h 1267"/>
                <a:gd name="T40" fmla="*/ 1414 w 1694"/>
                <a:gd name="T41" fmla="*/ 586 h 1267"/>
                <a:gd name="T42" fmla="*/ 1346 w 1694"/>
                <a:gd name="T43" fmla="*/ 470 h 1267"/>
                <a:gd name="T44" fmla="*/ 1267 w 1694"/>
                <a:gd name="T45" fmla="*/ 459 h 1267"/>
                <a:gd name="T46" fmla="*/ 1193 w 1694"/>
                <a:gd name="T47" fmla="*/ 412 h 1267"/>
                <a:gd name="T48" fmla="*/ 1166 w 1694"/>
                <a:gd name="T49" fmla="*/ 296 h 1267"/>
                <a:gd name="T50" fmla="*/ 1066 w 1694"/>
                <a:gd name="T51" fmla="*/ 269 h 1267"/>
                <a:gd name="T52" fmla="*/ 982 w 1694"/>
                <a:gd name="T53" fmla="*/ 248 h 1267"/>
                <a:gd name="T54" fmla="*/ 834 w 1694"/>
                <a:gd name="T55" fmla="*/ 211 h 1267"/>
                <a:gd name="T56" fmla="*/ 786 w 1694"/>
                <a:gd name="T57" fmla="*/ 248 h 1267"/>
                <a:gd name="T58" fmla="*/ 728 w 1694"/>
                <a:gd name="T59" fmla="*/ 296 h 1267"/>
                <a:gd name="T60" fmla="*/ 687 w 1694"/>
                <a:gd name="T61" fmla="*/ 329 h 1267"/>
                <a:gd name="T62" fmla="*/ 633 w 1694"/>
                <a:gd name="T63" fmla="*/ 275 h 1267"/>
                <a:gd name="T64" fmla="*/ 507 w 1694"/>
                <a:gd name="T65" fmla="*/ 201 h 1267"/>
                <a:gd name="T66" fmla="*/ 475 w 1694"/>
                <a:gd name="T67" fmla="*/ 95 h 1267"/>
                <a:gd name="T68" fmla="*/ 332 w 1694"/>
                <a:gd name="T69" fmla="*/ 48 h 1267"/>
                <a:gd name="T70" fmla="*/ 253 w 1694"/>
                <a:gd name="T71" fmla="*/ 53 h 1267"/>
                <a:gd name="T72" fmla="*/ 185 w 1694"/>
                <a:gd name="T73" fmla="*/ 27 h 1267"/>
                <a:gd name="T74" fmla="*/ 137 w 1694"/>
                <a:gd name="T75" fmla="*/ 85 h 1267"/>
                <a:gd name="T76" fmla="*/ 127 w 1694"/>
                <a:gd name="T77" fmla="*/ 201 h 1267"/>
                <a:gd name="T78" fmla="*/ 174 w 1694"/>
                <a:gd name="T79" fmla="*/ 248 h 1267"/>
                <a:gd name="T80" fmla="*/ 243 w 1694"/>
                <a:gd name="T81" fmla="*/ 317 h 1267"/>
                <a:gd name="T82" fmla="*/ 206 w 1694"/>
                <a:gd name="T83" fmla="*/ 385 h 1267"/>
                <a:gd name="T84" fmla="*/ 100 w 1694"/>
                <a:gd name="T85" fmla="*/ 364 h 1267"/>
                <a:gd name="T86" fmla="*/ 53 w 1694"/>
                <a:gd name="T87" fmla="*/ 354 h 1267"/>
                <a:gd name="T88" fmla="*/ 32 w 1694"/>
                <a:gd name="T89" fmla="*/ 459 h 1267"/>
                <a:gd name="T90" fmla="*/ 0 w 1694"/>
                <a:gd name="T91" fmla="*/ 539 h 1267"/>
                <a:gd name="T92" fmla="*/ 84 w 1694"/>
                <a:gd name="T93" fmla="*/ 656 h 126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94" h="1267">
                  <a:moveTo>
                    <a:pt x="116" y="681"/>
                  </a:moveTo>
                  <a:lnTo>
                    <a:pt x="274" y="507"/>
                  </a:lnTo>
                  <a:lnTo>
                    <a:pt x="343" y="517"/>
                  </a:lnTo>
                  <a:lnTo>
                    <a:pt x="396" y="549"/>
                  </a:lnTo>
                  <a:lnTo>
                    <a:pt x="427" y="560"/>
                  </a:lnTo>
                  <a:lnTo>
                    <a:pt x="459" y="676"/>
                  </a:lnTo>
                  <a:lnTo>
                    <a:pt x="459" y="729"/>
                  </a:lnTo>
                  <a:lnTo>
                    <a:pt x="554" y="818"/>
                  </a:lnTo>
                  <a:lnTo>
                    <a:pt x="580" y="808"/>
                  </a:lnTo>
                  <a:lnTo>
                    <a:pt x="591" y="850"/>
                  </a:lnTo>
                  <a:lnTo>
                    <a:pt x="602" y="876"/>
                  </a:lnTo>
                  <a:lnTo>
                    <a:pt x="591" y="913"/>
                  </a:lnTo>
                  <a:lnTo>
                    <a:pt x="565" y="934"/>
                  </a:lnTo>
                  <a:lnTo>
                    <a:pt x="580" y="961"/>
                  </a:lnTo>
                  <a:lnTo>
                    <a:pt x="554" y="1014"/>
                  </a:lnTo>
                  <a:lnTo>
                    <a:pt x="623" y="1040"/>
                  </a:lnTo>
                  <a:lnTo>
                    <a:pt x="612" y="1072"/>
                  </a:lnTo>
                  <a:lnTo>
                    <a:pt x="649" y="1072"/>
                  </a:lnTo>
                  <a:lnTo>
                    <a:pt x="749" y="1061"/>
                  </a:lnTo>
                  <a:lnTo>
                    <a:pt x="786" y="1061"/>
                  </a:lnTo>
                  <a:lnTo>
                    <a:pt x="813" y="1051"/>
                  </a:lnTo>
                  <a:lnTo>
                    <a:pt x="844" y="1051"/>
                  </a:lnTo>
                  <a:lnTo>
                    <a:pt x="871" y="1061"/>
                  </a:lnTo>
                  <a:lnTo>
                    <a:pt x="902" y="1088"/>
                  </a:lnTo>
                  <a:lnTo>
                    <a:pt x="929" y="1082"/>
                  </a:lnTo>
                  <a:lnTo>
                    <a:pt x="952" y="1078"/>
                  </a:lnTo>
                  <a:lnTo>
                    <a:pt x="977" y="1076"/>
                  </a:lnTo>
                  <a:lnTo>
                    <a:pt x="1008" y="1119"/>
                  </a:lnTo>
                  <a:lnTo>
                    <a:pt x="1040" y="1130"/>
                  </a:lnTo>
                  <a:lnTo>
                    <a:pt x="1077" y="1151"/>
                  </a:lnTo>
                  <a:lnTo>
                    <a:pt x="1124" y="1177"/>
                  </a:lnTo>
                  <a:lnTo>
                    <a:pt x="1172" y="1198"/>
                  </a:lnTo>
                  <a:lnTo>
                    <a:pt x="1193" y="1225"/>
                  </a:lnTo>
                  <a:lnTo>
                    <a:pt x="1219" y="1235"/>
                  </a:lnTo>
                  <a:lnTo>
                    <a:pt x="1240" y="1267"/>
                  </a:lnTo>
                  <a:lnTo>
                    <a:pt x="1261" y="1225"/>
                  </a:lnTo>
                  <a:lnTo>
                    <a:pt x="1277" y="1167"/>
                  </a:lnTo>
                  <a:lnTo>
                    <a:pt x="1277" y="1119"/>
                  </a:lnTo>
                  <a:lnTo>
                    <a:pt x="1267" y="1088"/>
                  </a:lnTo>
                  <a:lnTo>
                    <a:pt x="1325" y="1082"/>
                  </a:lnTo>
                  <a:lnTo>
                    <a:pt x="1367" y="1082"/>
                  </a:lnTo>
                  <a:lnTo>
                    <a:pt x="1393" y="1109"/>
                  </a:lnTo>
                  <a:lnTo>
                    <a:pt x="1404" y="1082"/>
                  </a:lnTo>
                  <a:lnTo>
                    <a:pt x="1435" y="1024"/>
                  </a:lnTo>
                  <a:lnTo>
                    <a:pt x="1472" y="1003"/>
                  </a:lnTo>
                  <a:lnTo>
                    <a:pt x="1499" y="1014"/>
                  </a:lnTo>
                  <a:lnTo>
                    <a:pt x="1541" y="1040"/>
                  </a:lnTo>
                  <a:lnTo>
                    <a:pt x="1567" y="1029"/>
                  </a:lnTo>
                  <a:lnTo>
                    <a:pt x="1599" y="993"/>
                  </a:lnTo>
                  <a:lnTo>
                    <a:pt x="1620" y="966"/>
                  </a:lnTo>
                  <a:lnTo>
                    <a:pt x="1657" y="956"/>
                  </a:lnTo>
                  <a:lnTo>
                    <a:pt x="1694" y="919"/>
                  </a:lnTo>
                  <a:lnTo>
                    <a:pt x="1678" y="887"/>
                  </a:lnTo>
                  <a:lnTo>
                    <a:pt x="1625" y="876"/>
                  </a:lnTo>
                  <a:lnTo>
                    <a:pt x="1620" y="829"/>
                  </a:lnTo>
                  <a:lnTo>
                    <a:pt x="1599" y="797"/>
                  </a:lnTo>
                  <a:lnTo>
                    <a:pt x="1562" y="760"/>
                  </a:lnTo>
                  <a:lnTo>
                    <a:pt x="1506" y="747"/>
                  </a:lnTo>
                  <a:lnTo>
                    <a:pt x="1472" y="729"/>
                  </a:lnTo>
                  <a:lnTo>
                    <a:pt x="1464" y="707"/>
                  </a:lnTo>
                  <a:lnTo>
                    <a:pt x="1425" y="681"/>
                  </a:lnTo>
                  <a:lnTo>
                    <a:pt x="1425" y="634"/>
                  </a:lnTo>
                  <a:lnTo>
                    <a:pt x="1414" y="586"/>
                  </a:lnTo>
                  <a:lnTo>
                    <a:pt x="1404" y="549"/>
                  </a:lnTo>
                  <a:lnTo>
                    <a:pt x="1392" y="483"/>
                  </a:lnTo>
                  <a:lnTo>
                    <a:pt x="1346" y="470"/>
                  </a:lnTo>
                  <a:lnTo>
                    <a:pt x="1319" y="481"/>
                  </a:lnTo>
                  <a:lnTo>
                    <a:pt x="1288" y="491"/>
                  </a:lnTo>
                  <a:lnTo>
                    <a:pt x="1267" y="459"/>
                  </a:lnTo>
                  <a:lnTo>
                    <a:pt x="1251" y="433"/>
                  </a:lnTo>
                  <a:lnTo>
                    <a:pt x="1219" y="401"/>
                  </a:lnTo>
                  <a:lnTo>
                    <a:pt x="1193" y="412"/>
                  </a:lnTo>
                  <a:lnTo>
                    <a:pt x="1193" y="375"/>
                  </a:lnTo>
                  <a:lnTo>
                    <a:pt x="1213" y="315"/>
                  </a:lnTo>
                  <a:lnTo>
                    <a:pt x="1166" y="296"/>
                  </a:lnTo>
                  <a:lnTo>
                    <a:pt x="1124" y="285"/>
                  </a:lnTo>
                  <a:lnTo>
                    <a:pt x="1098" y="296"/>
                  </a:lnTo>
                  <a:lnTo>
                    <a:pt x="1066" y="269"/>
                  </a:lnTo>
                  <a:lnTo>
                    <a:pt x="1040" y="248"/>
                  </a:lnTo>
                  <a:lnTo>
                    <a:pt x="1008" y="259"/>
                  </a:lnTo>
                  <a:lnTo>
                    <a:pt x="982" y="248"/>
                  </a:lnTo>
                  <a:lnTo>
                    <a:pt x="929" y="227"/>
                  </a:lnTo>
                  <a:lnTo>
                    <a:pt x="865" y="201"/>
                  </a:lnTo>
                  <a:lnTo>
                    <a:pt x="834" y="211"/>
                  </a:lnTo>
                  <a:lnTo>
                    <a:pt x="834" y="238"/>
                  </a:lnTo>
                  <a:lnTo>
                    <a:pt x="810" y="266"/>
                  </a:lnTo>
                  <a:lnTo>
                    <a:pt x="786" y="248"/>
                  </a:lnTo>
                  <a:lnTo>
                    <a:pt x="776" y="275"/>
                  </a:lnTo>
                  <a:lnTo>
                    <a:pt x="739" y="269"/>
                  </a:lnTo>
                  <a:lnTo>
                    <a:pt x="728" y="296"/>
                  </a:lnTo>
                  <a:lnTo>
                    <a:pt x="749" y="338"/>
                  </a:lnTo>
                  <a:lnTo>
                    <a:pt x="714" y="359"/>
                  </a:lnTo>
                  <a:lnTo>
                    <a:pt x="687" y="329"/>
                  </a:lnTo>
                  <a:lnTo>
                    <a:pt x="655" y="330"/>
                  </a:lnTo>
                  <a:lnTo>
                    <a:pt x="639" y="306"/>
                  </a:lnTo>
                  <a:lnTo>
                    <a:pt x="633" y="275"/>
                  </a:lnTo>
                  <a:lnTo>
                    <a:pt x="591" y="248"/>
                  </a:lnTo>
                  <a:lnTo>
                    <a:pt x="522" y="227"/>
                  </a:lnTo>
                  <a:lnTo>
                    <a:pt x="507" y="201"/>
                  </a:lnTo>
                  <a:lnTo>
                    <a:pt x="496" y="169"/>
                  </a:lnTo>
                  <a:lnTo>
                    <a:pt x="486" y="143"/>
                  </a:lnTo>
                  <a:lnTo>
                    <a:pt x="475" y="95"/>
                  </a:lnTo>
                  <a:lnTo>
                    <a:pt x="441" y="53"/>
                  </a:lnTo>
                  <a:lnTo>
                    <a:pt x="380" y="53"/>
                  </a:lnTo>
                  <a:lnTo>
                    <a:pt x="332" y="48"/>
                  </a:lnTo>
                  <a:lnTo>
                    <a:pt x="301" y="37"/>
                  </a:lnTo>
                  <a:lnTo>
                    <a:pt x="282" y="63"/>
                  </a:lnTo>
                  <a:lnTo>
                    <a:pt x="253" y="53"/>
                  </a:lnTo>
                  <a:lnTo>
                    <a:pt x="270" y="0"/>
                  </a:lnTo>
                  <a:lnTo>
                    <a:pt x="227" y="16"/>
                  </a:lnTo>
                  <a:lnTo>
                    <a:pt x="185" y="27"/>
                  </a:lnTo>
                  <a:lnTo>
                    <a:pt x="174" y="53"/>
                  </a:lnTo>
                  <a:lnTo>
                    <a:pt x="132" y="45"/>
                  </a:lnTo>
                  <a:lnTo>
                    <a:pt x="137" y="85"/>
                  </a:lnTo>
                  <a:lnTo>
                    <a:pt x="127" y="111"/>
                  </a:lnTo>
                  <a:lnTo>
                    <a:pt x="137" y="143"/>
                  </a:lnTo>
                  <a:lnTo>
                    <a:pt x="127" y="201"/>
                  </a:lnTo>
                  <a:lnTo>
                    <a:pt x="116" y="232"/>
                  </a:lnTo>
                  <a:lnTo>
                    <a:pt x="148" y="259"/>
                  </a:lnTo>
                  <a:lnTo>
                    <a:pt x="174" y="248"/>
                  </a:lnTo>
                  <a:lnTo>
                    <a:pt x="206" y="259"/>
                  </a:lnTo>
                  <a:lnTo>
                    <a:pt x="232" y="285"/>
                  </a:lnTo>
                  <a:lnTo>
                    <a:pt x="243" y="317"/>
                  </a:lnTo>
                  <a:lnTo>
                    <a:pt x="264" y="343"/>
                  </a:lnTo>
                  <a:lnTo>
                    <a:pt x="232" y="375"/>
                  </a:lnTo>
                  <a:lnTo>
                    <a:pt x="206" y="385"/>
                  </a:lnTo>
                  <a:lnTo>
                    <a:pt x="169" y="385"/>
                  </a:lnTo>
                  <a:lnTo>
                    <a:pt x="127" y="364"/>
                  </a:lnTo>
                  <a:lnTo>
                    <a:pt x="100" y="364"/>
                  </a:lnTo>
                  <a:lnTo>
                    <a:pt x="100" y="396"/>
                  </a:lnTo>
                  <a:lnTo>
                    <a:pt x="79" y="364"/>
                  </a:lnTo>
                  <a:lnTo>
                    <a:pt x="53" y="354"/>
                  </a:lnTo>
                  <a:lnTo>
                    <a:pt x="53" y="396"/>
                  </a:lnTo>
                  <a:lnTo>
                    <a:pt x="21" y="433"/>
                  </a:lnTo>
                  <a:lnTo>
                    <a:pt x="32" y="459"/>
                  </a:lnTo>
                  <a:lnTo>
                    <a:pt x="42" y="491"/>
                  </a:lnTo>
                  <a:lnTo>
                    <a:pt x="32" y="517"/>
                  </a:lnTo>
                  <a:lnTo>
                    <a:pt x="0" y="539"/>
                  </a:lnTo>
                  <a:lnTo>
                    <a:pt x="47" y="544"/>
                  </a:lnTo>
                  <a:lnTo>
                    <a:pt x="100" y="586"/>
                  </a:lnTo>
                  <a:lnTo>
                    <a:pt x="84" y="656"/>
                  </a:lnTo>
                  <a:lnTo>
                    <a:pt x="111" y="681"/>
                  </a:lnTo>
                  <a:lnTo>
                    <a:pt x="116" y="681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5" name="Freeform 10"/>
            <p:cNvSpPr>
              <a:spLocks/>
            </p:cNvSpPr>
            <p:nvPr/>
          </p:nvSpPr>
          <p:spPr bwMode="auto">
            <a:xfrm>
              <a:off x="86" y="942"/>
              <a:ext cx="1695" cy="1349"/>
            </a:xfrm>
            <a:custGeom>
              <a:avLst/>
              <a:gdLst>
                <a:gd name="T0" fmla="*/ 893 w 1695"/>
                <a:gd name="T1" fmla="*/ 1096 h 1349"/>
                <a:gd name="T2" fmla="*/ 191 w 1695"/>
                <a:gd name="T3" fmla="*/ 1212 h 1349"/>
                <a:gd name="T4" fmla="*/ 54 w 1695"/>
                <a:gd name="T5" fmla="*/ 1233 h 1349"/>
                <a:gd name="T6" fmla="*/ 85 w 1695"/>
                <a:gd name="T7" fmla="*/ 40 h 1349"/>
                <a:gd name="T8" fmla="*/ 191 w 1695"/>
                <a:gd name="T9" fmla="*/ 66 h 1349"/>
                <a:gd name="T10" fmla="*/ 286 w 1695"/>
                <a:gd name="T11" fmla="*/ 98 h 1349"/>
                <a:gd name="T12" fmla="*/ 354 w 1695"/>
                <a:gd name="T13" fmla="*/ 203 h 1349"/>
                <a:gd name="T14" fmla="*/ 497 w 1695"/>
                <a:gd name="T15" fmla="*/ 177 h 1349"/>
                <a:gd name="T16" fmla="*/ 597 w 1695"/>
                <a:gd name="T17" fmla="*/ 193 h 1349"/>
                <a:gd name="T18" fmla="*/ 508 w 1695"/>
                <a:gd name="T19" fmla="*/ 230 h 1349"/>
                <a:gd name="T20" fmla="*/ 428 w 1695"/>
                <a:gd name="T21" fmla="*/ 309 h 1349"/>
                <a:gd name="T22" fmla="*/ 413 w 1695"/>
                <a:gd name="T23" fmla="*/ 436 h 1349"/>
                <a:gd name="T24" fmla="*/ 508 w 1695"/>
                <a:gd name="T25" fmla="*/ 494 h 1349"/>
                <a:gd name="T26" fmla="*/ 529 w 1695"/>
                <a:gd name="T27" fmla="*/ 573 h 1349"/>
                <a:gd name="T28" fmla="*/ 666 w 1695"/>
                <a:gd name="T29" fmla="*/ 705 h 1349"/>
                <a:gd name="T30" fmla="*/ 956 w 1695"/>
                <a:gd name="T31" fmla="*/ 837 h 1349"/>
                <a:gd name="T32" fmla="*/ 1083 w 1695"/>
                <a:gd name="T33" fmla="*/ 726 h 1349"/>
                <a:gd name="T34" fmla="*/ 1157 w 1695"/>
                <a:gd name="T35" fmla="*/ 700 h 1349"/>
                <a:gd name="T36" fmla="*/ 1146 w 1695"/>
                <a:gd name="T37" fmla="*/ 689 h 1349"/>
                <a:gd name="T38" fmla="*/ 1056 w 1695"/>
                <a:gd name="T39" fmla="*/ 715 h 1349"/>
                <a:gd name="T40" fmla="*/ 951 w 1695"/>
                <a:gd name="T41" fmla="*/ 610 h 1349"/>
                <a:gd name="T42" fmla="*/ 1004 w 1695"/>
                <a:gd name="T43" fmla="*/ 525 h 1349"/>
                <a:gd name="T44" fmla="*/ 1130 w 1695"/>
                <a:gd name="T45" fmla="*/ 473 h 1349"/>
                <a:gd name="T46" fmla="*/ 1262 w 1695"/>
                <a:gd name="T47" fmla="*/ 515 h 1349"/>
                <a:gd name="T48" fmla="*/ 1310 w 1695"/>
                <a:gd name="T49" fmla="*/ 436 h 1349"/>
                <a:gd name="T50" fmla="*/ 1178 w 1695"/>
                <a:gd name="T51" fmla="*/ 436 h 1349"/>
                <a:gd name="T52" fmla="*/ 1030 w 1695"/>
                <a:gd name="T53" fmla="*/ 367 h 1349"/>
                <a:gd name="T54" fmla="*/ 914 w 1695"/>
                <a:gd name="T55" fmla="*/ 415 h 1349"/>
                <a:gd name="T56" fmla="*/ 835 w 1695"/>
                <a:gd name="T57" fmla="*/ 415 h 1349"/>
                <a:gd name="T58" fmla="*/ 808 w 1695"/>
                <a:gd name="T59" fmla="*/ 457 h 1349"/>
                <a:gd name="T60" fmla="*/ 655 w 1695"/>
                <a:gd name="T61" fmla="*/ 436 h 1349"/>
                <a:gd name="T62" fmla="*/ 555 w 1695"/>
                <a:gd name="T63" fmla="*/ 388 h 1349"/>
                <a:gd name="T64" fmla="*/ 597 w 1695"/>
                <a:gd name="T65" fmla="*/ 330 h 1349"/>
                <a:gd name="T66" fmla="*/ 703 w 1695"/>
                <a:gd name="T67" fmla="*/ 272 h 1349"/>
                <a:gd name="T68" fmla="*/ 740 w 1695"/>
                <a:gd name="T69" fmla="*/ 203 h 1349"/>
                <a:gd name="T70" fmla="*/ 655 w 1695"/>
                <a:gd name="T71" fmla="*/ 98 h 1349"/>
                <a:gd name="T72" fmla="*/ 771 w 1695"/>
                <a:gd name="T73" fmla="*/ 56 h 1349"/>
                <a:gd name="T74" fmla="*/ 903 w 1695"/>
                <a:gd name="T75" fmla="*/ 19 h 1349"/>
                <a:gd name="T76" fmla="*/ 1009 w 1695"/>
                <a:gd name="T77" fmla="*/ 98 h 1349"/>
                <a:gd name="T78" fmla="*/ 1051 w 1695"/>
                <a:gd name="T79" fmla="*/ 124 h 1349"/>
                <a:gd name="T80" fmla="*/ 1178 w 1695"/>
                <a:gd name="T81" fmla="*/ 182 h 1349"/>
                <a:gd name="T82" fmla="*/ 1299 w 1695"/>
                <a:gd name="T83" fmla="*/ 203 h 1349"/>
                <a:gd name="T84" fmla="*/ 1458 w 1695"/>
                <a:gd name="T85" fmla="*/ 230 h 1349"/>
                <a:gd name="T86" fmla="*/ 1531 w 1695"/>
                <a:gd name="T87" fmla="*/ 298 h 1349"/>
                <a:gd name="T88" fmla="*/ 1648 w 1695"/>
                <a:gd name="T89" fmla="*/ 346 h 1349"/>
                <a:gd name="T90" fmla="*/ 1642 w 1695"/>
                <a:gd name="T91" fmla="*/ 404 h 1349"/>
                <a:gd name="T92" fmla="*/ 1695 w 1695"/>
                <a:gd name="T93" fmla="*/ 483 h 1349"/>
                <a:gd name="T94" fmla="*/ 1658 w 1695"/>
                <a:gd name="T95" fmla="*/ 525 h 134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695" h="1349">
                  <a:moveTo>
                    <a:pt x="1621" y="547"/>
                  </a:moveTo>
                  <a:lnTo>
                    <a:pt x="1494" y="620"/>
                  </a:lnTo>
                  <a:lnTo>
                    <a:pt x="1257" y="816"/>
                  </a:lnTo>
                  <a:lnTo>
                    <a:pt x="893" y="1096"/>
                  </a:lnTo>
                  <a:lnTo>
                    <a:pt x="687" y="1349"/>
                  </a:lnTo>
                  <a:lnTo>
                    <a:pt x="407" y="1265"/>
                  </a:lnTo>
                  <a:lnTo>
                    <a:pt x="312" y="1212"/>
                  </a:lnTo>
                  <a:lnTo>
                    <a:pt x="191" y="1212"/>
                  </a:lnTo>
                  <a:lnTo>
                    <a:pt x="164" y="1243"/>
                  </a:lnTo>
                  <a:lnTo>
                    <a:pt x="128" y="1254"/>
                  </a:lnTo>
                  <a:lnTo>
                    <a:pt x="96" y="1222"/>
                  </a:lnTo>
                  <a:lnTo>
                    <a:pt x="54" y="1233"/>
                  </a:lnTo>
                  <a:lnTo>
                    <a:pt x="0" y="1250"/>
                  </a:lnTo>
                  <a:lnTo>
                    <a:pt x="0" y="0"/>
                  </a:lnTo>
                  <a:lnTo>
                    <a:pt x="54" y="29"/>
                  </a:lnTo>
                  <a:lnTo>
                    <a:pt x="85" y="40"/>
                  </a:lnTo>
                  <a:lnTo>
                    <a:pt x="117" y="29"/>
                  </a:lnTo>
                  <a:lnTo>
                    <a:pt x="117" y="61"/>
                  </a:lnTo>
                  <a:lnTo>
                    <a:pt x="149" y="71"/>
                  </a:lnTo>
                  <a:lnTo>
                    <a:pt x="191" y="66"/>
                  </a:lnTo>
                  <a:lnTo>
                    <a:pt x="217" y="77"/>
                  </a:lnTo>
                  <a:lnTo>
                    <a:pt x="228" y="108"/>
                  </a:lnTo>
                  <a:lnTo>
                    <a:pt x="254" y="77"/>
                  </a:lnTo>
                  <a:lnTo>
                    <a:pt x="286" y="98"/>
                  </a:lnTo>
                  <a:lnTo>
                    <a:pt x="312" y="119"/>
                  </a:lnTo>
                  <a:lnTo>
                    <a:pt x="323" y="145"/>
                  </a:lnTo>
                  <a:lnTo>
                    <a:pt x="370" y="156"/>
                  </a:lnTo>
                  <a:lnTo>
                    <a:pt x="354" y="203"/>
                  </a:lnTo>
                  <a:lnTo>
                    <a:pt x="381" y="214"/>
                  </a:lnTo>
                  <a:lnTo>
                    <a:pt x="413" y="193"/>
                  </a:lnTo>
                  <a:lnTo>
                    <a:pt x="449" y="182"/>
                  </a:lnTo>
                  <a:lnTo>
                    <a:pt x="497" y="177"/>
                  </a:lnTo>
                  <a:lnTo>
                    <a:pt x="529" y="177"/>
                  </a:lnTo>
                  <a:lnTo>
                    <a:pt x="555" y="156"/>
                  </a:lnTo>
                  <a:lnTo>
                    <a:pt x="555" y="182"/>
                  </a:lnTo>
                  <a:lnTo>
                    <a:pt x="597" y="193"/>
                  </a:lnTo>
                  <a:lnTo>
                    <a:pt x="603" y="224"/>
                  </a:lnTo>
                  <a:lnTo>
                    <a:pt x="576" y="230"/>
                  </a:lnTo>
                  <a:lnTo>
                    <a:pt x="550" y="251"/>
                  </a:lnTo>
                  <a:lnTo>
                    <a:pt x="508" y="230"/>
                  </a:lnTo>
                  <a:lnTo>
                    <a:pt x="471" y="224"/>
                  </a:lnTo>
                  <a:lnTo>
                    <a:pt x="428" y="251"/>
                  </a:lnTo>
                  <a:lnTo>
                    <a:pt x="428" y="283"/>
                  </a:lnTo>
                  <a:lnTo>
                    <a:pt x="428" y="309"/>
                  </a:lnTo>
                  <a:lnTo>
                    <a:pt x="449" y="341"/>
                  </a:lnTo>
                  <a:lnTo>
                    <a:pt x="460" y="367"/>
                  </a:lnTo>
                  <a:lnTo>
                    <a:pt x="428" y="388"/>
                  </a:lnTo>
                  <a:lnTo>
                    <a:pt x="413" y="436"/>
                  </a:lnTo>
                  <a:lnTo>
                    <a:pt x="439" y="425"/>
                  </a:lnTo>
                  <a:lnTo>
                    <a:pt x="471" y="446"/>
                  </a:lnTo>
                  <a:lnTo>
                    <a:pt x="481" y="483"/>
                  </a:lnTo>
                  <a:lnTo>
                    <a:pt x="508" y="494"/>
                  </a:lnTo>
                  <a:lnTo>
                    <a:pt x="539" y="483"/>
                  </a:lnTo>
                  <a:lnTo>
                    <a:pt x="550" y="515"/>
                  </a:lnTo>
                  <a:lnTo>
                    <a:pt x="550" y="541"/>
                  </a:lnTo>
                  <a:lnTo>
                    <a:pt x="529" y="573"/>
                  </a:lnTo>
                  <a:lnTo>
                    <a:pt x="539" y="599"/>
                  </a:lnTo>
                  <a:lnTo>
                    <a:pt x="550" y="631"/>
                  </a:lnTo>
                  <a:lnTo>
                    <a:pt x="603" y="726"/>
                  </a:lnTo>
                  <a:lnTo>
                    <a:pt x="666" y="705"/>
                  </a:lnTo>
                  <a:lnTo>
                    <a:pt x="756" y="747"/>
                  </a:lnTo>
                  <a:lnTo>
                    <a:pt x="829" y="795"/>
                  </a:lnTo>
                  <a:lnTo>
                    <a:pt x="903" y="837"/>
                  </a:lnTo>
                  <a:lnTo>
                    <a:pt x="956" y="837"/>
                  </a:lnTo>
                  <a:lnTo>
                    <a:pt x="1019" y="847"/>
                  </a:lnTo>
                  <a:lnTo>
                    <a:pt x="1051" y="837"/>
                  </a:lnTo>
                  <a:lnTo>
                    <a:pt x="1109" y="816"/>
                  </a:lnTo>
                  <a:lnTo>
                    <a:pt x="1083" y="726"/>
                  </a:lnTo>
                  <a:lnTo>
                    <a:pt x="1120" y="705"/>
                  </a:lnTo>
                  <a:lnTo>
                    <a:pt x="1167" y="726"/>
                  </a:lnTo>
                  <a:lnTo>
                    <a:pt x="1183" y="700"/>
                  </a:lnTo>
                  <a:lnTo>
                    <a:pt x="1157" y="700"/>
                  </a:lnTo>
                  <a:lnTo>
                    <a:pt x="1167" y="668"/>
                  </a:lnTo>
                  <a:lnTo>
                    <a:pt x="1194" y="631"/>
                  </a:lnTo>
                  <a:lnTo>
                    <a:pt x="1167" y="647"/>
                  </a:lnTo>
                  <a:lnTo>
                    <a:pt x="1146" y="689"/>
                  </a:lnTo>
                  <a:lnTo>
                    <a:pt x="1136" y="657"/>
                  </a:lnTo>
                  <a:lnTo>
                    <a:pt x="1109" y="668"/>
                  </a:lnTo>
                  <a:lnTo>
                    <a:pt x="1088" y="694"/>
                  </a:lnTo>
                  <a:lnTo>
                    <a:pt x="1056" y="715"/>
                  </a:lnTo>
                  <a:lnTo>
                    <a:pt x="1041" y="689"/>
                  </a:lnTo>
                  <a:lnTo>
                    <a:pt x="1009" y="668"/>
                  </a:lnTo>
                  <a:lnTo>
                    <a:pt x="972" y="642"/>
                  </a:lnTo>
                  <a:lnTo>
                    <a:pt x="951" y="610"/>
                  </a:lnTo>
                  <a:lnTo>
                    <a:pt x="951" y="578"/>
                  </a:lnTo>
                  <a:lnTo>
                    <a:pt x="940" y="552"/>
                  </a:lnTo>
                  <a:lnTo>
                    <a:pt x="961" y="525"/>
                  </a:lnTo>
                  <a:lnTo>
                    <a:pt x="1004" y="525"/>
                  </a:lnTo>
                  <a:lnTo>
                    <a:pt x="1030" y="504"/>
                  </a:lnTo>
                  <a:lnTo>
                    <a:pt x="1062" y="494"/>
                  </a:lnTo>
                  <a:lnTo>
                    <a:pt x="1088" y="473"/>
                  </a:lnTo>
                  <a:lnTo>
                    <a:pt x="1130" y="473"/>
                  </a:lnTo>
                  <a:lnTo>
                    <a:pt x="1157" y="494"/>
                  </a:lnTo>
                  <a:lnTo>
                    <a:pt x="1183" y="494"/>
                  </a:lnTo>
                  <a:lnTo>
                    <a:pt x="1225" y="504"/>
                  </a:lnTo>
                  <a:lnTo>
                    <a:pt x="1262" y="515"/>
                  </a:lnTo>
                  <a:lnTo>
                    <a:pt x="1299" y="525"/>
                  </a:lnTo>
                  <a:lnTo>
                    <a:pt x="1331" y="504"/>
                  </a:lnTo>
                  <a:lnTo>
                    <a:pt x="1331" y="467"/>
                  </a:lnTo>
                  <a:lnTo>
                    <a:pt x="1310" y="436"/>
                  </a:lnTo>
                  <a:lnTo>
                    <a:pt x="1283" y="436"/>
                  </a:lnTo>
                  <a:lnTo>
                    <a:pt x="1241" y="425"/>
                  </a:lnTo>
                  <a:lnTo>
                    <a:pt x="1215" y="446"/>
                  </a:lnTo>
                  <a:lnTo>
                    <a:pt x="1178" y="436"/>
                  </a:lnTo>
                  <a:lnTo>
                    <a:pt x="1146" y="425"/>
                  </a:lnTo>
                  <a:lnTo>
                    <a:pt x="1120" y="415"/>
                  </a:lnTo>
                  <a:lnTo>
                    <a:pt x="1067" y="378"/>
                  </a:lnTo>
                  <a:lnTo>
                    <a:pt x="1030" y="367"/>
                  </a:lnTo>
                  <a:lnTo>
                    <a:pt x="993" y="378"/>
                  </a:lnTo>
                  <a:lnTo>
                    <a:pt x="951" y="388"/>
                  </a:lnTo>
                  <a:lnTo>
                    <a:pt x="924" y="388"/>
                  </a:lnTo>
                  <a:lnTo>
                    <a:pt x="914" y="415"/>
                  </a:lnTo>
                  <a:lnTo>
                    <a:pt x="903" y="446"/>
                  </a:lnTo>
                  <a:lnTo>
                    <a:pt x="866" y="473"/>
                  </a:lnTo>
                  <a:lnTo>
                    <a:pt x="835" y="446"/>
                  </a:lnTo>
                  <a:lnTo>
                    <a:pt x="835" y="415"/>
                  </a:lnTo>
                  <a:lnTo>
                    <a:pt x="808" y="378"/>
                  </a:lnTo>
                  <a:lnTo>
                    <a:pt x="808" y="404"/>
                  </a:lnTo>
                  <a:lnTo>
                    <a:pt x="835" y="436"/>
                  </a:lnTo>
                  <a:lnTo>
                    <a:pt x="808" y="457"/>
                  </a:lnTo>
                  <a:lnTo>
                    <a:pt x="787" y="425"/>
                  </a:lnTo>
                  <a:lnTo>
                    <a:pt x="740" y="425"/>
                  </a:lnTo>
                  <a:lnTo>
                    <a:pt x="703" y="446"/>
                  </a:lnTo>
                  <a:lnTo>
                    <a:pt x="655" y="436"/>
                  </a:lnTo>
                  <a:lnTo>
                    <a:pt x="624" y="446"/>
                  </a:lnTo>
                  <a:lnTo>
                    <a:pt x="597" y="425"/>
                  </a:lnTo>
                  <a:lnTo>
                    <a:pt x="587" y="399"/>
                  </a:lnTo>
                  <a:lnTo>
                    <a:pt x="555" y="388"/>
                  </a:lnTo>
                  <a:lnTo>
                    <a:pt x="529" y="378"/>
                  </a:lnTo>
                  <a:lnTo>
                    <a:pt x="529" y="341"/>
                  </a:lnTo>
                  <a:lnTo>
                    <a:pt x="566" y="330"/>
                  </a:lnTo>
                  <a:lnTo>
                    <a:pt x="597" y="330"/>
                  </a:lnTo>
                  <a:lnTo>
                    <a:pt x="613" y="298"/>
                  </a:lnTo>
                  <a:lnTo>
                    <a:pt x="645" y="288"/>
                  </a:lnTo>
                  <a:lnTo>
                    <a:pt x="671" y="272"/>
                  </a:lnTo>
                  <a:lnTo>
                    <a:pt x="703" y="272"/>
                  </a:lnTo>
                  <a:lnTo>
                    <a:pt x="713" y="240"/>
                  </a:lnTo>
                  <a:lnTo>
                    <a:pt x="750" y="230"/>
                  </a:lnTo>
                  <a:lnTo>
                    <a:pt x="777" y="214"/>
                  </a:lnTo>
                  <a:lnTo>
                    <a:pt x="740" y="203"/>
                  </a:lnTo>
                  <a:lnTo>
                    <a:pt x="719" y="177"/>
                  </a:lnTo>
                  <a:lnTo>
                    <a:pt x="692" y="156"/>
                  </a:lnTo>
                  <a:lnTo>
                    <a:pt x="645" y="124"/>
                  </a:lnTo>
                  <a:lnTo>
                    <a:pt x="655" y="98"/>
                  </a:lnTo>
                  <a:lnTo>
                    <a:pt x="666" y="66"/>
                  </a:lnTo>
                  <a:lnTo>
                    <a:pt x="713" y="50"/>
                  </a:lnTo>
                  <a:lnTo>
                    <a:pt x="740" y="56"/>
                  </a:lnTo>
                  <a:lnTo>
                    <a:pt x="771" y="56"/>
                  </a:lnTo>
                  <a:lnTo>
                    <a:pt x="798" y="29"/>
                  </a:lnTo>
                  <a:lnTo>
                    <a:pt x="829" y="19"/>
                  </a:lnTo>
                  <a:lnTo>
                    <a:pt x="877" y="19"/>
                  </a:lnTo>
                  <a:lnTo>
                    <a:pt x="903" y="19"/>
                  </a:lnTo>
                  <a:lnTo>
                    <a:pt x="940" y="40"/>
                  </a:lnTo>
                  <a:lnTo>
                    <a:pt x="972" y="56"/>
                  </a:lnTo>
                  <a:lnTo>
                    <a:pt x="1004" y="66"/>
                  </a:lnTo>
                  <a:lnTo>
                    <a:pt x="1009" y="98"/>
                  </a:lnTo>
                  <a:lnTo>
                    <a:pt x="1041" y="119"/>
                  </a:lnTo>
                  <a:lnTo>
                    <a:pt x="1030" y="145"/>
                  </a:lnTo>
                  <a:lnTo>
                    <a:pt x="1067" y="166"/>
                  </a:lnTo>
                  <a:lnTo>
                    <a:pt x="1051" y="124"/>
                  </a:lnTo>
                  <a:lnTo>
                    <a:pt x="1088" y="135"/>
                  </a:lnTo>
                  <a:lnTo>
                    <a:pt x="1120" y="145"/>
                  </a:lnTo>
                  <a:lnTo>
                    <a:pt x="1146" y="166"/>
                  </a:lnTo>
                  <a:lnTo>
                    <a:pt x="1178" y="182"/>
                  </a:lnTo>
                  <a:lnTo>
                    <a:pt x="1204" y="182"/>
                  </a:lnTo>
                  <a:lnTo>
                    <a:pt x="1236" y="182"/>
                  </a:lnTo>
                  <a:lnTo>
                    <a:pt x="1262" y="182"/>
                  </a:lnTo>
                  <a:lnTo>
                    <a:pt x="1299" y="203"/>
                  </a:lnTo>
                  <a:lnTo>
                    <a:pt x="1331" y="203"/>
                  </a:lnTo>
                  <a:lnTo>
                    <a:pt x="1378" y="214"/>
                  </a:lnTo>
                  <a:lnTo>
                    <a:pt x="1415" y="230"/>
                  </a:lnTo>
                  <a:lnTo>
                    <a:pt x="1458" y="230"/>
                  </a:lnTo>
                  <a:lnTo>
                    <a:pt x="1484" y="240"/>
                  </a:lnTo>
                  <a:lnTo>
                    <a:pt x="1494" y="272"/>
                  </a:lnTo>
                  <a:lnTo>
                    <a:pt x="1526" y="272"/>
                  </a:lnTo>
                  <a:lnTo>
                    <a:pt x="1531" y="298"/>
                  </a:lnTo>
                  <a:lnTo>
                    <a:pt x="1563" y="330"/>
                  </a:lnTo>
                  <a:lnTo>
                    <a:pt x="1584" y="356"/>
                  </a:lnTo>
                  <a:lnTo>
                    <a:pt x="1611" y="346"/>
                  </a:lnTo>
                  <a:lnTo>
                    <a:pt x="1648" y="346"/>
                  </a:lnTo>
                  <a:lnTo>
                    <a:pt x="1611" y="388"/>
                  </a:lnTo>
                  <a:lnTo>
                    <a:pt x="1642" y="388"/>
                  </a:lnTo>
                  <a:lnTo>
                    <a:pt x="1669" y="388"/>
                  </a:lnTo>
                  <a:lnTo>
                    <a:pt x="1642" y="404"/>
                  </a:lnTo>
                  <a:lnTo>
                    <a:pt x="1679" y="415"/>
                  </a:lnTo>
                  <a:lnTo>
                    <a:pt x="1658" y="446"/>
                  </a:lnTo>
                  <a:lnTo>
                    <a:pt x="1690" y="446"/>
                  </a:lnTo>
                  <a:lnTo>
                    <a:pt x="1695" y="483"/>
                  </a:lnTo>
                  <a:lnTo>
                    <a:pt x="1669" y="504"/>
                  </a:lnTo>
                  <a:lnTo>
                    <a:pt x="1642" y="473"/>
                  </a:lnTo>
                  <a:lnTo>
                    <a:pt x="1632" y="504"/>
                  </a:lnTo>
                  <a:lnTo>
                    <a:pt x="1658" y="525"/>
                  </a:lnTo>
                  <a:lnTo>
                    <a:pt x="1621" y="547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6" name="Freeform 11"/>
            <p:cNvSpPr>
              <a:spLocks/>
            </p:cNvSpPr>
            <p:nvPr/>
          </p:nvSpPr>
          <p:spPr bwMode="auto">
            <a:xfrm>
              <a:off x="382" y="1367"/>
              <a:ext cx="4874" cy="2505"/>
            </a:xfrm>
            <a:custGeom>
              <a:avLst/>
              <a:gdLst>
                <a:gd name="T0" fmla="*/ 2147483647 w 687"/>
                <a:gd name="T1" fmla="*/ 2147483647 h 353"/>
                <a:gd name="T2" fmla="*/ 2147483647 w 687"/>
                <a:gd name="T3" fmla="*/ 2147483647 h 353"/>
                <a:gd name="T4" fmla="*/ 2147483647 w 687"/>
                <a:gd name="T5" fmla="*/ 2147483647 h 353"/>
                <a:gd name="T6" fmla="*/ 2147483647 w 687"/>
                <a:gd name="T7" fmla="*/ 2147483647 h 353"/>
                <a:gd name="T8" fmla="*/ 2147483647 w 687"/>
                <a:gd name="T9" fmla="*/ 2147483647 h 353"/>
                <a:gd name="T10" fmla="*/ 2147483647 w 687"/>
                <a:gd name="T11" fmla="*/ 2147483647 h 353"/>
                <a:gd name="T12" fmla="*/ 2147483647 w 687"/>
                <a:gd name="T13" fmla="*/ 2147483647 h 353"/>
                <a:gd name="T14" fmla="*/ 2147483647 w 687"/>
                <a:gd name="T15" fmla="*/ 2147483647 h 353"/>
                <a:gd name="T16" fmla="*/ 2147483647 w 687"/>
                <a:gd name="T17" fmla="*/ 2147483647 h 353"/>
                <a:gd name="T18" fmla="*/ 2147483647 w 687"/>
                <a:gd name="T19" fmla="*/ 2147483647 h 353"/>
                <a:gd name="T20" fmla="*/ 2147483647 w 687"/>
                <a:gd name="T21" fmla="*/ 2147483647 h 353"/>
                <a:gd name="T22" fmla="*/ 2147483647 w 687"/>
                <a:gd name="T23" fmla="*/ 2147483647 h 353"/>
                <a:gd name="T24" fmla="*/ 2147483647 w 687"/>
                <a:gd name="T25" fmla="*/ 2147483647 h 353"/>
                <a:gd name="T26" fmla="*/ 2147483647 w 687"/>
                <a:gd name="T27" fmla="*/ 2147483647 h 353"/>
                <a:gd name="T28" fmla="*/ 2147483647 w 687"/>
                <a:gd name="T29" fmla="*/ 2147483647 h 353"/>
                <a:gd name="T30" fmla="*/ 2147483647 w 687"/>
                <a:gd name="T31" fmla="*/ 2147483647 h 353"/>
                <a:gd name="T32" fmla="*/ 2147483647 w 687"/>
                <a:gd name="T33" fmla="*/ 2147483647 h 353"/>
                <a:gd name="T34" fmla="*/ 2147483647 w 687"/>
                <a:gd name="T35" fmla="*/ 2147483647 h 353"/>
                <a:gd name="T36" fmla="*/ 2147483647 w 687"/>
                <a:gd name="T37" fmla="*/ 2147483647 h 353"/>
                <a:gd name="T38" fmla="*/ 2147483647 w 687"/>
                <a:gd name="T39" fmla="*/ 2147483647 h 353"/>
                <a:gd name="T40" fmla="*/ 2147483647 w 687"/>
                <a:gd name="T41" fmla="*/ 2147483647 h 353"/>
                <a:gd name="T42" fmla="*/ 2147483647 w 687"/>
                <a:gd name="T43" fmla="*/ 2147483647 h 353"/>
                <a:gd name="T44" fmla="*/ 2147483647 w 687"/>
                <a:gd name="T45" fmla="*/ 2147483647 h 353"/>
                <a:gd name="T46" fmla="*/ 2147483647 w 687"/>
                <a:gd name="T47" fmla="*/ 0 h 353"/>
                <a:gd name="T48" fmla="*/ 2147483647 w 687"/>
                <a:gd name="T49" fmla="*/ 2147483647 h 353"/>
                <a:gd name="T50" fmla="*/ 2147483647 w 687"/>
                <a:gd name="T51" fmla="*/ 2147483647 h 353"/>
                <a:gd name="T52" fmla="*/ 2147483647 w 687"/>
                <a:gd name="T53" fmla="*/ 2147483647 h 353"/>
                <a:gd name="T54" fmla="*/ 2147483647 w 687"/>
                <a:gd name="T55" fmla="*/ 2147483647 h 353"/>
                <a:gd name="T56" fmla="*/ 2147483647 w 687"/>
                <a:gd name="T57" fmla="*/ 2147483647 h 353"/>
                <a:gd name="T58" fmla="*/ 2147483647 w 687"/>
                <a:gd name="T59" fmla="*/ 2147483647 h 353"/>
                <a:gd name="T60" fmla="*/ 2147483647 w 687"/>
                <a:gd name="T61" fmla="*/ 2147483647 h 353"/>
                <a:gd name="T62" fmla="*/ 2147483647 w 687"/>
                <a:gd name="T63" fmla="*/ 2147483647 h 353"/>
                <a:gd name="T64" fmla="*/ 2147483647 w 687"/>
                <a:gd name="T65" fmla="*/ 2147483647 h 353"/>
                <a:gd name="T66" fmla="*/ 2147483647 w 687"/>
                <a:gd name="T67" fmla="*/ 2147483647 h 353"/>
                <a:gd name="T68" fmla="*/ 2147483647 w 687"/>
                <a:gd name="T69" fmla="*/ 2147483647 h 353"/>
                <a:gd name="T70" fmla="*/ 2147483647 w 687"/>
                <a:gd name="T71" fmla="*/ 2147483647 h 353"/>
                <a:gd name="T72" fmla="*/ 2147483647 w 687"/>
                <a:gd name="T73" fmla="*/ 2147483647 h 353"/>
                <a:gd name="T74" fmla="*/ 2147483647 w 687"/>
                <a:gd name="T75" fmla="*/ 2147483647 h 353"/>
                <a:gd name="T76" fmla="*/ 2147483647 w 687"/>
                <a:gd name="T77" fmla="*/ 2147483647 h 353"/>
                <a:gd name="T78" fmla="*/ 2147483647 w 687"/>
                <a:gd name="T79" fmla="*/ 2147483647 h 353"/>
                <a:gd name="T80" fmla="*/ 2147483647 w 687"/>
                <a:gd name="T81" fmla="*/ 2147483647 h 353"/>
                <a:gd name="T82" fmla="*/ 2147483647 w 687"/>
                <a:gd name="T83" fmla="*/ 2147483647 h 353"/>
                <a:gd name="T84" fmla="*/ 2147483647 w 687"/>
                <a:gd name="T85" fmla="*/ 2147483647 h 353"/>
                <a:gd name="T86" fmla="*/ 2147483647 w 687"/>
                <a:gd name="T87" fmla="*/ 2147483647 h 353"/>
                <a:gd name="T88" fmla="*/ 2147483647 w 687"/>
                <a:gd name="T89" fmla="*/ 2147483647 h 353"/>
                <a:gd name="T90" fmla="*/ 2147483647 w 687"/>
                <a:gd name="T91" fmla="*/ 2147483647 h 353"/>
                <a:gd name="T92" fmla="*/ 2147483647 w 687"/>
                <a:gd name="T93" fmla="*/ 2147483647 h 353"/>
                <a:gd name="T94" fmla="*/ 2147483647 w 687"/>
                <a:gd name="T95" fmla="*/ 2147483647 h 353"/>
                <a:gd name="T96" fmla="*/ 2147483647 w 687"/>
                <a:gd name="T97" fmla="*/ 2147483647 h 353"/>
                <a:gd name="T98" fmla="*/ 2147483647 w 687"/>
                <a:gd name="T99" fmla="*/ 2147483647 h 353"/>
                <a:gd name="T100" fmla="*/ 2147483647 w 687"/>
                <a:gd name="T101" fmla="*/ 2147483647 h 353"/>
                <a:gd name="T102" fmla="*/ 2147483647 w 687"/>
                <a:gd name="T103" fmla="*/ 2147483647 h 353"/>
                <a:gd name="T104" fmla="*/ 2147483647 w 687"/>
                <a:gd name="T105" fmla="*/ 2147483647 h 353"/>
                <a:gd name="T106" fmla="*/ 2147483647 w 687"/>
                <a:gd name="T107" fmla="*/ 2147483647 h 353"/>
                <a:gd name="T108" fmla="*/ 2147483647 w 687"/>
                <a:gd name="T109" fmla="*/ 2147483647 h 353"/>
                <a:gd name="T110" fmla="*/ 2147483647 w 687"/>
                <a:gd name="T111" fmla="*/ 2147483647 h 353"/>
                <a:gd name="T112" fmla="*/ 2147483647 w 687"/>
                <a:gd name="T113" fmla="*/ 2147483647 h 353"/>
                <a:gd name="T114" fmla="*/ 2147483647 w 687"/>
                <a:gd name="T115" fmla="*/ 2147483647 h 353"/>
                <a:gd name="T116" fmla="*/ 2147483647 w 687"/>
                <a:gd name="T117" fmla="*/ 2147483647 h 353"/>
                <a:gd name="T118" fmla="*/ 2147483647 w 687"/>
                <a:gd name="T119" fmla="*/ 2147483647 h 353"/>
                <a:gd name="T120" fmla="*/ 2147483647 w 687"/>
                <a:gd name="T121" fmla="*/ 2147483647 h 35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687" h="353">
                  <a:moveTo>
                    <a:pt x="286" y="304"/>
                  </a:moveTo>
                  <a:lnTo>
                    <a:pt x="290" y="304"/>
                  </a:lnTo>
                  <a:lnTo>
                    <a:pt x="294" y="304"/>
                  </a:lnTo>
                  <a:lnTo>
                    <a:pt x="301" y="303"/>
                  </a:lnTo>
                  <a:lnTo>
                    <a:pt x="306" y="301"/>
                  </a:lnTo>
                  <a:lnTo>
                    <a:pt x="311" y="300"/>
                  </a:lnTo>
                  <a:lnTo>
                    <a:pt x="316" y="296"/>
                  </a:lnTo>
                  <a:lnTo>
                    <a:pt x="319" y="296"/>
                  </a:lnTo>
                  <a:lnTo>
                    <a:pt x="324" y="297"/>
                  </a:lnTo>
                  <a:lnTo>
                    <a:pt x="328" y="299"/>
                  </a:lnTo>
                  <a:lnTo>
                    <a:pt x="332" y="299"/>
                  </a:lnTo>
                  <a:lnTo>
                    <a:pt x="333" y="303"/>
                  </a:lnTo>
                  <a:lnTo>
                    <a:pt x="337" y="307"/>
                  </a:lnTo>
                  <a:lnTo>
                    <a:pt x="342" y="308"/>
                  </a:lnTo>
                  <a:lnTo>
                    <a:pt x="345" y="308"/>
                  </a:lnTo>
                  <a:lnTo>
                    <a:pt x="350" y="310"/>
                  </a:lnTo>
                  <a:lnTo>
                    <a:pt x="354" y="308"/>
                  </a:lnTo>
                  <a:lnTo>
                    <a:pt x="358" y="308"/>
                  </a:lnTo>
                  <a:lnTo>
                    <a:pt x="359" y="304"/>
                  </a:lnTo>
                  <a:lnTo>
                    <a:pt x="355" y="301"/>
                  </a:lnTo>
                  <a:lnTo>
                    <a:pt x="359" y="299"/>
                  </a:lnTo>
                  <a:lnTo>
                    <a:pt x="360" y="292"/>
                  </a:lnTo>
                  <a:lnTo>
                    <a:pt x="363" y="289"/>
                  </a:lnTo>
                  <a:lnTo>
                    <a:pt x="367" y="292"/>
                  </a:lnTo>
                  <a:lnTo>
                    <a:pt x="371" y="292"/>
                  </a:lnTo>
                  <a:lnTo>
                    <a:pt x="381" y="297"/>
                  </a:lnTo>
                  <a:lnTo>
                    <a:pt x="382" y="301"/>
                  </a:lnTo>
                  <a:lnTo>
                    <a:pt x="388" y="308"/>
                  </a:lnTo>
                  <a:lnTo>
                    <a:pt x="393" y="310"/>
                  </a:lnTo>
                  <a:lnTo>
                    <a:pt x="397" y="307"/>
                  </a:lnTo>
                  <a:lnTo>
                    <a:pt x="401" y="304"/>
                  </a:lnTo>
                  <a:lnTo>
                    <a:pt x="406" y="307"/>
                  </a:lnTo>
                  <a:lnTo>
                    <a:pt x="411" y="305"/>
                  </a:lnTo>
                  <a:lnTo>
                    <a:pt x="415" y="307"/>
                  </a:lnTo>
                  <a:lnTo>
                    <a:pt x="416" y="312"/>
                  </a:lnTo>
                  <a:lnTo>
                    <a:pt x="425" y="315"/>
                  </a:lnTo>
                  <a:lnTo>
                    <a:pt x="429" y="315"/>
                  </a:lnTo>
                  <a:lnTo>
                    <a:pt x="434" y="315"/>
                  </a:lnTo>
                  <a:lnTo>
                    <a:pt x="441" y="310"/>
                  </a:lnTo>
                  <a:lnTo>
                    <a:pt x="445" y="310"/>
                  </a:lnTo>
                  <a:lnTo>
                    <a:pt x="449" y="307"/>
                  </a:lnTo>
                  <a:lnTo>
                    <a:pt x="455" y="304"/>
                  </a:lnTo>
                  <a:lnTo>
                    <a:pt x="460" y="307"/>
                  </a:lnTo>
                  <a:lnTo>
                    <a:pt x="464" y="305"/>
                  </a:lnTo>
                  <a:lnTo>
                    <a:pt x="468" y="307"/>
                  </a:lnTo>
                  <a:lnTo>
                    <a:pt x="473" y="307"/>
                  </a:lnTo>
                  <a:lnTo>
                    <a:pt x="476" y="308"/>
                  </a:lnTo>
                  <a:lnTo>
                    <a:pt x="482" y="305"/>
                  </a:lnTo>
                  <a:lnTo>
                    <a:pt x="484" y="301"/>
                  </a:lnTo>
                  <a:lnTo>
                    <a:pt x="484" y="296"/>
                  </a:lnTo>
                  <a:lnTo>
                    <a:pt x="486" y="290"/>
                  </a:lnTo>
                  <a:lnTo>
                    <a:pt x="487" y="285"/>
                  </a:lnTo>
                  <a:lnTo>
                    <a:pt x="487" y="278"/>
                  </a:lnTo>
                  <a:lnTo>
                    <a:pt x="483" y="277"/>
                  </a:lnTo>
                  <a:lnTo>
                    <a:pt x="490" y="271"/>
                  </a:lnTo>
                  <a:lnTo>
                    <a:pt x="494" y="268"/>
                  </a:lnTo>
                  <a:lnTo>
                    <a:pt x="499" y="268"/>
                  </a:lnTo>
                  <a:lnTo>
                    <a:pt x="505" y="270"/>
                  </a:lnTo>
                  <a:lnTo>
                    <a:pt x="510" y="270"/>
                  </a:lnTo>
                  <a:lnTo>
                    <a:pt x="519" y="272"/>
                  </a:lnTo>
                  <a:lnTo>
                    <a:pt x="524" y="281"/>
                  </a:lnTo>
                  <a:lnTo>
                    <a:pt x="527" y="285"/>
                  </a:lnTo>
                  <a:lnTo>
                    <a:pt x="532" y="292"/>
                  </a:lnTo>
                  <a:lnTo>
                    <a:pt x="537" y="296"/>
                  </a:lnTo>
                  <a:lnTo>
                    <a:pt x="542" y="294"/>
                  </a:lnTo>
                  <a:lnTo>
                    <a:pt x="547" y="294"/>
                  </a:lnTo>
                  <a:lnTo>
                    <a:pt x="553" y="296"/>
                  </a:lnTo>
                  <a:lnTo>
                    <a:pt x="557" y="299"/>
                  </a:lnTo>
                  <a:lnTo>
                    <a:pt x="557" y="303"/>
                  </a:lnTo>
                  <a:lnTo>
                    <a:pt x="561" y="305"/>
                  </a:lnTo>
                  <a:lnTo>
                    <a:pt x="565" y="304"/>
                  </a:lnTo>
                  <a:lnTo>
                    <a:pt x="571" y="303"/>
                  </a:lnTo>
                  <a:lnTo>
                    <a:pt x="574" y="297"/>
                  </a:lnTo>
                  <a:lnTo>
                    <a:pt x="579" y="292"/>
                  </a:lnTo>
                  <a:lnTo>
                    <a:pt x="584" y="299"/>
                  </a:lnTo>
                  <a:lnTo>
                    <a:pt x="583" y="304"/>
                  </a:lnTo>
                  <a:lnTo>
                    <a:pt x="584" y="310"/>
                  </a:lnTo>
                  <a:lnTo>
                    <a:pt x="586" y="315"/>
                  </a:lnTo>
                  <a:lnTo>
                    <a:pt x="584" y="319"/>
                  </a:lnTo>
                  <a:lnTo>
                    <a:pt x="583" y="323"/>
                  </a:lnTo>
                  <a:lnTo>
                    <a:pt x="583" y="328"/>
                  </a:lnTo>
                  <a:lnTo>
                    <a:pt x="579" y="328"/>
                  </a:lnTo>
                  <a:lnTo>
                    <a:pt x="577" y="324"/>
                  </a:lnTo>
                  <a:lnTo>
                    <a:pt x="573" y="328"/>
                  </a:lnTo>
                  <a:lnTo>
                    <a:pt x="571" y="331"/>
                  </a:lnTo>
                  <a:lnTo>
                    <a:pt x="576" y="338"/>
                  </a:lnTo>
                  <a:lnTo>
                    <a:pt x="577" y="343"/>
                  </a:lnTo>
                  <a:lnTo>
                    <a:pt x="574" y="348"/>
                  </a:lnTo>
                  <a:lnTo>
                    <a:pt x="576" y="353"/>
                  </a:lnTo>
                  <a:lnTo>
                    <a:pt x="580" y="349"/>
                  </a:lnTo>
                  <a:lnTo>
                    <a:pt x="580" y="345"/>
                  </a:lnTo>
                  <a:lnTo>
                    <a:pt x="584" y="341"/>
                  </a:lnTo>
                  <a:lnTo>
                    <a:pt x="589" y="343"/>
                  </a:lnTo>
                  <a:lnTo>
                    <a:pt x="594" y="342"/>
                  </a:lnTo>
                  <a:lnTo>
                    <a:pt x="598" y="336"/>
                  </a:lnTo>
                  <a:lnTo>
                    <a:pt x="602" y="334"/>
                  </a:lnTo>
                  <a:lnTo>
                    <a:pt x="604" y="328"/>
                  </a:lnTo>
                  <a:lnTo>
                    <a:pt x="604" y="324"/>
                  </a:lnTo>
                  <a:lnTo>
                    <a:pt x="606" y="319"/>
                  </a:lnTo>
                  <a:lnTo>
                    <a:pt x="607" y="315"/>
                  </a:lnTo>
                  <a:lnTo>
                    <a:pt x="609" y="310"/>
                  </a:lnTo>
                  <a:lnTo>
                    <a:pt x="610" y="305"/>
                  </a:lnTo>
                  <a:lnTo>
                    <a:pt x="612" y="301"/>
                  </a:lnTo>
                  <a:lnTo>
                    <a:pt x="610" y="296"/>
                  </a:lnTo>
                  <a:lnTo>
                    <a:pt x="612" y="290"/>
                  </a:lnTo>
                  <a:lnTo>
                    <a:pt x="612" y="284"/>
                  </a:lnTo>
                  <a:lnTo>
                    <a:pt x="613" y="277"/>
                  </a:lnTo>
                  <a:lnTo>
                    <a:pt x="612" y="271"/>
                  </a:lnTo>
                  <a:lnTo>
                    <a:pt x="610" y="267"/>
                  </a:lnTo>
                  <a:lnTo>
                    <a:pt x="609" y="263"/>
                  </a:lnTo>
                  <a:lnTo>
                    <a:pt x="604" y="259"/>
                  </a:lnTo>
                  <a:lnTo>
                    <a:pt x="603" y="255"/>
                  </a:lnTo>
                  <a:lnTo>
                    <a:pt x="603" y="249"/>
                  </a:lnTo>
                  <a:lnTo>
                    <a:pt x="603" y="245"/>
                  </a:lnTo>
                  <a:lnTo>
                    <a:pt x="599" y="241"/>
                  </a:lnTo>
                  <a:lnTo>
                    <a:pt x="597" y="236"/>
                  </a:lnTo>
                  <a:lnTo>
                    <a:pt x="592" y="235"/>
                  </a:lnTo>
                  <a:lnTo>
                    <a:pt x="588" y="232"/>
                  </a:lnTo>
                  <a:lnTo>
                    <a:pt x="584" y="230"/>
                  </a:lnTo>
                  <a:lnTo>
                    <a:pt x="581" y="235"/>
                  </a:lnTo>
                  <a:lnTo>
                    <a:pt x="581" y="240"/>
                  </a:lnTo>
                  <a:lnTo>
                    <a:pt x="577" y="241"/>
                  </a:lnTo>
                  <a:lnTo>
                    <a:pt x="574" y="237"/>
                  </a:lnTo>
                  <a:lnTo>
                    <a:pt x="571" y="241"/>
                  </a:lnTo>
                  <a:lnTo>
                    <a:pt x="569" y="236"/>
                  </a:lnTo>
                  <a:lnTo>
                    <a:pt x="565" y="237"/>
                  </a:lnTo>
                  <a:lnTo>
                    <a:pt x="561" y="237"/>
                  </a:lnTo>
                  <a:lnTo>
                    <a:pt x="561" y="233"/>
                  </a:lnTo>
                  <a:lnTo>
                    <a:pt x="563" y="226"/>
                  </a:lnTo>
                  <a:lnTo>
                    <a:pt x="566" y="220"/>
                  </a:lnTo>
                  <a:lnTo>
                    <a:pt x="568" y="215"/>
                  </a:lnTo>
                  <a:lnTo>
                    <a:pt x="569" y="210"/>
                  </a:lnTo>
                  <a:lnTo>
                    <a:pt x="569" y="206"/>
                  </a:lnTo>
                  <a:lnTo>
                    <a:pt x="571" y="202"/>
                  </a:lnTo>
                  <a:lnTo>
                    <a:pt x="571" y="197"/>
                  </a:lnTo>
                  <a:lnTo>
                    <a:pt x="573" y="194"/>
                  </a:lnTo>
                  <a:lnTo>
                    <a:pt x="571" y="188"/>
                  </a:lnTo>
                  <a:lnTo>
                    <a:pt x="574" y="184"/>
                  </a:lnTo>
                  <a:lnTo>
                    <a:pt x="580" y="180"/>
                  </a:lnTo>
                  <a:lnTo>
                    <a:pt x="584" y="179"/>
                  </a:lnTo>
                  <a:lnTo>
                    <a:pt x="588" y="179"/>
                  </a:lnTo>
                  <a:lnTo>
                    <a:pt x="589" y="174"/>
                  </a:lnTo>
                  <a:lnTo>
                    <a:pt x="595" y="174"/>
                  </a:lnTo>
                  <a:lnTo>
                    <a:pt x="601" y="171"/>
                  </a:lnTo>
                  <a:lnTo>
                    <a:pt x="599" y="166"/>
                  </a:lnTo>
                  <a:lnTo>
                    <a:pt x="604" y="163"/>
                  </a:lnTo>
                  <a:lnTo>
                    <a:pt x="609" y="161"/>
                  </a:lnTo>
                  <a:lnTo>
                    <a:pt x="613" y="161"/>
                  </a:lnTo>
                  <a:lnTo>
                    <a:pt x="610" y="166"/>
                  </a:lnTo>
                  <a:lnTo>
                    <a:pt x="615" y="165"/>
                  </a:lnTo>
                  <a:lnTo>
                    <a:pt x="617" y="161"/>
                  </a:lnTo>
                  <a:lnTo>
                    <a:pt x="620" y="156"/>
                  </a:lnTo>
                  <a:lnTo>
                    <a:pt x="623" y="154"/>
                  </a:lnTo>
                  <a:lnTo>
                    <a:pt x="618" y="153"/>
                  </a:lnTo>
                  <a:lnTo>
                    <a:pt x="617" y="147"/>
                  </a:lnTo>
                  <a:lnTo>
                    <a:pt x="617" y="142"/>
                  </a:lnTo>
                  <a:lnTo>
                    <a:pt x="617" y="136"/>
                  </a:lnTo>
                  <a:lnTo>
                    <a:pt x="615" y="132"/>
                  </a:lnTo>
                  <a:lnTo>
                    <a:pt x="617" y="128"/>
                  </a:lnTo>
                  <a:lnTo>
                    <a:pt x="620" y="124"/>
                  </a:lnTo>
                  <a:lnTo>
                    <a:pt x="623" y="123"/>
                  </a:lnTo>
                  <a:lnTo>
                    <a:pt x="628" y="123"/>
                  </a:lnTo>
                  <a:lnTo>
                    <a:pt x="630" y="127"/>
                  </a:lnTo>
                  <a:lnTo>
                    <a:pt x="635" y="125"/>
                  </a:lnTo>
                  <a:lnTo>
                    <a:pt x="633" y="120"/>
                  </a:lnTo>
                  <a:lnTo>
                    <a:pt x="635" y="116"/>
                  </a:lnTo>
                  <a:lnTo>
                    <a:pt x="635" y="112"/>
                  </a:lnTo>
                  <a:lnTo>
                    <a:pt x="632" y="107"/>
                  </a:lnTo>
                  <a:lnTo>
                    <a:pt x="632" y="102"/>
                  </a:lnTo>
                  <a:lnTo>
                    <a:pt x="636" y="101"/>
                  </a:lnTo>
                  <a:lnTo>
                    <a:pt x="635" y="105"/>
                  </a:lnTo>
                  <a:lnTo>
                    <a:pt x="638" y="107"/>
                  </a:lnTo>
                  <a:lnTo>
                    <a:pt x="638" y="112"/>
                  </a:lnTo>
                  <a:lnTo>
                    <a:pt x="643" y="116"/>
                  </a:lnTo>
                  <a:lnTo>
                    <a:pt x="641" y="120"/>
                  </a:lnTo>
                  <a:lnTo>
                    <a:pt x="643" y="124"/>
                  </a:lnTo>
                  <a:lnTo>
                    <a:pt x="643" y="128"/>
                  </a:lnTo>
                  <a:lnTo>
                    <a:pt x="643" y="133"/>
                  </a:lnTo>
                  <a:lnTo>
                    <a:pt x="644" y="142"/>
                  </a:lnTo>
                  <a:lnTo>
                    <a:pt x="646" y="146"/>
                  </a:lnTo>
                  <a:lnTo>
                    <a:pt x="644" y="150"/>
                  </a:lnTo>
                  <a:lnTo>
                    <a:pt x="641" y="154"/>
                  </a:lnTo>
                  <a:lnTo>
                    <a:pt x="640" y="158"/>
                  </a:lnTo>
                  <a:lnTo>
                    <a:pt x="644" y="159"/>
                  </a:lnTo>
                  <a:lnTo>
                    <a:pt x="643" y="166"/>
                  </a:lnTo>
                  <a:lnTo>
                    <a:pt x="646" y="172"/>
                  </a:lnTo>
                  <a:lnTo>
                    <a:pt x="651" y="177"/>
                  </a:lnTo>
                  <a:lnTo>
                    <a:pt x="655" y="184"/>
                  </a:lnTo>
                  <a:lnTo>
                    <a:pt x="661" y="188"/>
                  </a:lnTo>
                  <a:lnTo>
                    <a:pt x="666" y="191"/>
                  </a:lnTo>
                  <a:lnTo>
                    <a:pt x="670" y="192"/>
                  </a:lnTo>
                  <a:lnTo>
                    <a:pt x="674" y="196"/>
                  </a:lnTo>
                  <a:lnTo>
                    <a:pt x="679" y="200"/>
                  </a:lnTo>
                  <a:lnTo>
                    <a:pt x="683" y="206"/>
                  </a:lnTo>
                  <a:lnTo>
                    <a:pt x="687" y="204"/>
                  </a:lnTo>
                  <a:lnTo>
                    <a:pt x="687" y="199"/>
                  </a:lnTo>
                  <a:lnTo>
                    <a:pt x="687" y="193"/>
                  </a:lnTo>
                  <a:lnTo>
                    <a:pt x="685" y="189"/>
                  </a:lnTo>
                  <a:lnTo>
                    <a:pt x="682" y="185"/>
                  </a:lnTo>
                  <a:lnTo>
                    <a:pt x="685" y="181"/>
                  </a:lnTo>
                  <a:lnTo>
                    <a:pt x="683" y="177"/>
                  </a:lnTo>
                  <a:lnTo>
                    <a:pt x="679" y="173"/>
                  </a:lnTo>
                  <a:lnTo>
                    <a:pt x="677" y="169"/>
                  </a:lnTo>
                  <a:lnTo>
                    <a:pt x="679" y="163"/>
                  </a:lnTo>
                  <a:lnTo>
                    <a:pt x="681" y="158"/>
                  </a:lnTo>
                  <a:lnTo>
                    <a:pt x="677" y="156"/>
                  </a:lnTo>
                  <a:lnTo>
                    <a:pt x="673" y="151"/>
                  </a:lnTo>
                  <a:lnTo>
                    <a:pt x="671" y="147"/>
                  </a:lnTo>
                  <a:lnTo>
                    <a:pt x="676" y="147"/>
                  </a:lnTo>
                  <a:lnTo>
                    <a:pt x="673" y="143"/>
                  </a:lnTo>
                  <a:lnTo>
                    <a:pt x="669" y="145"/>
                  </a:lnTo>
                  <a:lnTo>
                    <a:pt x="665" y="140"/>
                  </a:lnTo>
                  <a:lnTo>
                    <a:pt x="666" y="136"/>
                  </a:lnTo>
                  <a:lnTo>
                    <a:pt x="662" y="137"/>
                  </a:lnTo>
                  <a:lnTo>
                    <a:pt x="656" y="136"/>
                  </a:lnTo>
                  <a:lnTo>
                    <a:pt x="655" y="132"/>
                  </a:lnTo>
                  <a:lnTo>
                    <a:pt x="653" y="128"/>
                  </a:lnTo>
                  <a:lnTo>
                    <a:pt x="651" y="121"/>
                  </a:lnTo>
                  <a:lnTo>
                    <a:pt x="655" y="118"/>
                  </a:lnTo>
                  <a:lnTo>
                    <a:pt x="653" y="113"/>
                  </a:lnTo>
                  <a:lnTo>
                    <a:pt x="655" y="107"/>
                  </a:lnTo>
                  <a:lnTo>
                    <a:pt x="658" y="112"/>
                  </a:lnTo>
                  <a:lnTo>
                    <a:pt x="658" y="107"/>
                  </a:lnTo>
                  <a:lnTo>
                    <a:pt x="659" y="104"/>
                  </a:lnTo>
                  <a:lnTo>
                    <a:pt x="663" y="99"/>
                  </a:lnTo>
                  <a:lnTo>
                    <a:pt x="667" y="98"/>
                  </a:lnTo>
                  <a:lnTo>
                    <a:pt x="671" y="98"/>
                  </a:lnTo>
                  <a:lnTo>
                    <a:pt x="670" y="94"/>
                  </a:lnTo>
                  <a:lnTo>
                    <a:pt x="670" y="89"/>
                  </a:lnTo>
                  <a:lnTo>
                    <a:pt x="670" y="84"/>
                  </a:lnTo>
                  <a:lnTo>
                    <a:pt x="667" y="81"/>
                  </a:lnTo>
                  <a:lnTo>
                    <a:pt x="669" y="76"/>
                  </a:lnTo>
                  <a:lnTo>
                    <a:pt x="667" y="71"/>
                  </a:lnTo>
                  <a:lnTo>
                    <a:pt x="669" y="66"/>
                  </a:lnTo>
                  <a:lnTo>
                    <a:pt x="669" y="61"/>
                  </a:lnTo>
                  <a:lnTo>
                    <a:pt x="673" y="57"/>
                  </a:lnTo>
                  <a:lnTo>
                    <a:pt x="676" y="50"/>
                  </a:lnTo>
                  <a:lnTo>
                    <a:pt x="670" y="48"/>
                  </a:lnTo>
                  <a:lnTo>
                    <a:pt x="666" y="49"/>
                  </a:lnTo>
                  <a:lnTo>
                    <a:pt x="662" y="48"/>
                  </a:lnTo>
                  <a:lnTo>
                    <a:pt x="658" y="48"/>
                  </a:lnTo>
                  <a:lnTo>
                    <a:pt x="653" y="48"/>
                  </a:lnTo>
                  <a:lnTo>
                    <a:pt x="650" y="52"/>
                  </a:lnTo>
                  <a:lnTo>
                    <a:pt x="650" y="46"/>
                  </a:lnTo>
                  <a:lnTo>
                    <a:pt x="655" y="43"/>
                  </a:lnTo>
                  <a:lnTo>
                    <a:pt x="655" y="38"/>
                  </a:lnTo>
                  <a:lnTo>
                    <a:pt x="653" y="34"/>
                  </a:lnTo>
                  <a:lnTo>
                    <a:pt x="650" y="33"/>
                  </a:lnTo>
                  <a:lnTo>
                    <a:pt x="646" y="33"/>
                  </a:lnTo>
                  <a:lnTo>
                    <a:pt x="644" y="29"/>
                  </a:lnTo>
                  <a:lnTo>
                    <a:pt x="648" y="27"/>
                  </a:lnTo>
                  <a:lnTo>
                    <a:pt x="655" y="29"/>
                  </a:lnTo>
                  <a:lnTo>
                    <a:pt x="656" y="25"/>
                  </a:lnTo>
                  <a:lnTo>
                    <a:pt x="661" y="22"/>
                  </a:lnTo>
                  <a:lnTo>
                    <a:pt x="665" y="23"/>
                  </a:lnTo>
                  <a:lnTo>
                    <a:pt x="669" y="22"/>
                  </a:lnTo>
                  <a:lnTo>
                    <a:pt x="673" y="17"/>
                  </a:lnTo>
                  <a:lnTo>
                    <a:pt x="674" y="14"/>
                  </a:lnTo>
                  <a:lnTo>
                    <a:pt x="670" y="15"/>
                  </a:lnTo>
                  <a:lnTo>
                    <a:pt x="670" y="11"/>
                  </a:lnTo>
                  <a:lnTo>
                    <a:pt x="666" y="8"/>
                  </a:lnTo>
                  <a:lnTo>
                    <a:pt x="661" y="9"/>
                  </a:lnTo>
                  <a:lnTo>
                    <a:pt x="666" y="4"/>
                  </a:lnTo>
                  <a:lnTo>
                    <a:pt x="663" y="0"/>
                  </a:lnTo>
                  <a:lnTo>
                    <a:pt x="658" y="0"/>
                  </a:lnTo>
                  <a:lnTo>
                    <a:pt x="653" y="1"/>
                  </a:lnTo>
                  <a:lnTo>
                    <a:pt x="650" y="4"/>
                  </a:lnTo>
                  <a:lnTo>
                    <a:pt x="648" y="8"/>
                  </a:lnTo>
                  <a:lnTo>
                    <a:pt x="651" y="12"/>
                  </a:lnTo>
                  <a:lnTo>
                    <a:pt x="647" y="12"/>
                  </a:lnTo>
                  <a:lnTo>
                    <a:pt x="641" y="11"/>
                  </a:lnTo>
                  <a:lnTo>
                    <a:pt x="637" y="14"/>
                  </a:lnTo>
                  <a:lnTo>
                    <a:pt x="632" y="16"/>
                  </a:lnTo>
                  <a:lnTo>
                    <a:pt x="626" y="17"/>
                  </a:lnTo>
                  <a:lnTo>
                    <a:pt x="622" y="17"/>
                  </a:lnTo>
                  <a:lnTo>
                    <a:pt x="614" y="22"/>
                  </a:lnTo>
                  <a:lnTo>
                    <a:pt x="610" y="25"/>
                  </a:lnTo>
                  <a:lnTo>
                    <a:pt x="606" y="25"/>
                  </a:lnTo>
                  <a:lnTo>
                    <a:pt x="602" y="30"/>
                  </a:lnTo>
                  <a:lnTo>
                    <a:pt x="597" y="35"/>
                  </a:lnTo>
                  <a:lnTo>
                    <a:pt x="594" y="40"/>
                  </a:lnTo>
                  <a:lnTo>
                    <a:pt x="598" y="42"/>
                  </a:lnTo>
                  <a:lnTo>
                    <a:pt x="602" y="43"/>
                  </a:lnTo>
                  <a:lnTo>
                    <a:pt x="602" y="48"/>
                  </a:lnTo>
                  <a:lnTo>
                    <a:pt x="598" y="49"/>
                  </a:lnTo>
                  <a:lnTo>
                    <a:pt x="594" y="50"/>
                  </a:lnTo>
                  <a:lnTo>
                    <a:pt x="589" y="53"/>
                  </a:lnTo>
                  <a:lnTo>
                    <a:pt x="586" y="54"/>
                  </a:lnTo>
                  <a:lnTo>
                    <a:pt x="580" y="58"/>
                  </a:lnTo>
                  <a:lnTo>
                    <a:pt x="577" y="63"/>
                  </a:lnTo>
                  <a:lnTo>
                    <a:pt x="579" y="66"/>
                  </a:lnTo>
                  <a:lnTo>
                    <a:pt x="574" y="69"/>
                  </a:lnTo>
                  <a:lnTo>
                    <a:pt x="571" y="68"/>
                  </a:lnTo>
                  <a:lnTo>
                    <a:pt x="568" y="64"/>
                  </a:lnTo>
                  <a:lnTo>
                    <a:pt x="563" y="63"/>
                  </a:lnTo>
                  <a:lnTo>
                    <a:pt x="557" y="63"/>
                  </a:lnTo>
                  <a:lnTo>
                    <a:pt x="554" y="66"/>
                  </a:lnTo>
                  <a:lnTo>
                    <a:pt x="550" y="72"/>
                  </a:lnTo>
                  <a:lnTo>
                    <a:pt x="546" y="76"/>
                  </a:lnTo>
                  <a:lnTo>
                    <a:pt x="540" y="78"/>
                  </a:lnTo>
                  <a:lnTo>
                    <a:pt x="535" y="75"/>
                  </a:lnTo>
                  <a:lnTo>
                    <a:pt x="531" y="76"/>
                  </a:lnTo>
                  <a:lnTo>
                    <a:pt x="530" y="72"/>
                  </a:lnTo>
                  <a:lnTo>
                    <a:pt x="525" y="73"/>
                  </a:lnTo>
                  <a:lnTo>
                    <a:pt x="524" y="78"/>
                  </a:lnTo>
                  <a:lnTo>
                    <a:pt x="522" y="83"/>
                  </a:lnTo>
                  <a:lnTo>
                    <a:pt x="520" y="79"/>
                  </a:lnTo>
                  <a:lnTo>
                    <a:pt x="516" y="81"/>
                  </a:lnTo>
                  <a:lnTo>
                    <a:pt x="517" y="76"/>
                  </a:lnTo>
                  <a:lnTo>
                    <a:pt x="513" y="76"/>
                  </a:lnTo>
                  <a:lnTo>
                    <a:pt x="509" y="78"/>
                  </a:lnTo>
                  <a:lnTo>
                    <a:pt x="505" y="79"/>
                  </a:lnTo>
                  <a:lnTo>
                    <a:pt x="505" y="83"/>
                  </a:lnTo>
                  <a:lnTo>
                    <a:pt x="501" y="86"/>
                  </a:lnTo>
                  <a:lnTo>
                    <a:pt x="504" y="90"/>
                  </a:lnTo>
                  <a:lnTo>
                    <a:pt x="505" y="94"/>
                  </a:lnTo>
                  <a:lnTo>
                    <a:pt x="501" y="94"/>
                  </a:lnTo>
                  <a:lnTo>
                    <a:pt x="502" y="98"/>
                  </a:lnTo>
                  <a:lnTo>
                    <a:pt x="498" y="98"/>
                  </a:lnTo>
                  <a:lnTo>
                    <a:pt x="494" y="98"/>
                  </a:lnTo>
                  <a:lnTo>
                    <a:pt x="489" y="101"/>
                  </a:lnTo>
                  <a:lnTo>
                    <a:pt x="484" y="99"/>
                  </a:lnTo>
                  <a:lnTo>
                    <a:pt x="484" y="104"/>
                  </a:lnTo>
                  <a:lnTo>
                    <a:pt x="484" y="107"/>
                  </a:lnTo>
                  <a:lnTo>
                    <a:pt x="481" y="109"/>
                  </a:lnTo>
                  <a:lnTo>
                    <a:pt x="476" y="106"/>
                  </a:lnTo>
                  <a:lnTo>
                    <a:pt x="473" y="104"/>
                  </a:lnTo>
                  <a:lnTo>
                    <a:pt x="473" y="99"/>
                  </a:lnTo>
                  <a:lnTo>
                    <a:pt x="471" y="94"/>
                  </a:lnTo>
                  <a:lnTo>
                    <a:pt x="467" y="93"/>
                  </a:lnTo>
                  <a:lnTo>
                    <a:pt x="461" y="93"/>
                  </a:lnTo>
                  <a:lnTo>
                    <a:pt x="456" y="90"/>
                  </a:lnTo>
                  <a:lnTo>
                    <a:pt x="452" y="94"/>
                  </a:lnTo>
                  <a:lnTo>
                    <a:pt x="453" y="98"/>
                  </a:lnTo>
                  <a:lnTo>
                    <a:pt x="449" y="98"/>
                  </a:lnTo>
                  <a:lnTo>
                    <a:pt x="441" y="101"/>
                  </a:lnTo>
                  <a:lnTo>
                    <a:pt x="438" y="97"/>
                  </a:lnTo>
                  <a:lnTo>
                    <a:pt x="434" y="95"/>
                  </a:lnTo>
                  <a:lnTo>
                    <a:pt x="430" y="94"/>
                  </a:lnTo>
                  <a:lnTo>
                    <a:pt x="426" y="97"/>
                  </a:lnTo>
                  <a:lnTo>
                    <a:pt x="423" y="101"/>
                  </a:lnTo>
                  <a:lnTo>
                    <a:pt x="423" y="97"/>
                  </a:lnTo>
                  <a:lnTo>
                    <a:pt x="417" y="95"/>
                  </a:lnTo>
                  <a:lnTo>
                    <a:pt x="414" y="98"/>
                  </a:lnTo>
                  <a:lnTo>
                    <a:pt x="414" y="94"/>
                  </a:lnTo>
                  <a:lnTo>
                    <a:pt x="417" y="89"/>
                  </a:lnTo>
                  <a:lnTo>
                    <a:pt x="422" y="84"/>
                  </a:lnTo>
                  <a:lnTo>
                    <a:pt x="423" y="81"/>
                  </a:lnTo>
                  <a:lnTo>
                    <a:pt x="423" y="76"/>
                  </a:lnTo>
                  <a:lnTo>
                    <a:pt x="417" y="75"/>
                  </a:lnTo>
                  <a:lnTo>
                    <a:pt x="417" y="71"/>
                  </a:lnTo>
                  <a:lnTo>
                    <a:pt x="409" y="69"/>
                  </a:lnTo>
                  <a:lnTo>
                    <a:pt x="404" y="69"/>
                  </a:lnTo>
                  <a:lnTo>
                    <a:pt x="403" y="64"/>
                  </a:lnTo>
                  <a:lnTo>
                    <a:pt x="399" y="64"/>
                  </a:lnTo>
                  <a:lnTo>
                    <a:pt x="394" y="66"/>
                  </a:lnTo>
                  <a:lnTo>
                    <a:pt x="393" y="72"/>
                  </a:lnTo>
                  <a:lnTo>
                    <a:pt x="389" y="75"/>
                  </a:lnTo>
                  <a:lnTo>
                    <a:pt x="383" y="76"/>
                  </a:lnTo>
                  <a:lnTo>
                    <a:pt x="380" y="78"/>
                  </a:lnTo>
                  <a:lnTo>
                    <a:pt x="374" y="75"/>
                  </a:lnTo>
                  <a:lnTo>
                    <a:pt x="368" y="78"/>
                  </a:lnTo>
                  <a:lnTo>
                    <a:pt x="365" y="78"/>
                  </a:lnTo>
                  <a:lnTo>
                    <a:pt x="360" y="78"/>
                  </a:lnTo>
                  <a:lnTo>
                    <a:pt x="357" y="79"/>
                  </a:lnTo>
                  <a:lnTo>
                    <a:pt x="352" y="81"/>
                  </a:lnTo>
                  <a:lnTo>
                    <a:pt x="352" y="84"/>
                  </a:lnTo>
                  <a:lnTo>
                    <a:pt x="350" y="89"/>
                  </a:lnTo>
                  <a:lnTo>
                    <a:pt x="350" y="93"/>
                  </a:lnTo>
                  <a:lnTo>
                    <a:pt x="347" y="90"/>
                  </a:lnTo>
                  <a:lnTo>
                    <a:pt x="342" y="90"/>
                  </a:lnTo>
                  <a:lnTo>
                    <a:pt x="335" y="87"/>
                  </a:lnTo>
                  <a:lnTo>
                    <a:pt x="330" y="90"/>
                  </a:lnTo>
                  <a:lnTo>
                    <a:pt x="330" y="95"/>
                  </a:lnTo>
                  <a:lnTo>
                    <a:pt x="332" y="99"/>
                  </a:lnTo>
                  <a:lnTo>
                    <a:pt x="333" y="104"/>
                  </a:lnTo>
                  <a:lnTo>
                    <a:pt x="333" y="109"/>
                  </a:lnTo>
                  <a:lnTo>
                    <a:pt x="333" y="113"/>
                  </a:lnTo>
                  <a:lnTo>
                    <a:pt x="332" y="117"/>
                  </a:lnTo>
                  <a:lnTo>
                    <a:pt x="328" y="117"/>
                  </a:lnTo>
                  <a:lnTo>
                    <a:pt x="332" y="115"/>
                  </a:lnTo>
                  <a:lnTo>
                    <a:pt x="328" y="115"/>
                  </a:lnTo>
                  <a:lnTo>
                    <a:pt x="329" y="109"/>
                  </a:lnTo>
                  <a:lnTo>
                    <a:pt x="332" y="105"/>
                  </a:lnTo>
                  <a:lnTo>
                    <a:pt x="328" y="102"/>
                  </a:lnTo>
                  <a:lnTo>
                    <a:pt x="326" y="98"/>
                  </a:lnTo>
                  <a:lnTo>
                    <a:pt x="321" y="95"/>
                  </a:lnTo>
                  <a:lnTo>
                    <a:pt x="317" y="98"/>
                  </a:lnTo>
                  <a:lnTo>
                    <a:pt x="313" y="98"/>
                  </a:lnTo>
                  <a:lnTo>
                    <a:pt x="316" y="102"/>
                  </a:lnTo>
                  <a:lnTo>
                    <a:pt x="317" y="106"/>
                  </a:lnTo>
                  <a:lnTo>
                    <a:pt x="313" y="102"/>
                  </a:lnTo>
                  <a:lnTo>
                    <a:pt x="309" y="104"/>
                  </a:lnTo>
                  <a:lnTo>
                    <a:pt x="311" y="97"/>
                  </a:lnTo>
                  <a:lnTo>
                    <a:pt x="314" y="91"/>
                  </a:lnTo>
                  <a:lnTo>
                    <a:pt x="314" y="87"/>
                  </a:lnTo>
                  <a:lnTo>
                    <a:pt x="309" y="93"/>
                  </a:lnTo>
                  <a:lnTo>
                    <a:pt x="304" y="93"/>
                  </a:lnTo>
                  <a:lnTo>
                    <a:pt x="301" y="97"/>
                  </a:lnTo>
                  <a:lnTo>
                    <a:pt x="302" y="102"/>
                  </a:lnTo>
                  <a:lnTo>
                    <a:pt x="299" y="106"/>
                  </a:lnTo>
                  <a:lnTo>
                    <a:pt x="296" y="112"/>
                  </a:lnTo>
                  <a:lnTo>
                    <a:pt x="296" y="116"/>
                  </a:lnTo>
                  <a:lnTo>
                    <a:pt x="301" y="117"/>
                  </a:lnTo>
                  <a:lnTo>
                    <a:pt x="304" y="120"/>
                  </a:lnTo>
                  <a:lnTo>
                    <a:pt x="304" y="127"/>
                  </a:lnTo>
                  <a:lnTo>
                    <a:pt x="303" y="132"/>
                  </a:lnTo>
                  <a:lnTo>
                    <a:pt x="303" y="127"/>
                  </a:lnTo>
                  <a:lnTo>
                    <a:pt x="303" y="123"/>
                  </a:lnTo>
                  <a:lnTo>
                    <a:pt x="298" y="120"/>
                  </a:lnTo>
                  <a:lnTo>
                    <a:pt x="294" y="121"/>
                  </a:lnTo>
                  <a:lnTo>
                    <a:pt x="293" y="127"/>
                  </a:lnTo>
                  <a:lnTo>
                    <a:pt x="288" y="130"/>
                  </a:lnTo>
                  <a:lnTo>
                    <a:pt x="284" y="132"/>
                  </a:lnTo>
                  <a:lnTo>
                    <a:pt x="278" y="135"/>
                  </a:lnTo>
                  <a:lnTo>
                    <a:pt x="275" y="135"/>
                  </a:lnTo>
                  <a:lnTo>
                    <a:pt x="273" y="130"/>
                  </a:lnTo>
                  <a:lnTo>
                    <a:pt x="278" y="130"/>
                  </a:lnTo>
                  <a:lnTo>
                    <a:pt x="281" y="128"/>
                  </a:lnTo>
                  <a:lnTo>
                    <a:pt x="287" y="127"/>
                  </a:lnTo>
                  <a:lnTo>
                    <a:pt x="288" y="123"/>
                  </a:lnTo>
                  <a:lnTo>
                    <a:pt x="291" y="118"/>
                  </a:lnTo>
                  <a:lnTo>
                    <a:pt x="290" y="113"/>
                  </a:lnTo>
                  <a:lnTo>
                    <a:pt x="294" y="109"/>
                  </a:lnTo>
                  <a:lnTo>
                    <a:pt x="295" y="105"/>
                  </a:lnTo>
                  <a:lnTo>
                    <a:pt x="298" y="101"/>
                  </a:lnTo>
                  <a:lnTo>
                    <a:pt x="299" y="97"/>
                  </a:lnTo>
                  <a:lnTo>
                    <a:pt x="301" y="93"/>
                  </a:lnTo>
                  <a:lnTo>
                    <a:pt x="304" y="89"/>
                  </a:lnTo>
                  <a:lnTo>
                    <a:pt x="306" y="83"/>
                  </a:lnTo>
                  <a:lnTo>
                    <a:pt x="302" y="81"/>
                  </a:lnTo>
                  <a:lnTo>
                    <a:pt x="298" y="78"/>
                  </a:lnTo>
                  <a:lnTo>
                    <a:pt x="293" y="83"/>
                  </a:lnTo>
                  <a:lnTo>
                    <a:pt x="287" y="87"/>
                  </a:lnTo>
                  <a:lnTo>
                    <a:pt x="281" y="90"/>
                  </a:lnTo>
                  <a:lnTo>
                    <a:pt x="278" y="95"/>
                  </a:lnTo>
                  <a:lnTo>
                    <a:pt x="276" y="99"/>
                  </a:lnTo>
                  <a:lnTo>
                    <a:pt x="278" y="104"/>
                  </a:lnTo>
                  <a:lnTo>
                    <a:pt x="278" y="109"/>
                  </a:lnTo>
                  <a:lnTo>
                    <a:pt x="275" y="113"/>
                  </a:lnTo>
                  <a:lnTo>
                    <a:pt x="272" y="109"/>
                  </a:lnTo>
                  <a:lnTo>
                    <a:pt x="272" y="105"/>
                  </a:lnTo>
                  <a:lnTo>
                    <a:pt x="268" y="99"/>
                  </a:lnTo>
                  <a:lnTo>
                    <a:pt x="265" y="95"/>
                  </a:lnTo>
                  <a:lnTo>
                    <a:pt x="262" y="91"/>
                  </a:lnTo>
                  <a:lnTo>
                    <a:pt x="260" y="87"/>
                  </a:lnTo>
                  <a:lnTo>
                    <a:pt x="255" y="87"/>
                  </a:lnTo>
                  <a:lnTo>
                    <a:pt x="253" y="91"/>
                  </a:lnTo>
                  <a:lnTo>
                    <a:pt x="249" y="94"/>
                  </a:lnTo>
                  <a:lnTo>
                    <a:pt x="245" y="95"/>
                  </a:lnTo>
                  <a:lnTo>
                    <a:pt x="247" y="90"/>
                  </a:lnTo>
                  <a:lnTo>
                    <a:pt x="242" y="89"/>
                  </a:lnTo>
                  <a:lnTo>
                    <a:pt x="237" y="84"/>
                  </a:lnTo>
                  <a:lnTo>
                    <a:pt x="234" y="86"/>
                  </a:lnTo>
                  <a:lnTo>
                    <a:pt x="229" y="84"/>
                  </a:lnTo>
                  <a:lnTo>
                    <a:pt x="232" y="81"/>
                  </a:lnTo>
                  <a:lnTo>
                    <a:pt x="231" y="76"/>
                  </a:lnTo>
                  <a:lnTo>
                    <a:pt x="226" y="79"/>
                  </a:lnTo>
                  <a:lnTo>
                    <a:pt x="226" y="75"/>
                  </a:lnTo>
                  <a:lnTo>
                    <a:pt x="220" y="75"/>
                  </a:lnTo>
                  <a:lnTo>
                    <a:pt x="216" y="73"/>
                  </a:lnTo>
                  <a:lnTo>
                    <a:pt x="212" y="75"/>
                  </a:lnTo>
                  <a:lnTo>
                    <a:pt x="208" y="73"/>
                  </a:lnTo>
                  <a:lnTo>
                    <a:pt x="202" y="75"/>
                  </a:lnTo>
                  <a:lnTo>
                    <a:pt x="200" y="69"/>
                  </a:lnTo>
                  <a:lnTo>
                    <a:pt x="201" y="66"/>
                  </a:lnTo>
                  <a:lnTo>
                    <a:pt x="205" y="66"/>
                  </a:lnTo>
                  <a:lnTo>
                    <a:pt x="209" y="64"/>
                  </a:lnTo>
                  <a:lnTo>
                    <a:pt x="209" y="58"/>
                  </a:lnTo>
                  <a:lnTo>
                    <a:pt x="206" y="54"/>
                  </a:lnTo>
                  <a:lnTo>
                    <a:pt x="202" y="60"/>
                  </a:lnTo>
                  <a:lnTo>
                    <a:pt x="198" y="61"/>
                  </a:lnTo>
                  <a:lnTo>
                    <a:pt x="194" y="64"/>
                  </a:lnTo>
                  <a:lnTo>
                    <a:pt x="194" y="68"/>
                  </a:lnTo>
                  <a:lnTo>
                    <a:pt x="190" y="69"/>
                  </a:lnTo>
                  <a:lnTo>
                    <a:pt x="188" y="64"/>
                  </a:lnTo>
                  <a:lnTo>
                    <a:pt x="182" y="61"/>
                  </a:lnTo>
                  <a:lnTo>
                    <a:pt x="174" y="61"/>
                  </a:lnTo>
                  <a:lnTo>
                    <a:pt x="168" y="66"/>
                  </a:lnTo>
                  <a:lnTo>
                    <a:pt x="165" y="63"/>
                  </a:lnTo>
                  <a:lnTo>
                    <a:pt x="164" y="58"/>
                  </a:lnTo>
                  <a:lnTo>
                    <a:pt x="164" y="54"/>
                  </a:lnTo>
                  <a:lnTo>
                    <a:pt x="160" y="53"/>
                  </a:lnTo>
                  <a:lnTo>
                    <a:pt x="160" y="57"/>
                  </a:lnTo>
                  <a:lnTo>
                    <a:pt x="160" y="61"/>
                  </a:lnTo>
                  <a:lnTo>
                    <a:pt x="156" y="63"/>
                  </a:lnTo>
                  <a:lnTo>
                    <a:pt x="155" y="57"/>
                  </a:lnTo>
                  <a:lnTo>
                    <a:pt x="153" y="52"/>
                  </a:lnTo>
                  <a:lnTo>
                    <a:pt x="157" y="48"/>
                  </a:lnTo>
                  <a:lnTo>
                    <a:pt x="162" y="43"/>
                  </a:lnTo>
                  <a:lnTo>
                    <a:pt x="165" y="41"/>
                  </a:lnTo>
                  <a:lnTo>
                    <a:pt x="167" y="37"/>
                  </a:lnTo>
                  <a:lnTo>
                    <a:pt x="168" y="33"/>
                  </a:lnTo>
                  <a:lnTo>
                    <a:pt x="171" y="38"/>
                  </a:lnTo>
                  <a:lnTo>
                    <a:pt x="171" y="42"/>
                  </a:lnTo>
                  <a:lnTo>
                    <a:pt x="172" y="46"/>
                  </a:lnTo>
                  <a:lnTo>
                    <a:pt x="172" y="52"/>
                  </a:lnTo>
                  <a:lnTo>
                    <a:pt x="177" y="57"/>
                  </a:lnTo>
                  <a:lnTo>
                    <a:pt x="180" y="57"/>
                  </a:lnTo>
                  <a:lnTo>
                    <a:pt x="186" y="57"/>
                  </a:lnTo>
                  <a:lnTo>
                    <a:pt x="190" y="56"/>
                  </a:lnTo>
                  <a:lnTo>
                    <a:pt x="191" y="52"/>
                  </a:lnTo>
                  <a:lnTo>
                    <a:pt x="193" y="48"/>
                  </a:lnTo>
                  <a:lnTo>
                    <a:pt x="193" y="43"/>
                  </a:lnTo>
                  <a:lnTo>
                    <a:pt x="193" y="37"/>
                  </a:lnTo>
                  <a:lnTo>
                    <a:pt x="194" y="32"/>
                  </a:lnTo>
                  <a:lnTo>
                    <a:pt x="191" y="27"/>
                  </a:lnTo>
                  <a:lnTo>
                    <a:pt x="190" y="23"/>
                  </a:lnTo>
                  <a:lnTo>
                    <a:pt x="188" y="19"/>
                  </a:lnTo>
                  <a:lnTo>
                    <a:pt x="190" y="15"/>
                  </a:lnTo>
                  <a:lnTo>
                    <a:pt x="185" y="14"/>
                  </a:lnTo>
                  <a:lnTo>
                    <a:pt x="180" y="11"/>
                  </a:lnTo>
                  <a:lnTo>
                    <a:pt x="175" y="11"/>
                  </a:lnTo>
                  <a:lnTo>
                    <a:pt x="170" y="14"/>
                  </a:lnTo>
                  <a:lnTo>
                    <a:pt x="167" y="19"/>
                  </a:lnTo>
                  <a:lnTo>
                    <a:pt x="163" y="20"/>
                  </a:lnTo>
                  <a:lnTo>
                    <a:pt x="157" y="23"/>
                  </a:lnTo>
                  <a:lnTo>
                    <a:pt x="155" y="27"/>
                  </a:lnTo>
                  <a:lnTo>
                    <a:pt x="150" y="29"/>
                  </a:lnTo>
                  <a:lnTo>
                    <a:pt x="145" y="30"/>
                  </a:lnTo>
                  <a:lnTo>
                    <a:pt x="142" y="34"/>
                  </a:lnTo>
                  <a:lnTo>
                    <a:pt x="137" y="37"/>
                  </a:lnTo>
                  <a:lnTo>
                    <a:pt x="134" y="42"/>
                  </a:lnTo>
                  <a:lnTo>
                    <a:pt x="130" y="43"/>
                  </a:lnTo>
                  <a:lnTo>
                    <a:pt x="126" y="43"/>
                  </a:lnTo>
                  <a:lnTo>
                    <a:pt x="122" y="43"/>
                  </a:lnTo>
                  <a:lnTo>
                    <a:pt x="118" y="43"/>
                  </a:lnTo>
                  <a:lnTo>
                    <a:pt x="111" y="41"/>
                  </a:lnTo>
                  <a:lnTo>
                    <a:pt x="107" y="41"/>
                  </a:lnTo>
                  <a:lnTo>
                    <a:pt x="103" y="48"/>
                  </a:lnTo>
                  <a:lnTo>
                    <a:pt x="107" y="50"/>
                  </a:lnTo>
                  <a:lnTo>
                    <a:pt x="103" y="53"/>
                  </a:lnTo>
                  <a:lnTo>
                    <a:pt x="103" y="49"/>
                  </a:lnTo>
                  <a:lnTo>
                    <a:pt x="98" y="48"/>
                  </a:lnTo>
                  <a:lnTo>
                    <a:pt x="95" y="45"/>
                  </a:lnTo>
                  <a:lnTo>
                    <a:pt x="89" y="45"/>
                  </a:lnTo>
                  <a:lnTo>
                    <a:pt x="84" y="46"/>
                  </a:lnTo>
                  <a:lnTo>
                    <a:pt x="81" y="52"/>
                  </a:lnTo>
                  <a:lnTo>
                    <a:pt x="75" y="52"/>
                  </a:lnTo>
                  <a:lnTo>
                    <a:pt x="72" y="56"/>
                  </a:lnTo>
                  <a:lnTo>
                    <a:pt x="69" y="57"/>
                  </a:lnTo>
                  <a:lnTo>
                    <a:pt x="64" y="57"/>
                  </a:lnTo>
                  <a:lnTo>
                    <a:pt x="64" y="61"/>
                  </a:lnTo>
                  <a:lnTo>
                    <a:pt x="66" y="67"/>
                  </a:lnTo>
                  <a:lnTo>
                    <a:pt x="67" y="70"/>
                  </a:lnTo>
                  <a:lnTo>
                    <a:pt x="66" y="75"/>
                  </a:lnTo>
                  <a:lnTo>
                    <a:pt x="62" y="75"/>
                  </a:lnTo>
                  <a:lnTo>
                    <a:pt x="59" y="79"/>
                  </a:lnTo>
                  <a:lnTo>
                    <a:pt x="57" y="83"/>
                  </a:lnTo>
                  <a:lnTo>
                    <a:pt x="56" y="87"/>
                  </a:lnTo>
                  <a:lnTo>
                    <a:pt x="52" y="90"/>
                  </a:lnTo>
                  <a:lnTo>
                    <a:pt x="48" y="86"/>
                  </a:lnTo>
                  <a:lnTo>
                    <a:pt x="46" y="90"/>
                  </a:lnTo>
                  <a:lnTo>
                    <a:pt x="42" y="93"/>
                  </a:lnTo>
                  <a:lnTo>
                    <a:pt x="43" y="97"/>
                  </a:lnTo>
                  <a:lnTo>
                    <a:pt x="46" y="101"/>
                  </a:lnTo>
                  <a:lnTo>
                    <a:pt x="47" y="105"/>
                  </a:lnTo>
                  <a:lnTo>
                    <a:pt x="44" y="109"/>
                  </a:lnTo>
                  <a:lnTo>
                    <a:pt x="40" y="113"/>
                  </a:lnTo>
                  <a:lnTo>
                    <a:pt x="41" y="117"/>
                  </a:lnTo>
                  <a:lnTo>
                    <a:pt x="39" y="121"/>
                  </a:lnTo>
                  <a:lnTo>
                    <a:pt x="40" y="127"/>
                  </a:lnTo>
                  <a:lnTo>
                    <a:pt x="43" y="130"/>
                  </a:lnTo>
                  <a:lnTo>
                    <a:pt x="43" y="135"/>
                  </a:lnTo>
                  <a:lnTo>
                    <a:pt x="45" y="141"/>
                  </a:lnTo>
                  <a:lnTo>
                    <a:pt x="46" y="145"/>
                  </a:lnTo>
                  <a:lnTo>
                    <a:pt x="43" y="148"/>
                  </a:lnTo>
                  <a:lnTo>
                    <a:pt x="40" y="151"/>
                  </a:lnTo>
                  <a:lnTo>
                    <a:pt x="34" y="154"/>
                  </a:lnTo>
                  <a:lnTo>
                    <a:pt x="32" y="150"/>
                  </a:lnTo>
                  <a:lnTo>
                    <a:pt x="28" y="148"/>
                  </a:lnTo>
                  <a:lnTo>
                    <a:pt x="22" y="150"/>
                  </a:lnTo>
                  <a:lnTo>
                    <a:pt x="28" y="154"/>
                  </a:lnTo>
                  <a:lnTo>
                    <a:pt x="32" y="158"/>
                  </a:lnTo>
                  <a:lnTo>
                    <a:pt x="28" y="156"/>
                  </a:lnTo>
                  <a:lnTo>
                    <a:pt x="22" y="154"/>
                  </a:lnTo>
                  <a:lnTo>
                    <a:pt x="17" y="151"/>
                  </a:lnTo>
                  <a:lnTo>
                    <a:pt x="13" y="154"/>
                  </a:lnTo>
                  <a:lnTo>
                    <a:pt x="6" y="155"/>
                  </a:lnTo>
                  <a:lnTo>
                    <a:pt x="5" y="151"/>
                  </a:lnTo>
                  <a:lnTo>
                    <a:pt x="0" y="154"/>
                  </a:lnTo>
                  <a:lnTo>
                    <a:pt x="0" y="158"/>
                  </a:lnTo>
                  <a:lnTo>
                    <a:pt x="2" y="163"/>
                  </a:lnTo>
                  <a:lnTo>
                    <a:pt x="2" y="168"/>
                  </a:lnTo>
                  <a:lnTo>
                    <a:pt x="2" y="173"/>
                  </a:lnTo>
                  <a:lnTo>
                    <a:pt x="2" y="177"/>
                  </a:lnTo>
                  <a:lnTo>
                    <a:pt x="2" y="184"/>
                  </a:lnTo>
                  <a:lnTo>
                    <a:pt x="5" y="188"/>
                  </a:lnTo>
                  <a:lnTo>
                    <a:pt x="8" y="192"/>
                  </a:lnTo>
                  <a:lnTo>
                    <a:pt x="9" y="198"/>
                  </a:lnTo>
                  <a:lnTo>
                    <a:pt x="11" y="203"/>
                  </a:lnTo>
                  <a:lnTo>
                    <a:pt x="14" y="207"/>
                  </a:lnTo>
                  <a:lnTo>
                    <a:pt x="16" y="214"/>
                  </a:lnTo>
                  <a:lnTo>
                    <a:pt x="16" y="218"/>
                  </a:lnTo>
                  <a:lnTo>
                    <a:pt x="17" y="222"/>
                  </a:lnTo>
                  <a:lnTo>
                    <a:pt x="18" y="226"/>
                  </a:lnTo>
                  <a:lnTo>
                    <a:pt x="19" y="231"/>
                  </a:lnTo>
                  <a:lnTo>
                    <a:pt x="24" y="231"/>
                  </a:lnTo>
                  <a:lnTo>
                    <a:pt x="28" y="233"/>
                  </a:lnTo>
                  <a:lnTo>
                    <a:pt x="31" y="228"/>
                  </a:lnTo>
                  <a:lnTo>
                    <a:pt x="31" y="223"/>
                  </a:lnTo>
                  <a:lnTo>
                    <a:pt x="32" y="220"/>
                  </a:lnTo>
                  <a:lnTo>
                    <a:pt x="37" y="215"/>
                  </a:lnTo>
                  <a:lnTo>
                    <a:pt x="39" y="211"/>
                  </a:lnTo>
                  <a:lnTo>
                    <a:pt x="39" y="206"/>
                  </a:lnTo>
                  <a:lnTo>
                    <a:pt x="43" y="207"/>
                  </a:lnTo>
                  <a:lnTo>
                    <a:pt x="47" y="206"/>
                  </a:lnTo>
                  <a:lnTo>
                    <a:pt x="51" y="204"/>
                  </a:lnTo>
                  <a:lnTo>
                    <a:pt x="55" y="204"/>
                  </a:lnTo>
                  <a:lnTo>
                    <a:pt x="57" y="208"/>
                  </a:lnTo>
                  <a:lnTo>
                    <a:pt x="64" y="207"/>
                  </a:lnTo>
                  <a:lnTo>
                    <a:pt x="66" y="202"/>
                  </a:lnTo>
                  <a:lnTo>
                    <a:pt x="67" y="194"/>
                  </a:lnTo>
                  <a:lnTo>
                    <a:pt x="66" y="189"/>
                  </a:lnTo>
                  <a:lnTo>
                    <a:pt x="67" y="185"/>
                  </a:lnTo>
                  <a:lnTo>
                    <a:pt x="66" y="182"/>
                  </a:lnTo>
                  <a:lnTo>
                    <a:pt x="72" y="183"/>
                  </a:lnTo>
                  <a:lnTo>
                    <a:pt x="74" y="179"/>
                  </a:lnTo>
                  <a:lnTo>
                    <a:pt x="80" y="177"/>
                  </a:lnTo>
                  <a:lnTo>
                    <a:pt x="84" y="176"/>
                  </a:lnTo>
                  <a:lnTo>
                    <a:pt x="82" y="183"/>
                  </a:lnTo>
                  <a:lnTo>
                    <a:pt x="89" y="184"/>
                  </a:lnTo>
                  <a:lnTo>
                    <a:pt x="90" y="180"/>
                  </a:lnTo>
                  <a:lnTo>
                    <a:pt x="95" y="182"/>
                  </a:lnTo>
                  <a:lnTo>
                    <a:pt x="98" y="182"/>
                  </a:lnTo>
                  <a:lnTo>
                    <a:pt x="108" y="182"/>
                  </a:lnTo>
                  <a:lnTo>
                    <a:pt x="111" y="186"/>
                  </a:lnTo>
                  <a:lnTo>
                    <a:pt x="114" y="191"/>
                  </a:lnTo>
                  <a:lnTo>
                    <a:pt x="115" y="198"/>
                  </a:lnTo>
                  <a:lnTo>
                    <a:pt x="116" y="203"/>
                  </a:lnTo>
                  <a:lnTo>
                    <a:pt x="121" y="208"/>
                  </a:lnTo>
                  <a:lnTo>
                    <a:pt x="127" y="209"/>
                  </a:lnTo>
                  <a:lnTo>
                    <a:pt x="131" y="211"/>
                  </a:lnTo>
                  <a:lnTo>
                    <a:pt x="135" y="214"/>
                  </a:lnTo>
                  <a:lnTo>
                    <a:pt x="136" y="218"/>
                  </a:lnTo>
                  <a:lnTo>
                    <a:pt x="139" y="222"/>
                  </a:lnTo>
                  <a:lnTo>
                    <a:pt x="143" y="222"/>
                  </a:lnTo>
                  <a:lnTo>
                    <a:pt x="148" y="226"/>
                  </a:lnTo>
                  <a:lnTo>
                    <a:pt x="152" y="224"/>
                  </a:lnTo>
                  <a:lnTo>
                    <a:pt x="154" y="220"/>
                  </a:lnTo>
                  <a:lnTo>
                    <a:pt x="152" y="216"/>
                  </a:lnTo>
                  <a:lnTo>
                    <a:pt x="157" y="214"/>
                  </a:lnTo>
                  <a:lnTo>
                    <a:pt x="162" y="212"/>
                  </a:lnTo>
                  <a:lnTo>
                    <a:pt x="167" y="211"/>
                  </a:lnTo>
                  <a:lnTo>
                    <a:pt x="167" y="207"/>
                  </a:lnTo>
                  <a:lnTo>
                    <a:pt x="171" y="203"/>
                  </a:lnTo>
                  <a:lnTo>
                    <a:pt x="180" y="208"/>
                  </a:lnTo>
                  <a:lnTo>
                    <a:pt x="186" y="211"/>
                  </a:lnTo>
                  <a:lnTo>
                    <a:pt x="190" y="212"/>
                  </a:lnTo>
                  <a:lnTo>
                    <a:pt x="197" y="212"/>
                  </a:lnTo>
                  <a:lnTo>
                    <a:pt x="200" y="217"/>
                  </a:lnTo>
                  <a:lnTo>
                    <a:pt x="207" y="215"/>
                  </a:lnTo>
                  <a:lnTo>
                    <a:pt x="212" y="217"/>
                  </a:lnTo>
                  <a:lnTo>
                    <a:pt x="216" y="219"/>
                  </a:lnTo>
                  <a:lnTo>
                    <a:pt x="215" y="225"/>
                  </a:lnTo>
                  <a:lnTo>
                    <a:pt x="213" y="229"/>
                  </a:lnTo>
                  <a:lnTo>
                    <a:pt x="214" y="233"/>
                  </a:lnTo>
                  <a:lnTo>
                    <a:pt x="219" y="232"/>
                  </a:lnTo>
                  <a:lnTo>
                    <a:pt x="219" y="237"/>
                  </a:lnTo>
                  <a:lnTo>
                    <a:pt x="223" y="236"/>
                  </a:lnTo>
                  <a:lnTo>
                    <a:pt x="226" y="240"/>
                  </a:lnTo>
                  <a:lnTo>
                    <a:pt x="229" y="244"/>
                  </a:lnTo>
                  <a:lnTo>
                    <a:pt x="233" y="243"/>
                  </a:lnTo>
                  <a:lnTo>
                    <a:pt x="237" y="241"/>
                  </a:lnTo>
                  <a:lnTo>
                    <a:pt x="242" y="243"/>
                  </a:lnTo>
                  <a:lnTo>
                    <a:pt x="243" y="251"/>
                  </a:lnTo>
                  <a:lnTo>
                    <a:pt x="245" y="256"/>
                  </a:lnTo>
                  <a:lnTo>
                    <a:pt x="246" y="263"/>
                  </a:lnTo>
                  <a:lnTo>
                    <a:pt x="247" y="270"/>
                  </a:lnTo>
                  <a:lnTo>
                    <a:pt x="249" y="275"/>
                  </a:lnTo>
                  <a:lnTo>
                    <a:pt x="252" y="275"/>
                  </a:lnTo>
                  <a:lnTo>
                    <a:pt x="255" y="280"/>
                  </a:lnTo>
                  <a:lnTo>
                    <a:pt x="268" y="282"/>
                  </a:lnTo>
                  <a:lnTo>
                    <a:pt x="271" y="289"/>
                  </a:lnTo>
                  <a:lnTo>
                    <a:pt x="272" y="292"/>
                  </a:lnTo>
                  <a:lnTo>
                    <a:pt x="277" y="299"/>
                  </a:lnTo>
                  <a:lnTo>
                    <a:pt x="281" y="301"/>
                  </a:lnTo>
                  <a:lnTo>
                    <a:pt x="285" y="303"/>
                  </a:lnTo>
                  <a:lnTo>
                    <a:pt x="286" y="30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7" name="Freeform 12"/>
            <p:cNvSpPr>
              <a:spLocks/>
            </p:cNvSpPr>
            <p:nvPr/>
          </p:nvSpPr>
          <p:spPr bwMode="auto">
            <a:xfrm>
              <a:off x="901" y="1566"/>
              <a:ext cx="148" cy="185"/>
            </a:xfrm>
            <a:custGeom>
              <a:avLst/>
              <a:gdLst>
                <a:gd name="T0" fmla="*/ 4 w 168"/>
                <a:gd name="T1" fmla="*/ 4 h 210"/>
                <a:gd name="T2" fmla="*/ 4 w 168"/>
                <a:gd name="T3" fmla="*/ 4 h 210"/>
                <a:gd name="T4" fmla="*/ 0 w 168"/>
                <a:gd name="T5" fmla="*/ 4 h 210"/>
                <a:gd name="T6" fmla="*/ 4 w 168"/>
                <a:gd name="T7" fmla="*/ 4 h 210"/>
                <a:gd name="T8" fmla="*/ 4 w 168"/>
                <a:gd name="T9" fmla="*/ 4 h 210"/>
                <a:gd name="T10" fmla="*/ 4 w 168"/>
                <a:gd name="T11" fmla="*/ 4 h 210"/>
                <a:gd name="T12" fmla="*/ 4 w 168"/>
                <a:gd name="T13" fmla="*/ 4 h 210"/>
                <a:gd name="T14" fmla="*/ 4 w 168"/>
                <a:gd name="T15" fmla="*/ 4 h 210"/>
                <a:gd name="T16" fmla="*/ 4 w 168"/>
                <a:gd name="T17" fmla="*/ 4 h 210"/>
                <a:gd name="T18" fmla="*/ 4 w 168"/>
                <a:gd name="T19" fmla="*/ 4 h 210"/>
                <a:gd name="T20" fmla="*/ 4 w 168"/>
                <a:gd name="T21" fmla="*/ 4 h 210"/>
                <a:gd name="T22" fmla="*/ 4 w 168"/>
                <a:gd name="T23" fmla="*/ 4 h 210"/>
                <a:gd name="T24" fmla="*/ 4 w 168"/>
                <a:gd name="T25" fmla="*/ 4 h 210"/>
                <a:gd name="T26" fmla="*/ 4 w 168"/>
                <a:gd name="T27" fmla="*/ 4 h 210"/>
                <a:gd name="T28" fmla="*/ 4 w 168"/>
                <a:gd name="T29" fmla="*/ 4 h 210"/>
                <a:gd name="T30" fmla="*/ 4 w 168"/>
                <a:gd name="T31" fmla="*/ 4 h 210"/>
                <a:gd name="T32" fmla="*/ 4 w 168"/>
                <a:gd name="T33" fmla="*/ 4 h 210"/>
                <a:gd name="T34" fmla="*/ 4 w 168"/>
                <a:gd name="T35" fmla="*/ 0 h 210"/>
                <a:gd name="T36" fmla="*/ 4 w 168"/>
                <a:gd name="T37" fmla="*/ 0 h 210"/>
                <a:gd name="T38" fmla="*/ 4 w 168"/>
                <a:gd name="T39" fmla="*/ 0 h 210"/>
                <a:gd name="T40" fmla="*/ 4 w 168"/>
                <a:gd name="T41" fmla="*/ 4 h 210"/>
                <a:gd name="T42" fmla="*/ 4 w 168"/>
                <a:gd name="T43" fmla="*/ 4 h 210"/>
                <a:gd name="T44" fmla="*/ 4 w 168"/>
                <a:gd name="T45" fmla="*/ 4 h 210"/>
                <a:gd name="T46" fmla="*/ 4 w 168"/>
                <a:gd name="T47" fmla="*/ 4 h 210"/>
                <a:gd name="T48" fmla="*/ 4 w 168"/>
                <a:gd name="T49" fmla="*/ 4 h 210"/>
                <a:gd name="T50" fmla="*/ 4 w 168"/>
                <a:gd name="T51" fmla="*/ 4 h 210"/>
                <a:gd name="T52" fmla="*/ 4 w 168"/>
                <a:gd name="T53" fmla="*/ 4 h 210"/>
                <a:gd name="T54" fmla="*/ 4 w 168"/>
                <a:gd name="T55" fmla="*/ 4 h 210"/>
                <a:gd name="T56" fmla="*/ 4 w 168"/>
                <a:gd name="T57" fmla="*/ 4 h 210"/>
                <a:gd name="T58" fmla="*/ 4 w 168"/>
                <a:gd name="T59" fmla="*/ 4 h 210"/>
                <a:gd name="T60" fmla="*/ 4 w 168"/>
                <a:gd name="T61" fmla="*/ 4 h 210"/>
                <a:gd name="T62" fmla="*/ 4 w 168"/>
                <a:gd name="T63" fmla="*/ 4 h 210"/>
                <a:gd name="T64" fmla="*/ 4 w 168"/>
                <a:gd name="T65" fmla="*/ 4 h 210"/>
                <a:gd name="T66" fmla="*/ 4 w 168"/>
                <a:gd name="T67" fmla="*/ 4 h 210"/>
                <a:gd name="T68" fmla="*/ 4 w 168"/>
                <a:gd name="T69" fmla="*/ 4 h 210"/>
                <a:gd name="T70" fmla="*/ 4 w 168"/>
                <a:gd name="T71" fmla="*/ 4 h 210"/>
                <a:gd name="T72" fmla="*/ 4 w 168"/>
                <a:gd name="T73" fmla="*/ 4 h 210"/>
                <a:gd name="T74" fmla="*/ 4 w 168"/>
                <a:gd name="T75" fmla="*/ 4 h 210"/>
                <a:gd name="T76" fmla="*/ 4 w 168"/>
                <a:gd name="T77" fmla="*/ 4 h 210"/>
                <a:gd name="T78" fmla="*/ 4 w 168"/>
                <a:gd name="T79" fmla="*/ 4 h 210"/>
                <a:gd name="T80" fmla="*/ 4 w 168"/>
                <a:gd name="T81" fmla="*/ 4 h 210"/>
                <a:gd name="T82" fmla="*/ 4 w 168"/>
                <a:gd name="T83" fmla="*/ 4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68" h="210">
                  <a:moveTo>
                    <a:pt x="12" y="198"/>
                  </a:moveTo>
                  <a:lnTo>
                    <a:pt x="12" y="168"/>
                  </a:lnTo>
                  <a:lnTo>
                    <a:pt x="0" y="156"/>
                  </a:lnTo>
                  <a:lnTo>
                    <a:pt x="12" y="132"/>
                  </a:lnTo>
                  <a:lnTo>
                    <a:pt x="12" y="120"/>
                  </a:lnTo>
                  <a:lnTo>
                    <a:pt x="12" y="108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36" y="102"/>
                  </a:lnTo>
                  <a:lnTo>
                    <a:pt x="48" y="90"/>
                  </a:lnTo>
                  <a:lnTo>
                    <a:pt x="48" y="66"/>
                  </a:lnTo>
                  <a:lnTo>
                    <a:pt x="24" y="54"/>
                  </a:lnTo>
                  <a:lnTo>
                    <a:pt x="24" y="48"/>
                  </a:lnTo>
                  <a:lnTo>
                    <a:pt x="36" y="24"/>
                  </a:lnTo>
                  <a:lnTo>
                    <a:pt x="48" y="24"/>
                  </a:lnTo>
                  <a:lnTo>
                    <a:pt x="60" y="12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102" y="12"/>
                  </a:lnTo>
                  <a:lnTo>
                    <a:pt x="114" y="12"/>
                  </a:lnTo>
                  <a:lnTo>
                    <a:pt x="114" y="24"/>
                  </a:lnTo>
                  <a:lnTo>
                    <a:pt x="138" y="48"/>
                  </a:lnTo>
                  <a:lnTo>
                    <a:pt x="126" y="66"/>
                  </a:lnTo>
                  <a:lnTo>
                    <a:pt x="144" y="66"/>
                  </a:lnTo>
                  <a:lnTo>
                    <a:pt x="144" y="78"/>
                  </a:lnTo>
                  <a:lnTo>
                    <a:pt x="156" y="90"/>
                  </a:lnTo>
                  <a:lnTo>
                    <a:pt x="156" y="102"/>
                  </a:lnTo>
                  <a:lnTo>
                    <a:pt x="156" y="108"/>
                  </a:lnTo>
                  <a:lnTo>
                    <a:pt x="168" y="132"/>
                  </a:lnTo>
                  <a:lnTo>
                    <a:pt x="168" y="144"/>
                  </a:lnTo>
                  <a:lnTo>
                    <a:pt x="144" y="144"/>
                  </a:lnTo>
                  <a:lnTo>
                    <a:pt x="126" y="144"/>
                  </a:lnTo>
                  <a:lnTo>
                    <a:pt x="102" y="156"/>
                  </a:lnTo>
                  <a:lnTo>
                    <a:pt x="78" y="156"/>
                  </a:lnTo>
                  <a:lnTo>
                    <a:pt x="72" y="168"/>
                  </a:lnTo>
                  <a:lnTo>
                    <a:pt x="60" y="198"/>
                  </a:lnTo>
                  <a:lnTo>
                    <a:pt x="48" y="210"/>
                  </a:lnTo>
                  <a:lnTo>
                    <a:pt x="36" y="210"/>
                  </a:lnTo>
                  <a:lnTo>
                    <a:pt x="12" y="198"/>
                  </a:lnTo>
                  <a:close/>
                </a:path>
              </a:pathLst>
            </a:custGeom>
            <a:solidFill>
              <a:srgbClr val="9FFFA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8" name="Freeform 13"/>
            <p:cNvSpPr>
              <a:spLocks/>
            </p:cNvSpPr>
            <p:nvPr/>
          </p:nvSpPr>
          <p:spPr bwMode="auto">
            <a:xfrm>
              <a:off x="737" y="1545"/>
              <a:ext cx="174" cy="243"/>
            </a:xfrm>
            <a:custGeom>
              <a:avLst/>
              <a:gdLst>
                <a:gd name="T0" fmla="*/ 4 w 198"/>
                <a:gd name="T1" fmla="*/ 4 h 276"/>
                <a:gd name="T2" fmla="*/ 4 w 198"/>
                <a:gd name="T3" fmla="*/ 4 h 276"/>
                <a:gd name="T4" fmla="*/ 4 w 198"/>
                <a:gd name="T5" fmla="*/ 4 h 276"/>
                <a:gd name="T6" fmla="*/ 4 w 198"/>
                <a:gd name="T7" fmla="*/ 4 h 276"/>
                <a:gd name="T8" fmla="*/ 4 w 198"/>
                <a:gd name="T9" fmla="*/ 4 h 276"/>
                <a:gd name="T10" fmla="*/ 4 w 198"/>
                <a:gd name="T11" fmla="*/ 4 h 276"/>
                <a:gd name="T12" fmla="*/ 4 w 198"/>
                <a:gd name="T13" fmla="*/ 4 h 276"/>
                <a:gd name="T14" fmla="*/ 4 w 198"/>
                <a:gd name="T15" fmla="*/ 4 h 276"/>
                <a:gd name="T16" fmla="*/ 4 w 198"/>
                <a:gd name="T17" fmla="*/ 4 h 276"/>
                <a:gd name="T18" fmla="*/ 4 w 198"/>
                <a:gd name="T19" fmla="*/ 4 h 276"/>
                <a:gd name="T20" fmla="*/ 4 w 198"/>
                <a:gd name="T21" fmla="*/ 4 h 276"/>
                <a:gd name="T22" fmla="*/ 4 w 198"/>
                <a:gd name="T23" fmla="*/ 4 h 276"/>
                <a:gd name="T24" fmla="*/ 4 w 198"/>
                <a:gd name="T25" fmla="*/ 4 h 276"/>
                <a:gd name="T26" fmla="*/ 4 w 198"/>
                <a:gd name="T27" fmla="*/ 4 h 276"/>
                <a:gd name="T28" fmla="*/ 4 w 198"/>
                <a:gd name="T29" fmla="*/ 4 h 276"/>
                <a:gd name="T30" fmla="*/ 4 w 198"/>
                <a:gd name="T31" fmla="*/ 4 h 276"/>
                <a:gd name="T32" fmla="*/ 4 w 198"/>
                <a:gd name="T33" fmla="*/ 4 h 276"/>
                <a:gd name="T34" fmla="*/ 4 w 198"/>
                <a:gd name="T35" fmla="*/ 4 h 276"/>
                <a:gd name="T36" fmla="*/ 4 w 198"/>
                <a:gd name="T37" fmla="*/ 4 h 276"/>
                <a:gd name="T38" fmla="*/ 4 w 198"/>
                <a:gd name="T39" fmla="*/ 4 h 276"/>
                <a:gd name="T40" fmla="*/ 4 w 198"/>
                <a:gd name="T41" fmla="*/ 4 h 276"/>
                <a:gd name="T42" fmla="*/ 4 w 198"/>
                <a:gd name="T43" fmla="*/ 4 h 276"/>
                <a:gd name="T44" fmla="*/ 4 w 198"/>
                <a:gd name="T45" fmla="*/ 4 h 276"/>
                <a:gd name="T46" fmla="*/ 4 w 198"/>
                <a:gd name="T47" fmla="*/ 4 h 276"/>
                <a:gd name="T48" fmla="*/ 4 w 198"/>
                <a:gd name="T49" fmla="*/ 4 h 276"/>
                <a:gd name="T50" fmla="*/ 4 w 198"/>
                <a:gd name="T51" fmla="*/ 4 h 276"/>
                <a:gd name="T52" fmla="*/ 4 w 198"/>
                <a:gd name="T53" fmla="*/ 4 h 276"/>
                <a:gd name="T54" fmla="*/ 4 w 198"/>
                <a:gd name="T55" fmla="*/ 4 h 276"/>
                <a:gd name="T56" fmla="*/ 4 w 198"/>
                <a:gd name="T57" fmla="*/ 4 h 276"/>
                <a:gd name="T58" fmla="*/ 4 w 198"/>
                <a:gd name="T59" fmla="*/ 4 h 276"/>
                <a:gd name="T60" fmla="*/ 0 w 198"/>
                <a:gd name="T61" fmla="*/ 4 h 276"/>
                <a:gd name="T62" fmla="*/ 4 w 198"/>
                <a:gd name="T63" fmla="*/ 0 h 276"/>
                <a:gd name="T64" fmla="*/ 4 w 198"/>
                <a:gd name="T65" fmla="*/ 0 h 276"/>
                <a:gd name="T66" fmla="*/ 4 w 198"/>
                <a:gd name="T67" fmla="*/ 0 h 276"/>
                <a:gd name="T68" fmla="*/ 4 w 198"/>
                <a:gd name="T69" fmla="*/ 0 h 276"/>
                <a:gd name="T70" fmla="*/ 4 w 198"/>
                <a:gd name="T71" fmla="*/ 4 h 276"/>
                <a:gd name="T72" fmla="*/ 4 w 198"/>
                <a:gd name="T73" fmla="*/ 4 h 276"/>
                <a:gd name="T74" fmla="*/ 4 w 198"/>
                <a:gd name="T75" fmla="*/ 4 h 276"/>
                <a:gd name="T76" fmla="*/ 4 w 198"/>
                <a:gd name="T77" fmla="*/ 4 h 276"/>
                <a:gd name="T78" fmla="*/ 4 w 198"/>
                <a:gd name="T79" fmla="*/ 4 h 276"/>
                <a:gd name="T80" fmla="*/ 4 w 198"/>
                <a:gd name="T81" fmla="*/ 4 h 276"/>
                <a:gd name="T82" fmla="*/ 4 w 198"/>
                <a:gd name="T83" fmla="*/ 4 h 276"/>
                <a:gd name="T84" fmla="*/ 4 w 198"/>
                <a:gd name="T85" fmla="*/ 4 h 276"/>
                <a:gd name="T86" fmla="*/ 4 w 198"/>
                <a:gd name="T87" fmla="*/ 4 h 276"/>
                <a:gd name="T88" fmla="*/ 4 w 198"/>
                <a:gd name="T89" fmla="*/ 4 h 276"/>
                <a:gd name="T90" fmla="*/ 4 w 198"/>
                <a:gd name="T91" fmla="*/ 4 h 276"/>
                <a:gd name="T92" fmla="*/ 4 w 198"/>
                <a:gd name="T93" fmla="*/ 4 h 276"/>
                <a:gd name="T94" fmla="*/ 4 w 198"/>
                <a:gd name="T95" fmla="*/ 4 h 276"/>
                <a:gd name="T96" fmla="*/ 4 w 198"/>
                <a:gd name="T97" fmla="*/ 4 h 276"/>
                <a:gd name="T98" fmla="*/ 4 w 198"/>
                <a:gd name="T99" fmla="*/ 4 h 27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98" h="276">
                  <a:moveTo>
                    <a:pt x="198" y="114"/>
                  </a:moveTo>
                  <a:lnTo>
                    <a:pt x="198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198" y="156"/>
                  </a:lnTo>
                  <a:lnTo>
                    <a:pt x="192" y="180"/>
                  </a:lnTo>
                  <a:lnTo>
                    <a:pt x="198" y="186"/>
                  </a:lnTo>
                  <a:lnTo>
                    <a:pt x="198" y="222"/>
                  </a:lnTo>
                  <a:lnTo>
                    <a:pt x="192" y="246"/>
                  </a:lnTo>
                  <a:lnTo>
                    <a:pt x="180" y="264"/>
                  </a:lnTo>
                  <a:lnTo>
                    <a:pt x="156" y="276"/>
                  </a:lnTo>
                  <a:lnTo>
                    <a:pt x="144" y="276"/>
                  </a:lnTo>
                  <a:lnTo>
                    <a:pt x="114" y="276"/>
                  </a:lnTo>
                  <a:lnTo>
                    <a:pt x="120" y="276"/>
                  </a:lnTo>
                  <a:lnTo>
                    <a:pt x="78" y="264"/>
                  </a:lnTo>
                  <a:lnTo>
                    <a:pt x="48" y="246"/>
                  </a:lnTo>
                  <a:lnTo>
                    <a:pt x="60" y="210"/>
                  </a:lnTo>
                  <a:lnTo>
                    <a:pt x="66" y="198"/>
                  </a:lnTo>
                  <a:lnTo>
                    <a:pt x="66" y="180"/>
                  </a:lnTo>
                  <a:lnTo>
                    <a:pt x="66" y="168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60" y="120"/>
                  </a:lnTo>
                  <a:lnTo>
                    <a:pt x="60" y="114"/>
                  </a:lnTo>
                  <a:lnTo>
                    <a:pt x="60" y="90"/>
                  </a:lnTo>
                  <a:lnTo>
                    <a:pt x="60" y="78"/>
                  </a:lnTo>
                  <a:lnTo>
                    <a:pt x="36" y="66"/>
                  </a:lnTo>
                  <a:lnTo>
                    <a:pt x="36" y="48"/>
                  </a:lnTo>
                  <a:lnTo>
                    <a:pt x="36" y="36"/>
                  </a:lnTo>
                  <a:lnTo>
                    <a:pt x="24" y="36"/>
                  </a:lnTo>
                  <a:lnTo>
                    <a:pt x="0" y="24"/>
                  </a:lnTo>
                  <a:lnTo>
                    <a:pt x="36" y="0"/>
                  </a:lnTo>
                  <a:lnTo>
                    <a:pt x="66" y="0"/>
                  </a:lnTo>
                  <a:lnTo>
                    <a:pt x="90" y="0"/>
                  </a:lnTo>
                  <a:lnTo>
                    <a:pt x="114" y="0"/>
                  </a:lnTo>
                  <a:lnTo>
                    <a:pt x="132" y="12"/>
                  </a:lnTo>
                  <a:lnTo>
                    <a:pt x="132" y="24"/>
                  </a:lnTo>
                  <a:lnTo>
                    <a:pt x="120" y="36"/>
                  </a:lnTo>
                  <a:lnTo>
                    <a:pt x="120" y="48"/>
                  </a:lnTo>
                  <a:lnTo>
                    <a:pt x="114" y="66"/>
                  </a:lnTo>
                  <a:lnTo>
                    <a:pt x="114" y="78"/>
                  </a:lnTo>
                  <a:lnTo>
                    <a:pt x="102" y="90"/>
                  </a:lnTo>
                  <a:lnTo>
                    <a:pt x="114" y="114"/>
                  </a:lnTo>
                  <a:lnTo>
                    <a:pt x="120" y="114"/>
                  </a:lnTo>
                  <a:lnTo>
                    <a:pt x="144" y="102"/>
                  </a:lnTo>
                  <a:lnTo>
                    <a:pt x="156" y="90"/>
                  </a:lnTo>
                  <a:lnTo>
                    <a:pt x="168" y="90"/>
                  </a:lnTo>
                  <a:lnTo>
                    <a:pt x="180" y="102"/>
                  </a:lnTo>
                  <a:lnTo>
                    <a:pt x="192" y="114"/>
                  </a:lnTo>
                  <a:lnTo>
                    <a:pt x="198" y="114"/>
                  </a:lnTo>
                  <a:close/>
                </a:path>
              </a:pathLst>
            </a:custGeom>
            <a:solidFill>
              <a:srgbClr val="9FFFA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9" name="Freeform 14"/>
            <p:cNvSpPr>
              <a:spLocks/>
            </p:cNvSpPr>
            <p:nvPr/>
          </p:nvSpPr>
          <p:spPr bwMode="auto">
            <a:xfrm>
              <a:off x="605" y="1545"/>
              <a:ext cx="190" cy="227"/>
            </a:xfrm>
            <a:custGeom>
              <a:avLst/>
              <a:gdLst>
                <a:gd name="T0" fmla="*/ 4 w 216"/>
                <a:gd name="T1" fmla="*/ 4 h 258"/>
                <a:gd name="T2" fmla="*/ 4 w 216"/>
                <a:gd name="T3" fmla="*/ 4 h 258"/>
                <a:gd name="T4" fmla="*/ 4 w 216"/>
                <a:gd name="T5" fmla="*/ 4 h 258"/>
                <a:gd name="T6" fmla="*/ 4 w 216"/>
                <a:gd name="T7" fmla="*/ 4 h 258"/>
                <a:gd name="T8" fmla="*/ 4 w 216"/>
                <a:gd name="T9" fmla="*/ 4 h 258"/>
                <a:gd name="T10" fmla="*/ 4 w 216"/>
                <a:gd name="T11" fmla="*/ 4 h 258"/>
                <a:gd name="T12" fmla="*/ 4 w 216"/>
                <a:gd name="T13" fmla="*/ 4 h 258"/>
                <a:gd name="T14" fmla="*/ 4 w 216"/>
                <a:gd name="T15" fmla="*/ 4 h 258"/>
                <a:gd name="T16" fmla="*/ 4 w 216"/>
                <a:gd name="T17" fmla="*/ 4 h 258"/>
                <a:gd name="T18" fmla="*/ 4 w 216"/>
                <a:gd name="T19" fmla="*/ 4 h 258"/>
                <a:gd name="T20" fmla="*/ 4 w 216"/>
                <a:gd name="T21" fmla="*/ 4 h 258"/>
                <a:gd name="T22" fmla="*/ 4 w 216"/>
                <a:gd name="T23" fmla="*/ 4 h 258"/>
                <a:gd name="T24" fmla="*/ 4 w 216"/>
                <a:gd name="T25" fmla="*/ 4 h 258"/>
                <a:gd name="T26" fmla="*/ 4 w 216"/>
                <a:gd name="T27" fmla="*/ 4 h 258"/>
                <a:gd name="T28" fmla="*/ 4 w 216"/>
                <a:gd name="T29" fmla="*/ 4 h 258"/>
                <a:gd name="T30" fmla="*/ 4 w 216"/>
                <a:gd name="T31" fmla="*/ 4 h 258"/>
                <a:gd name="T32" fmla="*/ 4 w 216"/>
                <a:gd name="T33" fmla="*/ 4 h 258"/>
                <a:gd name="T34" fmla="*/ 4 w 216"/>
                <a:gd name="T35" fmla="*/ 4 h 258"/>
                <a:gd name="T36" fmla="*/ 4 w 216"/>
                <a:gd name="T37" fmla="*/ 4 h 258"/>
                <a:gd name="T38" fmla="*/ 4 w 216"/>
                <a:gd name="T39" fmla="*/ 4 h 258"/>
                <a:gd name="T40" fmla="*/ 4 w 216"/>
                <a:gd name="T41" fmla="*/ 4 h 258"/>
                <a:gd name="T42" fmla="*/ 4 w 216"/>
                <a:gd name="T43" fmla="*/ 4 h 258"/>
                <a:gd name="T44" fmla="*/ 4 w 216"/>
                <a:gd name="T45" fmla="*/ 4 h 258"/>
                <a:gd name="T46" fmla="*/ 4 w 216"/>
                <a:gd name="T47" fmla="*/ 4 h 258"/>
                <a:gd name="T48" fmla="*/ 4 w 216"/>
                <a:gd name="T49" fmla="*/ 4 h 258"/>
                <a:gd name="T50" fmla="*/ 4 w 216"/>
                <a:gd name="T51" fmla="*/ 4 h 258"/>
                <a:gd name="T52" fmla="*/ 4 w 216"/>
                <a:gd name="T53" fmla="*/ 4 h 258"/>
                <a:gd name="T54" fmla="*/ 4 w 216"/>
                <a:gd name="T55" fmla="*/ 4 h 258"/>
                <a:gd name="T56" fmla="*/ 4 w 216"/>
                <a:gd name="T57" fmla="*/ 4 h 258"/>
                <a:gd name="T58" fmla="*/ 4 w 216"/>
                <a:gd name="T59" fmla="*/ 4 h 258"/>
                <a:gd name="T60" fmla="*/ 4 w 216"/>
                <a:gd name="T61" fmla="*/ 4 h 258"/>
                <a:gd name="T62" fmla="*/ 4 w 216"/>
                <a:gd name="T63" fmla="*/ 4 h 258"/>
                <a:gd name="T64" fmla="*/ 4 w 216"/>
                <a:gd name="T65" fmla="*/ 4 h 258"/>
                <a:gd name="T66" fmla="*/ 4 w 216"/>
                <a:gd name="T67" fmla="*/ 4 h 258"/>
                <a:gd name="T68" fmla="*/ 4 w 216"/>
                <a:gd name="T69" fmla="*/ 4 h 258"/>
                <a:gd name="T70" fmla="*/ 4 w 216"/>
                <a:gd name="T71" fmla="*/ 4 h 258"/>
                <a:gd name="T72" fmla="*/ 4 w 216"/>
                <a:gd name="T73" fmla="*/ 4 h 258"/>
                <a:gd name="T74" fmla="*/ 4 w 216"/>
                <a:gd name="T75" fmla="*/ 4 h 258"/>
                <a:gd name="T76" fmla="*/ 4 w 216"/>
                <a:gd name="T77" fmla="*/ 4 h 258"/>
                <a:gd name="T78" fmla="*/ 4 w 216"/>
                <a:gd name="T79" fmla="*/ 0 h 258"/>
                <a:gd name="T80" fmla="*/ 4 w 216"/>
                <a:gd name="T81" fmla="*/ 4 h 258"/>
                <a:gd name="T82" fmla="*/ 4 w 216"/>
                <a:gd name="T83" fmla="*/ 0 h 258"/>
                <a:gd name="T84" fmla="*/ 4 w 216"/>
                <a:gd name="T85" fmla="*/ 4 h 258"/>
                <a:gd name="T86" fmla="*/ 4 w 216"/>
                <a:gd name="T87" fmla="*/ 4 h 258"/>
                <a:gd name="T88" fmla="*/ 0 w 216"/>
                <a:gd name="T89" fmla="*/ 0 h 258"/>
                <a:gd name="T90" fmla="*/ 4 w 216"/>
                <a:gd name="T91" fmla="*/ 4 h 258"/>
                <a:gd name="T92" fmla="*/ 4 w 216"/>
                <a:gd name="T93" fmla="*/ 4 h 258"/>
                <a:gd name="T94" fmla="*/ 4 w 216"/>
                <a:gd name="T95" fmla="*/ 4 h 258"/>
                <a:gd name="T96" fmla="*/ 4 w 216"/>
                <a:gd name="T97" fmla="*/ 4 h 258"/>
                <a:gd name="T98" fmla="*/ 4 w 216"/>
                <a:gd name="T99" fmla="*/ 4 h 258"/>
                <a:gd name="T100" fmla="*/ 4 w 216"/>
                <a:gd name="T101" fmla="*/ 4 h 258"/>
                <a:gd name="T102" fmla="*/ 4 w 216"/>
                <a:gd name="T103" fmla="*/ 4 h 258"/>
                <a:gd name="T104" fmla="*/ 4 w 216"/>
                <a:gd name="T105" fmla="*/ 4 h 258"/>
                <a:gd name="T106" fmla="*/ 4 w 216"/>
                <a:gd name="T107" fmla="*/ 4 h 25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16" h="258">
                  <a:moveTo>
                    <a:pt x="18" y="204"/>
                  </a:moveTo>
                  <a:lnTo>
                    <a:pt x="30" y="210"/>
                  </a:lnTo>
                  <a:lnTo>
                    <a:pt x="54" y="222"/>
                  </a:lnTo>
                  <a:lnTo>
                    <a:pt x="66" y="228"/>
                  </a:lnTo>
                  <a:lnTo>
                    <a:pt x="84" y="240"/>
                  </a:lnTo>
                  <a:lnTo>
                    <a:pt x="96" y="234"/>
                  </a:lnTo>
                  <a:lnTo>
                    <a:pt x="120" y="234"/>
                  </a:lnTo>
                  <a:lnTo>
                    <a:pt x="132" y="240"/>
                  </a:lnTo>
                  <a:lnTo>
                    <a:pt x="144" y="252"/>
                  </a:lnTo>
                  <a:lnTo>
                    <a:pt x="162" y="258"/>
                  </a:lnTo>
                  <a:lnTo>
                    <a:pt x="174" y="246"/>
                  </a:lnTo>
                  <a:lnTo>
                    <a:pt x="198" y="240"/>
                  </a:lnTo>
                  <a:lnTo>
                    <a:pt x="210" y="210"/>
                  </a:lnTo>
                  <a:lnTo>
                    <a:pt x="216" y="198"/>
                  </a:lnTo>
                  <a:lnTo>
                    <a:pt x="216" y="174"/>
                  </a:lnTo>
                  <a:lnTo>
                    <a:pt x="216" y="162"/>
                  </a:lnTo>
                  <a:lnTo>
                    <a:pt x="216" y="144"/>
                  </a:lnTo>
                  <a:lnTo>
                    <a:pt x="210" y="144"/>
                  </a:lnTo>
                  <a:lnTo>
                    <a:pt x="210" y="120"/>
                  </a:lnTo>
                  <a:lnTo>
                    <a:pt x="210" y="114"/>
                  </a:lnTo>
                  <a:lnTo>
                    <a:pt x="210" y="90"/>
                  </a:lnTo>
                  <a:lnTo>
                    <a:pt x="210" y="78"/>
                  </a:lnTo>
                  <a:lnTo>
                    <a:pt x="186" y="66"/>
                  </a:lnTo>
                  <a:lnTo>
                    <a:pt x="186" y="42"/>
                  </a:lnTo>
                  <a:lnTo>
                    <a:pt x="186" y="30"/>
                  </a:lnTo>
                  <a:lnTo>
                    <a:pt x="174" y="30"/>
                  </a:lnTo>
                  <a:lnTo>
                    <a:pt x="150" y="24"/>
                  </a:lnTo>
                  <a:lnTo>
                    <a:pt x="132" y="24"/>
                  </a:lnTo>
                  <a:lnTo>
                    <a:pt x="132" y="30"/>
                  </a:lnTo>
                  <a:lnTo>
                    <a:pt x="108" y="30"/>
                  </a:lnTo>
                  <a:lnTo>
                    <a:pt x="96" y="54"/>
                  </a:lnTo>
                  <a:lnTo>
                    <a:pt x="84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66" y="24"/>
                  </a:lnTo>
                  <a:lnTo>
                    <a:pt x="54" y="12"/>
                  </a:lnTo>
                  <a:lnTo>
                    <a:pt x="54" y="0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0" y="0"/>
                  </a:lnTo>
                  <a:lnTo>
                    <a:pt x="12" y="42"/>
                  </a:lnTo>
                  <a:lnTo>
                    <a:pt x="24" y="54"/>
                  </a:lnTo>
                  <a:lnTo>
                    <a:pt x="24" y="78"/>
                  </a:lnTo>
                  <a:lnTo>
                    <a:pt x="30" y="114"/>
                  </a:lnTo>
                  <a:lnTo>
                    <a:pt x="42" y="132"/>
                  </a:lnTo>
                  <a:lnTo>
                    <a:pt x="30" y="144"/>
                  </a:lnTo>
                  <a:lnTo>
                    <a:pt x="30" y="174"/>
                  </a:lnTo>
                  <a:lnTo>
                    <a:pt x="24" y="198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9FFFA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0" name="Freeform 15"/>
            <p:cNvSpPr>
              <a:spLocks/>
            </p:cNvSpPr>
            <p:nvPr/>
          </p:nvSpPr>
          <p:spPr bwMode="auto">
            <a:xfrm>
              <a:off x="468" y="1719"/>
              <a:ext cx="396" cy="312"/>
            </a:xfrm>
            <a:custGeom>
              <a:avLst/>
              <a:gdLst>
                <a:gd name="T0" fmla="*/ 5 w 450"/>
                <a:gd name="T1" fmla="*/ 4 h 354"/>
                <a:gd name="T2" fmla="*/ 4 w 450"/>
                <a:gd name="T3" fmla="*/ 4 h 354"/>
                <a:gd name="T4" fmla="*/ 4 w 450"/>
                <a:gd name="T5" fmla="*/ 4 h 354"/>
                <a:gd name="T6" fmla="*/ 4 w 450"/>
                <a:gd name="T7" fmla="*/ 4 h 354"/>
                <a:gd name="T8" fmla="*/ 4 w 450"/>
                <a:gd name="T9" fmla="*/ 4 h 354"/>
                <a:gd name="T10" fmla="*/ 4 w 450"/>
                <a:gd name="T11" fmla="*/ 4 h 354"/>
                <a:gd name="T12" fmla="*/ 4 w 450"/>
                <a:gd name="T13" fmla="*/ 0 h 354"/>
                <a:gd name="T14" fmla="*/ 4 w 450"/>
                <a:gd name="T15" fmla="*/ 4 h 354"/>
                <a:gd name="T16" fmla="*/ 4 w 450"/>
                <a:gd name="T17" fmla="*/ 4 h 354"/>
                <a:gd name="T18" fmla="*/ 0 w 450"/>
                <a:gd name="T19" fmla="*/ 4 h 354"/>
                <a:gd name="T20" fmla="*/ 4 w 450"/>
                <a:gd name="T21" fmla="*/ 4 h 354"/>
                <a:gd name="T22" fmla="*/ 4 w 450"/>
                <a:gd name="T23" fmla="*/ 4 h 354"/>
                <a:gd name="T24" fmla="*/ 4 w 450"/>
                <a:gd name="T25" fmla="*/ 4 h 354"/>
                <a:gd name="T26" fmla="*/ 4 w 450"/>
                <a:gd name="T27" fmla="*/ 4 h 354"/>
                <a:gd name="T28" fmla="*/ 4 w 450"/>
                <a:gd name="T29" fmla="*/ 4 h 354"/>
                <a:gd name="T30" fmla="*/ 4 w 450"/>
                <a:gd name="T31" fmla="*/ 4 h 354"/>
                <a:gd name="T32" fmla="*/ 4 w 450"/>
                <a:gd name="T33" fmla="*/ 4 h 354"/>
                <a:gd name="T34" fmla="*/ 4 w 450"/>
                <a:gd name="T35" fmla="*/ 5 h 354"/>
                <a:gd name="T36" fmla="*/ 4 w 450"/>
                <a:gd name="T37" fmla="*/ 4 h 354"/>
                <a:gd name="T38" fmla="*/ 4 w 450"/>
                <a:gd name="T39" fmla="*/ 4 h 354"/>
                <a:gd name="T40" fmla="*/ 4 w 450"/>
                <a:gd name="T41" fmla="*/ 4 h 354"/>
                <a:gd name="T42" fmla="*/ 4 w 450"/>
                <a:gd name="T43" fmla="*/ 4 h 354"/>
                <a:gd name="T44" fmla="*/ 4 w 450"/>
                <a:gd name="T45" fmla="*/ 4 h 354"/>
                <a:gd name="T46" fmla="*/ 4 w 450"/>
                <a:gd name="T47" fmla="*/ 4 h 354"/>
                <a:gd name="T48" fmla="*/ 5 w 450"/>
                <a:gd name="T49" fmla="*/ 4 h 354"/>
                <a:gd name="T50" fmla="*/ 5 w 450"/>
                <a:gd name="T51" fmla="*/ 4 h 354"/>
                <a:gd name="T52" fmla="*/ 5 w 450"/>
                <a:gd name="T53" fmla="*/ 4 h 354"/>
                <a:gd name="T54" fmla="*/ 6 w 450"/>
                <a:gd name="T55" fmla="*/ 4 h 354"/>
                <a:gd name="T56" fmla="*/ 6 w 450"/>
                <a:gd name="T57" fmla="*/ 4 h 354"/>
                <a:gd name="T58" fmla="*/ 6 w 450"/>
                <a:gd name="T59" fmla="*/ 4 h 354"/>
                <a:gd name="T60" fmla="*/ 6 w 450"/>
                <a:gd name="T61" fmla="*/ 4 h 354"/>
                <a:gd name="T62" fmla="*/ 6 w 450"/>
                <a:gd name="T63" fmla="*/ 4 h 354"/>
                <a:gd name="T64" fmla="*/ 6 w 450"/>
                <a:gd name="T65" fmla="*/ 4 h 354"/>
                <a:gd name="T66" fmla="*/ 6 w 450"/>
                <a:gd name="T67" fmla="*/ 4 h 3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450" h="354">
                  <a:moveTo>
                    <a:pt x="426" y="78"/>
                  </a:moveTo>
                  <a:lnTo>
                    <a:pt x="384" y="66"/>
                  </a:lnTo>
                  <a:lnTo>
                    <a:pt x="354" y="48"/>
                  </a:lnTo>
                  <a:lnTo>
                    <a:pt x="330" y="48"/>
                  </a:lnTo>
                  <a:lnTo>
                    <a:pt x="318" y="60"/>
                  </a:lnTo>
                  <a:lnTo>
                    <a:pt x="300" y="48"/>
                  </a:lnTo>
                  <a:lnTo>
                    <a:pt x="288" y="36"/>
                  </a:lnTo>
                  <a:lnTo>
                    <a:pt x="276" y="24"/>
                  </a:lnTo>
                  <a:lnTo>
                    <a:pt x="252" y="36"/>
                  </a:lnTo>
                  <a:lnTo>
                    <a:pt x="240" y="36"/>
                  </a:lnTo>
                  <a:lnTo>
                    <a:pt x="222" y="24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74" y="0"/>
                  </a:lnTo>
                  <a:lnTo>
                    <a:pt x="132" y="12"/>
                  </a:lnTo>
                  <a:lnTo>
                    <a:pt x="108" y="24"/>
                  </a:lnTo>
                  <a:lnTo>
                    <a:pt x="96" y="36"/>
                  </a:lnTo>
                  <a:lnTo>
                    <a:pt x="66" y="36"/>
                  </a:lnTo>
                  <a:lnTo>
                    <a:pt x="36" y="48"/>
                  </a:lnTo>
                  <a:lnTo>
                    <a:pt x="0" y="60"/>
                  </a:lnTo>
                  <a:lnTo>
                    <a:pt x="54" y="66"/>
                  </a:lnTo>
                  <a:lnTo>
                    <a:pt x="84" y="114"/>
                  </a:lnTo>
                  <a:lnTo>
                    <a:pt x="84" y="144"/>
                  </a:lnTo>
                  <a:lnTo>
                    <a:pt x="96" y="180"/>
                  </a:lnTo>
                  <a:lnTo>
                    <a:pt x="96" y="210"/>
                  </a:lnTo>
                  <a:lnTo>
                    <a:pt x="120" y="234"/>
                  </a:lnTo>
                  <a:lnTo>
                    <a:pt x="132" y="246"/>
                  </a:lnTo>
                  <a:lnTo>
                    <a:pt x="132" y="276"/>
                  </a:lnTo>
                  <a:lnTo>
                    <a:pt x="132" y="288"/>
                  </a:lnTo>
                  <a:lnTo>
                    <a:pt x="150" y="330"/>
                  </a:lnTo>
                  <a:lnTo>
                    <a:pt x="156" y="336"/>
                  </a:lnTo>
                  <a:lnTo>
                    <a:pt x="198" y="324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64" y="342"/>
                  </a:lnTo>
                  <a:lnTo>
                    <a:pt x="264" y="330"/>
                  </a:lnTo>
                  <a:lnTo>
                    <a:pt x="276" y="324"/>
                  </a:lnTo>
                  <a:lnTo>
                    <a:pt x="288" y="312"/>
                  </a:lnTo>
                  <a:lnTo>
                    <a:pt x="300" y="324"/>
                  </a:lnTo>
                  <a:lnTo>
                    <a:pt x="300" y="330"/>
                  </a:lnTo>
                  <a:lnTo>
                    <a:pt x="306" y="342"/>
                  </a:lnTo>
                  <a:lnTo>
                    <a:pt x="318" y="342"/>
                  </a:lnTo>
                  <a:lnTo>
                    <a:pt x="342" y="330"/>
                  </a:lnTo>
                  <a:lnTo>
                    <a:pt x="354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54" y="276"/>
                  </a:lnTo>
                  <a:lnTo>
                    <a:pt x="366" y="276"/>
                  </a:lnTo>
                  <a:lnTo>
                    <a:pt x="366" y="258"/>
                  </a:lnTo>
                  <a:lnTo>
                    <a:pt x="372" y="258"/>
                  </a:lnTo>
                  <a:lnTo>
                    <a:pt x="384" y="246"/>
                  </a:lnTo>
                  <a:lnTo>
                    <a:pt x="396" y="222"/>
                  </a:lnTo>
                  <a:lnTo>
                    <a:pt x="408" y="210"/>
                  </a:lnTo>
                  <a:lnTo>
                    <a:pt x="420" y="210"/>
                  </a:lnTo>
                  <a:lnTo>
                    <a:pt x="438" y="210"/>
                  </a:lnTo>
                  <a:lnTo>
                    <a:pt x="438" y="204"/>
                  </a:lnTo>
                  <a:lnTo>
                    <a:pt x="450" y="180"/>
                  </a:lnTo>
                  <a:lnTo>
                    <a:pt x="438" y="168"/>
                  </a:lnTo>
                  <a:lnTo>
                    <a:pt x="426" y="156"/>
                  </a:lnTo>
                  <a:lnTo>
                    <a:pt x="438" y="144"/>
                  </a:lnTo>
                  <a:lnTo>
                    <a:pt x="438" y="120"/>
                  </a:lnTo>
                  <a:lnTo>
                    <a:pt x="426" y="120"/>
                  </a:lnTo>
                  <a:lnTo>
                    <a:pt x="420" y="114"/>
                  </a:lnTo>
                  <a:lnTo>
                    <a:pt x="420" y="102"/>
                  </a:lnTo>
                  <a:lnTo>
                    <a:pt x="420" y="78"/>
                  </a:lnTo>
                  <a:lnTo>
                    <a:pt x="426" y="78"/>
                  </a:lnTo>
                  <a:close/>
                </a:path>
              </a:pathLst>
            </a:custGeom>
            <a:solidFill>
              <a:srgbClr val="9FFFA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1" name="Freeform 16"/>
            <p:cNvSpPr>
              <a:spLocks/>
            </p:cNvSpPr>
            <p:nvPr/>
          </p:nvSpPr>
          <p:spPr bwMode="auto">
            <a:xfrm>
              <a:off x="5034" y="2242"/>
              <a:ext cx="42" cy="58"/>
            </a:xfrm>
            <a:custGeom>
              <a:avLst/>
              <a:gdLst>
                <a:gd name="T0" fmla="*/ 4 w 48"/>
                <a:gd name="T1" fmla="*/ 4 h 66"/>
                <a:gd name="T2" fmla="*/ 4 w 48"/>
                <a:gd name="T3" fmla="*/ 4 h 66"/>
                <a:gd name="T4" fmla="*/ 4 w 48"/>
                <a:gd name="T5" fmla="*/ 4 h 66"/>
                <a:gd name="T6" fmla="*/ 0 w 48"/>
                <a:gd name="T7" fmla="*/ 4 h 66"/>
                <a:gd name="T8" fmla="*/ 4 w 48"/>
                <a:gd name="T9" fmla="*/ 4 h 66"/>
                <a:gd name="T10" fmla="*/ 4 w 48"/>
                <a:gd name="T11" fmla="*/ 0 h 66"/>
                <a:gd name="T12" fmla="*/ 4 w 48"/>
                <a:gd name="T13" fmla="*/ 4 h 66"/>
                <a:gd name="T14" fmla="*/ 4 w 48"/>
                <a:gd name="T15" fmla="*/ 4 h 66"/>
                <a:gd name="T16" fmla="*/ 4 w 48"/>
                <a:gd name="T17" fmla="*/ 4 h 66"/>
                <a:gd name="T18" fmla="*/ 4 w 48"/>
                <a:gd name="T19" fmla="*/ 4 h 66"/>
                <a:gd name="T20" fmla="*/ 4 w 48"/>
                <a:gd name="T21" fmla="*/ 4 h 66"/>
                <a:gd name="T22" fmla="*/ 4 w 48"/>
                <a:gd name="T23" fmla="*/ 4 h 6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8" h="66">
                  <a:moveTo>
                    <a:pt x="36" y="66"/>
                  </a:moveTo>
                  <a:lnTo>
                    <a:pt x="24" y="54"/>
                  </a:lnTo>
                  <a:lnTo>
                    <a:pt x="12" y="42"/>
                  </a:lnTo>
                  <a:lnTo>
                    <a:pt x="0" y="36"/>
                  </a:lnTo>
                  <a:lnTo>
                    <a:pt x="12" y="12"/>
                  </a:lnTo>
                  <a:lnTo>
                    <a:pt x="2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48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2" name="Freeform 17"/>
            <p:cNvSpPr>
              <a:spLocks/>
            </p:cNvSpPr>
            <p:nvPr/>
          </p:nvSpPr>
          <p:spPr bwMode="auto">
            <a:xfrm>
              <a:off x="3060" y="1646"/>
              <a:ext cx="100" cy="95"/>
            </a:xfrm>
            <a:custGeom>
              <a:avLst/>
              <a:gdLst>
                <a:gd name="T0" fmla="*/ 0 w 114"/>
                <a:gd name="T1" fmla="*/ 4 h 108"/>
                <a:gd name="T2" fmla="*/ 4 w 114"/>
                <a:gd name="T3" fmla="*/ 4 h 108"/>
                <a:gd name="T4" fmla="*/ 4 w 114"/>
                <a:gd name="T5" fmla="*/ 4 h 108"/>
                <a:gd name="T6" fmla="*/ 4 w 114"/>
                <a:gd name="T7" fmla="*/ 4 h 108"/>
                <a:gd name="T8" fmla="*/ 4 w 114"/>
                <a:gd name="T9" fmla="*/ 4 h 108"/>
                <a:gd name="T10" fmla="*/ 4 w 114"/>
                <a:gd name="T11" fmla="*/ 0 h 108"/>
                <a:gd name="T12" fmla="*/ 4 w 114"/>
                <a:gd name="T13" fmla="*/ 4 h 108"/>
                <a:gd name="T14" fmla="*/ 4 w 114"/>
                <a:gd name="T15" fmla="*/ 4 h 108"/>
                <a:gd name="T16" fmla="*/ 4 w 114"/>
                <a:gd name="T17" fmla="*/ 4 h 108"/>
                <a:gd name="T18" fmla="*/ 4 w 114"/>
                <a:gd name="T19" fmla="*/ 4 h 108"/>
                <a:gd name="T20" fmla="*/ 4 w 114"/>
                <a:gd name="T21" fmla="*/ 4 h 108"/>
                <a:gd name="T22" fmla="*/ 4 w 114"/>
                <a:gd name="T23" fmla="*/ 4 h 108"/>
                <a:gd name="T24" fmla="*/ 4 w 114"/>
                <a:gd name="T25" fmla="*/ 4 h 108"/>
                <a:gd name="T26" fmla="*/ 4 w 114"/>
                <a:gd name="T27" fmla="*/ 4 h 108"/>
                <a:gd name="T28" fmla="*/ 4 w 114"/>
                <a:gd name="T29" fmla="*/ 4 h 108"/>
                <a:gd name="T30" fmla="*/ 4 w 114"/>
                <a:gd name="T31" fmla="*/ 4 h 108"/>
                <a:gd name="T32" fmla="*/ 4 w 114"/>
                <a:gd name="T33" fmla="*/ 4 h 108"/>
                <a:gd name="T34" fmla="*/ 4 w 114"/>
                <a:gd name="T35" fmla="*/ 4 h 108"/>
                <a:gd name="T36" fmla="*/ 4 w 114"/>
                <a:gd name="T37" fmla="*/ 4 h 108"/>
                <a:gd name="T38" fmla="*/ 4 w 114"/>
                <a:gd name="T39" fmla="*/ 4 h 108"/>
                <a:gd name="T40" fmla="*/ 4 w 114"/>
                <a:gd name="T41" fmla="*/ 4 h 108"/>
                <a:gd name="T42" fmla="*/ 4 w 114"/>
                <a:gd name="T43" fmla="*/ 4 h 108"/>
                <a:gd name="T44" fmla="*/ 4 w 114"/>
                <a:gd name="T45" fmla="*/ 4 h 108"/>
                <a:gd name="T46" fmla="*/ 4 w 114"/>
                <a:gd name="T47" fmla="*/ 4 h 108"/>
                <a:gd name="T48" fmla="*/ 4 w 114"/>
                <a:gd name="T49" fmla="*/ 4 h 108"/>
                <a:gd name="T50" fmla="*/ 4 w 114"/>
                <a:gd name="T51" fmla="*/ 4 h 108"/>
                <a:gd name="T52" fmla="*/ 4 w 114"/>
                <a:gd name="T53" fmla="*/ 4 h 108"/>
                <a:gd name="T54" fmla="*/ 0 w 114"/>
                <a:gd name="T55" fmla="*/ 4 h 10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14" h="108">
                  <a:moveTo>
                    <a:pt x="0" y="42"/>
                  </a:moveTo>
                  <a:lnTo>
                    <a:pt x="24" y="18"/>
                  </a:lnTo>
                  <a:lnTo>
                    <a:pt x="36" y="6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90" y="18"/>
                  </a:lnTo>
                  <a:lnTo>
                    <a:pt x="102" y="6"/>
                  </a:lnTo>
                  <a:lnTo>
                    <a:pt x="102" y="18"/>
                  </a:lnTo>
                  <a:lnTo>
                    <a:pt x="102" y="42"/>
                  </a:lnTo>
                  <a:lnTo>
                    <a:pt x="114" y="54"/>
                  </a:lnTo>
                  <a:lnTo>
                    <a:pt x="114" y="66"/>
                  </a:lnTo>
                  <a:lnTo>
                    <a:pt x="102" y="72"/>
                  </a:lnTo>
                  <a:lnTo>
                    <a:pt x="114" y="84"/>
                  </a:lnTo>
                  <a:lnTo>
                    <a:pt x="90" y="108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36" y="84"/>
                  </a:lnTo>
                  <a:lnTo>
                    <a:pt x="24" y="84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12" y="54"/>
                  </a:lnTo>
                  <a:lnTo>
                    <a:pt x="12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3" name="Freeform 18"/>
            <p:cNvSpPr>
              <a:spLocks/>
            </p:cNvSpPr>
            <p:nvPr/>
          </p:nvSpPr>
          <p:spPr bwMode="auto">
            <a:xfrm>
              <a:off x="3033" y="1635"/>
              <a:ext cx="27" cy="26"/>
            </a:xfrm>
            <a:custGeom>
              <a:avLst/>
              <a:gdLst>
                <a:gd name="T0" fmla="*/ 0 w 30"/>
                <a:gd name="T1" fmla="*/ 3 h 30"/>
                <a:gd name="T2" fmla="*/ 0 w 30"/>
                <a:gd name="T3" fmla="*/ 3 h 30"/>
                <a:gd name="T4" fmla="*/ 0 w 30"/>
                <a:gd name="T5" fmla="*/ 0 h 30"/>
                <a:gd name="T6" fmla="*/ 5 w 30"/>
                <a:gd name="T7" fmla="*/ 3 h 30"/>
                <a:gd name="T8" fmla="*/ 5 w 30"/>
                <a:gd name="T9" fmla="*/ 3 h 30"/>
                <a:gd name="T10" fmla="*/ 5 w 30"/>
                <a:gd name="T11" fmla="*/ 3 h 30"/>
                <a:gd name="T12" fmla="*/ 5 w 30"/>
                <a:gd name="T13" fmla="*/ 3 h 30"/>
                <a:gd name="T14" fmla="*/ 5 w 30"/>
                <a:gd name="T15" fmla="*/ 3 h 30"/>
                <a:gd name="T16" fmla="*/ 5 w 30"/>
                <a:gd name="T17" fmla="*/ 3 h 30"/>
                <a:gd name="T18" fmla="*/ 0 w 30"/>
                <a:gd name="T19" fmla="*/ 3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0" h="30">
                  <a:moveTo>
                    <a:pt x="0" y="30"/>
                  </a:moveTo>
                  <a:lnTo>
                    <a:pt x="0" y="18"/>
                  </a:lnTo>
                  <a:lnTo>
                    <a:pt x="0" y="0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30" y="18"/>
                  </a:lnTo>
                  <a:lnTo>
                    <a:pt x="30" y="30"/>
                  </a:lnTo>
                  <a:lnTo>
                    <a:pt x="12" y="3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4" name="Freeform 19"/>
            <p:cNvSpPr>
              <a:spLocks/>
            </p:cNvSpPr>
            <p:nvPr/>
          </p:nvSpPr>
          <p:spPr bwMode="auto">
            <a:xfrm>
              <a:off x="2173" y="1936"/>
              <a:ext cx="37" cy="47"/>
            </a:xfrm>
            <a:custGeom>
              <a:avLst/>
              <a:gdLst>
                <a:gd name="T0" fmla="*/ 4 w 42"/>
                <a:gd name="T1" fmla="*/ 3 h 54"/>
                <a:gd name="T2" fmla="*/ 4 w 42"/>
                <a:gd name="T3" fmla="*/ 3 h 54"/>
                <a:gd name="T4" fmla="*/ 4 w 42"/>
                <a:gd name="T5" fmla="*/ 3 h 54"/>
                <a:gd name="T6" fmla="*/ 4 w 42"/>
                <a:gd name="T7" fmla="*/ 3 h 54"/>
                <a:gd name="T8" fmla="*/ 0 w 42"/>
                <a:gd name="T9" fmla="*/ 3 h 54"/>
                <a:gd name="T10" fmla="*/ 0 w 42"/>
                <a:gd name="T11" fmla="*/ 3 h 54"/>
                <a:gd name="T12" fmla="*/ 4 w 42"/>
                <a:gd name="T13" fmla="*/ 3 h 54"/>
                <a:gd name="T14" fmla="*/ 4 w 42"/>
                <a:gd name="T15" fmla="*/ 0 h 54"/>
                <a:gd name="T16" fmla="*/ 4 w 42"/>
                <a:gd name="T17" fmla="*/ 0 h 54"/>
                <a:gd name="T18" fmla="*/ 4 w 42"/>
                <a:gd name="T19" fmla="*/ 3 h 54"/>
                <a:gd name="T20" fmla="*/ 4 w 42"/>
                <a:gd name="T21" fmla="*/ 3 h 54"/>
                <a:gd name="T22" fmla="*/ 4 w 42"/>
                <a:gd name="T23" fmla="*/ 3 h 54"/>
                <a:gd name="T24" fmla="*/ 4 w 42"/>
                <a:gd name="T25" fmla="*/ 3 h 54"/>
                <a:gd name="T26" fmla="*/ 4 w 42"/>
                <a:gd name="T27" fmla="*/ 3 h 5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2" h="54">
                  <a:moveTo>
                    <a:pt x="30" y="54"/>
                  </a:moveTo>
                  <a:lnTo>
                    <a:pt x="18" y="54"/>
                  </a:lnTo>
                  <a:lnTo>
                    <a:pt x="6" y="42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8" y="0"/>
                  </a:lnTo>
                  <a:lnTo>
                    <a:pt x="42" y="0"/>
                  </a:lnTo>
                  <a:lnTo>
                    <a:pt x="30" y="6"/>
                  </a:lnTo>
                  <a:lnTo>
                    <a:pt x="30" y="18"/>
                  </a:lnTo>
                  <a:lnTo>
                    <a:pt x="30" y="30"/>
                  </a:lnTo>
                  <a:lnTo>
                    <a:pt x="30" y="42"/>
                  </a:lnTo>
                  <a:lnTo>
                    <a:pt x="30" y="5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5" name="Freeform 20"/>
            <p:cNvSpPr>
              <a:spLocks/>
            </p:cNvSpPr>
            <p:nvPr/>
          </p:nvSpPr>
          <p:spPr bwMode="auto">
            <a:xfrm>
              <a:off x="2125" y="1719"/>
              <a:ext cx="154" cy="185"/>
            </a:xfrm>
            <a:custGeom>
              <a:avLst/>
              <a:gdLst>
                <a:gd name="T0" fmla="*/ 4 w 174"/>
                <a:gd name="T1" fmla="*/ 4 h 210"/>
                <a:gd name="T2" fmla="*/ 4 w 174"/>
                <a:gd name="T3" fmla="*/ 4 h 210"/>
                <a:gd name="T4" fmla="*/ 4 w 174"/>
                <a:gd name="T5" fmla="*/ 4 h 210"/>
                <a:gd name="T6" fmla="*/ 4 w 174"/>
                <a:gd name="T7" fmla="*/ 4 h 210"/>
                <a:gd name="T8" fmla="*/ 4 w 174"/>
                <a:gd name="T9" fmla="*/ 4 h 210"/>
                <a:gd name="T10" fmla="*/ 4 w 174"/>
                <a:gd name="T11" fmla="*/ 4 h 210"/>
                <a:gd name="T12" fmla="*/ 4 w 174"/>
                <a:gd name="T13" fmla="*/ 4 h 210"/>
                <a:gd name="T14" fmla="*/ 4 w 174"/>
                <a:gd name="T15" fmla="*/ 4 h 210"/>
                <a:gd name="T16" fmla="*/ 4 w 174"/>
                <a:gd name="T17" fmla="*/ 4 h 210"/>
                <a:gd name="T18" fmla="*/ 4 w 174"/>
                <a:gd name="T19" fmla="*/ 4 h 210"/>
                <a:gd name="T20" fmla="*/ 4 w 174"/>
                <a:gd name="T21" fmla="*/ 4 h 210"/>
                <a:gd name="T22" fmla="*/ 4 w 174"/>
                <a:gd name="T23" fmla="*/ 4 h 210"/>
                <a:gd name="T24" fmla="*/ 4 w 174"/>
                <a:gd name="T25" fmla="*/ 4 h 210"/>
                <a:gd name="T26" fmla="*/ 4 w 174"/>
                <a:gd name="T27" fmla="*/ 4 h 210"/>
                <a:gd name="T28" fmla="*/ 4 w 174"/>
                <a:gd name="T29" fmla="*/ 4 h 210"/>
                <a:gd name="T30" fmla="*/ 4 w 174"/>
                <a:gd name="T31" fmla="*/ 4 h 210"/>
                <a:gd name="T32" fmla="*/ 4 w 174"/>
                <a:gd name="T33" fmla="*/ 0 h 210"/>
                <a:gd name="T34" fmla="*/ 4 w 174"/>
                <a:gd name="T35" fmla="*/ 4 h 210"/>
                <a:gd name="T36" fmla="*/ 4 w 174"/>
                <a:gd name="T37" fmla="*/ 4 h 210"/>
                <a:gd name="T38" fmla="*/ 4 w 174"/>
                <a:gd name="T39" fmla="*/ 4 h 210"/>
                <a:gd name="T40" fmla="*/ 4 w 174"/>
                <a:gd name="T41" fmla="*/ 4 h 210"/>
                <a:gd name="T42" fmla="*/ 4 w 174"/>
                <a:gd name="T43" fmla="*/ 4 h 210"/>
                <a:gd name="T44" fmla="*/ 4 w 174"/>
                <a:gd name="T45" fmla="*/ 4 h 210"/>
                <a:gd name="T46" fmla="*/ 0 w 174"/>
                <a:gd name="T47" fmla="*/ 4 h 210"/>
                <a:gd name="T48" fmla="*/ 0 w 174"/>
                <a:gd name="T49" fmla="*/ 4 h 210"/>
                <a:gd name="T50" fmla="*/ 4 w 174"/>
                <a:gd name="T51" fmla="*/ 4 h 210"/>
                <a:gd name="T52" fmla="*/ 4 w 174"/>
                <a:gd name="T53" fmla="*/ 4 h 210"/>
                <a:gd name="T54" fmla="*/ 4 w 174"/>
                <a:gd name="T55" fmla="*/ 4 h 210"/>
                <a:gd name="T56" fmla="*/ 4 w 174"/>
                <a:gd name="T57" fmla="*/ 4 h 210"/>
                <a:gd name="T58" fmla="*/ 4 w 174"/>
                <a:gd name="T59" fmla="*/ 4 h 210"/>
                <a:gd name="T60" fmla="*/ 0 w 174"/>
                <a:gd name="T61" fmla="*/ 4 h 210"/>
                <a:gd name="T62" fmla="*/ 0 w 174"/>
                <a:gd name="T63" fmla="*/ 4 h 210"/>
                <a:gd name="T64" fmla="*/ 4 w 174"/>
                <a:gd name="T65" fmla="*/ 4 h 210"/>
                <a:gd name="T66" fmla="*/ 4 w 174"/>
                <a:gd name="T67" fmla="*/ 4 h 210"/>
                <a:gd name="T68" fmla="*/ 4 w 174"/>
                <a:gd name="T69" fmla="*/ 4 h 210"/>
                <a:gd name="T70" fmla="*/ 4 w 174"/>
                <a:gd name="T71" fmla="*/ 4 h 210"/>
                <a:gd name="T72" fmla="*/ 4 w 174"/>
                <a:gd name="T73" fmla="*/ 4 h 210"/>
                <a:gd name="T74" fmla="*/ 4 w 174"/>
                <a:gd name="T75" fmla="*/ 4 h 210"/>
                <a:gd name="T76" fmla="*/ 4 w 174"/>
                <a:gd name="T77" fmla="*/ 4 h 210"/>
                <a:gd name="T78" fmla="*/ 4 w 174"/>
                <a:gd name="T79" fmla="*/ 4 h 210"/>
                <a:gd name="T80" fmla="*/ 4 w 174"/>
                <a:gd name="T81" fmla="*/ 4 h 21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74" h="210">
                  <a:moveTo>
                    <a:pt x="72" y="198"/>
                  </a:moveTo>
                  <a:lnTo>
                    <a:pt x="72" y="186"/>
                  </a:lnTo>
                  <a:lnTo>
                    <a:pt x="60" y="168"/>
                  </a:lnTo>
                  <a:lnTo>
                    <a:pt x="60" y="156"/>
                  </a:lnTo>
                  <a:lnTo>
                    <a:pt x="60" y="132"/>
                  </a:lnTo>
                  <a:lnTo>
                    <a:pt x="72" y="114"/>
                  </a:lnTo>
                  <a:lnTo>
                    <a:pt x="84" y="90"/>
                  </a:lnTo>
                  <a:lnTo>
                    <a:pt x="108" y="78"/>
                  </a:lnTo>
                  <a:lnTo>
                    <a:pt x="120" y="66"/>
                  </a:lnTo>
                  <a:lnTo>
                    <a:pt x="150" y="54"/>
                  </a:lnTo>
                  <a:lnTo>
                    <a:pt x="174" y="48"/>
                  </a:lnTo>
                  <a:lnTo>
                    <a:pt x="174" y="36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32" y="0"/>
                  </a:lnTo>
                  <a:lnTo>
                    <a:pt x="96" y="12"/>
                  </a:lnTo>
                  <a:lnTo>
                    <a:pt x="72" y="24"/>
                  </a:lnTo>
                  <a:lnTo>
                    <a:pt x="60" y="12"/>
                  </a:lnTo>
                  <a:lnTo>
                    <a:pt x="54" y="36"/>
                  </a:lnTo>
                  <a:lnTo>
                    <a:pt x="42" y="48"/>
                  </a:lnTo>
                  <a:lnTo>
                    <a:pt x="30" y="36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18" y="78"/>
                  </a:lnTo>
                  <a:lnTo>
                    <a:pt x="6" y="102"/>
                  </a:lnTo>
                  <a:lnTo>
                    <a:pt x="18" y="114"/>
                  </a:lnTo>
                  <a:lnTo>
                    <a:pt x="6" y="132"/>
                  </a:lnTo>
                  <a:lnTo>
                    <a:pt x="0" y="120"/>
                  </a:lnTo>
                  <a:lnTo>
                    <a:pt x="0" y="144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18" y="174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42" y="198"/>
                  </a:lnTo>
                  <a:lnTo>
                    <a:pt x="54" y="186"/>
                  </a:lnTo>
                  <a:lnTo>
                    <a:pt x="54" y="210"/>
                  </a:lnTo>
                  <a:lnTo>
                    <a:pt x="72" y="19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6" name="Freeform 21"/>
            <p:cNvSpPr>
              <a:spLocks/>
            </p:cNvSpPr>
            <p:nvPr/>
          </p:nvSpPr>
          <p:spPr bwMode="auto">
            <a:xfrm>
              <a:off x="2257" y="1661"/>
              <a:ext cx="380" cy="101"/>
            </a:xfrm>
            <a:custGeom>
              <a:avLst/>
              <a:gdLst>
                <a:gd name="T0" fmla="*/ 4 w 432"/>
                <a:gd name="T1" fmla="*/ 4 h 114"/>
                <a:gd name="T2" fmla="*/ 4 w 432"/>
                <a:gd name="T3" fmla="*/ 4 h 114"/>
                <a:gd name="T4" fmla="*/ 4 w 432"/>
                <a:gd name="T5" fmla="*/ 4 h 114"/>
                <a:gd name="T6" fmla="*/ 0 w 432"/>
                <a:gd name="T7" fmla="*/ 4 h 114"/>
                <a:gd name="T8" fmla="*/ 4 w 432"/>
                <a:gd name="T9" fmla="*/ 4 h 114"/>
                <a:gd name="T10" fmla="*/ 4 w 432"/>
                <a:gd name="T11" fmla="*/ 4 h 114"/>
                <a:gd name="T12" fmla="*/ 0 w 432"/>
                <a:gd name="T13" fmla="*/ 4 h 114"/>
                <a:gd name="T14" fmla="*/ 4 w 432"/>
                <a:gd name="T15" fmla="*/ 4 h 114"/>
                <a:gd name="T16" fmla="*/ 4 w 432"/>
                <a:gd name="T17" fmla="*/ 4 h 114"/>
                <a:gd name="T18" fmla="*/ 4 w 432"/>
                <a:gd name="T19" fmla="*/ 4 h 114"/>
                <a:gd name="T20" fmla="*/ 4 w 432"/>
                <a:gd name="T21" fmla="*/ 4 h 114"/>
                <a:gd name="T22" fmla="*/ 4 w 432"/>
                <a:gd name="T23" fmla="*/ 4 h 114"/>
                <a:gd name="T24" fmla="*/ 4 w 432"/>
                <a:gd name="T25" fmla="*/ 4 h 114"/>
                <a:gd name="T26" fmla="*/ 4 w 432"/>
                <a:gd name="T27" fmla="*/ 0 h 114"/>
                <a:gd name="T28" fmla="*/ 4 w 432"/>
                <a:gd name="T29" fmla="*/ 0 h 114"/>
                <a:gd name="T30" fmla="*/ 4 w 432"/>
                <a:gd name="T31" fmla="*/ 4 h 114"/>
                <a:gd name="T32" fmla="*/ 4 w 432"/>
                <a:gd name="T33" fmla="*/ 0 h 114"/>
                <a:gd name="T34" fmla="*/ 4 w 432"/>
                <a:gd name="T35" fmla="*/ 4 h 114"/>
                <a:gd name="T36" fmla="*/ 4 w 432"/>
                <a:gd name="T37" fmla="*/ 4 h 114"/>
                <a:gd name="T38" fmla="*/ 4 w 432"/>
                <a:gd name="T39" fmla="*/ 0 h 114"/>
                <a:gd name="T40" fmla="*/ 4 w 432"/>
                <a:gd name="T41" fmla="*/ 0 h 114"/>
                <a:gd name="T42" fmla="*/ 4 w 432"/>
                <a:gd name="T43" fmla="*/ 4 h 114"/>
                <a:gd name="T44" fmla="*/ 4 w 432"/>
                <a:gd name="T45" fmla="*/ 4 h 114"/>
                <a:gd name="T46" fmla="*/ 4 w 432"/>
                <a:gd name="T47" fmla="*/ 4 h 114"/>
                <a:gd name="T48" fmla="*/ 4 w 432"/>
                <a:gd name="T49" fmla="*/ 4 h 114"/>
                <a:gd name="T50" fmla="*/ 4 w 432"/>
                <a:gd name="T51" fmla="*/ 4 h 114"/>
                <a:gd name="T52" fmla="*/ 5 w 432"/>
                <a:gd name="T53" fmla="*/ 4 h 114"/>
                <a:gd name="T54" fmla="*/ 5 w 432"/>
                <a:gd name="T55" fmla="*/ 4 h 114"/>
                <a:gd name="T56" fmla="*/ 5 w 432"/>
                <a:gd name="T57" fmla="*/ 4 h 114"/>
                <a:gd name="T58" fmla="*/ 6 w 432"/>
                <a:gd name="T59" fmla="*/ 4 h 114"/>
                <a:gd name="T60" fmla="*/ 6 w 432"/>
                <a:gd name="T61" fmla="*/ 4 h 114"/>
                <a:gd name="T62" fmla="*/ 5 w 432"/>
                <a:gd name="T63" fmla="*/ 4 h 114"/>
                <a:gd name="T64" fmla="*/ 5 w 432"/>
                <a:gd name="T65" fmla="*/ 4 h 114"/>
                <a:gd name="T66" fmla="*/ 5 w 432"/>
                <a:gd name="T67" fmla="*/ 4 h 114"/>
                <a:gd name="T68" fmla="*/ 5 w 432"/>
                <a:gd name="T69" fmla="*/ 4 h 114"/>
                <a:gd name="T70" fmla="*/ 4 w 432"/>
                <a:gd name="T71" fmla="*/ 4 h 114"/>
                <a:gd name="T72" fmla="*/ 4 w 432"/>
                <a:gd name="T73" fmla="*/ 4 h 114"/>
                <a:gd name="T74" fmla="*/ 4 w 432"/>
                <a:gd name="T75" fmla="*/ 4 h 114"/>
                <a:gd name="T76" fmla="*/ 4 w 432"/>
                <a:gd name="T77" fmla="*/ 4 h 114"/>
                <a:gd name="T78" fmla="*/ 4 w 432"/>
                <a:gd name="T79" fmla="*/ 4 h 114"/>
                <a:gd name="T80" fmla="*/ 4 w 432"/>
                <a:gd name="T81" fmla="*/ 4 h 114"/>
                <a:gd name="T82" fmla="*/ 4 w 432"/>
                <a:gd name="T83" fmla="*/ 4 h 114"/>
                <a:gd name="T84" fmla="*/ 4 w 432"/>
                <a:gd name="T85" fmla="*/ 4 h 114"/>
                <a:gd name="T86" fmla="*/ 4 w 432"/>
                <a:gd name="T87" fmla="*/ 4 h 114"/>
                <a:gd name="T88" fmla="*/ 4 w 432"/>
                <a:gd name="T89" fmla="*/ 4 h 114"/>
                <a:gd name="T90" fmla="*/ 4 w 432"/>
                <a:gd name="T91" fmla="*/ 4 h 114"/>
                <a:gd name="T92" fmla="*/ 4 w 432"/>
                <a:gd name="T93" fmla="*/ 4 h 114"/>
                <a:gd name="T94" fmla="*/ 4 w 432"/>
                <a:gd name="T95" fmla="*/ 4 h 114"/>
                <a:gd name="T96" fmla="*/ 4 w 432"/>
                <a:gd name="T97" fmla="*/ 4 h 114"/>
                <a:gd name="T98" fmla="*/ 4 w 432"/>
                <a:gd name="T99" fmla="*/ 4 h 114"/>
                <a:gd name="T100" fmla="*/ 4 w 432"/>
                <a:gd name="T101" fmla="*/ 4 h 114"/>
                <a:gd name="T102" fmla="*/ 4 w 432"/>
                <a:gd name="T103" fmla="*/ 4 h 114"/>
                <a:gd name="T104" fmla="*/ 4 w 432"/>
                <a:gd name="T105" fmla="*/ 4 h 114"/>
                <a:gd name="T106" fmla="*/ 4 w 432"/>
                <a:gd name="T107" fmla="*/ 4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32" h="114">
                  <a:moveTo>
                    <a:pt x="36" y="114"/>
                  </a:moveTo>
                  <a:lnTo>
                    <a:pt x="36" y="102"/>
                  </a:lnTo>
                  <a:lnTo>
                    <a:pt x="24" y="78"/>
                  </a:lnTo>
                  <a:lnTo>
                    <a:pt x="0" y="54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0" y="48"/>
                  </a:lnTo>
                  <a:lnTo>
                    <a:pt x="12" y="36"/>
                  </a:lnTo>
                  <a:lnTo>
                    <a:pt x="24" y="36"/>
                  </a:lnTo>
                  <a:lnTo>
                    <a:pt x="48" y="48"/>
                  </a:lnTo>
                  <a:lnTo>
                    <a:pt x="54" y="36"/>
                  </a:lnTo>
                  <a:lnTo>
                    <a:pt x="78" y="12"/>
                  </a:lnTo>
                  <a:lnTo>
                    <a:pt x="90" y="12"/>
                  </a:lnTo>
                  <a:lnTo>
                    <a:pt x="90" y="0"/>
                  </a:lnTo>
                  <a:lnTo>
                    <a:pt x="102" y="0"/>
                  </a:lnTo>
                  <a:lnTo>
                    <a:pt x="120" y="12"/>
                  </a:lnTo>
                  <a:lnTo>
                    <a:pt x="132" y="0"/>
                  </a:lnTo>
                  <a:lnTo>
                    <a:pt x="156" y="12"/>
                  </a:lnTo>
                  <a:lnTo>
                    <a:pt x="168" y="12"/>
                  </a:lnTo>
                  <a:lnTo>
                    <a:pt x="186" y="0"/>
                  </a:lnTo>
                  <a:lnTo>
                    <a:pt x="222" y="0"/>
                  </a:lnTo>
                  <a:lnTo>
                    <a:pt x="252" y="12"/>
                  </a:lnTo>
                  <a:lnTo>
                    <a:pt x="276" y="24"/>
                  </a:lnTo>
                  <a:lnTo>
                    <a:pt x="312" y="36"/>
                  </a:lnTo>
                  <a:lnTo>
                    <a:pt x="318" y="24"/>
                  </a:lnTo>
                  <a:lnTo>
                    <a:pt x="354" y="36"/>
                  </a:lnTo>
                  <a:lnTo>
                    <a:pt x="366" y="36"/>
                  </a:lnTo>
                  <a:lnTo>
                    <a:pt x="372" y="24"/>
                  </a:lnTo>
                  <a:lnTo>
                    <a:pt x="396" y="36"/>
                  </a:lnTo>
                  <a:lnTo>
                    <a:pt x="420" y="36"/>
                  </a:lnTo>
                  <a:lnTo>
                    <a:pt x="432" y="48"/>
                  </a:lnTo>
                  <a:lnTo>
                    <a:pt x="408" y="66"/>
                  </a:lnTo>
                  <a:lnTo>
                    <a:pt x="408" y="78"/>
                  </a:lnTo>
                  <a:lnTo>
                    <a:pt x="372" y="78"/>
                  </a:lnTo>
                  <a:lnTo>
                    <a:pt x="366" y="66"/>
                  </a:lnTo>
                  <a:lnTo>
                    <a:pt x="342" y="66"/>
                  </a:lnTo>
                  <a:lnTo>
                    <a:pt x="300" y="90"/>
                  </a:lnTo>
                  <a:lnTo>
                    <a:pt x="276" y="78"/>
                  </a:lnTo>
                  <a:lnTo>
                    <a:pt x="252" y="66"/>
                  </a:lnTo>
                  <a:lnTo>
                    <a:pt x="246" y="66"/>
                  </a:lnTo>
                  <a:lnTo>
                    <a:pt x="222" y="66"/>
                  </a:lnTo>
                  <a:lnTo>
                    <a:pt x="210" y="78"/>
                  </a:lnTo>
                  <a:lnTo>
                    <a:pt x="198" y="90"/>
                  </a:lnTo>
                  <a:lnTo>
                    <a:pt x="180" y="78"/>
                  </a:lnTo>
                  <a:lnTo>
                    <a:pt x="156" y="78"/>
                  </a:lnTo>
                  <a:lnTo>
                    <a:pt x="156" y="66"/>
                  </a:lnTo>
                  <a:lnTo>
                    <a:pt x="144" y="66"/>
                  </a:lnTo>
                  <a:lnTo>
                    <a:pt x="120" y="90"/>
                  </a:lnTo>
                  <a:lnTo>
                    <a:pt x="102" y="90"/>
                  </a:lnTo>
                  <a:lnTo>
                    <a:pt x="78" y="78"/>
                  </a:lnTo>
                  <a:lnTo>
                    <a:pt x="66" y="90"/>
                  </a:lnTo>
                  <a:lnTo>
                    <a:pt x="66" y="102"/>
                  </a:lnTo>
                  <a:lnTo>
                    <a:pt x="54" y="102"/>
                  </a:lnTo>
                  <a:lnTo>
                    <a:pt x="36" y="11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7" name="Freeform 22"/>
            <p:cNvSpPr>
              <a:spLocks/>
            </p:cNvSpPr>
            <p:nvPr/>
          </p:nvSpPr>
          <p:spPr bwMode="auto">
            <a:xfrm>
              <a:off x="1920" y="1820"/>
              <a:ext cx="79" cy="47"/>
            </a:xfrm>
            <a:custGeom>
              <a:avLst/>
              <a:gdLst>
                <a:gd name="T0" fmla="*/ 4 w 90"/>
                <a:gd name="T1" fmla="*/ 3 h 54"/>
                <a:gd name="T2" fmla="*/ 4 w 90"/>
                <a:gd name="T3" fmla="*/ 3 h 54"/>
                <a:gd name="T4" fmla="*/ 4 w 90"/>
                <a:gd name="T5" fmla="*/ 3 h 54"/>
                <a:gd name="T6" fmla="*/ 4 w 90"/>
                <a:gd name="T7" fmla="*/ 3 h 54"/>
                <a:gd name="T8" fmla="*/ 0 w 90"/>
                <a:gd name="T9" fmla="*/ 3 h 54"/>
                <a:gd name="T10" fmla="*/ 0 w 90"/>
                <a:gd name="T11" fmla="*/ 0 h 54"/>
                <a:gd name="T12" fmla="*/ 4 w 90"/>
                <a:gd name="T13" fmla="*/ 0 h 54"/>
                <a:gd name="T14" fmla="*/ 4 w 90"/>
                <a:gd name="T15" fmla="*/ 0 h 54"/>
                <a:gd name="T16" fmla="*/ 4 w 90"/>
                <a:gd name="T17" fmla="*/ 0 h 54"/>
                <a:gd name="T18" fmla="*/ 4 w 90"/>
                <a:gd name="T19" fmla="*/ 0 h 54"/>
                <a:gd name="T20" fmla="*/ 4 w 90"/>
                <a:gd name="T21" fmla="*/ 0 h 54"/>
                <a:gd name="T22" fmla="*/ 4 w 90"/>
                <a:gd name="T23" fmla="*/ 0 h 54"/>
                <a:gd name="T24" fmla="*/ 4 w 90"/>
                <a:gd name="T25" fmla="*/ 3 h 54"/>
                <a:gd name="T26" fmla="*/ 4 w 90"/>
                <a:gd name="T27" fmla="*/ 3 h 54"/>
                <a:gd name="T28" fmla="*/ 4 w 90"/>
                <a:gd name="T29" fmla="*/ 3 h 54"/>
                <a:gd name="T30" fmla="*/ 4 w 90"/>
                <a:gd name="T31" fmla="*/ 3 h 54"/>
                <a:gd name="T32" fmla="*/ 4 w 90"/>
                <a:gd name="T33" fmla="*/ 3 h 54"/>
                <a:gd name="T34" fmla="*/ 4 w 90"/>
                <a:gd name="T35" fmla="*/ 3 h 5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0" h="54">
                  <a:moveTo>
                    <a:pt x="36" y="54"/>
                  </a:moveTo>
                  <a:lnTo>
                    <a:pt x="24" y="54"/>
                  </a:lnTo>
                  <a:lnTo>
                    <a:pt x="24" y="42"/>
                  </a:lnTo>
                  <a:lnTo>
                    <a:pt x="12" y="30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78" y="6"/>
                  </a:lnTo>
                  <a:lnTo>
                    <a:pt x="90" y="30"/>
                  </a:lnTo>
                  <a:lnTo>
                    <a:pt x="78" y="42"/>
                  </a:lnTo>
                  <a:lnTo>
                    <a:pt x="66" y="54"/>
                  </a:lnTo>
                  <a:lnTo>
                    <a:pt x="54" y="42"/>
                  </a:lnTo>
                  <a:lnTo>
                    <a:pt x="36" y="5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8" name="Freeform 23"/>
            <p:cNvSpPr>
              <a:spLocks/>
            </p:cNvSpPr>
            <p:nvPr/>
          </p:nvSpPr>
          <p:spPr bwMode="auto">
            <a:xfrm>
              <a:off x="2521" y="1904"/>
              <a:ext cx="27" cy="37"/>
            </a:xfrm>
            <a:custGeom>
              <a:avLst/>
              <a:gdLst>
                <a:gd name="T0" fmla="*/ 5 w 30"/>
                <a:gd name="T1" fmla="*/ 4 h 42"/>
                <a:gd name="T2" fmla="*/ 5 w 30"/>
                <a:gd name="T3" fmla="*/ 4 h 42"/>
                <a:gd name="T4" fmla="*/ 0 w 30"/>
                <a:gd name="T5" fmla="*/ 4 h 42"/>
                <a:gd name="T6" fmla="*/ 0 w 30"/>
                <a:gd name="T7" fmla="*/ 4 h 42"/>
                <a:gd name="T8" fmla="*/ 0 w 30"/>
                <a:gd name="T9" fmla="*/ 4 h 42"/>
                <a:gd name="T10" fmla="*/ 5 w 30"/>
                <a:gd name="T11" fmla="*/ 0 h 42"/>
                <a:gd name="T12" fmla="*/ 5 w 30"/>
                <a:gd name="T13" fmla="*/ 4 h 42"/>
                <a:gd name="T14" fmla="*/ 5 w 30"/>
                <a:gd name="T15" fmla="*/ 4 h 42"/>
                <a:gd name="T16" fmla="*/ 5 w 30"/>
                <a:gd name="T17" fmla="*/ 4 h 42"/>
                <a:gd name="T18" fmla="*/ 5 w 30"/>
                <a:gd name="T19" fmla="*/ 4 h 42"/>
                <a:gd name="T20" fmla="*/ 5 w 30"/>
                <a:gd name="T21" fmla="*/ 4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" h="42">
                  <a:moveTo>
                    <a:pt x="18" y="36"/>
                  </a:moveTo>
                  <a:lnTo>
                    <a:pt x="12" y="36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8" y="0"/>
                  </a:lnTo>
                  <a:lnTo>
                    <a:pt x="30" y="12"/>
                  </a:lnTo>
                  <a:lnTo>
                    <a:pt x="30" y="24"/>
                  </a:lnTo>
                  <a:lnTo>
                    <a:pt x="30" y="36"/>
                  </a:lnTo>
                  <a:lnTo>
                    <a:pt x="18" y="42"/>
                  </a:lnTo>
                  <a:lnTo>
                    <a:pt x="18" y="3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9" name="Freeform 24"/>
            <p:cNvSpPr>
              <a:spLocks/>
            </p:cNvSpPr>
            <p:nvPr/>
          </p:nvSpPr>
          <p:spPr bwMode="auto">
            <a:xfrm>
              <a:off x="5245" y="2860"/>
              <a:ext cx="16" cy="58"/>
            </a:xfrm>
            <a:custGeom>
              <a:avLst/>
              <a:gdLst>
                <a:gd name="T0" fmla="*/ 4 w 18"/>
                <a:gd name="T1" fmla="*/ 4 h 66"/>
                <a:gd name="T2" fmla="*/ 0 w 18"/>
                <a:gd name="T3" fmla="*/ 4 h 66"/>
                <a:gd name="T4" fmla="*/ 4 w 18"/>
                <a:gd name="T5" fmla="*/ 4 h 66"/>
                <a:gd name="T6" fmla="*/ 4 w 18"/>
                <a:gd name="T7" fmla="*/ 4 h 66"/>
                <a:gd name="T8" fmla="*/ 4 w 18"/>
                <a:gd name="T9" fmla="*/ 4 h 66"/>
                <a:gd name="T10" fmla="*/ 4 w 18"/>
                <a:gd name="T11" fmla="*/ 0 h 66"/>
                <a:gd name="T12" fmla="*/ 4 w 18"/>
                <a:gd name="T13" fmla="*/ 0 h 66"/>
                <a:gd name="T14" fmla="*/ 4 w 18"/>
                <a:gd name="T15" fmla="*/ 4 h 66"/>
                <a:gd name="T16" fmla="*/ 4 w 18"/>
                <a:gd name="T17" fmla="*/ 4 h 66"/>
                <a:gd name="T18" fmla="*/ 4 w 18"/>
                <a:gd name="T19" fmla="*/ 4 h 66"/>
                <a:gd name="T20" fmla="*/ 4 w 18"/>
                <a:gd name="T21" fmla="*/ 4 h 66"/>
                <a:gd name="T22" fmla="*/ 4 w 18"/>
                <a:gd name="T23" fmla="*/ 4 h 66"/>
                <a:gd name="T24" fmla="*/ 4 w 18"/>
                <a:gd name="T25" fmla="*/ 4 h 66"/>
                <a:gd name="T26" fmla="*/ 4 w 18"/>
                <a:gd name="T27" fmla="*/ 4 h 6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8" h="66">
                  <a:moveTo>
                    <a:pt x="6" y="66"/>
                  </a:moveTo>
                  <a:lnTo>
                    <a:pt x="0" y="54"/>
                  </a:lnTo>
                  <a:lnTo>
                    <a:pt x="6" y="42"/>
                  </a:lnTo>
                  <a:lnTo>
                    <a:pt x="6" y="24"/>
                  </a:lnTo>
                  <a:lnTo>
                    <a:pt x="6" y="12"/>
                  </a:lnTo>
                  <a:lnTo>
                    <a:pt x="6" y="0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18" y="54"/>
                  </a:lnTo>
                  <a:lnTo>
                    <a:pt x="6" y="54"/>
                  </a:lnTo>
                  <a:lnTo>
                    <a:pt x="6" y="6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0" name="Freeform 25"/>
            <p:cNvSpPr>
              <a:spLocks/>
            </p:cNvSpPr>
            <p:nvPr/>
          </p:nvSpPr>
          <p:spPr bwMode="auto">
            <a:xfrm>
              <a:off x="5261" y="3055"/>
              <a:ext cx="10" cy="26"/>
            </a:xfrm>
            <a:custGeom>
              <a:avLst/>
              <a:gdLst>
                <a:gd name="T0" fmla="*/ 0 w 12"/>
                <a:gd name="T1" fmla="*/ 0 h 30"/>
                <a:gd name="T2" fmla="*/ 0 w 12"/>
                <a:gd name="T3" fmla="*/ 3 h 30"/>
                <a:gd name="T4" fmla="*/ 0 w 12"/>
                <a:gd name="T5" fmla="*/ 3 h 30"/>
                <a:gd name="T6" fmla="*/ 3 w 12"/>
                <a:gd name="T7" fmla="*/ 3 h 30"/>
                <a:gd name="T8" fmla="*/ 3 w 12"/>
                <a:gd name="T9" fmla="*/ 3 h 30"/>
                <a:gd name="T10" fmla="*/ 3 w 12"/>
                <a:gd name="T11" fmla="*/ 0 h 30"/>
                <a:gd name="T12" fmla="*/ 0 w 12"/>
                <a:gd name="T13" fmla="*/ 0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30">
                  <a:moveTo>
                    <a:pt x="0" y="0"/>
                  </a:moveTo>
                  <a:lnTo>
                    <a:pt x="0" y="24"/>
                  </a:lnTo>
                  <a:lnTo>
                    <a:pt x="0" y="30"/>
                  </a:lnTo>
                  <a:lnTo>
                    <a:pt x="12" y="24"/>
                  </a:lnTo>
                  <a:lnTo>
                    <a:pt x="12" y="12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1" name="Freeform 26"/>
            <p:cNvSpPr>
              <a:spLocks/>
            </p:cNvSpPr>
            <p:nvPr/>
          </p:nvSpPr>
          <p:spPr bwMode="auto">
            <a:xfrm>
              <a:off x="5224" y="3229"/>
              <a:ext cx="26" cy="79"/>
            </a:xfrm>
            <a:custGeom>
              <a:avLst/>
              <a:gdLst>
                <a:gd name="T0" fmla="*/ 0 w 30"/>
                <a:gd name="T1" fmla="*/ 4 h 90"/>
                <a:gd name="T2" fmla="*/ 3 w 30"/>
                <a:gd name="T3" fmla="*/ 4 h 90"/>
                <a:gd name="T4" fmla="*/ 0 w 30"/>
                <a:gd name="T5" fmla="*/ 4 h 90"/>
                <a:gd name="T6" fmla="*/ 3 w 30"/>
                <a:gd name="T7" fmla="*/ 4 h 90"/>
                <a:gd name="T8" fmla="*/ 3 w 30"/>
                <a:gd name="T9" fmla="*/ 4 h 90"/>
                <a:gd name="T10" fmla="*/ 3 w 30"/>
                <a:gd name="T11" fmla="*/ 0 h 90"/>
                <a:gd name="T12" fmla="*/ 3 w 30"/>
                <a:gd name="T13" fmla="*/ 4 h 90"/>
                <a:gd name="T14" fmla="*/ 3 w 30"/>
                <a:gd name="T15" fmla="*/ 4 h 90"/>
                <a:gd name="T16" fmla="*/ 3 w 30"/>
                <a:gd name="T17" fmla="*/ 4 h 90"/>
                <a:gd name="T18" fmla="*/ 3 w 30"/>
                <a:gd name="T19" fmla="*/ 4 h 90"/>
                <a:gd name="T20" fmla="*/ 3 w 30"/>
                <a:gd name="T21" fmla="*/ 4 h 90"/>
                <a:gd name="T22" fmla="*/ 0 w 30"/>
                <a:gd name="T23" fmla="*/ 4 h 9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0" h="90">
                  <a:moveTo>
                    <a:pt x="0" y="78"/>
                  </a:moveTo>
                  <a:lnTo>
                    <a:pt x="12" y="54"/>
                  </a:lnTo>
                  <a:lnTo>
                    <a:pt x="0" y="42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30" y="0"/>
                  </a:lnTo>
                  <a:lnTo>
                    <a:pt x="30" y="18"/>
                  </a:lnTo>
                  <a:lnTo>
                    <a:pt x="24" y="42"/>
                  </a:lnTo>
                  <a:lnTo>
                    <a:pt x="24" y="54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2" name="Freeform 27"/>
            <p:cNvSpPr>
              <a:spLocks/>
            </p:cNvSpPr>
            <p:nvPr/>
          </p:nvSpPr>
          <p:spPr bwMode="auto">
            <a:xfrm>
              <a:off x="5166" y="3314"/>
              <a:ext cx="47" cy="100"/>
            </a:xfrm>
            <a:custGeom>
              <a:avLst/>
              <a:gdLst>
                <a:gd name="T0" fmla="*/ 0 w 54"/>
                <a:gd name="T1" fmla="*/ 4 h 114"/>
                <a:gd name="T2" fmla="*/ 0 w 54"/>
                <a:gd name="T3" fmla="*/ 4 h 114"/>
                <a:gd name="T4" fmla="*/ 3 w 54"/>
                <a:gd name="T5" fmla="*/ 4 h 114"/>
                <a:gd name="T6" fmla="*/ 3 w 54"/>
                <a:gd name="T7" fmla="*/ 4 h 114"/>
                <a:gd name="T8" fmla="*/ 3 w 54"/>
                <a:gd name="T9" fmla="*/ 4 h 114"/>
                <a:gd name="T10" fmla="*/ 3 w 54"/>
                <a:gd name="T11" fmla="*/ 4 h 114"/>
                <a:gd name="T12" fmla="*/ 3 w 54"/>
                <a:gd name="T13" fmla="*/ 4 h 114"/>
                <a:gd name="T14" fmla="*/ 3 w 54"/>
                <a:gd name="T15" fmla="*/ 4 h 114"/>
                <a:gd name="T16" fmla="*/ 3 w 54"/>
                <a:gd name="T17" fmla="*/ 0 h 114"/>
                <a:gd name="T18" fmla="*/ 3 w 54"/>
                <a:gd name="T19" fmla="*/ 0 h 114"/>
                <a:gd name="T20" fmla="*/ 3 w 54"/>
                <a:gd name="T21" fmla="*/ 4 h 114"/>
                <a:gd name="T22" fmla="*/ 3 w 54"/>
                <a:gd name="T23" fmla="*/ 4 h 114"/>
                <a:gd name="T24" fmla="*/ 3 w 54"/>
                <a:gd name="T25" fmla="*/ 4 h 114"/>
                <a:gd name="T26" fmla="*/ 3 w 54"/>
                <a:gd name="T27" fmla="*/ 4 h 114"/>
                <a:gd name="T28" fmla="*/ 3 w 54"/>
                <a:gd name="T29" fmla="*/ 4 h 114"/>
                <a:gd name="T30" fmla="*/ 3 w 54"/>
                <a:gd name="T31" fmla="*/ 4 h 114"/>
                <a:gd name="T32" fmla="*/ 3 w 54"/>
                <a:gd name="T33" fmla="*/ 4 h 114"/>
                <a:gd name="T34" fmla="*/ 0 w 54"/>
                <a:gd name="T35" fmla="*/ 4 h 114"/>
                <a:gd name="T36" fmla="*/ 0 w 54"/>
                <a:gd name="T37" fmla="*/ 4 h 1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54" h="114">
                  <a:moveTo>
                    <a:pt x="0" y="114"/>
                  </a:moveTo>
                  <a:lnTo>
                    <a:pt x="0" y="102"/>
                  </a:lnTo>
                  <a:lnTo>
                    <a:pt x="12" y="78"/>
                  </a:lnTo>
                  <a:lnTo>
                    <a:pt x="12" y="66"/>
                  </a:lnTo>
                  <a:lnTo>
                    <a:pt x="12" y="48"/>
                  </a:lnTo>
                  <a:lnTo>
                    <a:pt x="24" y="48"/>
                  </a:lnTo>
                  <a:lnTo>
                    <a:pt x="30" y="36"/>
                  </a:lnTo>
                  <a:lnTo>
                    <a:pt x="42" y="12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42" y="36"/>
                  </a:lnTo>
                  <a:lnTo>
                    <a:pt x="42" y="48"/>
                  </a:lnTo>
                  <a:lnTo>
                    <a:pt x="30" y="60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2" y="102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3" name="Freeform 28"/>
            <p:cNvSpPr>
              <a:spLocks/>
            </p:cNvSpPr>
            <p:nvPr/>
          </p:nvSpPr>
          <p:spPr bwMode="auto">
            <a:xfrm>
              <a:off x="5129" y="3430"/>
              <a:ext cx="26" cy="68"/>
            </a:xfrm>
            <a:custGeom>
              <a:avLst/>
              <a:gdLst>
                <a:gd name="T0" fmla="*/ 0 w 30"/>
                <a:gd name="T1" fmla="*/ 3 h 78"/>
                <a:gd name="T2" fmla="*/ 0 w 30"/>
                <a:gd name="T3" fmla="*/ 3 h 78"/>
                <a:gd name="T4" fmla="*/ 0 w 30"/>
                <a:gd name="T5" fmla="*/ 3 h 78"/>
                <a:gd name="T6" fmla="*/ 3 w 30"/>
                <a:gd name="T7" fmla="*/ 3 h 78"/>
                <a:gd name="T8" fmla="*/ 0 w 30"/>
                <a:gd name="T9" fmla="*/ 3 h 78"/>
                <a:gd name="T10" fmla="*/ 3 w 30"/>
                <a:gd name="T11" fmla="*/ 3 h 78"/>
                <a:gd name="T12" fmla="*/ 3 w 30"/>
                <a:gd name="T13" fmla="*/ 0 h 78"/>
                <a:gd name="T14" fmla="*/ 3 w 30"/>
                <a:gd name="T15" fmla="*/ 3 h 78"/>
                <a:gd name="T16" fmla="*/ 3 w 30"/>
                <a:gd name="T17" fmla="*/ 3 h 78"/>
                <a:gd name="T18" fmla="*/ 3 w 30"/>
                <a:gd name="T19" fmla="*/ 3 h 78"/>
                <a:gd name="T20" fmla="*/ 3 w 30"/>
                <a:gd name="T21" fmla="*/ 3 h 78"/>
                <a:gd name="T22" fmla="*/ 3 w 30"/>
                <a:gd name="T23" fmla="*/ 3 h 78"/>
                <a:gd name="T24" fmla="*/ 0 w 30"/>
                <a:gd name="T25" fmla="*/ 3 h 7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78">
                  <a:moveTo>
                    <a:pt x="0" y="78"/>
                  </a:moveTo>
                  <a:lnTo>
                    <a:pt x="0" y="60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18" y="12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18" y="24"/>
                  </a:lnTo>
                  <a:lnTo>
                    <a:pt x="18" y="48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4" name="Freeform 29"/>
            <p:cNvSpPr>
              <a:spLocks/>
            </p:cNvSpPr>
            <p:nvPr/>
          </p:nvSpPr>
          <p:spPr bwMode="auto">
            <a:xfrm>
              <a:off x="5245" y="3150"/>
              <a:ext cx="16" cy="32"/>
            </a:xfrm>
            <a:custGeom>
              <a:avLst/>
              <a:gdLst>
                <a:gd name="T0" fmla="*/ 0 w 18"/>
                <a:gd name="T1" fmla="*/ 4 h 36"/>
                <a:gd name="T2" fmla="*/ 4 w 18"/>
                <a:gd name="T3" fmla="*/ 4 h 36"/>
                <a:gd name="T4" fmla="*/ 4 w 18"/>
                <a:gd name="T5" fmla="*/ 0 h 36"/>
                <a:gd name="T6" fmla="*/ 4 w 18"/>
                <a:gd name="T7" fmla="*/ 4 h 36"/>
                <a:gd name="T8" fmla="*/ 4 w 18"/>
                <a:gd name="T9" fmla="*/ 4 h 36"/>
                <a:gd name="T10" fmla="*/ 4 w 18"/>
                <a:gd name="T11" fmla="*/ 4 h 36"/>
                <a:gd name="T12" fmla="*/ 4 w 18"/>
                <a:gd name="T13" fmla="*/ 4 h 36"/>
                <a:gd name="T14" fmla="*/ 0 w 18"/>
                <a:gd name="T15" fmla="*/ 4 h 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8" h="36">
                  <a:moveTo>
                    <a:pt x="0" y="24"/>
                  </a:moveTo>
                  <a:lnTo>
                    <a:pt x="6" y="12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24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5" name="Freeform 30"/>
            <p:cNvSpPr>
              <a:spLocks/>
            </p:cNvSpPr>
            <p:nvPr/>
          </p:nvSpPr>
          <p:spPr bwMode="auto">
            <a:xfrm>
              <a:off x="5261" y="2965"/>
              <a:ext cx="10" cy="32"/>
            </a:xfrm>
            <a:custGeom>
              <a:avLst/>
              <a:gdLst>
                <a:gd name="T0" fmla="*/ 0 w 12"/>
                <a:gd name="T1" fmla="*/ 4 h 36"/>
                <a:gd name="T2" fmla="*/ 0 w 12"/>
                <a:gd name="T3" fmla="*/ 4 h 36"/>
                <a:gd name="T4" fmla="*/ 0 w 12"/>
                <a:gd name="T5" fmla="*/ 0 h 36"/>
                <a:gd name="T6" fmla="*/ 3 w 12"/>
                <a:gd name="T7" fmla="*/ 4 h 36"/>
                <a:gd name="T8" fmla="*/ 3 w 12"/>
                <a:gd name="T9" fmla="*/ 4 h 36"/>
                <a:gd name="T10" fmla="*/ 0 w 12"/>
                <a:gd name="T11" fmla="*/ 4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" h="36">
                  <a:moveTo>
                    <a:pt x="0" y="36"/>
                  </a:moveTo>
                  <a:lnTo>
                    <a:pt x="0" y="24"/>
                  </a:lnTo>
                  <a:lnTo>
                    <a:pt x="0" y="0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6" name="Freeform 31"/>
            <p:cNvSpPr>
              <a:spLocks/>
            </p:cNvSpPr>
            <p:nvPr/>
          </p:nvSpPr>
          <p:spPr bwMode="auto">
            <a:xfrm>
              <a:off x="552" y="1228"/>
              <a:ext cx="53" cy="48"/>
            </a:xfrm>
            <a:custGeom>
              <a:avLst/>
              <a:gdLst>
                <a:gd name="T0" fmla="*/ 4 w 60"/>
                <a:gd name="T1" fmla="*/ 4 h 54"/>
                <a:gd name="T2" fmla="*/ 4 w 60"/>
                <a:gd name="T3" fmla="*/ 4 h 54"/>
                <a:gd name="T4" fmla="*/ 0 w 60"/>
                <a:gd name="T5" fmla="*/ 4 h 54"/>
                <a:gd name="T6" fmla="*/ 0 w 60"/>
                <a:gd name="T7" fmla="*/ 4 h 54"/>
                <a:gd name="T8" fmla="*/ 4 w 60"/>
                <a:gd name="T9" fmla="*/ 4 h 54"/>
                <a:gd name="T10" fmla="*/ 4 w 60"/>
                <a:gd name="T11" fmla="*/ 4 h 54"/>
                <a:gd name="T12" fmla="*/ 4 w 60"/>
                <a:gd name="T13" fmla="*/ 0 h 54"/>
                <a:gd name="T14" fmla="*/ 4 w 60"/>
                <a:gd name="T15" fmla="*/ 4 h 54"/>
                <a:gd name="T16" fmla="*/ 4 w 60"/>
                <a:gd name="T17" fmla="*/ 4 h 54"/>
                <a:gd name="T18" fmla="*/ 4 w 60"/>
                <a:gd name="T19" fmla="*/ 4 h 54"/>
                <a:gd name="T20" fmla="*/ 4 w 60"/>
                <a:gd name="T21" fmla="*/ 4 h 54"/>
                <a:gd name="T22" fmla="*/ 4 w 60"/>
                <a:gd name="T23" fmla="*/ 4 h 54"/>
                <a:gd name="T24" fmla="*/ 4 w 60"/>
                <a:gd name="T25" fmla="*/ 4 h 54"/>
                <a:gd name="T26" fmla="*/ 4 w 60"/>
                <a:gd name="T27" fmla="*/ 4 h 54"/>
                <a:gd name="T28" fmla="*/ 4 w 60"/>
                <a:gd name="T29" fmla="*/ 4 h 54"/>
                <a:gd name="T30" fmla="*/ 4 w 60"/>
                <a:gd name="T31" fmla="*/ 4 h 54"/>
                <a:gd name="T32" fmla="*/ 4 w 60"/>
                <a:gd name="T33" fmla="*/ 4 h 54"/>
                <a:gd name="T34" fmla="*/ 4 w 60"/>
                <a:gd name="T35" fmla="*/ 4 h 5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0" h="54">
                  <a:moveTo>
                    <a:pt x="24" y="54"/>
                  </a:moveTo>
                  <a:lnTo>
                    <a:pt x="12" y="42"/>
                  </a:lnTo>
                  <a:lnTo>
                    <a:pt x="0" y="54"/>
                  </a:lnTo>
                  <a:lnTo>
                    <a:pt x="0" y="30"/>
                  </a:lnTo>
                  <a:lnTo>
                    <a:pt x="12" y="30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60" y="6"/>
                  </a:lnTo>
                  <a:lnTo>
                    <a:pt x="60" y="18"/>
                  </a:lnTo>
                  <a:lnTo>
                    <a:pt x="48" y="42"/>
                  </a:lnTo>
                  <a:lnTo>
                    <a:pt x="60" y="42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24" y="42"/>
                  </a:lnTo>
                  <a:lnTo>
                    <a:pt x="12" y="54"/>
                  </a:lnTo>
                  <a:lnTo>
                    <a:pt x="24" y="54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7" name="Freeform 32"/>
            <p:cNvSpPr>
              <a:spLocks/>
            </p:cNvSpPr>
            <p:nvPr/>
          </p:nvSpPr>
          <p:spPr bwMode="auto">
            <a:xfrm>
              <a:off x="547" y="1186"/>
              <a:ext cx="27" cy="32"/>
            </a:xfrm>
            <a:custGeom>
              <a:avLst/>
              <a:gdLst>
                <a:gd name="T0" fmla="*/ 5 w 30"/>
                <a:gd name="T1" fmla="*/ 4 h 36"/>
                <a:gd name="T2" fmla="*/ 5 w 30"/>
                <a:gd name="T3" fmla="*/ 4 h 36"/>
                <a:gd name="T4" fmla="*/ 0 w 30"/>
                <a:gd name="T5" fmla="*/ 4 h 36"/>
                <a:gd name="T6" fmla="*/ 0 w 30"/>
                <a:gd name="T7" fmla="*/ 4 h 36"/>
                <a:gd name="T8" fmla="*/ 5 w 30"/>
                <a:gd name="T9" fmla="*/ 4 h 36"/>
                <a:gd name="T10" fmla="*/ 5 w 30"/>
                <a:gd name="T11" fmla="*/ 4 h 36"/>
                <a:gd name="T12" fmla="*/ 5 w 30"/>
                <a:gd name="T13" fmla="*/ 0 h 36"/>
                <a:gd name="T14" fmla="*/ 5 w 30"/>
                <a:gd name="T15" fmla="*/ 0 h 36"/>
                <a:gd name="T16" fmla="*/ 5 w 30"/>
                <a:gd name="T17" fmla="*/ 4 h 36"/>
                <a:gd name="T18" fmla="*/ 5 w 30"/>
                <a:gd name="T19" fmla="*/ 4 h 36"/>
                <a:gd name="T20" fmla="*/ 5 w 30"/>
                <a:gd name="T21" fmla="*/ 4 h 36"/>
                <a:gd name="T22" fmla="*/ 5 w 30"/>
                <a:gd name="T23" fmla="*/ 4 h 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0" h="36">
                  <a:moveTo>
                    <a:pt x="6" y="36"/>
                  </a:moveTo>
                  <a:lnTo>
                    <a:pt x="6" y="24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8" y="12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30" y="24"/>
                  </a:lnTo>
                  <a:lnTo>
                    <a:pt x="18" y="36"/>
                  </a:lnTo>
                  <a:lnTo>
                    <a:pt x="6" y="36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8" name="Freeform 33"/>
            <p:cNvSpPr>
              <a:spLocks/>
            </p:cNvSpPr>
            <p:nvPr/>
          </p:nvSpPr>
          <p:spPr bwMode="auto">
            <a:xfrm>
              <a:off x="399" y="2928"/>
              <a:ext cx="185" cy="254"/>
            </a:xfrm>
            <a:custGeom>
              <a:avLst/>
              <a:gdLst>
                <a:gd name="T0" fmla="*/ 4 w 210"/>
                <a:gd name="T1" fmla="*/ 4 h 288"/>
                <a:gd name="T2" fmla="*/ 4 w 210"/>
                <a:gd name="T3" fmla="*/ 4 h 288"/>
                <a:gd name="T4" fmla="*/ 4 w 210"/>
                <a:gd name="T5" fmla="*/ 4 h 288"/>
                <a:gd name="T6" fmla="*/ 4 w 210"/>
                <a:gd name="T7" fmla="*/ 4 h 288"/>
                <a:gd name="T8" fmla="*/ 4 w 210"/>
                <a:gd name="T9" fmla="*/ 4 h 288"/>
                <a:gd name="T10" fmla="*/ 4 w 210"/>
                <a:gd name="T11" fmla="*/ 4 h 288"/>
                <a:gd name="T12" fmla="*/ 4 w 210"/>
                <a:gd name="T13" fmla="*/ 4 h 288"/>
                <a:gd name="T14" fmla="*/ 4 w 210"/>
                <a:gd name="T15" fmla="*/ 4 h 288"/>
                <a:gd name="T16" fmla="*/ 4 w 210"/>
                <a:gd name="T17" fmla="*/ 4 h 288"/>
                <a:gd name="T18" fmla="*/ 4 w 210"/>
                <a:gd name="T19" fmla="*/ 4 h 288"/>
                <a:gd name="T20" fmla="*/ 4 w 210"/>
                <a:gd name="T21" fmla="*/ 4 h 288"/>
                <a:gd name="T22" fmla="*/ 4 w 210"/>
                <a:gd name="T23" fmla="*/ 4 h 288"/>
                <a:gd name="T24" fmla="*/ 4 w 210"/>
                <a:gd name="T25" fmla="*/ 4 h 288"/>
                <a:gd name="T26" fmla="*/ 4 w 210"/>
                <a:gd name="T27" fmla="*/ 4 h 288"/>
                <a:gd name="T28" fmla="*/ 4 w 210"/>
                <a:gd name="T29" fmla="*/ 4 h 288"/>
                <a:gd name="T30" fmla="*/ 4 w 210"/>
                <a:gd name="T31" fmla="*/ 4 h 288"/>
                <a:gd name="T32" fmla="*/ 4 w 210"/>
                <a:gd name="T33" fmla="*/ 4 h 288"/>
                <a:gd name="T34" fmla="*/ 4 w 210"/>
                <a:gd name="T35" fmla="*/ 4 h 288"/>
                <a:gd name="T36" fmla="*/ 4 w 210"/>
                <a:gd name="T37" fmla="*/ 4 h 288"/>
                <a:gd name="T38" fmla="*/ 0 w 210"/>
                <a:gd name="T39" fmla="*/ 4 h 288"/>
                <a:gd name="T40" fmla="*/ 0 w 210"/>
                <a:gd name="T41" fmla="*/ 4 h 288"/>
                <a:gd name="T42" fmla="*/ 4 w 210"/>
                <a:gd name="T43" fmla="*/ 4 h 288"/>
                <a:gd name="T44" fmla="*/ 4 w 210"/>
                <a:gd name="T45" fmla="*/ 4 h 288"/>
                <a:gd name="T46" fmla="*/ 4 w 210"/>
                <a:gd name="T47" fmla="*/ 4 h 288"/>
                <a:gd name="T48" fmla="*/ 4 w 210"/>
                <a:gd name="T49" fmla="*/ 4 h 288"/>
                <a:gd name="T50" fmla="*/ 0 w 210"/>
                <a:gd name="T51" fmla="*/ 4 h 288"/>
                <a:gd name="T52" fmla="*/ 4 w 210"/>
                <a:gd name="T53" fmla="*/ 4 h 288"/>
                <a:gd name="T54" fmla="*/ 0 w 210"/>
                <a:gd name="T55" fmla="*/ 4 h 288"/>
                <a:gd name="T56" fmla="*/ 4 w 210"/>
                <a:gd name="T57" fmla="*/ 4 h 288"/>
                <a:gd name="T58" fmla="*/ 4 w 210"/>
                <a:gd name="T59" fmla="*/ 4 h 288"/>
                <a:gd name="T60" fmla="*/ 4 w 210"/>
                <a:gd name="T61" fmla="*/ 4 h 288"/>
                <a:gd name="T62" fmla="*/ 4 w 210"/>
                <a:gd name="T63" fmla="*/ 0 h 288"/>
                <a:gd name="T64" fmla="*/ 4 w 210"/>
                <a:gd name="T65" fmla="*/ 4 h 288"/>
                <a:gd name="T66" fmla="*/ 4 w 210"/>
                <a:gd name="T67" fmla="*/ 4 h 288"/>
                <a:gd name="T68" fmla="*/ 4 w 210"/>
                <a:gd name="T69" fmla="*/ 4 h 288"/>
                <a:gd name="T70" fmla="*/ 4 w 210"/>
                <a:gd name="T71" fmla="*/ 4 h 28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0" h="288">
                  <a:moveTo>
                    <a:pt x="114" y="12"/>
                  </a:moveTo>
                  <a:lnTo>
                    <a:pt x="120" y="24"/>
                  </a:lnTo>
                  <a:lnTo>
                    <a:pt x="132" y="60"/>
                  </a:lnTo>
                  <a:lnTo>
                    <a:pt x="132" y="78"/>
                  </a:lnTo>
                  <a:lnTo>
                    <a:pt x="132" y="90"/>
                  </a:lnTo>
                  <a:lnTo>
                    <a:pt x="162" y="90"/>
                  </a:lnTo>
                  <a:lnTo>
                    <a:pt x="174" y="102"/>
                  </a:lnTo>
                  <a:lnTo>
                    <a:pt x="198" y="114"/>
                  </a:lnTo>
                  <a:lnTo>
                    <a:pt x="198" y="132"/>
                  </a:lnTo>
                  <a:lnTo>
                    <a:pt x="186" y="144"/>
                  </a:lnTo>
                  <a:lnTo>
                    <a:pt x="198" y="144"/>
                  </a:lnTo>
                  <a:lnTo>
                    <a:pt x="186" y="156"/>
                  </a:lnTo>
                  <a:lnTo>
                    <a:pt x="186" y="180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86" y="210"/>
                  </a:lnTo>
                  <a:lnTo>
                    <a:pt x="198" y="210"/>
                  </a:lnTo>
                  <a:lnTo>
                    <a:pt x="198" y="222"/>
                  </a:lnTo>
                  <a:lnTo>
                    <a:pt x="210" y="234"/>
                  </a:lnTo>
                  <a:lnTo>
                    <a:pt x="198" y="246"/>
                  </a:lnTo>
                  <a:lnTo>
                    <a:pt x="186" y="234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56" y="210"/>
                  </a:lnTo>
                  <a:lnTo>
                    <a:pt x="144" y="222"/>
                  </a:lnTo>
                  <a:lnTo>
                    <a:pt x="132" y="222"/>
                  </a:lnTo>
                  <a:lnTo>
                    <a:pt x="132" y="246"/>
                  </a:lnTo>
                  <a:lnTo>
                    <a:pt x="108" y="252"/>
                  </a:lnTo>
                  <a:lnTo>
                    <a:pt x="102" y="264"/>
                  </a:lnTo>
                  <a:lnTo>
                    <a:pt x="102" y="252"/>
                  </a:lnTo>
                  <a:lnTo>
                    <a:pt x="78" y="264"/>
                  </a:lnTo>
                  <a:lnTo>
                    <a:pt x="78" y="276"/>
                  </a:lnTo>
                  <a:lnTo>
                    <a:pt x="78" y="264"/>
                  </a:lnTo>
                  <a:lnTo>
                    <a:pt x="78" y="246"/>
                  </a:lnTo>
                  <a:lnTo>
                    <a:pt x="54" y="246"/>
                  </a:lnTo>
                  <a:lnTo>
                    <a:pt x="42" y="252"/>
                  </a:lnTo>
                  <a:lnTo>
                    <a:pt x="42" y="264"/>
                  </a:lnTo>
                  <a:lnTo>
                    <a:pt x="18" y="288"/>
                  </a:lnTo>
                  <a:lnTo>
                    <a:pt x="12" y="264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0" y="234"/>
                  </a:lnTo>
                  <a:lnTo>
                    <a:pt x="12" y="222"/>
                  </a:lnTo>
                  <a:lnTo>
                    <a:pt x="18" y="222"/>
                  </a:lnTo>
                  <a:lnTo>
                    <a:pt x="30" y="210"/>
                  </a:lnTo>
                  <a:lnTo>
                    <a:pt x="42" y="198"/>
                  </a:lnTo>
                  <a:lnTo>
                    <a:pt x="54" y="186"/>
                  </a:lnTo>
                  <a:lnTo>
                    <a:pt x="54" y="180"/>
                  </a:lnTo>
                  <a:lnTo>
                    <a:pt x="42" y="168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0" y="168"/>
                  </a:lnTo>
                  <a:lnTo>
                    <a:pt x="0" y="156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0" y="90"/>
                  </a:lnTo>
                  <a:lnTo>
                    <a:pt x="12" y="78"/>
                  </a:lnTo>
                  <a:lnTo>
                    <a:pt x="12" y="66"/>
                  </a:lnTo>
                  <a:lnTo>
                    <a:pt x="18" y="60"/>
                  </a:lnTo>
                  <a:lnTo>
                    <a:pt x="30" y="48"/>
                  </a:lnTo>
                  <a:lnTo>
                    <a:pt x="18" y="36"/>
                  </a:lnTo>
                  <a:lnTo>
                    <a:pt x="18" y="24"/>
                  </a:lnTo>
                  <a:lnTo>
                    <a:pt x="30" y="12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72" y="30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102" y="48"/>
                  </a:lnTo>
                  <a:lnTo>
                    <a:pt x="102" y="36"/>
                  </a:lnTo>
                  <a:lnTo>
                    <a:pt x="102" y="24"/>
                  </a:lnTo>
                  <a:lnTo>
                    <a:pt x="114" y="12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9" name="Freeform 34"/>
            <p:cNvSpPr>
              <a:spLocks/>
            </p:cNvSpPr>
            <p:nvPr/>
          </p:nvSpPr>
          <p:spPr bwMode="auto">
            <a:xfrm>
              <a:off x="320" y="2849"/>
              <a:ext cx="127" cy="227"/>
            </a:xfrm>
            <a:custGeom>
              <a:avLst/>
              <a:gdLst>
                <a:gd name="T0" fmla="*/ 85 w 127"/>
                <a:gd name="T1" fmla="*/ 227 h 227"/>
                <a:gd name="T2" fmla="*/ 53 w 127"/>
                <a:gd name="T3" fmla="*/ 227 h 227"/>
                <a:gd name="T4" fmla="*/ 32 w 127"/>
                <a:gd name="T5" fmla="*/ 216 h 227"/>
                <a:gd name="T6" fmla="*/ 21 w 127"/>
                <a:gd name="T7" fmla="*/ 195 h 227"/>
                <a:gd name="T8" fmla="*/ 11 w 127"/>
                <a:gd name="T9" fmla="*/ 179 h 227"/>
                <a:gd name="T10" fmla="*/ 0 w 127"/>
                <a:gd name="T11" fmla="*/ 158 h 227"/>
                <a:gd name="T12" fmla="*/ 11 w 127"/>
                <a:gd name="T13" fmla="*/ 132 h 227"/>
                <a:gd name="T14" fmla="*/ 11 w 127"/>
                <a:gd name="T15" fmla="*/ 111 h 227"/>
                <a:gd name="T16" fmla="*/ 21 w 127"/>
                <a:gd name="T17" fmla="*/ 90 h 227"/>
                <a:gd name="T18" fmla="*/ 11 w 127"/>
                <a:gd name="T19" fmla="*/ 63 h 227"/>
                <a:gd name="T20" fmla="*/ 21 w 127"/>
                <a:gd name="T21" fmla="*/ 42 h 227"/>
                <a:gd name="T22" fmla="*/ 21 w 127"/>
                <a:gd name="T23" fmla="*/ 32 h 227"/>
                <a:gd name="T24" fmla="*/ 32 w 127"/>
                <a:gd name="T25" fmla="*/ 5 h 227"/>
                <a:gd name="T26" fmla="*/ 42 w 127"/>
                <a:gd name="T27" fmla="*/ 0 h 227"/>
                <a:gd name="T28" fmla="*/ 48 w 127"/>
                <a:gd name="T29" fmla="*/ 14 h 227"/>
                <a:gd name="T30" fmla="*/ 58 w 127"/>
                <a:gd name="T31" fmla="*/ 23 h 227"/>
                <a:gd name="T32" fmla="*/ 69 w 127"/>
                <a:gd name="T33" fmla="*/ 32 h 227"/>
                <a:gd name="T34" fmla="*/ 69 w 127"/>
                <a:gd name="T35" fmla="*/ 42 h 227"/>
                <a:gd name="T36" fmla="*/ 79 w 127"/>
                <a:gd name="T37" fmla="*/ 53 h 227"/>
                <a:gd name="T38" fmla="*/ 90 w 127"/>
                <a:gd name="T39" fmla="*/ 53 h 227"/>
                <a:gd name="T40" fmla="*/ 101 w 127"/>
                <a:gd name="T41" fmla="*/ 53 h 227"/>
                <a:gd name="T42" fmla="*/ 116 w 127"/>
                <a:gd name="T43" fmla="*/ 63 h 227"/>
                <a:gd name="T44" fmla="*/ 116 w 127"/>
                <a:gd name="T45" fmla="*/ 90 h 227"/>
                <a:gd name="T46" fmla="*/ 127 w 127"/>
                <a:gd name="T47" fmla="*/ 90 h 227"/>
                <a:gd name="T48" fmla="*/ 106 w 127"/>
                <a:gd name="T49" fmla="*/ 90 h 227"/>
                <a:gd name="T50" fmla="*/ 101 w 127"/>
                <a:gd name="T51" fmla="*/ 100 h 227"/>
                <a:gd name="T52" fmla="*/ 101 w 127"/>
                <a:gd name="T53" fmla="*/ 111 h 227"/>
                <a:gd name="T54" fmla="*/ 106 w 127"/>
                <a:gd name="T55" fmla="*/ 121 h 227"/>
                <a:gd name="T56" fmla="*/ 101 w 127"/>
                <a:gd name="T57" fmla="*/ 132 h 227"/>
                <a:gd name="T58" fmla="*/ 95 w 127"/>
                <a:gd name="T59" fmla="*/ 143 h 227"/>
                <a:gd name="T60" fmla="*/ 95 w 127"/>
                <a:gd name="T61" fmla="*/ 153 h 227"/>
                <a:gd name="T62" fmla="*/ 85 w 127"/>
                <a:gd name="T63" fmla="*/ 158 h 227"/>
                <a:gd name="T64" fmla="*/ 95 w 127"/>
                <a:gd name="T65" fmla="*/ 179 h 227"/>
                <a:gd name="T66" fmla="*/ 95 w 127"/>
                <a:gd name="T67" fmla="*/ 185 h 227"/>
                <a:gd name="T68" fmla="*/ 79 w 127"/>
                <a:gd name="T69" fmla="*/ 216 h 227"/>
                <a:gd name="T70" fmla="*/ 85 w 127"/>
                <a:gd name="T71" fmla="*/ 227 h 22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7" h="227">
                  <a:moveTo>
                    <a:pt x="85" y="227"/>
                  </a:moveTo>
                  <a:lnTo>
                    <a:pt x="53" y="227"/>
                  </a:lnTo>
                  <a:lnTo>
                    <a:pt x="32" y="216"/>
                  </a:lnTo>
                  <a:lnTo>
                    <a:pt x="21" y="195"/>
                  </a:lnTo>
                  <a:lnTo>
                    <a:pt x="11" y="179"/>
                  </a:lnTo>
                  <a:lnTo>
                    <a:pt x="0" y="158"/>
                  </a:lnTo>
                  <a:lnTo>
                    <a:pt x="11" y="132"/>
                  </a:lnTo>
                  <a:lnTo>
                    <a:pt x="11" y="111"/>
                  </a:lnTo>
                  <a:lnTo>
                    <a:pt x="21" y="90"/>
                  </a:lnTo>
                  <a:lnTo>
                    <a:pt x="11" y="63"/>
                  </a:lnTo>
                  <a:lnTo>
                    <a:pt x="21" y="42"/>
                  </a:lnTo>
                  <a:lnTo>
                    <a:pt x="21" y="32"/>
                  </a:lnTo>
                  <a:lnTo>
                    <a:pt x="32" y="5"/>
                  </a:lnTo>
                  <a:lnTo>
                    <a:pt x="42" y="0"/>
                  </a:lnTo>
                  <a:lnTo>
                    <a:pt x="48" y="14"/>
                  </a:lnTo>
                  <a:lnTo>
                    <a:pt x="58" y="23"/>
                  </a:lnTo>
                  <a:lnTo>
                    <a:pt x="69" y="32"/>
                  </a:lnTo>
                  <a:lnTo>
                    <a:pt x="69" y="42"/>
                  </a:lnTo>
                  <a:lnTo>
                    <a:pt x="79" y="53"/>
                  </a:lnTo>
                  <a:lnTo>
                    <a:pt x="90" y="53"/>
                  </a:lnTo>
                  <a:lnTo>
                    <a:pt x="101" y="53"/>
                  </a:lnTo>
                  <a:lnTo>
                    <a:pt x="116" y="63"/>
                  </a:lnTo>
                  <a:lnTo>
                    <a:pt x="116" y="90"/>
                  </a:lnTo>
                  <a:lnTo>
                    <a:pt x="127" y="90"/>
                  </a:lnTo>
                  <a:lnTo>
                    <a:pt x="106" y="90"/>
                  </a:lnTo>
                  <a:lnTo>
                    <a:pt x="101" y="100"/>
                  </a:lnTo>
                  <a:lnTo>
                    <a:pt x="101" y="111"/>
                  </a:lnTo>
                  <a:lnTo>
                    <a:pt x="106" y="121"/>
                  </a:lnTo>
                  <a:lnTo>
                    <a:pt x="101" y="132"/>
                  </a:lnTo>
                  <a:lnTo>
                    <a:pt x="95" y="143"/>
                  </a:lnTo>
                  <a:lnTo>
                    <a:pt x="95" y="153"/>
                  </a:lnTo>
                  <a:lnTo>
                    <a:pt x="85" y="158"/>
                  </a:lnTo>
                  <a:lnTo>
                    <a:pt x="95" y="179"/>
                  </a:lnTo>
                  <a:lnTo>
                    <a:pt x="95" y="185"/>
                  </a:lnTo>
                  <a:lnTo>
                    <a:pt x="79" y="216"/>
                  </a:lnTo>
                  <a:lnTo>
                    <a:pt x="85" y="227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0" name="Freeform 35"/>
            <p:cNvSpPr>
              <a:spLocks/>
            </p:cNvSpPr>
            <p:nvPr/>
          </p:nvSpPr>
          <p:spPr bwMode="auto">
            <a:xfrm>
              <a:off x="605" y="1545"/>
              <a:ext cx="195" cy="229"/>
            </a:xfrm>
            <a:custGeom>
              <a:avLst/>
              <a:gdLst>
                <a:gd name="T0" fmla="*/ 16 w 195"/>
                <a:gd name="T1" fmla="*/ 247 h 227"/>
                <a:gd name="T2" fmla="*/ 27 w 195"/>
                <a:gd name="T3" fmla="*/ 253 h 227"/>
                <a:gd name="T4" fmla="*/ 49 w 195"/>
                <a:gd name="T5" fmla="*/ 263 h 227"/>
                <a:gd name="T6" fmla="*/ 60 w 195"/>
                <a:gd name="T7" fmla="*/ 269 h 227"/>
                <a:gd name="T8" fmla="*/ 76 w 195"/>
                <a:gd name="T9" fmla="*/ 279 h 227"/>
                <a:gd name="T10" fmla="*/ 87 w 195"/>
                <a:gd name="T11" fmla="*/ 274 h 227"/>
                <a:gd name="T12" fmla="*/ 108 w 195"/>
                <a:gd name="T13" fmla="*/ 274 h 227"/>
                <a:gd name="T14" fmla="*/ 119 w 195"/>
                <a:gd name="T15" fmla="*/ 279 h 227"/>
                <a:gd name="T16" fmla="*/ 130 w 195"/>
                <a:gd name="T17" fmla="*/ 293 h 227"/>
                <a:gd name="T18" fmla="*/ 146 w 195"/>
                <a:gd name="T19" fmla="*/ 300 h 227"/>
                <a:gd name="T20" fmla="*/ 157 w 195"/>
                <a:gd name="T21" fmla="*/ 284 h 227"/>
                <a:gd name="T22" fmla="*/ 177 w 195"/>
                <a:gd name="T23" fmla="*/ 283 h 227"/>
                <a:gd name="T24" fmla="*/ 190 w 195"/>
                <a:gd name="T25" fmla="*/ 253 h 227"/>
                <a:gd name="T26" fmla="*/ 195 w 195"/>
                <a:gd name="T27" fmla="*/ 242 h 227"/>
                <a:gd name="T28" fmla="*/ 195 w 195"/>
                <a:gd name="T29" fmla="*/ 203 h 227"/>
                <a:gd name="T30" fmla="*/ 195 w 195"/>
                <a:gd name="T31" fmla="*/ 183 h 227"/>
                <a:gd name="T32" fmla="*/ 195 w 195"/>
                <a:gd name="T33" fmla="*/ 161 h 227"/>
                <a:gd name="T34" fmla="*/ 190 w 195"/>
                <a:gd name="T35" fmla="*/ 161 h 227"/>
                <a:gd name="T36" fmla="*/ 190 w 195"/>
                <a:gd name="T37" fmla="*/ 140 h 227"/>
                <a:gd name="T38" fmla="*/ 190 w 195"/>
                <a:gd name="T39" fmla="*/ 134 h 227"/>
                <a:gd name="T40" fmla="*/ 190 w 195"/>
                <a:gd name="T41" fmla="*/ 113 h 227"/>
                <a:gd name="T42" fmla="*/ 190 w 195"/>
                <a:gd name="T43" fmla="*/ 103 h 227"/>
                <a:gd name="T44" fmla="*/ 168 w 195"/>
                <a:gd name="T45" fmla="*/ 92 h 227"/>
                <a:gd name="T46" fmla="*/ 168 w 195"/>
                <a:gd name="T47" fmla="*/ 37 h 227"/>
                <a:gd name="T48" fmla="*/ 168 w 195"/>
                <a:gd name="T49" fmla="*/ 26 h 227"/>
                <a:gd name="T50" fmla="*/ 157 w 195"/>
                <a:gd name="T51" fmla="*/ 26 h 227"/>
                <a:gd name="T52" fmla="*/ 135 w 195"/>
                <a:gd name="T53" fmla="*/ 21 h 227"/>
                <a:gd name="T54" fmla="*/ 119 w 195"/>
                <a:gd name="T55" fmla="*/ 21 h 227"/>
                <a:gd name="T56" fmla="*/ 119 w 195"/>
                <a:gd name="T57" fmla="*/ 26 h 227"/>
                <a:gd name="T58" fmla="*/ 98 w 195"/>
                <a:gd name="T59" fmla="*/ 26 h 227"/>
                <a:gd name="T60" fmla="*/ 87 w 195"/>
                <a:gd name="T61" fmla="*/ 48 h 227"/>
                <a:gd name="T62" fmla="*/ 76 w 195"/>
                <a:gd name="T63" fmla="*/ 48 h 227"/>
                <a:gd name="T64" fmla="*/ 70 w 195"/>
                <a:gd name="T65" fmla="*/ 37 h 227"/>
                <a:gd name="T66" fmla="*/ 60 w 195"/>
                <a:gd name="T67" fmla="*/ 37 h 227"/>
                <a:gd name="T68" fmla="*/ 60 w 195"/>
                <a:gd name="T69" fmla="*/ 26 h 227"/>
                <a:gd name="T70" fmla="*/ 70 w 195"/>
                <a:gd name="T71" fmla="*/ 26 h 227"/>
                <a:gd name="T72" fmla="*/ 70 w 195"/>
                <a:gd name="T73" fmla="*/ 21 h 227"/>
                <a:gd name="T74" fmla="*/ 60 w 195"/>
                <a:gd name="T75" fmla="*/ 21 h 227"/>
                <a:gd name="T76" fmla="*/ 49 w 195"/>
                <a:gd name="T77" fmla="*/ 11 h 227"/>
                <a:gd name="T78" fmla="*/ 49 w 195"/>
                <a:gd name="T79" fmla="*/ 0 h 227"/>
                <a:gd name="T80" fmla="*/ 27 w 195"/>
                <a:gd name="T81" fmla="*/ 11 h 227"/>
                <a:gd name="T82" fmla="*/ 22 w 195"/>
                <a:gd name="T83" fmla="*/ 0 h 227"/>
                <a:gd name="T84" fmla="*/ 27 w 195"/>
                <a:gd name="T85" fmla="*/ 11 h 227"/>
                <a:gd name="T86" fmla="*/ 22 w 195"/>
                <a:gd name="T87" fmla="*/ 11 h 227"/>
                <a:gd name="T88" fmla="*/ 0 w 195"/>
                <a:gd name="T89" fmla="*/ 0 h 227"/>
                <a:gd name="T90" fmla="*/ 11 w 195"/>
                <a:gd name="T91" fmla="*/ 37 h 227"/>
                <a:gd name="T92" fmla="*/ 22 w 195"/>
                <a:gd name="T93" fmla="*/ 48 h 227"/>
                <a:gd name="T94" fmla="*/ 22 w 195"/>
                <a:gd name="T95" fmla="*/ 103 h 227"/>
                <a:gd name="T96" fmla="*/ 27 w 195"/>
                <a:gd name="T97" fmla="*/ 134 h 227"/>
                <a:gd name="T98" fmla="*/ 38 w 195"/>
                <a:gd name="T99" fmla="*/ 150 h 227"/>
                <a:gd name="T100" fmla="*/ 27 w 195"/>
                <a:gd name="T101" fmla="*/ 161 h 227"/>
                <a:gd name="T102" fmla="*/ 27 w 195"/>
                <a:gd name="T103" fmla="*/ 203 h 227"/>
                <a:gd name="T104" fmla="*/ 22 w 195"/>
                <a:gd name="T105" fmla="*/ 242 h 227"/>
                <a:gd name="T106" fmla="*/ 16 w 195"/>
                <a:gd name="T107" fmla="*/ 247 h 22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95" h="227">
                  <a:moveTo>
                    <a:pt x="16" y="179"/>
                  </a:moveTo>
                  <a:lnTo>
                    <a:pt x="27" y="185"/>
                  </a:lnTo>
                  <a:lnTo>
                    <a:pt x="49" y="195"/>
                  </a:lnTo>
                  <a:lnTo>
                    <a:pt x="60" y="201"/>
                  </a:lnTo>
                  <a:lnTo>
                    <a:pt x="76" y="211"/>
                  </a:lnTo>
                  <a:lnTo>
                    <a:pt x="87" y="206"/>
                  </a:lnTo>
                  <a:lnTo>
                    <a:pt x="108" y="206"/>
                  </a:lnTo>
                  <a:lnTo>
                    <a:pt x="119" y="211"/>
                  </a:lnTo>
                  <a:lnTo>
                    <a:pt x="130" y="222"/>
                  </a:lnTo>
                  <a:lnTo>
                    <a:pt x="146" y="227"/>
                  </a:lnTo>
                  <a:lnTo>
                    <a:pt x="157" y="216"/>
                  </a:lnTo>
                  <a:lnTo>
                    <a:pt x="177" y="215"/>
                  </a:lnTo>
                  <a:lnTo>
                    <a:pt x="190" y="185"/>
                  </a:lnTo>
                  <a:lnTo>
                    <a:pt x="195" y="174"/>
                  </a:lnTo>
                  <a:lnTo>
                    <a:pt x="195" y="153"/>
                  </a:lnTo>
                  <a:lnTo>
                    <a:pt x="195" y="143"/>
                  </a:lnTo>
                  <a:lnTo>
                    <a:pt x="195" y="127"/>
                  </a:lnTo>
                  <a:lnTo>
                    <a:pt x="190" y="127"/>
                  </a:lnTo>
                  <a:lnTo>
                    <a:pt x="190" y="106"/>
                  </a:lnTo>
                  <a:lnTo>
                    <a:pt x="190" y="100"/>
                  </a:lnTo>
                  <a:lnTo>
                    <a:pt x="190" y="79"/>
                  </a:lnTo>
                  <a:lnTo>
                    <a:pt x="190" y="69"/>
                  </a:lnTo>
                  <a:lnTo>
                    <a:pt x="168" y="58"/>
                  </a:lnTo>
                  <a:lnTo>
                    <a:pt x="168" y="37"/>
                  </a:lnTo>
                  <a:lnTo>
                    <a:pt x="168" y="26"/>
                  </a:lnTo>
                  <a:lnTo>
                    <a:pt x="157" y="26"/>
                  </a:lnTo>
                  <a:lnTo>
                    <a:pt x="135" y="21"/>
                  </a:lnTo>
                  <a:lnTo>
                    <a:pt x="119" y="21"/>
                  </a:lnTo>
                  <a:lnTo>
                    <a:pt x="119" y="26"/>
                  </a:lnTo>
                  <a:lnTo>
                    <a:pt x="98" y="26"/>
                  </a:lnTo>
                  <a:lnTo>
                    <a:pt x="87" y="48"/>
                  </a:lnTo>
                  <a:lnTo>
                    <a:pt x="76" y="48"/>
                  </a:lnTo>
                  <a:lnTo>
                    <a:pt x="70" y="37"/>
                  </a:lnTo>
                  <a:lnTo>
                    <a:pt x="60" y="37"/>
                  </a:lnTo>
                  <a:lnTo>
                    <a:pt x="60" y="26"/>
                  </a:lnTo>
                  <a:lnTo>
                    <a:pt x="70" y="26"/>
                  </a:lnTo>
                  <a:lnTo>
                    <a:pt x="70" y="21"/>
                  </a:lnTo>
                  <a:lnTo>
                    <a:pt x="60" y="21"/>
                  </a:lnTo>
                  <a:lnTo>
                    <a:pt x="49" y="11"/>
                  </a:lnTo>
                  <a:lnTo>
                    <a:pt x="49" y="0"/>
                  </a:lnTo>
                  <a:lnTo>
                    <a:pt x="27" y="11"/>
                  </a:lnTo>
                  <a:lnTo>
                    <a:pt x="22" y="0"/>
                  </a:lnTo>
                  <a:lnTo>
                    <a:pt x="27" y="11"/>
                  </a:lnTo>
                  <a:lnTo>
                    <a:pt x="22" y="11"/>
                  </a:lnTo>
                  <a:lnTo>
                    <a:pt x="0" y="0"/>
                  </a:lnTo>
                  <a:lnTo>
                    <a:pt x="11" y="37"/>
                  </a:lnTo>
                  <a:lnTo>
                    <a:pt x="22" y="48"/>
                  </a:lnTo>
                  <a:lnTo>
                    <a:pt x="22" y="69"/>
                  </a:lnTo>
                  <a:lnTo>
                    <a:pt x="27" y="100"/>
                  </a:lnTo>
                  <a:lnTo>
                    <a:pt x="38" y="116"/>
                  </a:lnTo>
                  <a:lnTo>
                    <a:pt x="27" y="127"/>
                  </a:lnTo>
                  <a:lnTo>
                    <a:pt x="27" y="153"/>
                  </a:lnTo>
                  <a:lnTo>
                    <a:pt x="22" y="174"/>
                  </a:lnTo>
                  <a:lnTo>
                    <a:pt x="16" y="179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1" name="Freeform 36"/>
            <p:cNvSpPr>
              <a:spLocks/>
            </p:cNvSpPr>
            <p:nvPr/>
          </p:nvSpPr>
          <p:spPr bwMode="auto">
            <a:xfrm>
              <a:off x="574" y="3145"/>
              <a:ext cx="570" cy="696"/>
            </a:xfrm>
            <a:custGeom>
              <a:avLst/>
              <a:gdLst>
                <a:gd name="T0" fmla="*/ 4 w 648"/>
                <a:gd name="T1" fmla="*/ 4 h 792"/>
                <a:gd name="T2" fmla="*/ 4 w 648"/>
                <a:gd name="T3" fmla="*/ 4 h 792"/>
                <a:gd name="T4" fmla="*/ 4 w 648"/>
                <a:gd name="T5" fmla="*/ 5 h 792"/>
                <a:gd name="T6" fmla="*/ 4 w 648"/>
                <a:gd name="T7" fmla="*/ 6 h 792"/>
                <a:gd name="T8" fmla="*/ 4 w 648"/>
                <a:gd name="T9" fmla="*/ 7 h 792"/>
                <a:gd name="T10" fmla="*/ 4 w 648"/>
                <a:gd name="T11" fmla="*/ 8 h 792"/>
                <a:gd name="T12" fmla="*/ 4 w 648"/>
                <a:gd name="T13" fmla="*/ 9 h 792"/>
                <a:gd name="T14" fmla="*/ 4 w 648"/>
                <a:gd name="T15" fmla="*/ 10 h 792"/>
                <a:gd name="T16" fmla="*/ 5 w 648"/>
                <a:gd name="T17" fmla="*/ 10 h 792"/>
                <a:gd name="T18" fmla="*/ 7 w 648"/>
                <a:gd name="T19" fmla="*/ 10 h 792"/>
                <a:gd name="T20" fmla="*/ 8 w 648"/>
                <a:gd name="T21" fmla="*/ 9 h 792"/>
                <a:gd name="T22" fmla="*/ 9 w 648"/>
                <a:gd name="T23" fmla="*/ 9 h 792"/>
                <a:gd name="T24" fmla="*/ 9 w 648"/>
                <a:gd name="T25" fmla="*/ 9 h 792"/>
                <a:gd name="T26" fmla="*/ 8 w 648"/>
                <a:gd name="T27" fmla="*/ 7 h 792"/>
                <a:gd name="T28" fmla="*/ 8 w 648"/>
                <a:gd name="T29" fmla="*/ 6 h 792"/>
                <a:gd name="T30" fmla="*/ 8 w 648"/>
                <a:gd name="T31" fmla="*/ 4 h 792"/>
                <a:gd name="T32" fmla="*/ 7 w 648"/>
                <a:gd name="T33" fmla="*/ 4 h 792"/>
                <a:gd name="T34" fmla="*/ 7 w 648"/>
                <a:gd name="T35" fmla="*/ 4 h 792"/>
                <a:gd name="T36" fmla="*/ 7 w 648"/>
                <a:gd name="T37" fmla="*/ 4 h 792"/>
                <a:gd name="T38" fmla="*/ 6 w 648"/>
                <a:gd name="T39" fmla="*/ 4 h 792"/>
                <a:gd name="T40" fmla="*/ 5 w 648"/>
                <a:gd name="T41" fmla="*/ 4 h 792"/>
                <a:gd name="T42" fmla="*/ 5 w 648"/>
                <a:gd name="T43" fmla="*/ 4 h 792"/>
                <a:gd name="T44" fmla="*/ 4 w 648"/>
                <a:gd name="T45" fmla="*/ 4 h 792"/>
                <a:gd name="T46" fmla="*/ 4 w 648"/>
                <a:gd name="T47" fmla="*/ 4 h 792"/>
                <a:gd name="T48" fmla="*/ 4 w 648"/>
                <a:gd name="T49" fmla="*/ 4 h 792"/>
                <a:gd name="T50" fmla="*/ 4 w 648"/>
                <a:gd name="T51" fmla="*/ 4 h 792"/>
                <a:gd name="T52" fmla="*/ 4 w 648"/>
                <a:gd name="T53" fmla="*/ 4 h 792"/>
                <a:gd name="T54" fmla="*/ 4 w 648"/>
                <a:gd name="T55" fmla="*/ 4 h 792"/>
                <a:gd name="T56" fmla="*/ 4 w 648"/>
                <a:gd name="T57" fmla="*/ 4 h 792"/>
                <a:gd name="T58" fmla="*/ 4 w 648"/>
                <a:gd name="T59" fmla="*/ 4 h 792"/>
                <a:gd name="T60" fmla="*/ 4 w 648"/>
                <a:gd name="T61" fmla="*/ 4 h 792"/>
                <a:gd name="T62" fmla="*/ 4 w 648"/>
                <a:gd name="T63" fmla="*/ 4 h 792"/>
                <a:gd name="T64" fmla="*/ 4 w 648"/>
                <a:gd name="T65" fmla="*/ 4 h 792"/>
                <a:gd name="T66" fmla="*/ 4 w 648"/>
                <a:gd name="T67" fmla="*/ 4 h 792"/>
                <a:gd name="T68" fmla="*/ 4 w 648"/>
                <a:gd name="T69" fmla="*/ 4 h 792"/>
                <a:gd name="T70" fmla="*/ 4 w 648"/>
                <a:gd name="T71" fmla="*/ 4 h 792"/>
                <a:gd name="T72" fmla="*/ 4 w 648"/>
                <a:gd name="T73" fmla="*/ 4 h 792"/>
                <a:gd name="T74" fmla="*/ 4 w 648"/>
                <a:gd name="T75" fmla="*/ 4 h 792"/>
                <a:gd name="T76" fmla="*/ 4 w 648"/>
                <a:gd name="T77" fmla="*/ 4 h 792"/>
                <a:gd name="T78" fmla="*/ 4 w 648"/>
                <a:gd name="T79" fmla="*/ 4 h 792"/>
                <a:gd name="T80" fmla="*/ 4 w 648"/>
                <a:gd name="T81" fmla="*/ 4 h 792"/>
                <a:gd name="T82" fmla="*/ 4 w 648"/>
                <a:gd name="T83" fmla="*/ 4 h 792"/>
                <a:gd name="T84" fmla="*/ 4 w 648"/>
                <a:gd name="T85" fmla="*/ 4 h 792"/>
                <a:gd name="T86" fmla="*/ 4 w 648"/>
                <a:gd name="T87" fmla="*/ 4 h 792"/>
                <a:gd name="T88" fmla="*/ 4 w 648"/>
                <a:gd name="T89" fmla="*/ 4 h 792"/>
                <a:gd name="T90" fmla="*/ 4 w 648"/>
                <a:gd name="T91" fmla="*/ 4 h 792"/>
                <a:gd name="T92" fmla="*/ 4 w 648"/>
                <a:gd name="T93" fmla="*/ 4 h 792"/>
                <a:gd name="T94" fmla="*/ 4 w 648"/>
                <a:gd name="T95" fmla="*/ 4 h 792"/>
                <a:gd name="T96" fmla="*/ 4 w 648"/>
                <a:gd name="T97" fmla="*/ 4 h 792"/>
                <a:gd name="T98" fmla="*/ 0 w 648"/>
                <a:gd name="T99" fmla="*/ 4 h 79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648" h="792">
                  <a:moveTo>
                    <a:pt x="0" y="306"/>
                  </a:moveTo>
                  <a:lnTo>
                    <a:pt x="48" y="330"/>
                  </a:lnTo>
                  <a:lnTo>
                    <a:pt x="90" y="330"/>
                  </a:lnTo>
                  <a:lnTo>
                    <a:pt x="132" y="348"/>
                  </a:lnTo>
                  <a:lnTo>
                    <a:pt x="180" y="372"/>
                  </a:lnTo>
                  <a:lnTo>
                    <a:pt x="198" y="414"/>
                  </a:lnTo>
                  <a:lnTo>
                    <a:pt x="222" y="474"/>
                  </a:lnTo>
                  <a:lnTo>
                    <a:pt x="252" y="492"/>
                  </a:lnTo>
                  <a:lnTo>
                    <a:pt x="264" y="540"/>
                  </a:lnTo>
                  <a:lnTo>
                    <a:pt x="276" y="570"/>
                  </a:lnTo>
                  <a:lnTo>
                    <a:pt x="288" y="606"/>
                  </a:lnTo>
                  <a:lnTo>
                    <a:pt x="300" y="636"/>
                  </a:lnTo>
                  <a:lnTo>
                    <a:pt x="288" y="666"/>
                  </a:lnTo>
                  <a:lnTo>
                    <a:pt x="276" y="702"/>
                  </a:lnTo>
                  <a:lnTo>
                    <a:pt x="312" y="744"/>
                  </a:lnTo>
                  <a:lnTo>
                    <a:pt x="342" y="768"/>
                  </a:lnTo>
                  <a:lnTo>
                    <a:pt x="378" y="744"/>
                  </a:lnTo>
                  <a:lnTo>
                    <a:pt x="408" y="768"/>
                  </a:lnTo>
                  <a:lnTo>
                    <a:pt x="450" y="792"/>
                  </a:lnTo>
                  <a:lnTo>
                    <a:pt x="486" y="780"/>
                  </a:lnTo>
                  <a:lnTo>
                    <a:pt x="528" y="744"/>
                  </a:lnTo>
                  <a:lnTo>
                    <a:pt x="564" y="738"/>
                  </a:lnTo>
                  <a:lnTo>
                    <a:pt x="606" y="756"/>
                  </a:lnTo>
                  <a:lnTo>
                    <a:pt x="642" y="738"/>
                  </a:lnTo>
                  <a:lnTo>
                    <a:pt x="648" y="702"/>
                  </a:lnTo>
                  <a:lnTo>
                    <a:pt x="630" y="666"/>
                  </a:lnTo>
                  <a:lnTo>
                    <a:pt x="606" y="624"/>
                  </a:lnTo>
                  <a:lnTo>
                    <a:pt x="564" y="558"/>
                  </a:lnTo>
                  <a:lnTo>
                    <a:pt x="552" y="516"/>
                  </a:lnTo>
                  <a:lnTo>
                    <a:pt x="552" y="474"/>
                  </a:lnTo>
                  <a:lnTo>
                    <a:pt x="552" y="426"/>
                  </a:lnTo>
                  <a:lnTo>
                    <a:pt x="552" y="384"/>
                  </a:lnTo>
                  <a:lnTo>
                    <a:pt x="552" y="348"/>
                  </a:lnTo>
                  <a:lnTo>
                    <a:pt x="510" y="318"/>
                  </a:lnTo>
                  <a:lnTo>
                    <a:pt x="510" y="282"/>
                  </a:lnTo>
                  <a:lnTo>
                    <a:pt x="516" y="240"/>
                  </a:lnTo>
                  <a:lnTo>
                    <a:pt x="510" y="198"/>
                  </a:lnTo>
                  <a:lnTo>
                    <a:pt x="474" y="162"/>
                  </a:lnTo>
                  <a:lnTo>
                    <a:pt x="450" y="174"/>
                  </a:lnTo>
                  <a:lnTo>
                    <a:pt x="432" y="162"/>
                  </a:lnTo>
                  <a:lnTo>
                    <a:pt x="420" y="174"/>
                  </a:lnTo>
                  <a:lnTo>
                    <a:pt x="408" y="162"/>
                  </a:lnTo>
                  <a:lnTo>
                    <a:pt x="384" y="150"/>
                  </a:lnTo>
                  <a:lnTo>
                    <a:pt x="366" y="162"/>
                  </a:lnTo>
                  <a:lnTo>
                    <a:pt x="354" y="198"/>
                  </a:lnTo>
                  <a:lnTo>
                    <a:pt x="342" y="198"/>
                  </a:lnTo>
                  <a:lnTo>
                    <a:pt x="288" y="150"/>
                  </a:lnTo>
                  <a:lnTo>
                    <a:pt x="288" y="162"/>
                  </a:lnTo>
                  <a:lnTo>
                    <a:pt x="264" y="132"/>
                  </a:lnTo>
                  <a:lnTo>
                    <a:pt x="264" y="120"/>
                  </a:lnTo>
                  <a:lnTo>
                    <a:pt x="276" y="78"/>
                  </a:lnTo>
                  <a:lnTo>
                    <a:pt x="276" y="54"/>
                  </a:lnTo>
                  <a:lnTo>
                    <a:pt x="222" y="0"/>
                  </a:lnTo>
                  <a:lnTo>
                    <a:pt x="156" y="1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68" y="42"/>
                  </a:lnTo>
                  <a:lnTo>
                    <a:pt x="168" y="30"/>
                  </a:lnTo>
                  <a:lnTo>
                    <a:pt x="180" y="30"/>
                  </a:lnTo>
                  <a:lnTo>
                    <a:pt x="186" y="18"/>
                  </a:lnTo>
                  <a:lnTo>
                    <a:pt x="210" y="18"/>
                  </a:lnTo>
                  <a:lnTo>
                    <a:pt x="222" y="30"/>
                  </a:lnTo>
                  <a:lnTo>
                    <a:pt x="234" y="42"/>
                  </a:lnTo>
                  <a:lnTo>
                    <a:pt x="234" y="54"/>
                  </a:lnTo>
                  <a:lnTo>
                    <a:pt x="234" y="78"/>
                  </a:lnTo>
                  <a:lnTo>
                    <a:pt x="222" y="96"/>
                  </a:lnTo>
                  <a:lnTo>
                    <a:pt x="234" y="120"/>
                  </a:lnTo>
                  <a:lnTo>
                    <a:pt x="210" y="144"/>
                  </a:lnTo>
                  <a:lnTo>
                    <a:pt x="198" y="132"/>
                  </a:lnTo>
                  <a:lnTo>
                    <a:pt x="180" y="132"/>
                  </a:lnTo>
                  <a:lnTo>
                    <a:pt x="168" y="120"/>
                  </a:lnTo>
                  <a:lnTo>
                    <a:pt x="186" y="96"/>
                  </a:lnTo>
                  <a:lnTo>
                    <a:pt x="168" y="96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32" y="78"/>
                  </a:lnTo>
                  <a:lnTo>
                    <a:pt x="114" y="78"/>
                  </a:lnTo>
                  <a:lnTo>
                    <a:pt x="114" y="84"/>
                  </a:lnTo>
                  <a:lnTo>
                    <a:pt x="102" y="84"/>
                  </a:lnTo>
                  <a:lnTo>
                    <a:pt x="90" y="84"/>
                  </a:lnTo>
                  <a:lnTo>
                    <a:pt x="78" y="120"/>
                  </a:lnTo>
                  <a:lnTo>
                    <a:pt x="90" y="120"/>
                  </a:lnTo>
                  <a:lnTo>
                    <a:pt x="102" y="144"/>
                  </a:lnTo>
                  <a:lnTo>
                    <a:pt x="114" y="150"/>
                  </a:lnTo>
                  <a:lnTo>
                    <a:pt x="102" y="150"/>
                  </a:lnTo>
                  <a:lnTo>
                    <a:pt x="102" y="162"/>
                  </a:lnTo>
                  <a:lnTo>
                    <a:pt x="90" y="150"/>
                  </a:lnTo>
                  <a:lnTo>
                    <a:pt x="78" y="150"/>
                  </a:lnTo>
                  <a:lnTo>
                    <a:pt x="66" y="162"/>
                  </a:lnTo>
                  <a:lnTo>
                    <a:pt x="78" y="186"/>
                  </a:lnTo>
                  <a:lnTo>
                    <a:pt x="66" y="210"/>
                  </a:lnTo>
                  <a:lnTo>
                    <a:pt x="78" y="210"/>
                  </a:lnTo>
                  <a:lnTo>
                    <a:pt x="66" y="228"/>
                  </a:lnTo>
                  <a:lnTo>
                    <a:pt x="60" y="216"/>
                  </a:lnTo>
                  <a:lnTo>
                    <a:pt x="48" y="240"/>
                  </a:lnTo>
                  <a:lnTo>
                    <a:pt x="36" y="252"/>
                  </a:lnTo>
                  <a:lnTo>
                    <a:pt x="12" y="264"/>
                  </a:lnTo>
                  <a:lnTo>
                    <a:pt x="12" y="282"/>
                  </a:lnTo>
                  <a:lnTo>
                    <a:pt x="0" y="294"/>
                  </a:lnTo>
                  <a:lnTo>
                    <a:pt x="0" y="30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2" name="Freeform 37"/>
            <p:cNvSpPr>
              <a:spLocks/>
            </p:cNvSpPr>
            <p:nvPr/>
          </p:nvSpPr>
          <p:spPr bwMode="auto">
            <a:xfrm>
              <a:off x="574" y="3145"/>
              <a:ext cx="570" cy="696"/>
            </a:xfrm>
            <a:custGeom>
              <a:avLst/>
              <a:gdLst>
                <a:gd name="T0" fmla="*/ 4 w 648"/>
                <a:gd name="T1" fmla="*/ 4 h 792"/>
                <a:gd name="T2" fmla="*/ 4 w 648"/>
                <a:gd name="T3" fmla="*/ 4 h 792"/>
                <a:gd name="T4" fmla="*/ 4 w 648"/>
                <a:gd name="T5" fmla="*/ 5 h 792"/>
                <a:gd name="T6" fmla="*/ 4 w 648"/>
                <a:gd name="T7" fmla="*/ 6 h 792"/>
                <a:gd name="T8" fmla="*/ 4 w 648"/>
                <a:gd name="T9" fmla="*/ 7 h 792"/>
                <a:gd name="T10" fmla="*/ 4 w 648"/>
                <a:gd name="T11" fmla="*/ 8 h 792"/>
                <a:gd name="T12" fmla="*/ 4 w 648"/>
                <a:gd name="T13" fmla="*/ 9 h 792"/>
                <a:gd name="T14" fmla="*/ 4 w 648"/>
                <a:gd name="T15" fmla="*/ 10 h 792"/>
                <a:gd name="T16" fmla="*/ 5 w 648"/>
                <a:gd name="T17" fmla="*/ 10 h 792"/>
                <a:gd name="T18" fmla="*/ 7 w 648"/>
                <a:gd name="T19" fmla="*/ 10 h 792"/>
                <a:gd name="T20" fmla="*/ 8 w 648"/>
                <a:gd name="T21" fmla="*/ 9 h 792"/>
                <a:gd name="T22" fmla="*/ 9 w 648"/>
                <a:gd name="T23" fmla="*/ 9 h 792"/>
                <a:gd name="T24" fmla="*/ 9 w 648"/>
                <a:gd name="T25" fmla="*/ 9 h 792"/>
                <a:gd name="T26" fmla="*/ 8 w 648"/>
                <a:gd name="T27" fmla="*/ 7 h 792"/>
                <a:gd name="T28" fmla="*/ 8 w 648"/>
                <a:gd name="T29" fmla="*/ 6 h 792"/>
                <a:gd name="T30" fmla="*/ 8 w 648"/>
                <a:gd name="T31" fmla="*/ 4 h 792"/>
                <a:gd name="T32" fmla="*/ 7 w 648"/>
                <a:gd name="T33" fmla="*/ 4 h 792"/>
                <a:gd name="T34" fmla="*/ 7 w 648"/>
                <a:gd name="T35" fmla="*/ 4 h 792"/>
                <a:gd name="T36" fmla="*/ 7 w 648"/>
                <a:gd name="T37" fmla="*/ 4 h 792"/>
                <a:gd name="T38" fmla="*/ 6 w 648"/>
                <a:gd name="T39" fmla="*/ 4 h 792"/>
                <a:gd name="T40" fmla="*/ 5 w 648"/>
                <a:gd name="T41" fmla="*/ 4 h 792"/>
                <a:gd name="T42" fmla="*/ 5 w 648"/>
                <a:gd name="T43" fmla="*/ 4 h 792"/>
                <a:gd name="T44" fmla="*/ 4 w 648"/>
                <a:gd name="T45" fmla="*/ 4 h 792"/>
                <a:gd name="T46" fmla="*/ 4 w 648"/>
                <a:gd name="T47" fmla="*/ 4 h 792"/>
                <a:gd name="T48" fmla="*/ 4 w 648"/>
                <a:gd name="T49" fmla="*/ 4 h 792"/>
                <a:gd name="T50" fmla="*/ 4 w 648"/>
                <a:gd name="T51" fmla="*/ 4 h 792"/>
                <a:gd name="T52" fmla="*/ 4 w 648"/>
                <a:gd name="T53" fmla="*/ 4 h 792"/>
                <a:gd name="T54" fmla="*/ 4 w 648"/>
                <a:gd name="T55" fmla="*/ 4 h 792"/>
                <a:gd name="T56" fmla="*/ 4 w 648"/>
                <a:gd name="T57" fmla="*/ 4 h 792"/>
                <a:gd name="T58" fmla="*/ 4 w 648"/>
                <a:gd name="T59" fmla="*/ 4 h 792"/>
                <a:gd name="T60" fmla="*/ 4 w 648"/>
                <a:gd name="T61" fmla="*/ 4 h 792"/>
                <a:gd name="T62" fmla="*/ 4 w 648"/>
                <a:gd name="T63" fmla="*/ 4 h 792"/>
                <a:gd name="T64" fmla="*/ 4 w 648"/>
                <a:gd name="T65" fmla="*/ 4 h 792"/>
                <a:gd name="T66" fmla="*/ 4 w 648"/>
                <a:gd name="T67" fmla="*/ 4 h 792"/>
                <a:gd name="T68" fmla="*/ 4 w 648"/>
                <a:gd name="T69" fmla="*/ 4 h 792"/>
                <a:gd name="T70" fmla="*/ 4 w 648"/>
                <a:gd name="T71" fmla="*/ 4 h 792"/>
                <a:gd name="T72" fmla="*/ 4 w 648"/>
                <a:gd name="T73" fmla="*/ 4 h 792"/>
                <a:gd name="T74" fmla="*/ 4 w 648"/>
                <a:gd name="T75" fmla="*/ 4 h 792"/>
                <a:gd name="T76" fmla="*/ 4 w 648"/>
                <a:gd name="T77" fmla="*/ 4 h 792"/>
                <a:gd name="T78" fmla="*/ 4 w 648"/>
                <a:gd name="T79" fmla="*/ 4 h 792"/>
                <a:gd name="T80" fmla="*/ 4 w 648"/>
                <a:gd name="T81" fmla="*/ 4 h 792"/>
                <a:gd name="T82" fmla="*/ 4 w 648"/>
                <a:gd name="T83" fmla="*/ 4 h 792"/>
                <a:gd name="T84" fmla="*/ 4 w 648"/>
                <a:gd name="T85" fmla="*/ 4 h 792"/>
                <a:gd name="T86" fmla="*/ 4 w 648"/>
                <a:gd name="T87" fmla="*/ 4 h 792"/>
                <a:gd name="T88" fmla="*/ 4 w 648"/>
                <a:gd name="T89" fmla="*/ 4 h 792"/>
                <a:gd name="T90" fmla="*/ 4 w 648"/>
                <a:gd name="T91" fmla="*/ 4 h 792"/>
                <a:gd name="T92" fmla="*/ 4 w 648"/>
                <a:gd name="T93" fmla="*/ 4 h 792"/>
                <a:gd name="T94" fmla="*/ 4 w 648"/>
                <a:gd name="T95" fmla="*/ 4 h 792"/>
                <a:gd name="T96" fmla="*/ 4 w 648"/>
                <a:gd name="T97" fmla="*/ 4 h 792"/>
                <a:gd name="T98" fmla="*/ 0 w 648"/>
                <a:gd name="T99" fmla="*/ 4 h 79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648" h="792">
                  <a:moveTo>
                    <a:pt x="0" y="306"/>
                  </a:moveTo>
                  <a:lnTo>
                    <a:pt x="48" y="330"/>
                  </a:lnTo>
                  <a:lnTo>
                    <a:pt x="90" y="330"/>
                  </a:lnTo>
                  <a:lnTo>
                    <a:pt x="132" y="348"/>
                  </a:lnTo>
                  <a:lnTo>
                    <a:pt x="180" y="372"/>
                  </a:lnTo>
                  <a:lnTo>
                    <a:pt x="198" y="414"/>
                  </a:lnTo>
                  <a:lnTo>
                    <a:pt x="222" y="474"/>
                  </a:lnTo>
                  <a:lnTo>
                    <a:pt x="252" y="492"/>
                  </a:lnTo>
                  <a:lnTo>
                    <a:pt x="264" y="540"/>
                  </a:lnTo>
                  <a:lnTo>
                    <a:pt x="276" y="570"/>
                  </a:lnTo>
                  <a:lnTo>
                    <a:pt x="288" y="606"/>
                  </a:lnTo>
                  <a:lnTo>
                    <a:pt x="300" y="636"/>
                  </a:lnTo>
                  <a:lnTo>
                    <a:pt x="288" y="666"/>
                  </a:lnTo>
                  <a:lnTo>
                    <a:pt x="276" y="702"/>
                  </a:lnTo>
                  <a:lnTo>
                    <a:pt x="312" y="744"/>
                  </a:lnTo>
                  <a:lnTo>
                    <a:pt x="342" y="768"/>
                  </a:lnTo>
                  <a:lnTo>
                    <a:pt x="378" y="744"/>
                  </a:lnTo>
                  <a:lnTo>
                    <a:pt x="408" y="768"/>
                  </a:lnTo>
                  <a:lnTo>
                    <a:pt x="450" y="792"/>
                  </a:lnTo>
                  <a:lnTo>
                    <a:pt x="486" y="780"/>
                  </a:lnTo>
                  <a:lnTo>
                    <a:pt x="528" y="744"/>
                  </a:lnTo>
                  <a:lnTo>
                    <a:pt x="564" y="738"/>
                  </a:lnTo>
                  <a:lnTo>
                    <a:pt x="606" y="756"/>
                  </a:lnTo>
                  <a:lnTo>
                    <a:pt x="642" y="738"/>
                  </a:lnTo>
                  <a:lnTo>
                    <a:pt x="648" y="702"/>
                  </a:lnTo>
                  <a:lnTo>
                    <a:pt x="630" y="666"/>
                  </a:lnTo>
                  <a:lnTo>
                    <a:pt x="606" y="624"/>
                  </a:lnTo>
                  <a:lnTo>
                    <a:pt x="564" y="558"/>
                  </a:lnTo>
                  <a:lnTo>
                    <a:pt x="552" y="516"/>
                  </a:lnTo>
                  <a:lnTo>
                    <a:pt x="552" y="474"/>
                  </a:lnTo>
                  <a:lnTo>
                    <a:pt x="552" y="426"/>
                  </a:lnTo>
                  <a:lnTo>
                    <a:pt x="552" y="384"/>
                  </a:lnTo>
                  <a:lnTo>
                    <a:pt x="552" y="348"/>
                  </a:lnTo>
                  <a:lnTo>
                    <a:pt x="510" y="318"/>
                  </a:lnTo>
                  <a:lnTo>
                    <a:pt x="510" y="282"/>
                  </a:lnTo>
                  <a:lnTo>
                    <a:pt x="516" y="240"/>
                  </a:lnTo>
                  <a:lnTo>
                    <a:pt x="510" y="198"/>
                  </a:lnTo>
                  <a:lnTo>
                    <a:pt x="474" y="162"/>
                  </a:lnTo>
                  <a:lnTo>
                    <a:pt x="450" y="174"/>
                  </a:lnTo>
                  <a:lnTo>
                    <a:pt x="432" y="162"/>
                  </a:lnTo>
                  <a:lnTo>
                    <a:pt x="420" y="174"/>
                  </a:lnTo>
                  <a:lnTo>
                    <a:pt x="408" y="162"/>
                  </a:lnTo>
                  <a:lnTo>
                    <a:pt x="384" y="150"/>
                  </a:lnTo>
                  <a:lnTo>
                    <a:pt x="366" y="162"/>
                  </a:lnTo>
                  <a:lnTo>
                    <a:pt x="354" y="198"/>
                  </a:lnTo>
                  <a:lnTo>
                    <a:pt x="342" y="198"/>
                  </a:lnTo>
                  <a:lnTo>
                    <a:pt x="288" y="150"/>
                  </a:lnTo>
                  <a:lnTo>
                    <a:pt x="288" y="162"/>
                  </a:lnTo>
                  <a:lnTo>
                    <a:pt x="264" y="132"/>
                  </a:lnTo>
                  <a:lnTo>
                    <a:pt x="264" y="120"/>
                  </a:lnTo>
                  <a:lnTo>
                    <a:pt x="276" y="78"/>
                  </a:lnTo>
                  <a:lnTo>
                    <a:pt x="276" y="54"/>
                  </a:lnTo>
                  <a:lnTo>
                    <a:pt x="222" y="0"/>
                  </a:lnTo>
                  <a:lnTo>
                    <a:pt x="156" y="1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68" y="42"/>
                  </a:lnTo>
                  <a:lnTo>
                    <a:pt x="168" y="30"/>
                  </a:lnTo>
                  <a:lnTo>
                    <a:pt x="180" y="30"/>
                  </a:lnTo>
                  <a:lnTo>
                    <a:pt x="186" y="18"/>
                  </a:lnTo>
                  <a:lnTo>
                    <a:pt x="210" y="18"/>
                  </a:lnTo>
                  <a:lnTo>
                    <a:pt x="222" y="30"/>
                  </a:lnTo>
                  <a:lnTo>
                    <a:pt x="234" y="42"/>
                  </a:lnTo>
                  <a:lnTo>
                    <a:pt x="234" y="54"/>
                  </a:lnTo>
                  <a:lnTo>
                    <a:pt x="234" y="78"/>
                  </a:lnTo>
                  <a:lnTo>
                    <a:pt x="222" y="96"/>
                  </a:lnTo>
                  <a:lnTo>
                    <a:pt x="234" y="120"/>
                  </a:lnTo>
                  <a:lnTo>
                    <a:pt x="210" y="144"/>
                  </a:lnTo>
                  <a:lnTo>
                    <a:pt x="198" y="132"/>
                  </a:lnTo>
                  <a:lnTo>
                    <a:pt x="180" y="132"/>
                  </a:lnTo>
                  <a:lnTo>
                    <a:pt x="168" y="120"/>
                  </a:lnTo>
                  <a:lnTo>
                    <a:pt x="186" y="96"/>
                  </a:lnTo>
                  <a:lnTo>
                    <a:pt x="168" y="96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32" y="78"/>
                  </a:lnTo>
                  <a:lnTo>
                    <a:pt x="114" y="78"/>
                  </a:lnTo>
                  <a:lnTo>
                    <a:pt x="114" y="84"/>
                  </a:lnTo>
                  <a:lnTo>
                    <a:pt x="102" y="84"/>
                  </a:lnTo>
                  <a:lnTo>
                    <a:pt x="90" y="84"/>
                  </a:lnTo>
                  <a:lnTo>
                    <a:pt x="78" y="120"/>
                  </a:lnTo>
                  <a:lnTo>
                    <a:pt x="90" y="120"/>
                  </a:lnTo>
                  <a:lnTo>
                    <a:pt x="102" y="144"/>
                  </a:lnTo>
                  <a:lnTo>
                    <a:pt x="114" y="150"/>
                  </a:lnTo>
                  <a:lnTo>
                    <a:pt x="102" y="150"/>
                  </a:lnTo>
                  <a:lnTo>
                    <a:pt x="102" y="162"/>
                  </a:lnTo>
                  <a:lnTo>
                    <a:pt x="90" y="150"/>
                  </a:lnTo>
                  <a:lnTo>
                    <a:pt x="78" y="150"/>
                  </a:lnTo>
                  <a:lnTo>
                    <a:pt x="66" y="162"/>
                  </a:lnTo>
                  <a:lnTo>
                    <a:pt x="78" y="186"/>
                  </a:lnTo>
                  <a:lnTo>
                    <a:pt x="66" y="210"/>
                  </a:lnTo>
                  <a:lnTo>
                    <a:pt x="78" y="210"/>
                  </a:lnTo>
                  <a:lnTo>
                    <a:pt x="66" y="228"/>
                  </a:lnTo>
                  <a:lnTo>
                    <a:pt x="60" y="216"/>
                  </a:lnTo>
                  <a:lnTo>
                    <a:pt x="48" y="240"/>
                  </a:lnTo>
                  <a:lnTo>
                    <a:pt x="36" y="252"/>
                  </a:lnTo>
                  <a:lnTo>
                    <a:pt x="12" y="264"/>
                  </a:lnTo>
                  <a:lnTo>
                    <a:pt x="12" y="282"/>
                  </a:lnTo>
                  <a:lnTo>
                    <a:pt x="0" y="294"/>
                  </a:lnTo>
                  <a:lnTo>
                    <a:pt x="0" y="30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3" name="Freeform 38"/>
            <p:cNvSpPr>
              <a:spLocks/>
            </p:cNvSpPr>
            <p:nvPr/>
          </p:nvSpPr>
          <p:spPr bwMode="auto">
            <a:xfrm>
              <a:off x="1350" y="3657"/>
              <a:ext cx="607" cy="248"/>
            </a:xfrm>
            <a:custGeom>
              <a:avLst/>
              <a:gdLst>
                <a:gd name="T0" fmla="*/ 127 w 607"/>
                <a:gd name="T1" fmla="*/ 26 h 248"/>
                <a:gd name="T2" fmla="*/ 137 w 607"/>
                <a:gd name="T3" fmla="*/ 47 h 248"/>
                <a:gd name="T4" fmla="*/ 137 w 607"/>
                <a:gd name="T5" fmla="*/ 58 h 248"/>
                <a:gd name="T6" fmla="*/ 164 w 607"/>
                <a:gd name="T7" fmla="*/ 69 h 248"/>
                <a:gd name="T8" fmla="*/ 185 w 607"/>
                <a:gd name="T9" fmla="*/ 69 h 248"/>
                <a:gd name="T10" fmla="*/ 185 w 607"/>
                <a:gd name="T11" fmla="*/ 95 h 248"/>
                <a:gd name="T12" fmla="*/ 201 w 607"/>
                <a:gd name="T13" fmla="*/ 116 h 248"/>
                <a:gd name="T14" fmla="*/ 185 w 607"/>
                <a:gd name="T15" fmla="*/ 132 h 248"/>
                <a:gd name="T16" fmla="*/ 143 w 607"/>
                <a:gd name="T17" fmla="*/ 132 h 248"/>
                <a:gd name="T18" fmla="*/ 95 w 607"/>
                <a:gd name="T19" fmla="*/ 116 h 248"/>
                <a:gd name="T20" fmla="*/ 74 w 607"/>
                <a:gd name="T21" fmla="*/ 127 h 248"/>
                <a:gd name="T22" fmla="*/ 58 w 607"/>
                <a:gd name="T23" fmla="*/ 116 h 248"/>
                <a:gd name="T24" fmla="*/ 48 w 607"/>
                <a:gd name="T25" fmla="*/ 84 h 248"/>
                <a:gd name="T26" fmla="*/ 11 w 607"/>
                <a:gd name="T27" fmla="*/ 95 h 248"/>
                <a:gd name="T28" fmla="*/ 16 w 607"/>
                <a:gd name="T29" fmla="*/ 132 h 248"/>
                <a:gd name="T30" fmla="*/ 48 w 607"/>
                <a:gd name="T31" fmla="*/ 153 h 248"/>
                <a:gd name="T32" fmla="*/ 74 w 607"/>
                <a:gd name="T33" fmla="*/ 164 h 248"/>
                <a:gd name="T34" fmla="*/ 84 w 607"/>
                <a:gd name="T35" fmla="*/ 179 h 248"/>
                <a:gd name="T36" fmla="*/ 127 w 607"/>
                <a:gd name="T37" fmla="*/ 201 h 248"/>
                <a:gd name="T38" fmla="*/ 201 w 607"/>
                <a:gd name="T39" fmla="*/ 232 h 248"/>
                <a:gd name="T40" fmla="*/ 211 w 607"/>
                <a:gd name="T41" fmla="*/ 222 h 248"/>
                <a:gd name="T42" fmla="*/ 232 w 607"/>
                <a:gd name="T43" fmla="*/ 190 h 248"/>
                <a:gd name="T44" fmla="*/ 269 w 607"/>
                <a:gd name="T45" fmla="*/ 211 h 248"/>
                <a:gd name="T46" fmla="*/ 327 w 607"/>
                <a:gd name="T47" fmla="*/ 201 h 248"/>
                <a:gd name="T48" fmla="*/ 359 w 607"/>
                <a:gd name="T49" fmla="*/ 248 h 248"/>
                <a:gd name="T50" fmla="*/ 406 w 607"/>
                <a:gd name="T51" fmla="*/ 222 h 248"/>
                <a:gd name="T52" fmla="*/ 428 w 607"/>
                <a:gd name="T53" fmla="*/ 222 h 248"/>
                <a:gd name="T54" fmla="*/ 475 w 607"/>
                <a:gd name="T55" fmla="*/ 222 h 248"/>
                <a:gd name="T56" fmla="*/ 523 w 607"/>
                <a:gd name="T57" fmla="*/ 211 h 248"/>
                <a:gd name="T58" fmla="*/ 533 w 607"/>
                <a:gd name="T59" fmla="*/ 211 h 248"/>
                <a:gd name="T60" fmla="*/ 607 w 607"/>
                <a:gd name="T61" fmla="*/ 211 h 248"/>
                <a:gd name="T62" fmla="*/ 591 w 607"/>
                <a:gd name="T63" fmla="*/ 179 h 248"/>
                <a:gd name="T64" fmla="*/ 559 w 607"/>
                <a:gd name="T65" fmla="*/ 174 h 248"/>
                <a:gd name="T66" fmla="*/ 559 w 607"/>
                <a:gd name="T67" fmla="*/ 153 h 248"/>
                <a:gd name="T68" fmla="*/ 512 w 607"/>
                <a:gd name="T69" fmla="*/ 127 h 248"/>
                <a:gd name="T70" fmla="*/ 464 w 607"/>
                <a:gd name="T71" fmla="*/ 106 h 248"/>
                <a:gd name="T72" fmla="*/ 406 w 607"/>
                <a:gd name="T73" fmla="*/ 74 h 248"/>
                <a:gd name="T74" fmla="*/ 359 w 607"/>
                <a:gd name="T75" fmla="*/ 47 h 248"/>
                <a:gd name="T76" fmla="*/ 338 w 607"/>
                <a:gd name="T77" fmla="*/ 26 h 248"/>
                <a:gd name="T78" fmla="*/ 301 w 607"/>
                <a:gd name="T79" fmla="*/ 26 h 248"/>
                <a:gd name="T80" fmla="*/ 269 w 607"/>
                <a:gd name="T81" fmla="*/ 37 h 248"/>
                <a:gd name="T82" fmla="*/ 248 w 607"/>
                <a:gd name="T83" fmla="*/ 21 h 248"/>
                <a:gd name="T84" fmla="*/ 222 w 607"/>
                <a:gd name="T85" fmla="*/ 0 h 248"/>
                <a:gd name="T86" fmla="*/ 201 w 607"/>
                <a:gd name="T87" fmla="*/ 0 h 248"/>
                <a:gd name="T88" fmla="*/ 153 w 607"/>
                <a:gd name="T89" fmla="*/ 11 h 24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607" h="248">
                  <a:moveTo>
                    <a:pt x="153" y="21"/>
                  </a:moveTo>
                  <a:lnTo>
                    <a:pt x="127" y="26"/>
                  </a:lnTo>
                  <a:lnTo>
                    <a:pt x="127" y="37"/>
                  </a:lnTo>
                  <a:lnTo>
                    <a:pt x="137" y="47"/>
                  </a:lnTo>
                  <a:lnTo>
                    <a:pt x="127" y="58"/>
                  </a:lnTo>
                  <a:lnTo>
                    <a:pt x="137" y="58"/>
                  </a:lnTo>
                  <a:lnTo>
                    <a:pt x="153" y="58"/>
                  </a:lnTo>
                  <a:lnTo>
                    <a:pt x="164" y="69"/>
                  </a:lnTo>
                  <a:lnTo>
                    <a:pt x="174" y="58"/>
                  </a:lnTo>
                  <a:lnTo>
                    <a:pt x="185" y="69"/>
                  </a:lnTo>
                  <a:lnTo>
                    <a:pt x="174" y="74"/>
                  </a:lnTo>
                  <a:lnTo>
                    <a:pt x="185" y="95"/>
                  </a:lnTo>
                  <a:lnTo>
                    <a:pt x="185" y="106"/>
                  </a:lnTo>
                  <a:lnTo>
                    <a:pt x="201" y="116"/>
                  </a:lnTo>
                  <a:lnTo>
                    <a:pt x="201" y="132"/>
                  </a:lnTo>
                  <a:lnTo>
                    <a:pt x="185" y="132"/>
                  </a:lnTo>
                  <a:lnTo>
                    <a:pt x="164" y="142"/>
                  </a:lnTo>
                  <a:lnTo>
                    <a:pt x="143" y="132"/>
                  </a:lnTo>
                  <a:lnTo>
                    <a:pt x="106" y="127"/>
                  </a:lnTo>
                  <a:lnTo>
                    <a:pt x="95" y="116"/>
                  </a:lnTo>
                  <a:lnTo>
                    <a:pt x="84" y="127"/>
                  </a:lnTo>
                  <a:lnTo>
                    <a:pt x="74" y="127"/>
                  </a:lnTo>
                  <a:lnTo>
                    <a:pt x="69" y="127"/>
                  </a:lnTo>
                  <a:lnTo>
                    <a:pt x="58" y="116"/>
                  </a:lnTo>
                  <a:lnTo>
                    <a:pt x="58" y="106"/>
                  </a:lnTo>
                  <a:lnTo>
                    <a:pt x="48" y="84"/>
                  </a:lnTo>
                  <a:lnTo>
                    <a:pt x="26" y="84"/>
                  </a:lnTo>
                  <a:lnTo>
                    <a:pt x="11" y="95"/>
                  </a:lnTo>
                  <a:lnTo>
                    <a:pt x="0" y="116"/>
                  </a:lnTo>
                  <a:lnTo>
                    <a:pt x="16" y="132"/>
                  </a:lnTo>
                  <a:lnTo>
                    <a:pt x="37" y="142"/>
                  </a:lnTo>
                  <a:lnTo>
                    <a:pt x="48" y="153"/>
                  </a:lnTo>
                  <a:lnTo>
                    <a:pt x="69" y="164"/>
                  </a:lnTo>
                  <a:lnTo>
                    <a:pt x="74" y="164"/>
                  </a:lnTo>
                  <a:lnTo>
                    <a:pt x="84" y="174"/>
                  </a:lnTo>
                  <a:lnTo>
                    <a:pt x="84" y="179"/>
                  </a:lnTo>
                  <a:lnTo>
                    <a:pt x="106" y="190"/>
                  </a:lnTo>
                  <a:lnTo>
                    <a:pt x="127" y="201"/>
                  </a:lnTo>
                  <a:lnTo>
                    <a:pt x="143" y="211"/>
                  </a:lnTo>
                  <a:lnTo>
                    <a:pt x="201" y="232"/>
                  </a:lnTo>
                  <a:lnTo>
                    <a:pt x="211" y="237"/>
                  </a:lnTo>
                  <a:lnTo>
                    <a:pt x="211" y="222"/>
                  </a:lnTo>
                  <a:lnTo>
                    <a:pt x="211" y="201"/>
                  </a:lnTo>
                  <a:lnTo>
                    <a:pt x="232" y="190"/>
                  </a:lnTo>
                  <a:lnTo>
                    <a:pt x="248" y="201"/>
                  </a:lnTo>
                  <a:lnTo>
                    <a:pt x="269" y="211"/>
                  </a:lnTo>
                  <a:lnTo>
                    <a:pt x="290" y="211"/>
                  </a:lnTo>
                  <a:lnTo>
                    <a:pt x="327" y="201"/>
                  </a:lnTo>
                  <a:lnTo>
                    <a:pt x="338" y="211"/>
                  </a:lnTo>
                  <a:lnTo>
                    <a:pt x="359" y="248"/>
                  </a:lnTo>
                  <a:lnTo>
                    <a:pt x="396" y="227"/>
                  </a:lnTo>
                  <a:lnTo>
                    <a:pt x="406" y="222"/>
                  </a:lnTo>
                  <a:lnTo>
                    <a:pt x="417" y="211"/>
                  </a:lnTo>
                  <a:lnTo>
                    <a:pt x="428" y="222"/>
                  </a:lnTo>
                  <a:lnTo>
                    <a:pt x="454" y="227"/>
                  </a:lnTo>
                  <a:lnTo>
                    <a:pt x="475" y="222"/>
                  </a:lnTo>
                  <a:lnTo>
                    <a:pt x="486" y="227"/>
                  </a:lnTo>
                  <a:lnTo>
                    <a:pt x="523" y="211"/>
                  </a:lnTo>
                  <a:lnTo>
                    <a:pt x="523" y="201"/>
                  </a:lnTo>
                  <a:lnTo>
                    <a:pt x="533" y="211"/>
                  </a:lnTo>
                  <a:lnTo>
                    <a:pt x="591" y="211"/>
                  </a:lnTo>
                  <a:lnTo>
                    <a:pt x="607" y="211"/>
                  </a:lnTo>
                  <a:lnTo>
                    <a:pt x="602" y="201"/>
                  </a:lnTo>
                  <a:lnTo>
                    <a:pt x="591" y="179"/>
                  </a:lnTo>
                  <a:lnTo>
                    <a:pt x="581" y="174"/>
                  </a:lnTo>
                  <a:lnTo>
                    <a:pt x="559" y="174"/>
                  </a:lnTo>
                  <a:lnTo>
                    <a:pt x="559" y="164"/>
                  </a:lnTo>
                  <a:lnTo>
                    <a:pt x="559" y="153"/>
                  </a:lnTo>
                  <a:lnTo>
                    <a:pt x="538" y="142"/>
                  </a:lnTo>
                  <a:lnTo>
                    <a:pt x="512" y="127"/>
                  </a:lnTo>
                  <a:lnTo>
                    <a:pt x="491" y="127"/>
                  </a:lnTo>
                  <a:lnTo>
                    <a:pt x="464" y="106"/>
                  </a:lnTo>
                  <a:lnTo>
                    <a:pt x="443" y="95"/>
                  </a:lnTo>
                  <a:lnTo>
                    <a:pt x="406" y="74"/>
                  </a:lnTo>
                  <a:lnTo>
                    <a:pt x="375" y="69"/>
                  </a:lnTo>
                  <a:lnTo>
                    <a:pt x="359" y="47"/>
                  </a:lnTo>
                  <a:lnTo>
                    <a:pt x="348" y="26"/>
                  </a:lnTo>
                  <a:lnTo>
                    <a:pt x="338" y="26"/>
                  </a:lnTo>
                  <a:lnTo>
                    <a:pt x="317" y="21"/>
                  </a:lnTo>
                  <a:lnTo>
                    <a:pt x="301" y="26"/>
                  </a:lnTo>
                  <a:lnTo>
                    <a:pt x="280" y="37"/>
                  </a:lnTo>
                  <a:lnTo>
                    <a:pt x="269" y="37"/>
                  </a:lnTo>
                  <a:lnTo>
                    <a:pt x="259" y="26"/>
                  </a:lnTo>
                  <a:lnTo>
                    <a:pt x="248" y="21"/>
                  </a:lnTo>
                  <a:lnTo>
                    <a:pt x="243" y="11"/>
                  </a:lnTo>
                  <a:lnTo>
                    <a:pt x="222" y="0"/>
                  </a:lnTo>
                  <a:lnTo>
                    <a:pt x="211" y="0"/>
                  </a:lnTo>
                  <a:lnTo>
                    <a:pt x="201" y="0"/>
                  </a:lnTo>
                  <a:lnTo>
                    <a:pt x="185" y="0"/>
                  </a:lnTo>
                  <a:lnTo>
                    <a:pt x="153" y="11"/>
                  </a:lnTo>
                  <a:lnTo>
                    <a:pt x="153" y="21"/>
                  </a:lnTo>
                  <a:close/>
                </a:path>
              </a:pathLst>
            </a:custGeom>
            <a:solidFill>
              <a:srgbClr val="9FFFAE"/>
            </a:solidFill>
            <a:ln w="317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4" name="Freeform 39"/>
            <p:cNvSpPr>
              <a:spLocks/>
            </p:cNvSpPr>
            <p:nvPr/>
          </p:nvSpPr>
          <p:spPr bwMode="auto">
            <a:xfrm>
              <a:off x="1186" y="3704"/>
              <a:ext cx="396" cy="317"/>
            </a:xfrm>
            <a:custGeom>
              <a:avLst/>
              <a:gdLst>
                <a:gd name="T0" fmla="*/ 4 w 450"/>
                <a:gd name="T1" fmla="*/ 4 h 360"/>
                <a:gd name="T2" fmla="*/ 4 w 450"/>
                <a:gd name="T3" fmla="*/ 4 h 360"/>
                <a:gd name="T4" fmla="*/ 4 w 450"/>
                <a:gd name="T5" fmla="*/ 4 h 360"/>
                <a:gd name="T6" fmla="*/ 4 w 450"/>
                <a:gd name="T7" fmla="*/ 4 h 360"/>
                <a:gd name="T8" fmla="*/ 4 w 450"/>
                <a:gd name="T9" fmla="*/ 4 h 360"/>
                <a:gd name="T10" fmla="*/ 4 w 450"/>
                <a:gd name="T11" fmla="*/ 4 h 360"/>
                <a:gd name="T12" fmla="*/ 4 w 450"/>
                <a:gd name="T13" fmla="*/ 4 h 360"/>
                <a:gd name="T14" fmla="*/ 4 w 450"/>
                <a:gd name="T15" fmla="*/ 4 h 360"/>
                <a:gd name="T16" fmla="*/ 4 w 450"/>
                <a:gd name="T17" fmla="*/ 4 h 360"/>
                <a:gd name="T18" fmla="*/ 4 w 450"/>
                <a:gd name="T19" fmla="*/ 4 h 360"/>
                <a:gd name="T20" fmla="*/ 4 w 450"/>
                <a:gd name="T21" fmla="*/ 4 h 360"/>
                <a:gd name="T22" fmla="*/ 4 w 450"/>
                <a:gd name="T23" fmla="*/ 4 h 360"/>
                <a:gd name="T24" fmla="*/ 4 w 450"/>
                <a:gd name="T25" fmla="*/ 4 h 360"/>
                <a:gd name="T26" fmla="*/ 4 w 450"/>
                <a:gd name="T27" fmla="*/ 0 h 360"/>
                <a:gd name="T28" fmla="*/ 4 w 450"/>
                <a:gd name="T29" fmla="*/ 4 h 360"/>
                <a:gd name="T30" fmla="*/ 4 w 450"/>
                <a:gd name="T31" fmla="*/ 4 h 360"/>
                <a:gd name="T32" fmla="*/ 4 w 450"/>
                <a:gd name="T33" fmla="*/ 4 h 360"/>
                <a:gd name="T34" fmla="*/ 4 w 450"/>
                <a:gd name="T35" fmla="*/ 4 h 360"/>
                <a:gd name="T36" fmla="*/ 4 w 450"/>
                <a:gd name="T37" fmla="*/ 4 h 360"/>
                <a:gd name="T38" fmla="*/ 4 w 450"/>
                <a:gd name="T39" fmla="*/ 4 h 360"/>
                <a:gd name="T40" fmla="*/ 0 w 450"/>
                <a:gd name="T41" fmla="*/ 4 h 360"/>
                <a:gd name="T42" fmla="*/ 4 w 450"/>
                <a:gd name="T43" fmla="*/ 4 h 360"/>
                <a:gd name="T44" fmla="*/ 4 w 450"/>
                <a:gd name="T45" fmla="*/ 4 h 360"/>
                <a:gd name="T46" fmla="*/ 4 w 450"/>
                <a:gd name="T47" fmla="*/ 4 h 360"/>
                <a:gd name="T48" fmla="*/ 4 w 450"/>
                <a:gd name="T49" fmla="*/ 4 h 360"/>
                <a:gd name="T50" fmla="*/ 4 w 450"/>
                <a:gd name="T51" fmla="*/ 4 h 360"/>
                <a:gd name="T52" fmla="*/ 4 w 450"/>
                <a:gd name="T53" fmla="*/ 4 h 360"/>
                <a:gd name="T54" fmla="*/ 4 w 450"/>
                <a:gd name="T55" fmla="*/ 4 h 360"/>
                <a:gd name="T56" fmla="*/ 4 w 450"/>
                <a:gd name="T57" fmla="*/ 4 h 360"/>
                <a:gd name="T58" fmla="*/ 4 w 450"/>
                <a:gd name="T59" fmla="*/ 4 h 360"/>
                <a:gd name="T60" fmla="*/ 4 w 450"/>
                <a:gd name="T61" fmla="*/ 4 h 360"/>
                <a:gd name="T62" fmla="*/ 4 w 450"/>
                <a:gd name="T63" fmla="*/ 4 h 360"/>
                <a:gd name="T64" fmla="*/ 4 w 450"/>
                <a:gd name="T65" fmla="*/ 4 h 360"/>
                <a:gd name="T66" fmla="*/ 4 w 450"/>
                <a:gd name="T67" fmla="*/ 4 h 360"/>
                <a:gd name="T68" fmla="*/ 4 w 450"/>
                <a:gd name="T69" fmla="*/ 4 h 360"/>
                <a:gd name="T70" fmla="*/ 4 w 450"/>
                <a:gd name="T71" fmla="*/ 4 h 360"/>
                <a:gd name="T72" fmla="*/ 4 w 450"/>
                <a:gd name="T73" fmla="*/ 4 h 360"/>
                <a:gd name="T74" fmla="*/ 5 w 450"/>
                <a:gd name="T75" fmla="*/ 4 h 360"/>
                <a:gd name="T76" fmla="*/ 6 w 450"/>
                <a:gd name="T77" fmla="*/ 4 h 360"/>
                <a:gd name="T78" fmla="*/ 6 w 450"/>
                <a:gd name="T79" fmla="*/ 4 h 360"/>
                <a:gd name="T80" fmla="*/ 6 w 450"/>
                <a:gd name="T81" fmla="*/ 4 h 360"/>
                <a:gd name="T82" fmla="*/ 6 w 450"/>
                <a:gd name="T83" fmla="*/ 4 h 360"/>
                <a:gd name="T84" fmla="*/ 6 w 450"/>
                <a:gd name="T85" fmla="*/ 4 h 360"/>
                <a:gd name="T86" fmla="*/ 6 w 450"/>
                <a:gd name="T87" fmla="*/ 4 h 3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50" h="360">
                  <a:moveTo>
                    <a:pt x="414" y="210"/>
                  </a:moveTo>
                  <a:lnTo>
                    <a:pt x="348" y="186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70" y="132"/>
                  </a:lnTo>
                  <a:lnTo>
                    <a:pt x="264" y="132"/>
                  </a:lnTo>
                  <a:lnTo>
                    <a:pt x="240" y="120"/>
                  </a:lnTo>
                  <a:lnTo>
                    <a:pt x="228" y="108"/>
                  </a:lnTo>
                  <a:lnTo>
                    <a:pt x="204" y="96"/>
                  </a:lnTo>
                  <a:lnTo>
                    <a:pt x="186" y="78"/>
                  </a:lnTo>
                  <a:lnTo>
                    <a:pt x="198" y="54"/>
                  </a:lnTo>
                  <a:lnTo>
                    <a:pt x="216" y="42"/>
                  </a:lnTo>
                  <a:lnTo>
                    <a:pt x="240" y="42"/>
                  </a:lnTo>
                  <a:lnTo>
                    <a:pt x="252" y="66"/>
                  </a:lnTo>
                  <a:lnTo>
                    <a:pt x="252" y="78"/>
                  </a:lnTo>
                  <a:lnTo>
                    <a:pt x="264" y="90"/>
                  </a:lnTo>
                  <a:lnTo>
                    <a:pt x="270" y="90"/>
                  </a:lnTo>
                  <a:lnTo>
                    <a:pt x="282" y="90"/>
                  </a:lnTo>
                  <a:lnTo>
                    <a:pt x="294" y="78"/>
                  </a:lnTo>
                  <a:lnTo>
                    <a:pt x="306" y="78"/>
                  </a:lnTo>
                  <a:lnTo>
                    <a:pt x="282" y="66"/>
                  </a:lnTo>
                  <a:lnTo>
                    <a:pt x="270" y="54"/>
                  </a:lnTo>
                  <a:lnTo>
                    <a:pt x="306" y="42"/>
                  </a:lnTo>
                  <a:lnTo>
                    <a:pt x="294" y="24"/>
                  </a:lnTo>
                  <a:lnTo>
                    <a:pt x="252" y="24"/>
                  </a:lnTo>
                  <a:lnTo>
                    <a:pt x="228" y="0"/>
                  </a:lnTo>
                  <a:lnTo>
                    <a:pt x="198" y="30"/>
                  </a:lnTo>
                  <a:lnTo>
                    <a:pt x="150" y="24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84" y="24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96" y="90"/>
                  </a:lnTo>
                  <a:lnTo>
                    <a:pt x="72" y="108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30" y="150"/>
                  </a:lnTo>
                  <a:lnTo>
                    <a:pt x="0" y="174"/>
                  </a:lnTo>
                  <a:lnTo>
                    <a:pt x="12" y="204"/>
                  </a:lnTo>
                  <a:lnTo>
                    <a:pt x="18" y="216"/>
                  </a:lnTo>
                  <a:lnTo>
                    <a:pt x="30" y="204"/>
                  </a:lnTo>
                  <a:lnTo>
                    <a:pt x="54" y="216"/>
                  </a:lnTo>
                  <a:lnTo>
                    <a:pt x="66" y="228"/>
                  </a:lnTo>
                  <a:lnTo>
                    <a:pt x="72" y="240"/>
                  </a:lnTo>
                  <a:lnTo>
                    <a:pt x="84" y="240"/>
                  </a:lnTo>
                  <a:lnTo>
                    <a:pt x="96" y="204"/>
                  </a:lnTo>
                  <a:lnTo>
                    <a:pt x="120" y="198"/>
                  </a:lnTo>
                  <a:lnTo>
                    <a:pt x="132" y="198"/>
                  </a:lnTo>
                  <a:lnTo>
                    <a:pt x="144" y="216"/>
                  </a:lnTo>
                  <a:lnTo>
                    <a:pt x="150" y="240"/>
                  </a:lnTo>
                  <a:lnTo>
                    <a:pt x="162" y="228"/>
                  </a:lnTo>
                  <a:lnTo>
                    <a:pt x="162" y="216"/>
                  </a:lnTo>
                  <a:lnTo>
                    <a:pt x="174" y="204"/>
                  </a:lnTo>
                  <a:lnTo>
                    <a:pt x="198" y="198"/>
                  </a:lnTo>
                  <a:lnTo>
                    <a:pt x="216" y="204"/>
                  </a:lnTo>
                  <a:lnTo>
                    <a:pt x="228" y="216"/>
                  </a:lnTo>
                  <a:lnTo>
                    <a:pt x="216" y="228"/>
                  </a:lnTo>
                  <a:lnTo>
                    <a:pt x="216" y="240"/>
                  </a:lnTo>
                  <a:lnTo>
                    <a:pt x="228" y="264"/>
                  </a:lnTo>
                  <a:lnTo>
                    <a:pt x="216" y="282"/>
                  </a:lnTo>
                  <a:lnTo>
                    <a:pt x="198" y="306"/>
                  </a:lnTo>
                  <a:lnTo>
                    <a:pt x="198" y="330"/>
                  </a:lnTo>
                  <a:lnTo>
                    <a:pt x="216" y="336"/>
                  </a:lnTo>
                  <a:lnTo>
                    <a:pt x="240" y="336"/>
                  </a:lnTo>
                  <a:lnTo>
                    <a:pt x="252" y="336"/>
                  </a:lnTo>
                  <a:lnTo>
                    <a:pt x="270" y="336"/>
                  </a:lnTo>
                  <a:lnTo>
                    <a:pt x="282" y="348"/>
                  </a:lnTo>
                  <a:lnTo>
                    <a:pt x="306" y="336"/>
                  </a:lnTo>
                  <a:lnTo>
                    <a:pt x="318" y="336"/>
                  </a:lnTo>
                  <a:lnTo>
                    <a:pt x="342" y="348"/>
                  </a:lnTo>
                  <a:lnTo>
                    <a:pt x="360" y="360"/>
                  </a:lnTo>
                  <a:lnTo>
                    <a:pt x="384" y="360"/>
                  </a:lnTo>
                  <a:lnTo>
                    <a:pt x="426" y="360"/>
                  </a:lnTo>
                  <a:lnTo>
                    <a:pt x="438" y="348"/>
                  </a:lnTo>
                  <a:lnTo>
                    <a:pt x="426" y="336"/>
                  </a:lnTo>
                  <a:lnTo>
                    <a:pt x="438" y="330"/>
                  </a:lnTo>
                  <a:lnTo>
                    <a:pt x="438" y="306"/>
                  </a:lnTo>
                  <a:lnTo>
                    <a:pt x="450" y="306"/>
                  </a:lnTo>
                  <a:lnTo>
                    <a:pt x="438" y="282"/>
                  </a:lnTo>
                  <a:lnTo>
                    <a:pt x="414" y="264"/>
                  </a:lnTo>
                  <a:lnTo>
                    <a:pt x="396" y="252"/>
                  </a:lnTo>
                  <a:lnTo>
                    <a:pt x="414" y="228"/>
                  </a:lnTo>
                  <a:lnTo>
                    <a:pt x="432" y="216"/>
                  </a:lnTo>
                  <a:lnTo>
                    <a:pt x="414" y="210"/>
                  </a:lnTo>
                  <a:close/>
                </a:path>
              </a:pathLst>
            </a:custGeom>
            <a:solidFill>
              <a:srgbClr val="9FFFAE"/>
            </a:solidFill>
            <a:ln w="317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5" name="Freeform 40"/>
            <p:cNvSpPr>
              <a:spLocks/>
            </p:cNvSpPr>
            <p:nvPr/>
          </p:nvSpPr>
          <p:spPr bwMode="auto">
            <a:xfrm>
              <a:off x="1186" y="3704"/>
              <a:ext cx="396" cy="317"/>
            </a:xfrm>
            <a:custGeom>
              <a:avLst/>
              <a:gdLst>
                <a:gd name="T0" fmla="*/ 4 w 450"/>
                <a:gd name="T1" fmla="*/ 4 h 360"/>
                <a:gd name="T2" fmla="*/ 4 w 450"/>
                <a:gd name="T3" fmla="*/ 4 h 360"/>
                <a:gd name="T4" fmla="*/ 4 w 450"/>
                <a:gd name="T5" fmla="*/ 4 h 360"/>
                <a:gd name="T6" fmla="*/ 4 w 450"/>
                <a:gd name="T7" fmla="*/ 4 h 360"/>
                <a:gd name="T8" fmla="*/ 4 w 450"/>
                <a:gd name="T9" fmla="*/ 4 h 360"/>
                <a:gd name="T10" fmla="*/ 4 w 450"/>
                <a:gd name="T11" fmla="*/ 4 h 360"/>
                <a:gd name="T12" fmla="*/ 4 w 450"/>
                <a:gd name="T13" fmla="*/ 4 h 360"/>
                <a:gd name="T14" fmla="*/ 4 w 450"/>
                <a:gd name="T15" fmla="*/ 4 h 360"/>
                <a:gd name="T16" fmla="*/ 4 w 450"/>
                <a:gd name="T17" fmla="*/ 4 h 360"/>
                <a:gd name="T18" fmla="*/ 4 w 450"/>
                <a:gd name="T19" fmla="*/ 4 h 360"/>
                <a:gd name="T20" fmla="*/ 4 w 450"/>
                <a:gd name="T21" fmla="*/ 4 h 360"/>
                <a:gd name="T22" fmla="*/ 4 w 450"/>
                <a:gd name="T23" fmla="*/ 4 h 360"/>
                <a:gd name="T24" fmla="*/ 4 w 450"/>
                <a:gd name="T25" fmla="*/ 4 h 360"/>
                <a:gd name="T26" fmla="*/ 4 w 450"/>
                <a:gd name="T27" fmla="*/ 0 h 360"/>
                <a:gd name="T28" fmla="*/ 4 w 450"/>
                <a:gd name="T29" fmla="*/ 4 h 360"/>
                <a:gd name="T30" fmla="*/ 4 w 450"/>
                <a:gd name="T31" fmla="*/ 4 h 360"/>
                <a:gd name="T32" fmla="*/ 4 w 450"/>
                <a:gd name="T33" fmla="*/ 4 h 360"/>
                <a:gd name="T34" fmla="*/ 4 w 450"/>
                <a:gd name="T35" fmla="*/ 4 h 360"/>
                <a:gd name="T36" fmla="*/ 4 w 450"/>
                <a:gd name="T37" fmla="*/ 4 h 360"/>
                <a:gd name="T38" fmla="*/ 4 w 450"/>
                <a:gd name="T39" fmla="*/ 4 h 360"/>
                <a:gd name="T40" fmla="*/ 0 w 450"/>
                <a:gd name="T41" fmla="*/ 4 h 360"/>
                <a:gd name="T42" fmla="*/ 4 w 450"/>
                <a:gd name="T43" fmla="*/ 4 h 360"/>
                <a:gd name="T44" fmla="*/ 4 w 450"/>
                <a:gd name="T45" fmla="*/ 4 h 360"/>
                <a:gd name="T46" fmla="*/ 4 w 450"/>
                <a:gd name="T47" fmla="*/ 4 h 360"/>
                <a:gd name="T48" fmla="*/ 4 w 450"/>
                <a:gd name="T49" fmla="*/ 4 h 360"/>
                <a:gd name="T50" fmla="*/ 4 w 450"/>
                <a:gd name="T51" fmla="*/ 4 h 360"/>
                <a:gd name="T52" fmla="*/ 4 w 450"/>
                <a:gd name="T53" fmla="*/ 4 h 360"/>
                <a:gd name="T54" fmla="*/ 4 w 450"/>
                <a:gd name="T55" fmla="*/ 4 h 360"/>
                <a:gd name="T56" fmla="*/ 4 w 450"/>
                <a:gd name="T57" fmla="*/ 4 h 360"/>
                <a:gd name="T58" fmla="*/ 4 w 450"/>
                <a:gd name="T59" fmla="*/ 4 h 360"/>
                <a:gd name="T60" fmla="*/ 4 w 450"/>
                <a:gd name="T61" fmla="*/ 4 h 360"/>
                <a:gd name="T62" fmla="*/ 4 w 450"/>
                <a:gd name="T63" fmla="*/ 4 h 360"/>
                <a:gd name="T64" fmla="*/ 4 w 450"/>
                <a:gd name="T65" fmla="*/ 4 h 360"/>
                <a:gd name="T66" fmla="*/ 4 w 450"/>
                <a:gd name="T67" fmla="*/ 4 h 360"/>
                <a:gd name="T68" fmla="*/ 4 w 450"/>
                <a:gd name="T69" fmla="*/ 4 h 360"/>
                <a:gd name="T70" fmla="*/ 4 w 450"/>
                <a:gd name="T71" fmla="*/ 4 h 360"/>
                <a:gd name="T72" fmla="*/ 4 w 450"/>
                <a:gd name="T73" fmla="*/ 4 h 360"/>
                <a:gd name="T74" fmla="*/ 5 w 450"/>
                <a:gd name="T75" fmla="*/ 4 h 360"/>
                <a:gd name="T76" fmla="*/ 6 w 450"/>
                <a:gd name="T77" fmla="*/ 4 h 360"/>
                <a:gd name="T78" fmla="*/ 6 w 450"/>
                <a:gd name="T79" fmla="*/ 4 h 360"/>
                <a:gd name="T80" fmla="*/ 6 w 450"/>
                <a:gd name="T81" fmla="*/ 4 h 360"/>
                <a:gd name="T82" fmla="*/ 6 w 450"/>
                <a:gd name="T83" fmla="*/ 4 h 360"/>
                <a:gd name="T84" fmla="*/ 6 w 450"/>
                <a:gd name="T85" fmla="*/ 4 h 360"/>
                <a:gd name="T86" fmla="*/ 6 w 450"/>
                <a:gd name="T87" fmla="*/ 4 h 3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50" h="360">
                  <a:moveTo>
                    <a:pt x="414" y="210"/>
                  </a:moveTo>
                  <a:lnTo>
                    <a:pt x="348" y="186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70" y="132"/>
                  </a:lnTo>
                  <a:lnTo>
                    <a:pt x="264" y="132"/>
                  </a:lnTo>
                  <a:lnTo>
                    <a:pt x="240" y="120"/>
                  </a:lnTo>
                  <a:lnTo>
                    <a:pt x="228" y="108"/>
                  </a:lnTo>
                  <a:lnTo>
                    <a:pt x="204" y="96"/>
                  </a:lnTo>
                  <a:lnTo>
                    <a:pt x="186" y="78"/>
                  </a:lnTo>
                  <a:lnTo>
                    <a:pt x="198" y="54"/>
                  </a:lnTo>
                  <a:lnTo>
                    <a:pt x="216" y="42"/>
                  </a:lnTo>
                  <a:lnTo>
                    <a:pt x="240" y="42"/>
                  </a:lnTo>
                  <a:lnTo>
                    <a:pt x="252" y="66"/>
                  </a:lnTo>
                  <a:lnTo>
                    <a:pt x="252" y="78"/>
                  </a:lnTo>
                  <a:lnTo>
                    <a:pt x="264" y="90"/>
                  </a:lnTo>
                  <a:lnTo>
                    <a:pt x="270" y="90"/>
                  </a:lnTo>
                  <a:lnTo>
                    <a:pt x="282" y="90"/>
                  </a:lnTo>
                  <a:lnTo>
                    <a:pt x="294" y="78"/>
                  </a:lnTo>
                  <a:lnTo>
                    <a:pt x="306" y="78"/>
                  </a:lnTo>
                  <a:lnTo>
                    <a:pt x="282" y="66"/>
                  </a:lnTo>
                  <a:lnTo>
                    <a:pt x="270" y="54"/>
                  </a:lnTo>
                  <a:lnTo>
                    <a:pt x="306" y="42"/>
                  </a:lnTo>
                  <a:lnTo>
                    <a:pt x="294" y="24"/>
                  </a:lnTo>
                  <a:lnTo>
                    <a:pt x="252" y="24"/>
                  </a:lnTo>
                  <a:lnTo>
                    <a:pt x="228" y="0"/>
                  </a:lnTo>
                  <a:lnTo>
                    <a:pt x="198" y="30"/>
                  </a:lnTo>
                  <a:lnTo>
                    <a:pt x="150" y="24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84" y="24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96" y="90"/>
                  </a:lnTo>
                  <a:lnTo>
                    <a:pt x="72" y="108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30" y="150"/>
                  </a:lnTo>
                  <a:lnTo>
                    <a:pt x="0" y="174"/>
                  </a:lnTo>
                  <a:lnTo>
                    <a:pt x="12" y="204"/>
                  </a:lnTo>
                  <a:lnTo>
                    <a:pt x="18" y="216"/>
                  </a:lnTo>
                  <a:lnTo>
                    <a:pt x="30" y="204"/>
                  </a:lnTo>
                  <a:lnTo>
                    <a:pt x="54" y="216"/>
                  </a:lnTo>
                  <a:lnTo>
                    <a:pt x="66" y="228"/>
                  </a:lnTo>
                  <a:lnTo>
                    <a:pt x="72" y="240"/>
                  </a:lnTo>
                  <a:lnTo>
                    <a:pt x="84" y="240"/>
                  </a:lnTo>
                  <a:lnTo>
                    <a:pt x="96" y="204"/>
                  </a:lnTo>
                  <a:lnTo>
                    <a:pt x="120" y="198"/>
                  </a:lnTo>
                  <a:lnTo>
                    <a:pt x="132" y="198"/>
                  </a:lnTo>
                  <a:lnTo>
                    <a:pt x="144" y="216"/>
                  </a:lnTo>
                  <a:lnTo>
                    <a:pt x="150" y="240"/>
                  </a:lnTo>
                  <a:lnTo>
                    <a:pt x="162" y="228"/>
                  </a:lnTo>
                  <a:lnTo>
                    <a:pt x="162" y="216"/>
                  </a:lnTo>
                  <a:lnTo>
                    <a:pt x="174" y="204"/>
                  </a:lnTo>
                  <a:lnTo>
                    <a:pt x="198" y="198"/>
                  </a:lnTo>
                  <a:lnTo>
                    <a:pt x="216" y="204"/>
                  </a:lnTo>
                  <a:lnTo>
                    <a:pt x="228" y="216"/>
                  </a:lnTo>
                  <a:lnTo>
                    <a:pt x="216" y="228"/>
                  </a:lnTo>
                  <a:lnTo>
                    <a:pt x="216" y="240"/>
                  </a:lnTo>
                  <a:lnTo>
                    <a:pt x="228" y="264"/>
                  </a:lnTo>
                  <a:lnTo>
                    <a:pt x="216" y="282"/>
                  </a:lnTo>
                  <a:lnTo>
                    <a:pt x="198" y="306"/>
                  </a:lnTo>
                  <a:lnTo>
                    <a:pt x="198" y="330"/>
                  </a:lnTo>
                  <a:lnTo>
                    <a:pt x="216" y="336"/>
                  </a:lnTo>
                  <a:lnTo>
                    <a:pt x="240" y="336"/>
                  </a:lnTo>
                  <a:lnTo>
                    <a:pt x="252" y="336"/>
                  </a:lnTo>
                  <a:lnTo>
                    <a:pt x="270" y="336"/>
                  </a:lnTo>
                  <a:lnTo>
                    <a:pt x="282" y="348"/>
                  </a:lnTo>
                  <a:lnTo>
                    <a:pt x="306" y="336"/>
                  </a:lnTo>
                  <a:lnTo>
                    <a:pt x="318" y="336"/>
                  </a:lnTo>
                  <a:lnTo>
                    <a:pt x="342" y="348"/>
                  </a:lnTo>
                  <a:lnTo>
                    <a:pt x="360" y="360"/>
                  </a:lnTo>
                  <a:lnTo>
                    <a:pt x="384" y="360"/>
                  </a:lnTo>
                  <a:lnTo>
                    <a:pt x="426" y="360"/>
                  </a:lnTo>
                  <a:lnTo>
                    <a:pt x="438" y="348"/>
                  </a:lnTo>
                  <a:lnTo>
                    <a:pt x="426" y="336"/>
                  </a:lnTo>
                  <a:lnTo>
                    <a:pt x="438" y="330"/>
                  </a:lnTo>
                  <a:lnTo>
                    <a:pt x="438" y="306"/>
                  </a:lnTo>
                  <a:lnTo>
                    <a:pt x="450" y="306"/>
                  </a:lnTo>
                  <a:lnTo>
                    <a:pt x="438" y="282"/>
                  </a:lnTo>
                  <a:lnTo>
                    <a:pt x="414" y="264"/>
                  </a:lnTo>
                  <a:lnTo>
                    <a:pt x="396" y="252"/>
                  </a:lnTo>
                  <a:lnTo>
                    <a:pt x="414" y="228"/>
                  </a:lnTo>
                  <a:lnTo>
                    <a:pt x="432" y="216"/>
                  </a:lnTo>
                  <a:lnTo>
                    <a:pt x="414" y="210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6" name="Freeform 41"/>
            <p:cNvSpPr>
              <a:spLocks/>
            </p:cNvSpPr>
            <p:nvPr/>
          </p:nvSpPr>
          <p:spPr bwMode="auto">
            <a:xfrm>
              <a:off x="827" y="3113"/>
              <a:ext cx="727" cy="744"/>
            </a:xfrm>
            <a:custGeom>
              <a:avLst/>
              <a:gdLst>
                <a:gd name="T0" fmla="*/ 711 w 727"/>
                <a:gd name="T1" fmla="*/ 578 h 744"/>
                <a:gd name="T2" fmla="*/ 696 w 727"/>
                <a:gd name="T3" fmla="*/ 587 h 744"/>
                <a:gd name="T4" fmla="*/ 726 w 727"/>
                <a:gd name="T5" fmla="*/ 665 h 744"/>
                <a:gd name="T6" fmla="*/ 686 w 727"/>
                <a:gd name="T7" fmla="*/ 686 h 744"/>
                <a:gd name="T8" fmla="*/ 596 w 727"/>
                <a:gd name="T9" fmla="*/ 638 h 744"/>
                <a:gd name="T10" fmla="*/ 617 w 727"/>
                <a:gd name="T11" fmla="*/ 612 h 744"/>
                <a:gd name="T12" fmla="*/ 559 w 727"/>
                <a:gd name="T13" fmla="*/ 591 h 744"/>
                <a:gd name="T14" fmla="*/ 491 w 727"/>
                <a:gd name="T15" fmla="*/ 612 h 744"/>
                <a:gd name="T16" fmla="*/ 464 w 727"/>
                <a:gd name="T17" fmla="*/ 638 h 744"/>
                <a:gd name="T18" fmla="*/ 422 w 727"/>
                <a:gd name="T19" fmla="*/ 617 h 744"/>
                <a:gd name="T20" fmla="*/ 443 w 727"/>
                <a:gd name="T21" fmla="*/ 670 h 744"/>
                <a:gd name="T22" fmla="*/ 422 w 727"/>
                <a:gd name="T23" fmla="*/ 707 h 744"/>
                <a:gd name="T24" fmla="*/ 385 w 727"/>
                <a:gd name="T25" fmla="*/ 723 h 744"/>
                <a:gd name="T26" fmla="*/ 348 w 727"/>
                <a:gd name="T27" fmla="*/ 733 h 744"/>
                <a:gd name="T28" fmla="*/ 327 w 727"/>
                <a:gd name="T29" fmla="*/ 733 h 744"/>
                <a:gd name="T30" fmla="*/ 301 w 727"/>
                <a:gd name="T31" fmla="*/ 707 h 744"/>
                <a:gd name="T32" fmla="*/ 313 w 727"/>
                <a:gd name="T33" fmla="*/ 666 h 744"/>
                <a:gd name="T34" fmla="*/ 306 w 727"/>
                <a:gd name="T35" fmla="*/ 638 h 744"/>
                <a:gd name="T36" fmla="*/ 280 w 727"/>
                <a:gd name="T37" fmla="*/ 602 h 744"/>
                <a:gd name="T38" fmla="*/ 269 w 727"/>
                <a:gd name="T39" fmla="*/ 570 h 744"/>
                <a:gd name="T40" fmla="*/ 227 w 727"/>
                <a:gd name="T41" fmla="*/ 485 h 744"/>
                <a:gd name="T42" fmla="*/ 227 w 727"/>
                <a:gd name="T43" fmla="*/ 443 h 744"/>
                <a:gd name="T44" fmla="*/ 227 w 727"/>
                <a:gd name="T45" fmla="*/ 369 h 744"/>
                <a:gd name="T46" fmla="*/ 211 w 727"/>
                <a:gd name="T47" fmla="*/ 322 h 744"/>
                <a:gd name="T48" fmla="*/ 179 w 727"/>
                <a:gd name="T49" fmla="*/ 295 h 744"/>
                <a:gd name="T50" fmla="*/ 190 w 727"/>
                <a:gd name="T51" fmla="*/ 269 h 744"/>
                <a:gd name="T52" fmla="*/ 195 w 727"/>
                <a:gd name="T53" fmla="*/ 237 h 744"/>
                <a:gd name="T54" fmla="*/ 195 w 727"/>
                <a:gd name="T55" fmla="*/ 206 h 744"/>
                <a:gd name="T56" fmla="*/ 164 w 727"/>
                <a:gd name="T57" fmla="*/ 185 h 744"/>
                <a:gd name="T58" fmla="*/ 142 w 727"/>
                <a:gd name="T59" fmla="*/ 185 h 744"/>
                <a:gd name="T60" fmla="*/ 116 w 727"/>
                <a:gd name="T61" fmla="*/ 185 h 744"/>
                <a:gd name="T62" fmla="*/ 84 w 727"/>
                <a:gd name="T63" fmla="*/ 169 h 744"/>
                <a:gd name="T64" fmla="*/ 58 w 727"/>
                <a:gd name="T65" fmla="*/ 206 h 744"/>
                <a:gd name="T66" fmla="*/ 0 w 727"/>
                <a:gd name="T67" fmla="*/ 174 h 744"/>
                <a:gd name="T68" fmla="*/ 164 w 727"/>
                <a:gd name="T69" fmla="*/ 0 h 744"/>
                <a:gd name="T70" fmla="*/ 290 w 727"/>
                <a:gd name="T71" fmla="*/ 37 h 744"/>
                <a:gd name="T72" fmla="*/ 317 w 727"/>
                <a:gd name="T73" fmla="*/ 47 h 744"/>
                <a:gd name="T74" fmla="*/ 338 w 727"/>
                <a:gd name="T75" fmla="*/ 58 h 744"/>
                <a:gd name="T76" fmla="*/ 348 w 727"/>
                <a:gd name="T77" fmla="*/ 164 h 744"/>
                <a:gd name="T78" fmla="*/ 443 w 727"/>
                <a:gd name="T79" fmla="*/ 311 h 744"/>
                <a:gd name="T80" fmla="*/ 486 w 727"/>
                <a:gd name="T81" fmla="*/ 338 h 744"/>
                <a:gd name="T82" fmla="*/ 491 w 727"/>
                <a:gd name="T83" fmla="*/ 369 h 744"/>
                <a:gd name="T84" fmla="*/ 486 w 727"/>
                <a:gd name="T85" fmla="*/ 406 h 744"/>
                <a:gd name="T86" fmla="*/ 454 w 727"/>
                <a:gd name="T87" fmla="*/ 427 h 744"/>
                <a:gd name="T88" fmla="*/ 443 w 727"/>
                <a:gd name="T89" fmla="*/ 501 h 744"/>
                <a:gd name="T90" fmla="*/ 501 w 727"/>
                <a:gd name="T91" fmla="*/ 565 h 744"/>
                <a:gd name="T92" fmla="*/ 538 w 727"/>
                <a:gd name="T93" fmla="*/ 565 h 744"/>
                <a:gd name="T94" fmla="*/ 660 w 727"/>
                <a:gd name="T95" fmla="*/ 554 h 744"/>
                <a:gd name="T96" fmla="*/ 702 w 727"/>
                <a:gd name="T97" fmla="*/ 545 h 74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27" h="744">
                  <a:moveTo>
                    <a:pt x="702" y="545"/>
                  </a:moveTo>
                  <a:lnTo>
                    <a:pt x="711" y="578"/>
                  </a:lnTo>
                  <a:lnTo>
                    <a:pt x="679" y="582"/>
                  </a:lnTo>
                  <a:lnTo>
                    <a:pt x="696" y="587"/>
                  </a:lnTo>
                  <a:lnTo>
                    <a:pt x="714" y="603"/>
                  </a:lnTo>
                  <a:lnTo>
                    <a:pt x="726" y="665"/>
                  </a:lnTo>
                  <a:lnTo>
                    <a:pt x="727" y="675"/>
                  </a:lnTo>
                  <a:lnTo>
                    <a:pt x="686" y="686"/>
                  </a:lnTo>
                  <a:lnTo>
                    <a:pt x="623" y="670"/>
                  </a:lnTo>
                  <a:lnTo>
                    <a:pt x="596" y="638"/>
                  </a:lnTo>
                  <a:lnTo>
                    <a:pt x="628" y="628"/>
                  </a:lnTo>
                  <a:lnTo>
                    <a:pt x="617" y="612"/>
                  </a:lnTo>
                  <a:lnTo>
                    <a:pt x="581" y="612"/>
                  </a:lnTo>
                  <a:lnTo>
                    <a:pt x="559" y="591"/>
                  </a:lnTo>
                  <a:lnTo>
                    <a:pt x="533" y="617"/>
                  </a:lnTo>
                  <a:lnTo>
                    <a:pt x="491" y="612"/>
                  </a:lnTo>
                  <a:lnTo>
                    <a:pt x="486" y="628"/>
                  </a:lnTo>
                  <a:lnTo>
                    <a:pt x="464" y="638"/>
                  </a:lnTo>
                  <a:lnTo>
                    <a:pt x="433" y="612"/>
                  </a:lnTo>
                  <a:lnTo>
                    <a:pt x="422" y="617"/>
                  </a:lnTo>
                  <a:lnTo>
                    <a:pt x="417" y="628"/>
                  </a:lnTo>
                  <a:lnTo>
                    <a:pt x="443" y="670"/>
                  </a:lnTo>
                  <a:lnTo>
                    <a:pt x="422" y="686"/>
                  </a:lnTo>
                  <a:lnTo>
                    <a:pt x="422" y="707"/>
                  </a:lnTo>
                  <a:lnTo>
                    <a:pt x="406" y="723"/>
                  </a:lnTo>
                  <a:lnTo>
                    <a:pt x="385" y="723"/>
                  </a:lnTo>
                  <a:lnTo>
                    <a:pt x="359" y="744"/>
                  </a:lnTo>
                  <a:lnTo>
                    <a:pt x="348" y="733"/>
                  </a:lnTo>
                  <a:lnTo>
                    <a:pt x="338" y="723"/>
                  </a:lnTo>
                  <a:lnTo>
                    <a:pt x="327" y="733"/>
                  </a:lnTo>
                  <a:lnTo>
                    <a:pt x="306" y="718"/>
                  </a:lnTo>
                  <a:lnTo>
                    <a:pt x="301" y="707"/>
                  </a:lnTo>
                  <a:lnTo>
                    <a:pt x="306" y="675"/>
                  </a:lnTo>
                  <a:lnTo>
                    <a:pt x="313" y="666"/>
                  </a:lnTo>
                  <a:lnTo>
                    <a:pt x="311" y="644"/>
                  </a:lnTo>
                  <a:lnTo>
                    <a:pt x="306" y="638"/>
                  </a:lnTo>
                  <a:lnTo>
                    <a:pt x="301" y="617"/>
                  </a:lnTo>
                  <a:lnTo>
                    <a:pt x="280" y="602"/>
                  </a:lnTo>
                  <a:lnTo>
                    <a:pt x="274" y="580"/>
                  </a:lnTo>
                  <a:lnTo>
                    <a:pt x="269" y="570"/>
                  </a:lnTo>
                  <a:lnTo>
                    <a:pt x="237" y="522"/>
                  </a:lnTo>
                  <a:lnTo>
                    <a:pt x="227" y="485"/>
                  </a:lnTo>
                  <a:lnTo>
                    <a:pt x="216" y="475"/>
                  </a:lnTo>
                  <a:lnTo>
                    <a:pt x="227" y="443"/>
                  </a:lnTo>
                  <a:lnTo>
                    <a:pt x="227" y="406"/>
                  </a:lnTo>
                  <a:lnTo>
                    <a:pt x="227" y="369"/>
                  </a:lnTo>
                  <a:lnTo>
                    <a:pt x="222" y="338"/>
                  </a:lnTo>
                  <a:lnTo>
                    <a:pt x="211" y="322"/>
                  </a:lnTo>
                  <a:lnTo>
                    <a:pt x="190" y="311"/>
                  </a:lnTo>
                  <a:lnTo>
                    <a:pt x="179" y="295"/>
                  </a:lnTo>
                  <a:lnTo>
                    <a:pt x="190" y="280"/>
                  </a:lnTo>
                  <a:lnTo>
                    <a:pt x="190" y="269"/>
                  </a:lnTo>
                  <a:lnTo>
                    <a:pt x="195" y="264"/>
                  </a:lnTo>
                  <a:lnTo>
                    <a:pt x="195" y="237"/>
                  </a:lnTo>
                  <a:lnTo>
                    <a:pt x="195" y="222"/>
                  </a:lnTo>
                  <a:lnTo>
                    <a:pt x="195" y="206"/>
                  </a:lnTo>
                  <a:lnTo>
                    <a:pt x="179" y="190"/>
                  </a:lnTo>
                  <a:lnTo>
                    <a:pt x="164" y="185"/>
                  </a:lnTo>
                  <a:lnTo>
                    <a:pt x="153" y="195"/>
                  </a:lnTo>
                  <a:lnTo>
                    <a:pt x="142" y="185"/>
                  </a:lnTo>
                  <a:lnTo>
                    <a:pt x="127" y="185"/>
                  </a:lnTo>
                  <a:lnTo>
                    <a:pt x="116" y="185"/>
                  </a:lnTo>
                  <a:lnTo>
                    <a:pt x="106" y="179"/>
                  </a:lnTo>
                  <a:lnTo>
                    <a:pt x="84" y="169"/>
                  </a:lnTo>
                  <a:lnTo>
                    <a:pt x="73" y="183"/>
                  </a:lnTo>
                  <a:lnTo>
                    <a:pt x="58" y="206"/>
                  </a:lnTo>
                  <a:lnTo>
                    <a:pt x="47" y="211"/>
                  </a:lnTo>
                  <a:lnTo>
                    <a:pt x="0" y="174"/>
                  </a:lnTo>
                  <a:lnTo>
                    <a:pt x="0" y="164"/>
                  </a:lnTo>
                  <a:lnTo>
                    <a:pt x="164" y="0"/>
                  </a:lnTo>
                  <a:lnTo>
                    <a:pt x="232" y="11"/>
                  </a:lnTo>
                  <a:lnTo>
                    <a:pt x="290" y="37"/>
                  </a:lnTo>
                  <a:lnTo>
                    <a:pt x="306" y="47"/>
                  </a:lnTo>
                  <a:lnTo>
                    <a:pt x="317" y="47"/>
                  </a:lnTo>
                  <a:lnTo>
                    <a:pt x="338" y="47"/>
                  </a:lnTo>
                  <a:lnTo>
                    <a:pt x="338" y="58"/>
                  </a:lnTo>
                  <a:lnTo>
                    <a:pt x="317" y="69"/>
                  </a:lnTo>
                  <a:lnTo>
                    <a:pt x="348" y="164"/>
                  </a:lnTo>
                  <a:lnTo>
                    <a:pt x="348" y="222"/>
                  </a:lnTo>
                  <a:lnTo>
                    <a:pt x="443" y="311"/>
                  </a:lnTo>
                  <a:lnTo>
                    <a:pt x="475" y="301"/>
                  </a:lnTo>
                  <a:lnTo>
                    <a:pt x="486" y="338"/>
                  </a:lnTo>
                  <a:lnTo>
                    <a:pt x="491" y="327"/>
                  </a:lnTo>
                  <a:lnTo>
                    <a:pt x="491" y="369"/>
                  </a:lnTo>
                  <a:lnTo>
                    <a:pt x="501" y="380"/>
                  </a:lnTo>
                  <a:lnTo>
                    <a:pt x="486" y="406"/>
                  </a:lnTo>
                  <a:lnTo>
                    <a:pt x="474" y="420"/>
                  </a:lnTo>
                  <a:lnTo>
                    <a:pt x="454" y="427"/>
                  </a:lnTo>
                  <a:lnTo>
                    <a:pt x="475" y="454"/>
                  </a:lnTo>
                  <a:lnTo>
                    <a:pt x="443" y="501"/>
                  </a:lnTo>
                  <a:lnTo>
                    <a:pt x="512" y="533"/>
                  </a:lnTo>
                  <a:lnTo>
                    <a:pt x="501" y="565"/>
                  </a:lnTo>
                  <a:lnTo>
                    <a:pt x="522" y="563"/>
                  </a:lnTo>
                  <a:lnTo>
                    <a:pt x="538" y="565"/>
                  </a:lnTo>
                  <a:lnTo>
                    <a:pt x="639" y="554"/>
                  </a:lnTo>
                  <a:lnTo>
                    <a:pt x="660" y="554"/>
                  </a:lnTo>
                  <a:lnTo>
                    <a:pt x="676" y="554"/>
                  </a:lnTo>
                  <a:lnTo>
                    <a:pt x="702" y="545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7" name="Freeform 42"/>
            <p:cNvSpPr>
              <a:spLocks/>
            </p:cNvSpPr>
            <p:nvPr/>
          </p:nvSpPr>
          <p:spPr bwMode="auto">
            <a:xfrm>
              <a:off x="1154" y="1983"/>
              <a:ext cx="48" cy="64"/>
            </a:xfrm>
            <a:custGeom>
              <a:avLst/>
              <a:gdLst>
                <a:gd name="T0" fmla="*/ 0 w 54"/>
                <a:gd name="T1" fmla="*/ 4 h 72"/>
                <a:gd name="T2" fmla="*/ 4 w 54"/>
                <a:gd name="T3" fmla="*/ 4 h 72"/>
                <a:gd name="T4" fmla="*/ 4 w 54"/>
                <a:gd name="T5" fmla="*/ 4 h 72"/>
                <a:gd name="T6" fmla="*/ 4 w 54"/>
                <a:gd name="T7" fmla="*/ 4 h 72"/>
                <a:gd name="T8" fmla="*/ 4 w 54"/>
                <a:gd name="T9" fmla="*/ 0 h 72"/>
                <a:gd name="T10" fmla="*/ 4 w 54"/>
                <a:gd name="T11" fmla="*/ 4 h 72"/>
                <a:gd name="T12" fmla="*/ 4 w 54"/>
                <a:gd name="T13" fmla="*/ 4 h 72"/>
                <a:gd name="T14" fmla="*/ 4 w 54"/>
                <a:gd name="T15" fmla="*/ 4 h 72"/>
                <a:gd name="T16" fmla="*/ 4 w 54"/>
                <a:gd name="T17" fmla="*/ 4 h 72"/>
                <a:gd name="T18" fmla="*/ 4 w 54"/>
                <a:gd name="T19" fmla="*/ 4 h 72"/>
                <a:gd name="T20" fmla="*/ 4 w 54"/>
                <a:gd name="T21" fmla="*/ 4 h 72"/>
                <a:gd name="T22" fmla="*/ 4 w 54"/>
                <a:gd name="T23" fmla="*/ 4 h 72"/>
                <a:gd name="T24" fmla="*/ 4 w 54"/>
                <a:gd name="T25" fmla="*/ 4 h 72"/>
                <a:gd name="T26" fmla="*/ 4 w 54"/>
                <a:gd name="T27" fmla="*/ 4 h 72"/>
                <a:gd name="T28" fmla="*/ 4 w 54"/>
                <a:gd name="T29" fmla="*/ 4 h 72"/>
                <a:gd name="T30" fmla="*/ 4 w 54"/>
                <a:gd name="T31" fmla="*/ 4 h 72"/>
                <a:gd name="T32" fmla="*/ 4 w 54"/>
                <a:gd name="T33" fmla="*/ 4 h 72"/>
                <a:gd name="T34" fmla="*/ 0 w 54"/>
                <a:gd name="T35" fmla="*/ 4 h 7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72">
                  <a:moveTo>
                    <a:pt x="0" y="72"/>
                  </a:moveTo>
                  <a:lnTo>
                    <a:pt x="12" y="54"/>
                  </a:lnTo>
                  <a:lnTo>
                    <a:pt x="12" y="42"/>
                  </a:lnTo>
                  <a:lnTo>
                    <a:pt x="24" y="18"/>
                  </a:lnTo>
                  <a:lnTo>
                    <a:pt x="24" y="0"/>
                  </a:lnTo>
                  <a:lnTo>
                    <a:pt x="36" y="6"/>
                  </a:lnTo>
                  <a:lnTo>
                    <a:pt x="36" y="18"/>
                  </a:lnTo>
                  <a:lnTo>
                    <a:pt x="36" y="42"/>
                  </a:lnTo>
                  <a:lnTo>
                    <a:pt x="48" y="30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54" y="42"/>
                  </a:lnTo>
                  <a:lnTo>
                    <a:pt x="48" y="66"/>
                  </a:lnTo>
                  <a:lnTo>
                    <a:pt x="36" y="72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8" name="Freeform 43"/>
            <p:cNvSpPr>
              <a:spLocks/>
            </p:cNvSpPr>
            <p:nvPr/>
          </p:nvSpPr>
          <p:spPr bwMode="auto">
            <a:xfrm>
              <a:off x="1281" y="1777"/>
              <a:ext cx="95" cy="95"/>
            </a:xfrm>
            <a:custGeom>
              <a:avLst/>
              <a:gdLst>
                <a:gd name="T0" fmla="*/ 4 w 108"/>
                <a:gd name="T1" fmla="*/ 4 h 108"/>
                <a:gd name="T2" fmla="*/ 0 w 108"/>
                <a:gd name="T3" fmla="*/ 4 h 108"/>
                <a:gd name="T4" fmla="*/ 0 w 108"/>
                <a:gd name="T5" fmla="*/ 4 h 108"/>
                <a:gd name="T6" fmla="*/ 4 w 108"/>
                <a:gd name="T7" fmla="*/ 4 h 108"/>
                <a:gd name="T8" fmla="*/ 4 w 108"/>
                <a:gd name="T9" fmla="*/ 4 h 108"/>
                <a:gd name="T10" fmla="*/ 4 w 108"/>
                <a:gd name="T11" fmla="*/ 4 h 108"/>
                <a:gd name="T12" fmla="*/ 4 w 108"/>
                <a:gd name="T13" fmla="*/ 4 h 108"/>
                <a:gd name="T14" fmla="*/ 4 w 108"/>
                <a:gd name="T15" fmla="*/ 4 h 108"/>
                <a:gd name="T16" fmla="*/ 4 w 108"/>
                <a:gd name="T17" fmla="*/ 0 h 108"/>
                <a:gd name="T18" fmla="*/ 4 w 108"/>
                <a:gd name="T19" fmla="*/ 4 h 108"/>
                <a:gd name="T20" fmla="*/ 4 w 108"/>
                <a:gd name="T21" fmla="*/ 4 h 108"/>
                <a:gd name="T22" fmla="*/ 4 w 108"/>
                <a:gd name="T23" fmla="*/ 4 h 108"/>
                <a:gd name="T24" fmla="*/ 4 w 108"/>
                <a:gd name="T25" fmla="*/ 0 h 108"/>
                <a:gd name="T26" fmla="*/ 4 w 108"/>
                <a:gd name="T27" fmla="*/ 4 h 108"/>
                <a:gd name="T28" fmla="*/ 4 w 108"/>
                <a:gd name="T29" fmla="*/ 4 h 108"/>
                <a:gd name="T30" fmla="*/ 4 w 108"/>
                <a:gd name="T31" fmla="*/ 4 h 108"/>
                <a:gd name="T32" fmla="*/ 4 w 108"/>
                <a:gd name="T33" fmla="*/ 4 h 108"/>
                <a:gd name="T34" fmla="*/ 4 w 108"/>
                <a:gd name="T35" fmla="*/ 4 h 108"/>
                <a:gd name="T36" fmla="*/ 4 w 108"/>
                <a:gd name="T37" fmla="*/ 4 h 108"/>
                <a:gd name="T38" fmla="*/ 4 w 108"/>
                <a:gd name="T39" fmla="*/ 4 h 108"/>
                <a:gd name="T40" fmla="*/ 4 w 108"/>
                <a:gd name="T41" fmla="*/ 4 h 108"/>
                <a:gd name="T42" fmla="*/ 4 w 108"/>
                <a:gd name="T43" fmla="*/ 4 h 10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8" h="108">
                  <a:moveTo>
                    <a:pt x="24" y="108"/>
                  </a:moveTo>
                  <a:lnTo>
                    <a:pt x="0" y="108"/>
                  </a:lnTo>
                  <a:lnTo>
                    <a:pt x="0" y="90"/>
                  </a:lnTo>
                  <a:lnTo>
                    <a:pt x="24" y="78"/>
                  </a:lnTo>
                  <a:lnTo>
                    <a:pt x="12" y="54"/>
                  </a:lnTo>
                  <a:lnTo>
                    <a:pt x="24" y="36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66" y="0"/>
                  </a:lnTo>
                  <a:lnTo>
                    <a:pt x="54" y="24"/>
                  </a:lnTo>
                  <a:lnTo>
                    <a:pt x="66" y="36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08" y="24"/>
                  </a:lnTo>
                  <a:lnTo>
                    <a:pt x="108" y="48"/>
                  </a:lnTo>
                  <a:lnTo>
                    <a:pt x="90" y="66"/>
                  </a:lnTo>
                  <a:lnTo>
                    <a:pt x="78" y="66"/>
                  </a:lnTo>
                  <a:lnTo>
                    <a:pt x="66" y="66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42" y="102"/>
                  </a:lnTo>
                  <a:lnTo>
                    <a:pt x="24" y="10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9" name="Freeform 44"/>
            <p:cNvSpPr>
              <a:spLocks/>
            </p:cNvSpPr>
            <p:nvPr/>
          </p:nvSpPr>
          <p:spPr bwMode="auto">
            <a:xfrm>
              <a:off x="1128" y="1693"/>
              <a:ext cx="116" cy="116"/>
            </a:xfrm>
            <a:custGeom>
              <a:avLst/>
              <a:gdLst>
                <a:gd name="T0" fmla="*/ 0 w 132"/>
                <a:gd name="T1" fmla="*/ 4 h 132"/>
                <a:gd name="T2" fmla="*/ 4 w 132"/>
                <a:gd name="T3" fmla="*/ 4 h 132"/>
                <a:gd name="T4" fmla="*/ 4 w 132"/>
                <a:gd name="T5" fmla="*/ 4 h 132"/>
                <a:gd name="T6" fmla="*/ 4 w 132"/>
                <a:gd name="T7" fmla="*/ 4 h 132"/>
                <a:gd name="T8" fmla="*/ 4 w 132"/>
                <a:gd name="T9" fmla="*/ 4 h 132"/>
                <a:gd name="T10" fmla="*/ 4 w 132"/>
                <a:gd name="T11" fmla="*/ 4 h 132"/>
                <a:gd name="T12" fmla="*/ 4 w 132"/>
                <a:gd name="T13" fmla="*/ 4 h 132"/>
                <a:gd name="T14" fmla="*/ 4 w 132"/>
                <a:gd name="T15" fmla="*/ 4 h 132"/>
                <a:gd name="T16" fmla="*/ 4 w 132"/>
                <a:gd name="T17" fmla="*/ 4 h 132"/>
                <a:gd name="T18" fmla="*/ 4 w 132"/>
                <a:gd name="T19" fmla="*/ 4 h 132"/>
                <a:gd name="T20" fmla="*/ 4 w 132"/>
                <a:gd name="T21" fmla="*/ 4 h 132"/>
                <a:gd name="T22" fmla="*/ 4 w 132"/>
                <a:gd name="T23" fmla="*/ 0 h 132"/>
                <a:gd name="T24" fmla="*/ 4 w 132"/>
                <a:gd name="T25" fmla="*/ 4 h 132"/>
                <a:gd name="T26" fmla="*/ 4 w 132"/>
                <a:gd name="T27" fmla="*/ 4 h 132"/>
                <a:gd name="T28" fmla="*/ 4 w 132"/>
                <a:gd name="T29" fmla="*/ 4 h 132"/>
                <a:gd name="T30" fmla="*/ 4 w 132"/>
                <a:gd name="T31" fmla="*/ 4 h 132"/>
                <a:gd name="T32" fmla="*/ 4 w 132"/>
                <a:gd name="T33" fmla="*/ 4 h 132"/>
                <a:gd name="T34" fmla="*/ 4 w 132"/>
                <a:gd name="T35" fmla="*/ 4 h 132"/>
                <a:gd name="T36" fmla="*/ 4 w 132"/>
                <a:gd name="T37" fmla="*/ 4 h 132"/>
                <a:gd name="T38" fmla="*/ 4 w 132"/>
                <a:gd name="T39" fmla="*/ 4 h 132"/>
                <a:gd name="T40" fmla="*/ 4 w 132"/>
                <a:gd name="T41" fmla="*/ 4 h 132"/>
                <a:gd name="T42" fmla="*/ 4 w 132"/>
                <a:gd name="T43" fmla="*/ 4 h 132"/>
                <a:gd name="T44" fmla="*/ 4 w 132"/>
                <a:gd name="T45" fmla="*/ 4 h 132"/>
                <a:gd name="T46" fmla="*/ 0 w 132"/>
                <a:gd name="T47" fmla="*/ 4 h 13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32" h="132">
                  <a:moveTo>
                    <a:pt x="0" y="108"/>
                  </a:moveTo>
                  <a:lnTo>
                    <a:pt x="6" y="120"/>
                  </a:lnTo>
                  <a:lnTo>
                    <a:pt x="30" y="120"/>
                  </a:lnTo>
                  <a:lnTo>
                    <a:pt x="54" y="120"/>
                  </a:lnTo>
                  <a:lnTo>
                    <a:pt x="78" y="132"/>
                  </a:lnTo>
                  <a:lnTo>
                    <a:pt x="84" y="108"/>
                  </a:lnTo>
                  <a:lnTo>
                    <a:pt x="108" y="96"/>
                  </a:lnTo>
                  <a:lnTo>
                    <a:pt x="120" y="84"/>
                  </a:lnTo>
                  <a:lnTo>
                    <a:pt x="120" y="66"/>
                  </a:lnTo>
                  <a:lnTo>
                    <a:pt x="120" y="54"/>
                  </a:lnTo>
                  <a:lnTo>
                    <a:pt x="132" y="30"/>
                  </a:lnTo>
                  <a:lnTo>
                    <a:pt x="132" y="0"/>
                  </a:lnTo>
                  <a:lnTo>
                    <a:pt x="120" y="12"/>
                  </a:lnTo>
                  <a:lnTo>
                    <a:pt x="108" y="12"/>
                  </a:lnTo>
                  <a:lnTo>
                    <a:pt x="96" y="12"/>
                  </a:lnTo>
                  <a:lnTo>
                    <a:pt x="84" y="12"/>
                  </a:lnTo>
                  <a:lnTo>
                    <a:pt x="66" y="30"/>
                  </a:lnTo>
                  <a:lnTo>
                    <a:pt x="66" y="42"/>
                  </a:lnTo>
                  <a:lnTo>
                    <a:pt x="42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6" y="84"/>
                  </a:lnTo>
                  <a:lnTo>
                    <a:pt x="6" y="96"/>
                  </a:lnTo>
                  <a:lnTo>
                    <a:pt x="0" y="10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0" name="Freeform 45"/>
            <p:cNvSpPr>
              <a:spLocks/>
            </p:cNvSpPr>
            <p:nvPr/>
          </p:nvSpPr>
          <p:spPr bwMode="auto">
            <a:xfrm>
              <a:off x="3176" y="3203"/>
              <a:ext cx="216" cy="258"/>
            </a:xfrm>
            <a:custGeom>
              <a:avLst/>
              <a:gdLst>
                <a:gd name="T0" fmla="*/ 4 w 246"/>
                <a:gd name="T1" fmla="*/ 4 h 294"/>
                <a:gd name="T2" fmla="*/ 4 w 246"/>
                <a:gd name="T3" fmla="*/ 4 h 294"/>
                <a:gd name="T4" fmla="*/ 4 w 246"/>
                <a:gd name="T5" fmla="*/ 4 h 294"/>
                <a:gd name="T6" fmla="*/ 4 w 246"/>
                <a:gd name="T7" fmla="*/ 4 h 294"/>
                <a:gd name="T8" fmla="*/ 4 w 246"/>
                <a:gd name="T9" fmla="*/ 4 h 294"/>
                <a:gd name="T10" fmla="*/ 4 w 246"/>
                <a:gd name="T11" fmla="*/ 4 h 294"/>
                <a:gd name="T12" fmla="*/ 4 w 246"/>
                <a:gd name="T13" fmla="*/ 4 h 294"/>
                <a:gd name="T14" fmla="*/ 4 w 246"/>
                <a:gd name="T15" fmla="*/ 4 h 294"/>
                <a:gd name="T16" fmla="*/ 4 w 246"/>
                <a:gd name="T17" fmla="*/ 4 h 294"/>
                <a:gd name="T18" fmla="*/ 4 w 246"/>
                <a:gd name="T19" fmla="*/ 4 h 294"/>
                <a:gd name="T20" fmla="*/ 4 w 246"/>
                <a:gd name="T21" fmla="*/ 4 h 294"/>
                <a:gd name="T22" fmla="*/ 4 w 246"/>
                <a:gd name="T23" fmla="*/ 4 h 294"/>
                <a:gd name="T24" fmla="*/ 0 w 246"/>
                <a:gd name="T25" fmla="*/ 4 h 294"/>
                <a:gd name="T26" fmla="*/ 0 w 246"/>
                <a:gd name="T27" fmla="*/ 4 h 294"/>
                <a:gd name="T28" fmla="*/ 4 w 246"/>
                <a:gd name="T29" fmla="*/ 4 h 294"/>
                <a:gd name="T30" fmla="*/ 4 w 246"/>
                <a:gd name="T31" fmla="*/ 4 h 294"/>
                <a:gd name="T32" fmla="*/ 4 w 246"/>
                <a:gd name="T33" fmla="*/ 4 h 294"/>
                <a:gd name="T34" fmla="*/ 4 w 246"/>
                <a:gd name="T35" fmla="*/ 4 h 294"/>
                <a:gd name="T36" fmla="*/ 4 w 246"/>
                <a:gd name="T37" fmla="*/ 4 h 294"/>
                <a:gd name="T38" fmla="*/ 4 w 246"/>
                <a:gd name="T39" fmla="*/ 4 h 294"/>
                <a:gd name="T40" fmla="*/ 4 w 246"/>
                <a:gd name="T41" fmla="*/ 4 h 294"/>
                <a:gd name="T42" fmla="*/ 4 w 246"/>
                <a:gd name="T43" fmla="*/ 4 h 294"/>
                <a:gd name="T44" fmla="*/ 4 w 246"/>
                <a:gd name="T45" fmla="*/ 4 h 294"/>
                <a:gd name="T46" fmla="*/ 4 w 246"/>
                <a:gd name="T47" fmla="*/ 4 h 294"/>
                <a:gd name="T48" fmla="*/ 4 w 246"/>
                <a:gd name="T49" fmla="*/ 4 h 294"/>
                <a:gd name="T50" fmla="*/ 4 w 246"/>
                <a:gd name="T51" fmla="*/ 4 h 294"/>
                <a:gd name="T52" fmla="*/ 4 w 246"/>
                <a:gd name="T53" fmla="*/ 4 h 294"/>
                <a:gd name="T54" fmla="*/ 4 w 246"/>
                <a:gd name="T55" fmla="*/ 4 h 294"/>
                <a:gd name="T56" fmla="*/ 4 w 246"/>
                <a:gd name="T57" fmla="*/ 4 h 294"/>
                <a:gd name="T58" fmla="*/ 4 w 246"/>
                <a:gd name="T59" fmla="*/ 0 h 294"/>
                <a:gd name="T60" fmla="*/ 4 w 246"/>
                <a:gd name="T61" fmla="*/ 4 h 29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46" h="294">
                  <a:moveTo>
                    <a:pt x="222" y="6"/>
                  </a:moveTo>
                  <a:lnTo>
                    <a:pt x="198" y="30"/>
                  </a:lnTo>
                  <a:lnTo>
                    <a:pt x="186" y="78"/>
                  </a:lnTo>
                  <a:lnTo>
                    <a:pt x="180" y="108"/>
                  </a:lnTo>
                  <a:lnTo>
                    <a:pt x="180" y="132"/>
                  </a:lnTo>
                  <a:lnTo>
                    <a:pt x="156" y="150"/>
                  </a:lnTo>
                  <a:lnTo>
                    <a:pt x="144" y="162"/>
                  </a:lnTo>
                  <a:lnTo>
                    <a:pt x="126" y="186"/>
                  </a:lnTo>
                  <a:lnTo>
                    <a:pt x="78" y="216"/>
                  </a:lnTo>
                  <a:lnTo>
                    <a:pt x="78" y="240"/>
                  </a:lnTo>
                  <a:lnTo>
                    <a:pt x="54" y="264"/>
                  </a:lnTo>
                  <a:lnTo>
                    <a:pt x="12" y="270"/>
                  </a:lnTo>
                  <a:lnTo>
                    <a:pt x="0" y="282"/>
                  </a:lnTo>
                  <a:lnTo>
                    <a:pt x="0" y="294"/>
                  </a:lnTo>
                  <a:lnTo>
                    <a:pt x="48" y="294"/>
                  </a:lnTo>
                  <a:lnTo>
                    <a:pt x="102" y="282"/>
                  </a:lnTo>
                  <a:lnTo>
                    <a:pt x="132" y="252"/>
                  </a:lnTo>
                  <a:lnTo>
                    <a:pt x="144" y="240"/>
                  </a:lnTo>
                  <a:lnTo>
                    <a:pt x="198" y="204"/>
                  </a:lnTo>
                  <a:lnTo>
                    <a:pt x="198" y="186"/>
                  </a:lnTo>
                  <a:lnTo>
                    <a:pt x="198" y="162"/>
                  </a:lnTo>
                  <a:lnTo>
                    <a:pt x="210" y="138"/>
                  </a:lnTo>
                  <a:lnTo>
                    <a:pt x="210" y="150"/>
                  </a:lnTo>
                  <a:lnTo>
                    <a:pt x="222" y="138"/>
                  </a:lnTo>
                  <a:lnTo>
                    <a:pt x="222" y="120"/>
                  </a:lnTo>
                  <a:lnTo>
                    <a:pt x="234" y="84"/>
                  </a:lnTo>
                  <a:lnTo>
                    <a:pt x="234" y="54"/>
                  </a:lnTo>
                  <a:lnTo>
                    <a:pt x="234" y="42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22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 cmpd="sng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1" name="Freeform 46"/>
            <p:cNvSpPr>
              <a:spLocks/>
            </p:cNvSpPr>
            <p:nvPr/>
          </p:nvSpPr>
          <p:spPr bwMode="auto">
            <a:xfrm>
              <a:off x="4047" y="3124"/>
              <a:ext cx="68" cy="84"/>
            </a:xfrm>
            <a:custGeom>
              <a:avLst/>
              <a:gdLst>
                <a:gd name="T0" fmla="*/ 3 w 78"/>
                <a:gd name="T1" fmla="*/ 4 h 96"/>
                <a:gd name="T2" fmla="*/ 3 w 78"/>
                <a:gd name="T3" fmla="*/ 4 h 96"/>
                <a:gd name="T4" fmla="*/ 3 w 78"/>
                <a:gd name="T5" fmla="*/ 4 h 96"/>
                <a:gd name="T6" fmla="*/ 3 w 78"/>
                <a:gd name="T7" fmla="*/ 4 h 96"/>
                <a:gd name="T8" fmla="*/ 0 w 78"/>
                <a:gd name="T9" fmla="*/ 4 h 96"/>
                <a:gd name="T10" fmla="*/ 3 w 78"/>
                <a:gd name="T11" fmla="*/ 4 h 96"/>
                <a:gd name="T12" fmla="*/ 3 w 78"/>
                <a:gd name="T13" fmla="*/ 4 h 96"/>
                <a:gd name="T14" fmla="*/ 3 w 78"/>
                <a:gd name="T15" fmla="*/ 4 h 96"/>
                <a:gd name="T16" fmla="*/ 3 w 78"/>
                <a:gd name="T17" fmla="*/ 0 h 96"/>
                <a:gd name="T18" fmla="*/ 3 w 78"/>
                <a:gd name="T19" fmla="*/ 4 h 96"/>
                <a:gd name="T20" fmla="*/ 3 w 78"/>
                <a:gd name="T21" fmla="*/ 4 h 96"/>
                <a:gd name="T22" fmla="*/ 3 w 78"/>
                <a:gd name="T23" fmla="*/ 4 h 96"/>
                <a:gd name="T24" fmla="*/ 3 w 78"/>
                <a:gd name="T25" fmla="*/ 4 h 96"/>
                <a:gd name="T26" fmla="*/ 3 w 78"/>
                <a:gd name="T27" fmla="*/ 4 h 96"/>
                <a:gd name="T28" fmla="*/ 3 w 78"/>
                <a:gd name="T29" fmla="*/ 4 h 96"/>
                <a:gd name="T30" fmla="*/ 3 w 78"/>
                <a:gd name="T31" fmla="*/ 4 h 9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78" h="96">
                  <a:moveTo>
                    <a:pt x="36" y="96"/>
                  </a:moveTo>
                  <a:lnTo>
                    <a:pt x="24" y="90"/>
                  </a:lnTo>
                  <a:lnTo>
                    <a:pt x="36" y="66"/>
                  </a:lnTo>
                  <a:lnTo>
                    <a:pt x="36" y="54"/>
                  </a:lnTo>
                  <a:lnTo>
                    <a:pt x="0" y="54"/>
                  </a:lnTo>
                  <a:lnTo>
                    <a:pt x="12" y="30"/>
                  </a:lnTo>
                  <a:lnTo>
                    <a:pt x="36" y="30"/>
                  </a:lnTo>
                  <a:lnTo>
                    <a:pt x="48" y="24"/>
                  </a:lnTo>
                  <a:lnTo>
                    <a:pt x="78" y="0"/>
                  </a:lnTo>
                  <a:lnTo>
                    <a:pt x="66" y="24"/>
                  </a:lnTo>
                  <a:lnTo>
                    <a:pt x="66" y="42"/>
                  </a:lnTo>
                  <a:lnTo>
                    <a:pt x="60" y="42"/>
                  </a:lnTo>
                  <a:lnTo>
                    <a:pt x="60" y="54"/>
                  </a:lnTo>
                  <a:lnTo>
                    <a:pt x="60" y="66"/>
                  </a:lnTo>
                  <a:lnTo>
                    <a:pt x="48" y="96"/>
                  </a:lnTo>
                  <a:lnTo>
                    <a:pt x="36" y="9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2" name="Freeform 47"/>
            <p:cNvSpPr>
              <a:spLocks/>
            </p:cNvSpPr>
            <p:nvPr/>
          </p:nvSpPr>
          <p:spPr bwMode="auto">
            <a:xfrm>
              <a:off x="1724" y="3493"/>
              <a:ext cx="291" cy="116"/>
            </a:xfrm>
            <a:custGeom>
              <a:avLst/>
              <a:gdLst>
                <a:gd name="T0" fmla="*/ 4 w 330"/>
                <a:gd name="T1" fmla="*/ 4 h 132"/>
                <a:gd name="T2" fmla="*/ 4 w 330"/>
                <a:gd name="T3" fmla="*/ 4 h 132"/>
                <a:gd name="T4" fmla="*/ 4 w 330"/>
                <a:gd name="T5" fmla="*/ 4 h 132"/>
                <a:gd name="T6" fmla="*/ 4 w 330"/>
                <a:gd name="T7" fmla="*/ 4 h 132"/>
                <a:gd name="T8" fmla="*/ 4 w 330"/>
                <a:gd name="T9" fmla="*/ 4 h 132"/>
                <a:gd name="T10" fmla="*/ 4 w 330"/>
                <a:gd name="T11" fmla="*/ 4 h 132"/>
                <a:gd name="T12" fmla="*/ 4 w 330"/>
                <a:gd name="T13" fmla="*/ 4 h 132"/>
                <a:gd name="T14" fmla="*/ 4 w 330"/>
                <a:gd name="T15" fmla="*/ 4 h 132"/>
                <a:gd name="T16" fmla="*/ 4 w 330"/>
                <a:gd name="T17" fmla="*/ 4 h 132"/>
                <a:gd name="T18" fmla="*/ 4 w 330"/>
                <a:gd name="T19" fmla="*/ 4 h 132"/>
                <a:gd name="T20" fmla="*/ 4 w 330"/>
                <a:gd name="T21" fmla="*/ 4 h 132"/>
                <a:gd name="T22" fmla="*/ 4 w 330"/>
                <a:gd name="T23" fmla="*/ 4 h 132"/>
                <a:gd name="T24" fmla="*/ 4 w 330"/>
                <a:gd name="T25" fmla="*/ 4 h 132"/>
                <a:gd name="T26" fmla="*/ 4 w 330"/>
                <a:gd name="T27" fmla="*/ 4 h 132"/>
                <a:gd name="T28" fmla="*/ 4 w 330"/>
                <a:gd name="T29" fmla="*/ 4 h 132"/>
                <a:gd name="T30" fmla="*/ 4 w 330"/>
                <a:gd name="T31" fmla="*/ 4 h 132"/>
                <a:gd name="T32" fmla="*/ 4 w 330"/>
                <a:gd name="T33" fmla="*/ 4 h 132"/>
                <a:gd name="T34" fmla="*/ 4 w 330"/>
                <a:gd name="T35" fmla="*/ 4 h 132"/>
                <a:gd name="T36" fmla="*/ 4 w 330"/>
                <a:gd name="T37" fmla="*/ 4 h 132"/>
                <a:gd name="T38" fmla="*/ 4 w 330"/>
                <a:gd name="T39" fmla="*/ 4 h 132"/>
                <a:gd name="T40" fmla="*/ 4 w 330"/>
                <a:gd name="T41" fmla="*/ 4 h 132"/>
                <a:gd name="T42" fmla="*/ 4 w 330"/>
                <a:gd name="T43" fmla="*/ 4 h 132"/>
                <a:gd name="T44" fmla="*/ 4 w 330"/>
                <a:gd name="T45" fmla="*/ 4 h 132"/>
                <a:gd name="T46" fmla="*/ 4 w 330"/>
                <a:gd name="T47" fmla="*/ 4 h 132"/>
                <a:gd name="T48" fmla="*/ 4 w 330"/>
                <a:gd name="T49" fmla="*/ 4 h 132"/>
                <a:gd name="T50" fmla="*/ 4 w 330"/>
                <a:gd name="T51" fmla="*/ 4 h 132"/>
                <a:gd name="T52" fmla="*/ 4 w 330"/>
                <a:gd name="T53" fmla="*/ 4 h 132"/>
                <a:gd name="T54" fmla="*/ 4 w 330"/>
                <a:gd name="T55" fmla="*/ 4 h 132"/>
                <a:gd name="T56" fmla="*/ 4 w 330"/>
                <a:gd name="T57" fmla="*/ 4 h 132"/>
                <a:gd name="T58" fmla="*/ 4 w 330"/>
                <a:gd name="T59" fmla="*/ 4 h 132"/>
                <a:gd name="T60" fmla="*/ 4 w 330"/>
                <a:gd name="T61" fmla="*/ 4 h 132"/>
                <a:gd name="T62" fmla="*/ 4 w 330"/>
                <a:gd name="T63" fmla="*/ 4 h 132"/>
                <a:gd name="T64" fmla="*/ 4 w 330"/>
                <a:gd name="T65" fmla="*/ 4 h 132"/>
                <a:gd name="T66" fmla="*/ 4 w 330"/>
                <a:gd name="T67" fmla="*/ 0 h 132"/>
                <a:gd name="T68" fmla="*/ 4 w 330"/>
                <a:gd name="T69" fmla="*/ 0 h 132"/>
                <a:gd name="T70" fmla="*/ 4 w 330"/>
                <a:gd name="T71" fmla="*/ 4 h 132"/>
                <a:gd name="T72" fmla="*/ 4 w 330"/>
                <a:gd name="T73" fmla="*/ 4 h 132"/>
                <a:gd name="T74" fmla="*/ 4 w 330"/>
                <a:gd name="T75" fmla="*/ 4 h 132"/>
                <a:gd name="T76" fmla="*/ 4 w 330"/>
                <a:gd name="T77" fmla="*/ 4 h 132"/>
                <a:gd name="T78" fmla="*/ 0 w 330"/>
                <a:gd name="T79" fmla="*/ 4 h 132"/>
                <a:gd name="T80" fmla="*/ 4 w 330"/>
                <a:gd name="T81" fmla="*/ 4 h 132"/>
                <a:gd name="T82" fmla="*/ 4 w 330"/>
                <a:gd name="T83" fmla="*/ 4 h 132"/>
                <a:gd name="T84" fmla="*/ 0 w 330"/>
                <a:gd name="T85" fmla="*/ 4 h 132"/>
                <a:gd name="T86" fmla="*/ 4 w 330"/>
                <a:gd name="T87" fmla="*/ 4 h 132"/>
                <a:gd name="T88" fmla="*/ 4 w 330"/>
                <a:gd name="T89" fmla="*/ 4 h 132"/>
                <a:gd name="T90" fmla="*/ 4 w 330"/>
                <a:gd name="T91" fmla="*/ 4 h 13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30" h="132">
                  <a:moveTo>
                    <a:pt x="24" y="120"/>
                  </a:moveTo>
                  <a:lnTo>
                    <a:pt x="24" y="108"/>
                  </a:lnTo>
                  <a:lnTo>
                    <a:pt x="24" y="96"/>
                  </a:lnTo>
                  <a:lnTo>
                    <a:pt x="24" y="72"/>
                  </a:lnTo>
                  <a:lnTo>
                    <a:pt x="36" y="72"/>
                  </a:lnTo>
                  <a:lnTo>
                    <a:pt x="48" y="42"/>
                  </a:lnTo>
                  <a:lnTo>
                    <a:pt x="60" y="30"/>
                  </a:lnTo>
                  <a:lnTo>
                    <a:pt x="66" y="42"/>
                  </a:lnTo>
                  <a:lnTo>
                    <a:pt x="78" y="30"/>
                  </a:lnTo>
                  <a:lnTo>
                    <a:pt x="102" y="30"/>
                  </a:lnTo>
                  <a:lnTo>
                    <a:pt x="126" y="30"/>
                  </a:lnTo>
                  <a:lnTo>
                    <a:pt x="132" y="42"/>
                  </a:lnTo>
                  <a:lnTo>
                    <a:pt x="156" y="42"/>
                  </a:lnTo>
                  <a:lnTo>
                    <a:pt x="180" y="54"/>
                  </a:lnTo>
                  <a:lnTo>
                    <a:pt x="198" y="60"/>
                  </a:lnTo>
                  <a:lnTo>
                    <a:pt x="222" y="72"/>
                  </a:lnTo>
                  <a:lnTo>
                    <a:pt x="234" y="84"/>
                  </a:lnTo>
                  <a:lnTo>
                    <a:pt x="258" y="96"/>
                  </a:lnTo>
                  <a:lnTo>
                    <a:pt x="276" y="96"/>
                  </a:lnTo>
                  <a:lnTo>
                    <a:pt x="312" y="108"/>
                  </a:lnTo>
                  <a:lnTo>
                    <a:pt x="318" y="108"/>
                  </a:lnTo>
                  <a:lnTo>
                    <a:pt x="330" y="96"/>
                  </a:lnTo>
                  <a:lnTo>
                    <a:pt x="312" y="84"/>
                  </a:lnTo>
                  <a:lnTo>
                    <a:pt x="300" y="96"/>
                  </a:lnTo>
                  <a:lnTo>
                    <a:pt x="276" y="84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34" y="60"/>
                  </a:lnTo>
                  <a:lnTo>
                    <a:pt x="210" y="54"/>
                  </a:lnTo>
                  <a:lnTo>
                    <a:pt x="198" y="42"/>
                  </a:lnTo>
                  <a:lnTo>
                    <a:pt x="180" y="30"/>
                  </a:lnTo>
                  <a:lnTo>
                    <a:pt x="156" y="18"/>
                  </a:lnTo>
                  <a:lnTo>
                    <a:pt x="144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60" y="6"/>
                  </a:lnTo>
                  <a:lnTo>
                    <a:pt x="48" y="18"/>
                  </a:lnTo>
                  <a:lnTo>
                    <a:pt x="36" y="18"/>
                  </a:lnTo>
                  <a:lnTo>
                    <a:pt x="24" y="18"/>
                  </a:lnTo>
                  <a:lnTo>
                    <a:pt x="0" y="30"/>
                  </a:lnTo>
                  <a:lnTo>
                    <a:pt x="12" y="54"/>
                  </a:lnTo>
                  <a:lnTo>
                    <a:pt x="12" y="72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24" y="132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 cmpd="sng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3" name="Freeform 222"/>
            <p:cNvSpPr>
              <a:spLocks/>
            </p:cNvSpPr>
            <p:nvPr/>
          </p:nvSpPr>
          <p:spPr bwMode="auto">
            <a:xfrm>
              <a:off x="1038" y="3150"/>
              <a:ext cx="264" cy="185"/>
            </a:xfrm>
            <a:custGeom>
              <a:avLst/>
              <a:gdLst>
                <a:gd name="T0" fmla="*/ 4 w 300"/>
                <a:gd name="T1" fmla="*/ 4 h 210"/>
                <a:gd name="T2" fmla="*/ 4 w 300"/>
                <a:gd name="T3" fmla="*/ 4 h 210"/>
                <a:gd name="T4" fmla="*/ 4 w 300"/>
                <a:gd name="T5" fmla="*/ 4 h 210"/>
                <a:gd name="T6" fmla="*/ 0 w 300"/>
                <a:gd name="T7" fmla="*/ 4 h 210"/>
                <a:gd name="T8" fmla="*/ 0 w 300"/>
                <a:gd name="T9" fmla="*/ 4 h 210"/>
                <a:gd name="T10" fmla="*/ 4 w 300"/>
                <a:gd name="T11" fmla="*/ 4 h 210"/>
                <a:gd name="T12" fmla="*/ 4 w 300"/>
                <a:gd name="T13" fmla="*/ 4 h 210"/>
                <a:gd name="T14" fmla="*/ 4 w 300"/>
                <a:gd name="T15" fmla="*/ 4 h 210"/>
                <a:gd name="T16" fmla="*/ 4 w 300"/>
                <a:gd name="T17" fmla="*/ 4 h 210"/>
                <a:gd name="T18" fmla="*/ 4 w 300"/>
                <a:gd name="T19" fmla="*/ 4 h 210"/>
                <a:gd name="T20" fmla="*/ 4 w 300"/>
                <a:gd name="T21" fmla="*/ 4 h 210"/>
                <a:gd name="T22" fmla="*/ 4 w 300"/>
                <a:gd name="T23" fmla="*/ 4 h 210"/>
                <a:gd name="T24" fmla="*/ 4 w 300"/>
                <a:gd name="T25" fmla="*/ 0 h 210"/>
                <a:gd name="T26" fmla="*/ 4 w 300"/>
                <a:gd name="T27" fmla="*/ 0 h 210"/>
                <a:gd name="T28" fmla="*/ 4 w 300"/>
                <a:gd name="T29" fmla="*/ 0 h 210"/>
                <a:gd name="T30" fmla="*/ 4 w 300"/>
                <a:gd name="T31" fmla="*/ 4 h 210"/>
                <a:gd name="T32" fmla="*/ 4 w 300"/>
                <a:gd name="T33" fmla="*/ 4 h 210"/>
                <a:gd name="T34" fmla="*/ 4 w 300"/>
                <a:gd name="T35" fmla="*/ 4 h 210"/>
                <a:gd name="T36" fmla="*/ 4 w 300"/>
                <a:gd name="T37" fmla="*/ 0 h 210"/>
                <a:gd name="T38" fmla="*/ 4 w 300"/>
                <a:gd name="T39" fmla="*/ 4 h 210"/>
                <a:gd name="T40" fmla="*/ 4 w 300"/>
                <a:gd name="T41" fmla="*/ 0 h 210"/>
                <a:gd name="T42" fmla="*/ 4 w 300"/>
                <a:gd name="T43" fmla="*/ 0 h 210"/>
                <a:gd name="T44" fmla="*/ 4 w 300"/>
                <a:gd name="T45" fmla="*/ 0 h 210"/>
                <a:gd name="T46" fmla="*/ 4 w 300"/>
                <a:gd name="T47" fmla="*/ 4 h 210"/>
                <a:gd name="T48" fmla="*/ 4 w 300"/>
                <a:gd name="T49" fmla="*/ 4 h 210"/>
                <a:gd name="T50" fmla="*/ 4 w 300"/>
                <a:gd name="T51" fmla="*/ 4 h 210"/>
                <a:gd name="T52" fmla="*/ 4 w 300"/>
                <a:gd name="T53" fmla="*/ 4 h 210"/>
                <a:gd name="T54" fmla="*/ 4 w 300"/>
                <a:gd name="T55" fmla="*/ 4 h 210"/>
                <a:gd name="T56" fmla="*/ 4 w 300"/>
                <a:gd name="T57" fmla="*/ 4 h 210"/>
                <a:gd name="T58" fmla="*/ 4 w 300"/>
                <a:gd name="T59" fmla="*/ 4 h 210"/>
                <a:gd name="T60" fmla="*/ 4 w 300"/>
                <a:gd name="T61" fmla="*/ 4 h 210"/>
                <a:gd name="T62" fmla="*/ 4 w 300"/>
                <a:gd name="T63" fmla="*/ 4 h 210"/>
                <a:gd name="T64" fmla="*/ 4 w 300"/>
                <a:gd name="T65" fmla="*/ 4 h 210"/>
                <a:gd name="T66" fmla="*/ 4 w 300"/>
                <a:gd name="T67" fmla="*/ 4 h 210"/>
                <a:gd name="T68" fmla="*/ 4 w 300"/>
                <a:gd name="T69" fmla="*/ 4 h 210"/>
                <a:gd name="T70" fmla="*/ 4 w 300"/>
                <a:gd name="T71" fmla="*/ 4 h 210"/>
                <a:gd name="T72" fmla="*/ 4 w 300"/>
                <a:gd name="T73" fmla="*/ 4 h 210"/>
                <a:gd name="T74" fmla="*/ 4 w 300"/>
                <a:gd name="T75" fmla="*/ 4 h 210"/>
                <a:gd name="T76" fmla="*/ 4 w 300"/>
                <a:gd name="T77" fmla="*/ 4 h 210"/>
                <a:gd name="T78" fmla="*/ 4 w 300"/>
                <a:gd name="T79" fmla="*/ 4 h 210"/>
                <a:gd name="T80" fmla="*/ 4 w 300"/>
                <a:gd name="T81" fmla="*/ 4 h 210"/>
                <a:gd name="T82" fmla="*/ 4 w 300"/>
                <a:gd name="T83" fmla="*/ 4 h 210"/>
                <a:gd name="T84" fmla="*/ 4 w 300"/>
                <a:gd name="T85" fmla="*/ 4 h 210"/>
                <a:gd name="T86" fmla="*/ 4 w 300"/>
                <a:gd name="T87" fmla="*/ 4 h 210"/>
                <a:gd name="T88" fmla="*/ 4 w 300"/>
                <a:gd name="T89" fmla="*/ 4 h 210"/>
                <a:gd name="T90" fmla="*/ 4 w 300"/>
                <a:gd name="T91" fmla="*/ 4 h 210"/>
                <a:gd name="T92" fmla="*/ 4 w 300"/>
                <a:gd name="T93" fmla="*/ 4 h 210"/>
                <a:gd name="T94" fmla="*/ 4 w 300"/>
                <a:gd name="T95" fmla="*/ 4 h 210"/>
                <a:gd name="T96" fmla="*/ 4 w 300"/>
                <a:gd name="T97" fmla="*/ 4 h 210"/>
                <a:gd name="T98" fmla="*/ 4 w 300"/>
                <a:gd name="T99" fmla="*/ 4 h 21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00" h="210">
                  <a:moveTo>
                    <a:pt x="36" y="156"/>
                  </a:moveTo>
                  <a:lnTo>
                    <a:pt x="24" y="14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0" y="102"/>
                  </a:lnTo>
                  <a:lnTo>
                    <a:pt x="24" y="90"/>
                  </a:lnTo>
                  <a:lnTo>
                    <a:pt x="24" y="78"/>
                  </a:lnTo>
                  <a:lnTo>
                    <a:pt x="24" y="66"/>
                  </a:lnTo>
                  <a:lnTo>
                    <a:pt x="42" y="60"/>
                  </a:lnTo>
                  <a:lnTo>
                    <a:pt x="42" y="36"/>
                  </a:lnTo>
                  <a:lnTo>
                    <a:pt x="66" y="24"/>
                  </a:lnTo>
                  <a:lnTo>
                    <a:pt x="90" y="24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132" y="0"/>
                  </a:lnTo>
                  <a:lnTo>
                    <a:pt x="144" y="24"/>
                  </a:lnTo>
                  <a:lnTo>
                    <a:pt x="156" y="24"/>
                  </a:lnTo>
                  <a:lnTo>
                    <a:pt x="168" y="12"/>
                  </a:lnTo>
                  <a:lnTo>
                    <a:pt x="180" y="0"/>
                  </a:lnTo>
                  <a:lnTo>
                    <a:pt x="198" y="12"/>
                  </a:lnTo>
                  <a:lnTo>
                    <a:pt x="210" y="0"/>
                  </a:lnTo>
                  <a:lnTo>
                    <a:pt x="222" y="0"/>
                  </a:lnTo>
                  <a:lnTo>
                    <a:pt x="234" y="0"/>
                  </a:lnTo>
                  <a:lnTo>
                    <a:pt x="252" y="12"/>
                  </a:lnTo>
                  <a:lnTo>
                    <a:pt x="240" y="36"/>
                  </a:lnTo>
                  <a:lnTo>
                    <a:pt x="252" y="36"/>
                  </a:lnTo>
                  <a:lnTo>
                    <a:pt x="264" y="36"/>
                  </a:lnTo>
                  <a:lnTo>
                    <a:pt x="288" y="24"/>
                  </a:lnTo>
                  <a:lnTo>
                    <a:pt x="300" y="36"/>
                  </a:lnTo>
                  <a:lnTo>
                    <a:pt x="300" y="48"/>
                  </a:lnTo>
                  <a:lnTo>
                    <a:pt x="222" y="78"/>
                  </a:lnTo>
                  <a:lnTo>
                    <a:pt x="222" y="120"/>
                  </a:lnTo>
                  <a:lnTo>
                    <a:pt x="234" y="120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0" y="156"/>
                  </a:lnTo>
                  <a:lnTo>
                    <a:pt x="198" y="168"/>
                  </a:lnTo>
                  <a:lnTo>
                    <a:pt x="180" y="156"/>
                  </a:lnTo>
                  <a:lnTo>
                    <a:pt x="168" y="156"/>
                  </a:lnTo>
                  <a:lnTo>
                    <a:pt x="156" y="180"/>
                  </a:lnTo>
                  <a:lnTo>
                    <a:pt x="144" y="168"/>
                  </a:lnTo>
                  <a:lnTo>
                    <a:pt x="132" y="192"/>
                  </a:lnTo>
                  <a:lnTo>
                    <a:pt x="120" y="210"/>
                  </a:lnTo>
                  <a:lnTo>
                    <a:pt x="102" y="198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42" y="180"/>
                  </a:lnTo>
                  <a:lnTo>
                    <a:pt x="42" y="156"/>
                  </a:lnTo>
                  <a:lnTo>
                    <a:pt x="42" y="144"/>
                  </a:lnTo>
                  <a:lnTo>
                    <a:pt x="36" y="156"/>
                  </a:lnTo>
                </a:path>
              </a:pathLst>
            </a:custGeom>
            <a:solidFill>
              <a:srgbClr val="FFFFFF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4" name="Freeform 223"/>
            <p:cNvSpPr>
              <a:spLocks/>
            </p:cNvSpPr>
            <p:nvPr/>
          </p:nvSpPr>
          <p:spPr bwMode="auto">
            <a:xfrm>
              <a:off x="642" y="1112"/>
              <a:ext cx="79" cy="74"/>
            </a:xfrm>
            <a:custGeom>
              <a:avLst/>
              <a:gdLst>
                <a:gd name="T0" fmla="*/ 0 w 90"/>
                <a:gd name="T1" fmla="*/ 4 h 84"/>
                <a:gd name="T2" fmla="*/ 4 w 90"/>
                <a:gd name="T3" fmla="*/ 4 h 84"/>
                <a:gd name="T4" fmla="*/ 4 w 90"/>
                <a:gd name="T5" fmla="*/ 4 h 84"/>
                <a:gd name="T6" fmla="*/ 4 w 90"/>
                <a:gd name="T7" fmla="*/ 4 h 84"/>
                <a:gd name="T8" fmla="*/ 4 w 90"/>
                <a:gd name="T9" fmla="*/ 4 h 84"/>
                <a:gd name="T10" fmla="*/ 4 w 90"/>
                <a:gd name="T11" fmla="*/ 4 h 84"/>
                <a:gd name="T12" fmla="*/ 4 w 90"/>
                <a:gd name="T13" fmla="*/ 4 h 84"/>
                <a:gd name="T14" fmla="*/ 4 w 90"/>
                <a:gd name="T15" fmla="*/ 4 h 84"/>
                <a:gd name="T16" fmla="*/ 4 w 90"/>
                <a:gd name="T17" fmla="*/ 4 h 84"/>
                <a:gd name="T18" fmla="*/ 4 w 90"/>
                <a:gd name="T19" fmla="*/ 4 h 84"/>
                <a:gd name="T20" fmla="*/ 4 w 90"/>
                <a:gd name="T21" fmla="*/ 4 h 84"/>
                <a:gd name="T22" fmla="*/ 4 w 90"/>
                <a:gd name="T23" fmla="*/ 4 h 84"/>
                <a:gd name="T24" fmla="*/ 4 w 90"/>
                <a:gd name="T25" fmla="*/ 4 h 84"/>
                <a:gd name="T26" fmla="*/ 4 w 90"/>
                <a:gd name="T27" fmla="*/ 4 h 84"/>
                <a:gd name="T28" fmla="*/ 4 w 90"/>
                <a:gd name="T29" fmla="*/ 4 h 84"/>
                <a:gd name="T30" fmla="*/ 4 w 90"/>
                <a:gd name="T31" fmla="*/ 4 h 84"/>
                <a:gd name="T32" fmla="*/ 4 w 90"/>
                <a:gd name="T33" fmla="*/ 4 h 84"/>
                <a:gd name="T34" fmla="*/ 4 w 90"/>
                <a:gd name="T35" fmla="*/ 4 h 84"/>
                <a:gd name="T36" fmla="*/ 4 w 90"/>
                <a:gd name="T37" fmla="*/ 0 h 84"/>
                <a:gd name="T38" fmla="*/ 0 w 90"/>
                <a:gd name="T39" fmla="*/ 0 h 84"/>
                <a:gd name="T40" fmla="*/ 0 w 90"/>
                <a:gd name="T41" fmla="*/ 4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0" h="84">
                  <a:moveTo>
                    <a:pt x="0" y="6"/>
                  </a:moveTo>
                  <a:lnTo>
                    <a:pt x="12" y="12"/>
                  </a:lnTo>
                  <a:lnTo>
                    <a:pt x="24" y="24"/>
                  </a:lnTo>
                  <a:lnTo>
                    <a:pt x="24" y="42"/>
                  </a:lnTo>
                  <a:lnTo>
                    <a:pt x="36" y="48"/>
                  </a:lnTo>
                  <a:lnTo>
                    <a:pt x="36" y="72"/>
                  </a:lnTo>
                  <a:lnTo>
                    <a:pt x="42" y="84"/>
                  </a:lnTo>
                  <a:lnTo>
                    <a:pt x="66" y="84"/>
                  </a:lnTo>
                  <a:lnTo>
                    <a:pt x="78" y="72"/>
                  </a:lnTo>
                  <a:lnTo>
                    <a:pt x="78" y="84"/>
                  </a:lnTo>
                  <a:lnTo>
                    <a:pt x="90" y="72"/>
                  </a:lnTo>
                  <a:lnTo>
                    <a:pt x="90" y="66"/>
                  </a:lnTo>
                  <a:lnTo>
                    <a:pt x="66" y="54"/>
                  </a:lnTo>
                  <a:lnTo>
                    <a:pt x="54" y="42"/>
                  </a:lnTo>
                  <a:lnTo>
                    <a:pt x="42" y="42"/>
                  </a:lnTo>
                  <a:lnTo>
                    <a:pt x="42" y="30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5" name="Freeform 224"/>
            <p:cNvSpPr>
              <a:spLocks/>
            </p:cNvSpPr>
            <p:nvPr/>
          </p:nvSpPr>
          <p:spPr bwMode="auto">
            <a:xfrm>
              <a:off x="4912" y="3498"/>
              <a:ext cx="217" cy="301"/>
            </a:xfrm>
            <a:custGeom>
              <a:avLst/>
              <a:gdLst>
                <a:gd name="T0" fmla="*/ 4 w 246"/>
                <a:gd name="T1" fmla="*/ 4 h 342"/>
                <a:gd name="T2" fmla="*/ 4 w 246"/>
                <a:gd name="T3" fmla="*/ 4 h 342"/>
                <a:gd name="T4" fmla="*/ 4 w 246"/>
                <a:gd name="T5" fmla="*/ 4 h 342"/>
                <a:gd name="T6" fmla="*/ 4 w 246"/>
                <a:gd name="T7" fmla="*/ 4 h 342"/>
                <a:gd name="T8" fmla="*/ 4 w 246"/>
                <a:gd name="T9" fmla="*/ 4 h 342"/>
                <a:gd name="T10" fmla="*/ 4 w 246"/>
                <a:gd name="T11" fmla="*/ 4 h 342"/>
                <a:gd name="T12" fmla="*/ 4 w 246"/>
                <a:gd name="T13" fmla="*/ 4 h 342"/>
                <a:gd name="T14" fmla="*/ 4 w 246"/>
                <a:gd name="T15" fmla="*/ 4 h 342"/>
                <a:gd name="T16" fmla="*/ 4 w 246"/>
                <a:gd name="T17" fmla="*/ 4 h 342"/>
                <a:gd name="T18" fmla="*/ 4 w 246"/>
                <a:gd name="T19" fmla="*/ 0 h 342"/>
                <a:gd name="T20" fmla="*/ 4 w 246"/>
                <a:gd name="T21" fmla="*/ 4 h 342"/>
                <a:gd name="T22" fmla="*/ 4 w 246"/>
                <a:gd name="T23" fmla="*/ 4 h 342"/>
                <a:gd name="T24" fmla="*/ 4 w 246"/>
                <a:gd name="T25" fmla="*/ 4 h 342"/>
                <a:gd name="T26" fmla="*/ 4 w 246"/>
                <a:gd name="T27" fmla="*/ 4 h 342"/>
                <a:gd name="T28" fmla="*/ 4 w 246"/>
                <a:gd name="T29" fmla="*/ 4 h 342"/>
                <a:gd name="T30" fmla="*/ 4 w 246"/>
                <a:gd name="T31" fmla="*/ 4 h 342"/>
                <a:gd name="T32" fmla="*/ 4 w 246"/>
                <a:gd name="T33" fmla="*/ 4 h 342"/>
                <a:gd name="T34" fmla="*/ 4 w 246"/>
                <a:gd name="T35" fmla="*/ 4 h 342"/>
                <a:gd name="T36" fmla="*/ 4 w 246"/>
                <a:gd name="T37" fmla="*/ 4 h 342"/>
                <a:gd name="T38" fmla="*/ 4 w 246"/>
                <a:gd name="T39" fmla="*/ 4 h 342"/>
                <a:gd name="T40" fmla="*/ 4 w 246"/>
                <a:gd name="T41" fmla="*/ 4 h 342"/>
                <a:gd name="T42" fmla="*/ 4 w 246"/>
                <a:gd name="T43" fmla="*/ 4 h 342"/>
                <a:gd name="T44" fmla="*/ 4 w 246"/>
                <a:gd name="T45" fmla="*/ 4 h 342"/>
                <a:gd name="T46" fmla="*/ 4 w 246"/>
                <a:gd name="T47" fmla="*/ 4 h 342"/>
                <a:gd name="T48" fmla="*/ 4 w 246"/>
                <a:gd name="T49" fmla="*/ 4 h 342"/>
                <a:gd name="T50" fmla="*/ 4 w 246"/>
                <a:gd name="T51" fmla="*/ 4 h 342"/>
                <a:gd name="T52" fmla="*/ 4 w 246"/>
                <a:gd name="T53" fmla="*/ 4 h 342"/>
                <a:gd name="T54" fmla="*/ 4 w 246"/>
                <a:gd name="T55" fmla="*/ 4 h 342"/>
                <a:gd name="T56" fmla="*/ 4 w 246"/>
                <a:gd name="T57" fmla="*/ 4 h 342"/>
                <a:gd name="T58" fmla="*/ 4 w 246"/>
                <a:gd name="T59" fmla="*/ 4 h 342"/>
                <a:gd name="T60" fmla="*/ 4 w 246"/>
                <a:gd name="T61" fmla="*/ 4 h 342"/>
                <a:gd name="T62" fmla="*/ 4 w 246"/>
                <a:gd name="T63" fmla="*/ 4 h 342"/>
                <a:gd name="T64" fmla="*/ 4 w 246"/>
                <a:gd name="T65" fmla="*/ 4 h 342"/>
                <a:gd name="T66" fmla="*/ 0 w 246"/>
                <a:gd name="T67" fmla="*/ 4 h 342"/>
                <a:gd name="T68" fmla="*/ 4 w 246"/>
                <a:gd name="T69" fmla="*/ 4 h 342"/>
                <a:gd name="T70" fmla="*/ 4 w 246"/>
                <a:gd name="T71" fmla="*/ 4 h 342"/>
                <a:gd name="T72" fmla="*/ 4 w 246"/>
                <a:gd name="T73" fmla="*/ 4 h 342"/>
                <a:gd name="T74" fmla="*/ 4 w 246"/>
                <a:gd name="T75" fmla="*/ 4 h 342"/>
                <a:gd name="T76" fmla="*/ 4 w 246"/>
                <a:gd name="T77" fmla="*/ 4 h 342"/>
                <a:gd name="T78" fmla="*/ 4 w 246"/>
                <a:gd name="T79" fmla="*/ 4 h 342"/>
                <a:gd name="T80" fmla="*/ 4 w 246"/>
                <a:gd name="T81" fmla="*/ 4 h 342"/>
                <a:gd name="T82" fmla="*/ 4 w 246"/>
                <a:gd name="T83" fmla="*/ 4 h 34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46" h="342">
                  <a:moveTo>
                    <a:pt x="12" y="24"/>
                  </a:moveTo>
                  <a:lnTo>
                    <a:pt x="24" y="24"/>
                  </a:lnTo>
                  <a:lnTo>
                    <a:pt x="72" y="24"/>
                  </a:lnTo>
                  <a:lnTo>
                    <a:pt x="96" y="48"/>
                  </a:lnTo>
                  <a:lnTo>
                    <a:pt x="96" y="60"/>
                  </a:lnTo>
                  <a:lnTo>
                    <a:pt x="120" y="72"/>
                  </a:lnTo>
                  <a:lnTo>
                    <a:pt x="150" y="60"/>
                  </a:lnTo>
                  <a:lnTo>
                    <a:pt x="186" y="60"/>
                  </a:lnTo>
                  <a:lnTo>
                    <a:pt x="186" y="36"/>
                  </a:lnTo>
                  <a:lnTo>
                    <a:pt x="222" y="0"/>
                  </a:lnTo>
                  <a:lnTo>
                    <a:pt x="234" y="36"/>
                  </a:lnTo>
                  <a:lnTo>
                    <a:pt x="234" y="48"/>
                  </a:lnTo>
                  <a:lnTo>
                    <a:pt x="246" y="48"/>
                  </a:lnTo>
                  <a:lnTo>
                    <a:pt x="234" y="60"/>
                  </a:lnTo>
                  <a:lnTo>
                    <a:pt x="234" y="84"/>
                  </a:lnTo>
                  <a:lnTo>
                    <a:pt x="222" y="96"/>
                  </a:lnTo>
                  <a:lnTo>
                    <a:pt x="186" y="168"/>
                  </a:lnTo>
                  <a:lnTo>
                    <a:pt x="186" y="192"/>
                  </a:lnTo>
                  <a:lnTo>
                    <a:pt x="198" y="222"/>
                  </a:lnTo>
                  <a:lnTo>
                    <a:pt x="162" y="234"/>
                  </a:lnTo>
                  <a:lnTo>
                    <a:pt x="120" y="234"/>
                  </a:lnTo>
                  <a:lnTo>
                    <a:pt x="90" y="210"/>
                  </a:lnTo>
                  <a:lnTo>
                    <a:pt x="60" y="222"/>
                  </a:lnTo>
                  <a:lnTo>
                    <a:pt x="48" y="258"/>
                  </a:lnTo>
                  <a:lnTo>
                    <a:pt x="60" y="294"/>
                  </a:lnTo>
                  <a:lnTo>
                    <a:pt x="72" y="306"/>
                  </a:lnTo>
                  <a:lnTo>
                    <a:pt x="72" y="330"/>
                  </a:lnTo>
                  <a:lnTo>
                    <a:pt x="36" y="318"/>
                  </a:lnTo>
                  <a:lnTo>
                    <a:pt x="24" y="342"/>
                  </a:lnTo>
                  <a:lnTo>
                    <a:pt x="12" y="330"/>
                  </a:lnTo>
                  <a:lnTo>
                    <a:pt x="24" y="318"/>
                  </a:lnTo>
                  <a:lnTo>
                    <a:pt x="24" y="306"/>
                  </a:lnTo>
                  <a:lnTo>
                    <a:pt x="12" y="258"/>
                  </a:lnTo>
                  <a:lnTo>
                    <a:pt x="0" y="222"/>
                  </a:lnTo>
                  <a:lnTo>
                    <a:pt x="12" y="210"/>
                  </a:lnTo>
                  <a:lnTo>
                    <a:pt x="24" y="180"/>
                  </a:lnTo>
                  <a:lnTo>
                    <a:pt x="48" y="156"/>
                  </a:lnTo>
                  <a:lnTo>
                    <a:pt x="48" y="132"/>
                  </a:lnTo>
                  <a:lnTo>
                    <a:pt x="48" y="120"/>
                  </a:lnTo>
                  <a:lnTo>
                    <a:pt x="24" y="96"/>
                  </a:lnTo>
                  <a:lnTo>
                    <a:pt x="12" y="48"/>
                  </a:lnTo>
                  <a:lnTo>
                    <a:pt x="12" y="24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6" name="Freeform 225"/>
            <p:cNvSpPr>
              <a:spLocks/>
            </p:cNvSpPr>
            <p:nvPr/>
          </p:nvSpPr>
          <p:spPr bwMode="auto">
            <a:xfrm>
              <a:off x="4912" y="3799"/>
              <a:ext cx="196" cy="375"/>
            </a:xfrm>
            <a:custGeom>
              <a:avLst/>
              <a:gdLst>
                <a:gd name="T0" fmla="*/ 4 w 222"/>
                <a:gd name="T1" fmla="*/ 4 h 426"/>
                <a:gd name="T2" fmla="*/ 4 w 222"/>
                <a:gd name="T3" fmla="*/ 4 h 426"/>
                <a:gd name="T4" fmla="*/ 4 w 222"/>
                <a:gd name="T5" fmla="*/ 4 h 426"/>
                <a:gd name="T6" fmla="*/ 4 w 222"/>
                <a:gd name="T7" fmla="*/ 4 h 426"/>
                <a:gd name="T8" fmla="*/ 4 w 222"/>
                <a:gd name="T9" fmla="*/ 4 h 426"/>
                <a:gd name="T10" fmla="*/ 4 w 222"/>
                <a:gd name="T11" fmla="*/ 4 h 426"/>
                <a:gd name="T12" fmla="*/ 4 w 222"/>
                <a:gd name="T13" fmla="*/ 4 h 426"/>
                <a:gd name="T14" fmla="*/ 4 w 222"/>
                <a:gd name="T15" fmla="*/ 4 h 426"/>
                <a:gd name="T16" fmla="*/ 4 w 222"/>
                <a:gd name="T17" fmla="*/ 4 h 426"/>
                <a:gd name="T18" fmla="*/ 4 w 222"/>
                <a:gd name="T19" fmla="*/ 4 h 426"/>
                <a:gd name="T20" fmla="*/ 4 w 222"/>
                <a:gd name="T21" fmla="*/ 4 h 426"/>
                <a:gd name="T22" fmla="*/ 4 w 222"/>
                <a:gd name="T23" fmla="*/ 5 h 426"/>
                <a:gd name="T24" fmla="*/ 4 w 222"/>
                <a:gd name="T25" fmla="*/ 5 h 426"/>
                <a:gd name="T26" fmla="*/ 0 w 222"/>
                <a:gd name="T27" fmla="*/ 6 h 426"/>
                <a:gd name="T28" fmla="*/ 4 w 222"/>
                <a:gd name="T29" fmla="*/ 6 h 426"/>
                <a:gd name="T30" fmla="*/ 4 w 222"/>
                <a:gd name="T31" fmla="*/ 5 h 426"/>
                <a:gd name="T32" fmla="*/ 4 w 222"/>
                <a:gd name="T33" fmla="*/ 4 h 426"/>
                <a:gd name="T34" fmla="*/ 4 w 222"/>
                <a:gd name="T35" fmla="*/ 4 h 426"/>
                <a:gd name="T36" fmla="*/ 4 w 222"/>
                <a:gd name="T37" fmla="*/ 4 h 426"/>
                <a:gd name="T38" fmla="*/ 4 w 222"/>
                <a:gd name="T39" fmla="*/ 4 h 426"/>
                <a:gd name="T40" fmla="*/ 4 w 222"/>
                <a:gd name="T41" fmla="*/ 4 h 426"/>
                <a:gd name="T42" fmla="*/ 4 w 222"/>
                <a:gd name="T43" fmla="*/ 4 h 426"/>
                <a:gd name="T44" fmla="*/ 4 w 222"/>
                <a:gd name="T45" fmla="*/ 4 h 426"/>
                <a:gd name="T46" fmla="*/ 4 w 222"/>
                <a:gd name="T47" fmla="*/ 4 h 426"/>
                <a:gd name="T48" fmla="*/ 4 w 222"/>
                <a:gd name="T49" fmla="*/ 4 h 426"/>
                <a:gd name="T50" fmla="*/ 4 w 222"/>
                <a:gd name="T51" fmla="*/ 4 h 426"/>
                <a:gd name="T52" fmla="*/ 4 w 222"/>
                <a:gd name="T53" fmla="*/ 4 h 426"/>
                <a:gd name="T54" fmla="*/ 4 w 222"/>
                <a:gd name="T55" fmla="*/ 4 h 426"/>
                <a:gd name="T56" fmla="*/ 4 w 222"/>
                <a:gd name="T57" fmla="*/ 4 h 426"/>
                <a:gd name="T58" fmla="*/ 4 w 222"/>
                <a:gd name="T59" fmla="*/ 0 h 426"/>
                <a:gd name="T60" fmla="*/ 4 w 222"/>
                <a:gd name="T61" fmla="*/ 4 h 426"/>
                <a:gd name="T62" fmla="*/ 4 w 222"/>
                <a:gd name="T63" fmla="*/ 4 h 426"/>
                <a:gd name="T64" fmla="*/ 4 w 222"/>
                <a:gd name="T65" fmla="*/ 4 h 426"/>
                <a:gd name="T66" fmla="*/ 4 w 222"/>
                <a:gd name="T67" fmla="*/ 4 h 42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2" h="426">
                  <a:moveTo>
                    <a:pt x="60" y="60"/>
                  </a:moveTo>
                  <a:lnTo>
                    <a:pt x="48" y="96"/>
                  </a:lnTo>
                  <a:lnTo>
                    <a:pt x="60" y="108"/>
                  </a:lnTo>
                  <a:lnTo>
                    <a:pt x="60" y="156"/>
                  </a:lnTo>
                  <a:lnTo>
                    <a:pt x="36" y="180"/>
                  </a:lnTo>
                  <a:lnTo>
                    <a:pt x="72" y="204"/>
                  </a:lnTo>
                  <a:lnTo>
                    <a:pt x="90" y="228"/>
                  </a:lnTo>
                  <a:lnTo>
                    <a:pt x="72" y="270"/>
                  </a:lnTo>
                  <a:lnTo>
                    <a:pt x="48" y="294"/>
                  </a:lnTo>
                  <a:lnTo>
                    <a:pt x="60" y="330"/>
                  </a:lnTo>
                  <a:lnTo>
                    <a:pt x="48" y="342"/>
                  </a:lnTo>
                  <a:lnTo>
                    <a:pt x="36" y="378"/>
                  </a:lnTo>
                  <a:lnTo>
                    <a:pt x="36" y="390"/>
                  </a:lnTo>
                  <a:lnTo>
                    <a:pt x="0" y="426"/>
                  </a:lnTo>
                  <a:lnTo>
                    <a:pt x="186" y="426"/>
                  </a:lnTo>
                  <a:lnTo>
                    <a:pt x="210" y="378"/>
                  </a:lnTo>
                  <a:lnTo>
                    <a:pt x="210" y="354"/>
                  </a:lnTo>
                  <a:lnTo>
                    <a:pt x="198" y="342"/>
                  </a:lnTo>
                  <a:lnTo>
                    <a:pt x="210" y="318"/>
                  </a:lnTo>
                  <a:lnTo>
                    <a:pt x="210" y="282"/>
                  </a:lnTo>
                  <a:lnTo>
                    <a:pt x="222" y="216"/>
                  </a:lnTo>
                  <a:lnTo>
                    <a:pt x="222" y="192"/>
                  </a:lnTo>
                  <a:lnTo>
                    <a:pt x="210" y="156"/>
                  </a:lnTo>
                  <a:lnTo>
                    <a:pt x="198" y="144"/>
                  </a:lnTo>
                  <a:lnTo>
                    <a:pt x="198" y="108"/>
                  </a:lnTo>
                  <a:lnTo>
                    <a:pt x="174" y="84"/>
                  </a:lnTo>
                  <a:lnTo>
                    <a:pt x="174" y="60"/>
                  </a:lnTo>
                  <a:lnTo>
                    <a:pt x="132" y="36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96" y="24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60" y="60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7" name="Freeform 226"/>
            <p:cNvSpPr>
              <a:spLocks/>
            </p:cNvSpPr>
            <p:nvPr/>
          </p:nvSpPr>
          <p:spPr bwMode="auto">
            <a:xfrm>
              <a:off x="191" y="1772"/>
              <a:ext cx="536" cy="698"/>
            </a:xfrm>
            <a:custGeom>
              <a:avLst/>
              <a:gdLst>
                <a:gd name="T0" fmla="*/ 1214 w 518"/>
                <a:gd name="T1" fmla="*/ 201 h 698"/>
                <a:gd name="T2" fmla="*/ 1114 w 518"/>
                <a:gd name="T3" fmla="*/ 132 h 698"/>
                <a:gd name="T4" fmla="*/ 1082 w 518"/>
                <a:gd name="T5" fmla="*/ 74 h 698"/>
                <a:gd name="T6" fmla="*/ 993 w 518"/>
                <a:gd name="T7" fmla="*/ 5 h 698"/>
                <a:gd name="T8" fmla="*/ 777 w 518"/>
                <a:gd name="T9" fmla="*/ 26 h 698"/>
                <a:gd name="T10" fmla="*/ 591 w 518"/>
                <a:gd name="T11" fmla="*/ 21 h 698"/>
                <a:gd name="T12" fmla="*/ 367 w 518"/>
                <a:gd name="T13" fmla="*/ 21 h 698"/>
                <a:gd name="T14" fmla="*/ 184 w 518"/>
                <a:gd name="T15" fmla="*/ 37 h 698"/>
                <a:gd name="T16" fmla="*/ 184 w 518"/>
                <a:gd name="T17" fmla="*/ 116 h 698"/>
                <a:gd name="T18" fmla="*/ 405 w 518"/>
                <a:gd name="T19" fmla="*/ 190 h 698"/>
                <a:gd name="T20" fmla="*/ 301 w 518"/>
                <a:gd name="T21" fmla="*/ 248 h 698"/>
                <a:gd name="T22" fmla="*/ 167 w 518"/>
                <a:gd name="T23" fmla="*/ 306 h 698"/>
                <a:gd name="T24" fmla="*/ 0 w 518"/>
                <a:gd name="T25" fmla="*/ 364 h 698"/>
                <a:gd name="T26" fmla="*/ 219 w 518"/>
                <a:gd name="T27" fmla="*/ 406 h 698"/>
                <a:gd name="T28" fmla="*/ 405 w 518"/>
                <a:gd name="T29" fmla="*/ 406 h 698"/>
                <a:gd name="T30" fmla="*/ 554 w 518"/>
                <a:gd name="T31" fmla="*/ 471 h 698"/>
                <a:gd name="T32" fmla="*/ 741 w 518"/>
                <a:gd name="T33" fmla="*/ 480 h 698"/>
                <a:gd name="T34" fmla="*/ 881 w 518"/>
                <a:gd name="T35" fmla="*/ 512 h 698"/>
                <a:gd name="T36" fmla="*/ 881 w 518"/>
                <a:gd name="T37" fmla="*/ 528 h 698"/>
                <a:gd name="T38" fmla="*/ 657 w 518"/>
                <a:gd name="T39" fmla="*/ 501 h 698"/>
                <a:gd name="T40" fmla="*/ 469 w 518"/>
                <a:gd name="T41" fmla="*/ 464 h 698"/>
                <a:gd name="T42" fmla="*/ 436 w 518"/>
                <a:gd name="T43" fmla="*/ 475 h 698"/>
                <a:gd name="T44" fmla="*/ 502 w 518"/>
                <a:gd name="T45" fmla="*/ 528 h 698"/>
                <a:gd name="T46" fmla="*/ 287 w 518"/>
                <a:gd name="T47" fmla="*/ 522 h 698"/>
                <a:gd name="T48" fmla="*/ 184 w 518"/>
                <a:gd name="T49" fmla="*/ 570 h 698"/>
                <a:gd name="T50" fmla="*/ 319 w 518"/>
                <a:gd name="T51" fmla="*/ 617 h 698"/>
                <a:gd name="T52" fmla="*/ 537 w 518"/>
                <a:gd name="T53" fmla="*/ 649 h 698"/>
                <a:gd name="T54" fmla="*/ 537 w 518"/>
                <a:gd name="T55" fmla="*/ 586 h 698"/>
                <a:gd name="T56" fmla="*/ 537 w 518"/>
                <a:gd name="T57" fmla="*/ 528 h 698"/>
                <a:gd name="T58" fmla="*/ 625 w 518"/>
                <a:gd name="T59" fmla="*/ 570 h 698"/>
                <a:gd name="T60" fmla="*/ 809 w 518"/>
                <a:gd name="T61" fmla="*/ 586 h 698"/>
                <a:gd name="T62" fmla="*/ 959 w 518"/>
                <a:gd name="T63" fmla="*/ 639 h 698"/>
                <a:gd name="T64" fmla="*/ 1137 w 518"/>
                <a:gd name="T65" fmla="*/ 657 h 698"/>
                <a:gd name="T66" fmla="*/ 1306 w 518"/>
                <a:gd name="T67" fmla="*/ 668 h 698"/>
                <a:gd name="T68" fmla="*/ 1530 w 518"/>
                <a:gd name="T69" fmla="*/ 665 h 698"/>
                <a:gd name="T70" fmla="*/ 1597 w 518"/>
                <a:gd name="T71" fmla="*/ 596 h 698"/>
                <a:gd name="T72" fmla="*/ 1561 w 518"/>
                <a:gd name="T73" fmla="*/ 528 h 698"/>
                <a:gd name="T74" fmla="*/ 1515 w 518"/>
                <a:gd name="T75" fmla="*/ 501 h 698"/>
                <a:gd name="T76" fmla="*/ 1475 w 518"/>
                <a:gd name="T77" fmla="*/ 464 h 698"/>
                <a:gd name="T78" fmla="*/ 1503 w 518"/>
                <a:gd name="T79" fmla="*/ 435 h 698"/>
                <a:gd name="T80" fmla="*/ 1487 w 518"/>
                <a:gd name="T81" fmla="*/ 406 h 698"/>
                <a:gd name="T82" fmla="*/ 1592 w 518"/>
                <a:gd name="T83" fmla="*/ 372 h 698"/>
                <a:gd name="T84" fmla="*/ 1652 w 518"/>
                <a:gd name="T85" fmla="*/ 347 h 698"/>
                <a:gd name="T86" fmla="*/ 1549 w 518"/>
                <a:gd name="T87" fmla="*/ 280 h 698"/>
                <a:gd name="T88" fmla="*/ 1539 w 518"/>
                <a:gd name="T89" fmla="*/ 259 h 698"/>
                <a:gd name="T90" fmla="*/ 1284 w 518"/>
                <a:gd name="T91" fmla="*/ 243 h 69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518" h="698">
                  <a:moveTo>
                    <a:pt x="401" y="243"/>
                  </a:moveTo>
                  <a:lnTo>
                    <a:pt x="380" y="201"/>
                  </a:lnTo>
                  <a:lnTo>
                    <a:pt x="380" y="164"/>
                  </a:lnTo>
                  <a:lnTo>
                    <a:pt x="349" y="132"/>
                  </a:lnTo>
                  <a:lnTo>
                    <a:pt x="349" y="106"/>
                  </a:lnTo>
                  <a:lnTo>
                    <a:pt x="338" y="74"/>
                  </a:lnTo>
                  <a:lnTo>
                    <a:pt x="338" y="47"/>
                  </a:lnTo>
                  <a:lnTo>
                    <a:pt x="312" y="5"/>
                  </a:lnTo>
                  <a:lnTo>
                    <a:pt x="264" y="0"/>
                  </a:lnTo>
                  <a:lnTo>
                    <a:pt x="243" y="26"/>
                  </a:lnTo>
                  <a:lnTo>
                    <a:pt x="217" y="26"/>
                  </a:lnTo>
                  <a:lnTo>
                    <a:pt x="185" y="21"/>
                  </a:lnTo>
                  <a:lnTo>
                    <a:pt x="158" y="5"/>
                  </a:lnTo>
                  <a:lnTo>
                    <a:pt x="116" y="21"/>
                  </a:lnTo>
                  <a:lnTo>
                    <a:pt x="79" y="5"/>
                  </a:lnTo>
                  <a:lnTo>
                    <a:pt x="58" y="37"/>
                  </a:lnTo>
                  <a:lnTo>
                    <a:pt x="58" y="74"/>
                  </a:lnTo>
                  <a:lnTo>
                    <a:pt x="58" y="116"/>
                  </a:lnTo>
                  <a:lnTo>
                    <a:pt x="69" y="153"/>
                  </a:lnTo>
                  <a:lnTo>
                    <a:pt x="127" y="190"/>
                  </a:lnTo>
                  <a:lnTo>
                    <a:pt x="106" y="222"/>
                  </a:lnTo>
                  <a:lnTo>
                    <a:pt x="95" y="248"/>
                  </a:lnTo>
                  <a:lnTo>
                    <a:pt x="79" y="280"/>
                  </a:lnTo>
                  <a:lnTo>
                    <a:pt x="53" y="306"/>
                  </a:lnTo>
                  <a:lnTo>
                    <a:pt x="11" y="317"/>
                  </a:lnTo>
                  <a:lnTo>
                    <a:pt x="0" y="364"/>
                  </a:lnTo>
                  <a:lnTo>
                    <a:pt x="42" y="396"/>
                  </a:lnTo>
                  <a:lnTo>
                    <a:pt x="69" y="406"/>
                  </a:lnTo>
                  <a:lnTo>
                    <a:pt x="100" y="406"/>
                  </a:lnTo>
                  <a:lnTo>
                    <a:pt x="127" y="406"/>
                  </a:lnTo>
                  <a:lnTo>
                    <a:pt x="158" y="433"/>
                  </a:lnTo>
                  <a:lnTo>
                    <a:pt x="174" y="471"/>
                  </a:lnTo>
                  <a:lnTo>
                    <a:pt x="206" y="480"/>
                  </a:lnTo>
                  <a:lnTo>
                    <a:pt x="232" y="480"/>
                  </a:lnTo>
                  <a:lnTo>
                    <a:pt x="264" y="480"/>
                  </a:lnTo>
                  <a:lnTo>
                    <a:pt x="275" y="512"/>
                  </a:lnTo>
                  <a:lnTo>
                    <a:pt x="301" y="522"/>
                  </a:lnTo>
                  <a:lnTo>
                    <a:pt x="275" y="528"/>
                  </a:lnTo>
                  <a:lnTo>
                    <a:pt x="243" y="512"/>
                  </a:lnTo>
                  <a:lnTo>
                    <a:pt x="206" y="501"/>
                  </a:lnTo>
                  <a:lnTo>
                    <a:pt x="174" y="480"/>
                  </a:lnTo>
                  <a:lnTo>
                    <a:pt x="148" y="464"/>
                  </a:lnTo>
                  <a:lnTo>
                    <a:pt x="127" y="433"/>
                  </a:lnTo>
                  <a:lnTo>
                    <a:pt x="137" y="475"/>
                  </a:lnTo>
                  <a:lnTo>
                    <a:pt x="137" y="501"/>
                  </a:lnTo>
                  <a:lnTo>
                    <a:pt x="158" y="528"/>
                  </a:lnTo>
                  <a:lnTo>
                    <a:pt x="116" y="522"/>
                  </a:lnTo>
                  <a:lnTo>
                    <a:pt x="90" y="522"/>
                  </a:lnTo>
                  <a:lnTo>
                    <a:pt x="90" y="559"/>
                  </a:lnTo>
                  <a:lnTo>
                    <a:pt x="58" y="570"/>
                  </a:lnTo>
                  <a:lnTo>
                    <a:pt x="69" y="596"/>
                  </a:lnTo>
                  <a:lnTo>
                    <a:pt x="100" y="617"/>
                  </a:lnTo>
                  <a:lnTo>
                    <a:pt x="127" y="628"/>
                  </a:lnTo>
                  <a:lnTo>
                    <a:pt x="169" y="649"/>
                  </a:lnTo>
                  <a:lnTo>
                    <a:pt x="169" y="617"/>
                  </a:lnTo>
                  <a:lnTo>
                    <a:pt x="169" y="586"/>
                  </a:lnTo>
                  <a:lnTo>
                    <a:pt x="158" y="559"/>
                  </a:lnTo>
                  <a:lnTo>
                    <a:pt x="169" y="528"/>
                  </a:lnTo>
                  <a:lnTo>
                    <a:pt x="169" y="559"/>
                  </a:lnTo>
                  <a:lnTo>
                    <a:pt x="195" y="570"/>
                  </a:lnTo>
                  <a:lnTo>
                    <a:pt x="222" y="586"/>
                  </a:lnTo>
                  <a:lnTo>
                    <a:pt x="254" y="586"/>
                  </a:lnTo>
                  <a:lnTo>
                    <a:pt x="275" y="617"/>
                  </a:lnTo>
                  <a:lnTo>
                    <a:pt x="301" y="639"/>
                  </a:lnTo>
                  <a:lnTo>
                    <a:pt x="322" y="665"/>
                  </a:lnTo>
                  <a:lnTo>
                    <a:pt x="357" y="657"/>
                  </a:lnTo>
                  <a:lnTo>
                    <a:pt x="390" y="657"/>
                  </a:lnTo>
                  <a:lnTo>
                    <a:pt x="410" y="668"/>
                  </a:lnTo>
                  <a:lnTo>
                    <a:pt x="422" y="698"/>
                  </a:lnTo>
                  <a:lnTo>
                    <a:pt x="479" y="665"/>
                  </a:lnTo>
                  <a:lnTo>
                    <a:pt x="503" y="629"/>
                  </a:lnTo>
                  <a:lnTo>
                    <a:pt x="501" y="596"/>
                  </a:lnTo>
                  <a:lnTo>
                    <a:pt x="489" y="554"/>
                  </a:lnTo>
                  <a:lnTo>
                    <a:pt x="489" y="528"/>
                  </a:lnTo>
                  <a:lnTo>
                    <a:pt x="482" y="509"/>
                  </a:lnTo>
                  <a:lnTo>
                    <a:pt x="474" y="501"/>
                  </a:lnTo>
                  <a:lnTo>
                    <a:pt x="465" y="489"/>
                  </a:lnTo>
                  <a:lnTo>
                    <a:pt x="460" y="464"/>
                  </a:lnTo>
                  <a:lnTo>
                    <a:pt x="467" y="446"/>
                  </a:lnTo>
                  <a:lnTo>
                    <a:pt x="471" y="435"/>
                  </a:lnTo>
                  <a:lnTo>
                    <a:pt x="475" y="422"/>
                  </a:lnTo>
                  <a:lnTo>
                    <a:pt x="465" y="406"/>
                  </a:lnTo>
                  <a:lnTo>
                    <a:pt x="483" y="387"/>
                  </a:lnTo>
                  <a:lnTo>
                    <a:pt x="498" y="372"/>
                  </a:lnTo>
                  <a:lnTo>
                    <a:pt x="507" y="354"/>
                  </a:lnTo>
                  <a:lnTo>
                    <a:pt x="518" y="347"/>
                  </a:lnTo>
                  <a:lnTo>
                    <a:pt x="512" y="326"/>
                  </a:lnTo>
                  <a:lnTo>
                    <a:pt x="486" y="280"/>
                  </a:lnTo>
                  <a:lnTo>
                    <a:pt x="475" y="259"/>
                  </a:lnTo>
                  <a:lnTo>
                    <a:pt x="481" y="259"/>
                  </a:lnTo>
                  <a:lnTo>
                    <a:pt x="438" y="232"/>
                  </a:lnTo>
                  <a:lnTo>
                    <a:pt x="401" y="243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8" name="Freeform 227"/>
            <p:cNvSpPr>
              <a:spLocks/>
            </p:cNvSpPr>
            <p:nvPr/>
          </p:nvSpPr>
          <p:spPr bwMode="auto">
            <a:xfrm>
              <a:off x="465" y="1717"/>
              <a:ext cx="404" cy="330"/>
            </a:xfrm>
            <a:custGeom>
              <a:avLst/>
              <a:gdLst>
                <a:gd name="T0" fmla="*/ 613 w 397"/>
                <a:gd name="T1" fmla="*/ 439 h 311"/>
                <a:gd name="T2" fmla="*/ 572 w 397"/>
                <a:gd name="T3" fmla="*/ 299 h 311"/>
                <a:gd name="T4" fmla="*/ 526 w 397"/>
                <a:gd name="T5" fmla="*/ 317 h 311"/>
                <a:gd name="T6" fmla="*/ 508 w 397"/>
                <a:gd name="T7" fmla="*/ 395 h 311"/>
                <a:gd name="T8" fmla="*/ 480 w 397"/>
                <a:gd name="T9" fmla="*/ 317 h 311"/>
                <a:gd name="T10" fmla="*/ 461 w 397"/>
                <a:gd name="T11" fmla="*/ 237 h 311"/>
                <a:gd name="T12" fmla="*/ 429 w 397"/>
                <a:gd name="T13" fmla="*/ 232 h 311"/>
                <a:gd name="T14" fmla="*/ 402 w 397"/>
                <a:gd name="T15" fmla="*/ 237 h 311"/>
                <a:gd name="T16" fmla="*/ 384 w 397"/>
                <a:gd name="T17" fmla="*/ 237 h 311"/>
                <a:gd name="T18" fmla="*/ 356 w 397"/>
                <a:gd name="T19" fmla="*/ 153 h 311"/>
                <a:gd name="T20" fmla="*/ 326 w 397"/>
                <a:gd name="T21" fmla="*/ 121 h 311"/>
                <a:gd name="T22" fmla="*/ 297 w 397"/>
                <a:gd name="T23" fmla="*/ 85 h 311"/>
                <a:gd name="T24" fmla="*/ 279 w 397"/>
                <a:gd name="T25" fmla="*/ 0 h 311"/>
                <a:gd name="T26" fmla="*/ 208 w 397"/>
                <a:gd name="T27" fmla="*/ 85 h 311"/>
                <a:gd name="T28" fmla="*/ 175 w 397"/>
                <a:gd name="T29" fmla="*/ 153 h 311"/>
                <a:gd name="T30" fmla="*/ 157 w 397"/>
                <a:gd name="T31" fmla="*/ 237 h 311"/>
                <a:gd name="T32" fmla="*/ 100 w 397"/>
                <a:gd name="T33" fmla="*/ 237 h 311"/>
                <a:gd name="T34" fmla="*/ 67 w 397"/>
                <a:gd name="T35" fmla="*/ 317 h 311"/>
                <a:gd name="T36" fmla="*/ 0 w 397"/>
                <a:gd name="T37" fmla="*/ 419 h 311"/>
                <a:gd name="T38" fmla="*/ 1 w 397"/>
                <a:gd name="T39" fmla="*/ 395 h 311"/>
                <a:gd name="T40" fmla="*/ 72 w 397"/>
                <a:gd name="T41" fmla="*/ 439 h 311"/>
                <a:gd name="T42" fmla="*/ 132 w 397"/>
                <a:gd name="T43" fmla="*/ 748 h 311"/>
                <a:gd name="T44" fmla="*/ 132 w 397"/>
                <a:gd name="T45" fmla="*/ 953 h 311"/>
                <a:gd name="T46" fmla="*/ 157 w 397"/>
                <a:gd name="T47" fmla="*/ 1199 h 311"/>
                <a:gd name="T48" fmla="*/ 157 w 397"/>
                <a:gd name="T49" fmla="*/ 1387 h 311"/>
                <a:gd name="T50" fmla="*/ 191 w 397"/>
                <a:gd name="T51" fmla="*/ 1547 h 311"/>
                <a:gd name="T52" fmla="*/ 208 w 397"/>
                <a:gd name="T53" fmla="*/ 1627 h 311"/>
                <a:gd name="T54" fmla="*/ 208 w 397"/>
                <a:gd name="T55" fmla="*/ 1830 h 311"/>
                <a:gd name="T56" fmla="*/ 208 w 397"/>
                <a:gd name="T57" fmla="*/ 1915 h 311"/>
                <a:gd name="T58" fmla="*/ 240 w 397"/>
                <a:gd name="T59" fmla="*/ 2187 h 311"/>
                <a:gd name="T60" fmla="*/ 251 w 397"/>
                <a:gd name="T61" fmla="*/ 2226 h 311"/>
                <a:gd name="T62" fmla="*/ 314 w 397"/>
                <a:gd name="T63" fmla="*/ 2156 h 311"/>
                <a:gd name="T64" fmla="*/ 314 w 397"/>
                <a:gd name="T65" fmla="*/ 2156 h 311"/>
                <a:gd name="T66" fmla="*/ 387 w 397"/>
                <a:gd name="T67" fmla="*/ 2335 h 311"/>
                <a:gd name="T68" fmla="*/ 422 w 397"/>
                <a:gd name="T69" fmla="*/ 2229 h 311"/>
                <a:gd name="T70" fmla="*/ 442 w 397"/>
                <a:gd name="T71" fmla="*/ 2156 h 311"/>
                <a:gd name="T72" fmla="*/ 469 w 397"/>
                <a:gd name="T73" fmla="*/ 2043 h 311"/>
                <a:gd name="T74" fmla="*/ 515 w 397"/>
                <a:gd name="T75" fmla="*/ 2188 h 311"/>
                <a:gd name="T76" fmla="*/ 572 w 397"/>
                <a:gd name="T77" fmla="*/ 2062 h 311"/>
                <a:gd name="T78" fmla="*/ 584 w 397"/>
                <a:gd name="T79" fmla="*/ 1824 h 311"/>
                <a:gd name="T80" fmla="*/ 594 w 397"/>
                <a:gd name="T81" fmla="*/ 1708 h 311"/>
                <a:gd name="T82" fmla="*/ 613 w 397"/>
                <a:gd name="T83" fmla="*/ 1627 h 311"/>
                <a:gd name="T84" fmla="*/ 632 w 397"/>
                <a:gd name="T85" fmla="*/ 1472 h 311"/>
                <a:gd name="T86" fmla="*/ 652 w 397"/>
                <a:gd name="T87" fmla="*/ 1387 h 311"/>
                <a:gd name="T88" fmla="*/ 674 w 397"/>
                <a:gd name="T89" fmla="*/ 1387 h 311"/>
                <a:gd name="T90" fmla="*/ 705 w 397"/>
                <a:gd name="T91" fmla="*/ 1382 h 311"/>
                <a:gd name="T92" fmla="*/ 717 w 397"/>
                <a:gd name="T93" fmla="*/ 1199 h 311"/>
                <a:gd name="T94" fmla="*/ 714 w 397"/>
                <a:gd name="T95" fmla="*/ 1063 h 311"/>
                <a:gd name="T96" fmla="*/ 699 w 397"/>
                <a:gd name="T97" fmla="*/ 953 h 311"/>
                <a:gd name="T98" fmla="*/ 681 w 397"/>
                <a:gd name="T99" fmla="*/ 794 h 311"/>
                <a:gd name="T100" fmla="*/ 674 w 397"/>
                <a:gd name="T101" fmla="*/ 748 h 311"/>
                <a:gd name="T102" fmla="*/ 674 w 397"/>
                <a:gd name="T103" fmla="*/ 676 h 311"/>
                <a:gd name="T104" fmla="*/ 671 w 397"/>
                <a:gd name="T105" fmla="*/ 501 h 31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397" h="311">
                  <a:moveTo>
                    <a:pt x="339" y="58"/>
                  </a:moveTo>
                  <a:lnTo>
                    <a:pt x="315" y="40"/>
                  </a:lnTo>
                  <a:lnTo>
                    <a:pt x="291" y="42"/>
                  </a:lnTo>
                  <a:lnTo>
                    <a:pt x="281" y="53"/>
                  </a:lnTo>
                  <a:lnTo>
                    <a:pt x="265" y="42"/>
                  </a:lnTo>
                  <a:lnTo>
                    <a:pt x="254" y="32"/>
                  </a:lnTo>
                  <a:lnTo>
                    <a:pt x="238" y="31"/>
                  </a:lnTo>
                  <a:lnTo>
                    <a:pt x="223" y="32"/>
                  </a:lnTo>
                  <a:lnTo>
                    <a:pt x="212" y="32"/>
                  </a:lnTo>
                  <a:lnTo>
                    <a:pt x="196" y="21"/>
                  </a:lnTo>
                  <a:lnTo>
                    <a:pt x="181" y="17"/>
                  </a:lnTo>
                  <a:lnTo>
                    <a:pt x="165" y="11"/>
                  </a:lnTo>
                  <a:lnTo>
                    <a:pt x="154" y="0"/>
                  </a:lnTo>
                  <a:lnTo>
                    <a:pt x="117" y="11"/>
                  </a:lnTo>
                  <a:lnTo>
                    <a:pt x="96" y="21"/>
                  </a:lnTo>
                  <a:lnTo>
                    <a:pt x="85" y="32"/>
                  </a:lnTo>
                  <a:lnTo>
                    <a:pt x="59" y="32"/>
                  </a:lnTo>
                  <a:lnTo>
                    <a:pt x="33" y="42"/>
                  </a:lnTo>
                  <a:lnTo>
                    <a:pt x="0" y="56"/>
                  </a:lnTo>
                  <a:lnTo>
                    <a:pt x="1" y="53"/>
                  </a:lnTo>
                  <a:lnTo>
                    <a:pt x="38" y="58"/>
                  </a:lnTo>
                  <a:lnTo>
                    <a:pt x="75" y="100"/>
                  </a:lnTo>
                  <a:lnTo>
                    <a:pt x="75" y="127"/>
                  </a:lnTo>
                  <a:lnTo>
                    <a:pt x="85" y="159"/>
                  </a:lnTo>
                  <a:lnTo>
                    <a:pt x="85" y="185"/>
                  </a:lnTo>
                  <a:lnTo>
                    <a:pt x="107" y="206"/>
                  </a:lnTo>
                  <a:lnTo>
                    <a:pt x="117" y="217"/>
                  </a:lnTo>
                  <a:lnTo>
                    <a:pt x="117" y="243"/>
                  </a:lnTo>
                  <a:lnTo>
                    <a:pt x="117" y="254"/>
                  </a:lnTo>
                  <a:lnTo>
                    <a:pt x="133" y="291"/>
                  </a:lnTo>
                  <a:lnTo>
                    <a:pt x="138" y="296"/>
                  </a:lnTo>
                  <a:lnTo>
                    <a:pt x="175" y="286"/>
                  </a:lnTo>
                  <a:lnTo>
                    <a:pt x="214" y="311"/>
                  </a:lnTo>
                  <a:lnTo>
                    <a:pt x="234" y="298"/>
                  </a:lnTo>
                  <a:lnTo>
                    <a:pt x="244" y="286"/>
                  </a:lnTo>
                  <a:lnTo>
                    <a:pt x="258" y="272"/>
                  </a:lnTo>
                  <a:lnTo>
                    <a:pt x="285" y="292"/>
                  </a:lnTo>
                  <a:lnTo>
                    <a:pt x="315" y="275"/>
                  </a:lnTo>
                  <a:lnTo>
                    <a:pt x="322" y="242"/>
                  </a:lnTo>
                  <a:lnTo>
                    <a:pt x="328" y="226"/>
                  </a:lnTo>
                  <a:lnTo>
                    <a:pt x="339" y="217"/>
                  </a:lnTo>
                  <a:lnTo>
                    <a:pt x="349" y="196"/>
                  </a:lnTo>
                  <a:lnTo>
                    <a:pt x="360" y="185"/>
                  </a:lnTo>
                  <a:lnTo>
                    <a:pt x="371" y="185"/>
                  </a:lnTo>
                  <a:lnTo>
                    <a:pt x="390" y="184"/>
                  </a:lnTo>
                  <a:lnTo>
                    <a:pt x="397" y="159"/>
                  </a:lnTo>
                  <a:lnTo>
                    <a:pt x="394" y="140"/>
                  </a:lnTo>
                  <a:lnTo>
                    <a:pt x="386" y="127"/>
                  </a:lnTo>
                  <a:lnTo>
                    <a:pt x="376" y="106"/>
                  </a:lnTo>
                  <a:lnTo>
                    <a:pt x="371" y="100"/>
                  </a:lnTo>
                  <a:lnTo>
                    <a:pt x="371" y="90"/>
                  </a:lnTo>
                  <a:lnTo>
                    <a:pt x="370" y="67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9" name="Freeform 228"/>
            <p:cNvSpPr>
              <a:spLocks/>
            </p:cNvSpPr>
            <p:nvPr/>
          </p:nvSpPr>
          <p:spPr bwMode="auto">
            <a:xfrm>
              <a:off x="737" y="1545"/>
              <a:ext cx="174" cy="249"/>
            </a:xfrm>
            <a:custGeom>
              <a:avLst/>
              <a:gdLst>
                <a:gd name="T0" fmla="*/ 174 w 174"/>
                <a:gd name="T1" fmla="*/ 197 h 244"/>
                <a:gd name="T2" fmla="*/ 174 w 174"/>
                <a:gd name="T3" fmla="*/ 209 h 244"/>
                <a:gd name="T4" fmla="*/ 174 w 174"/>
                <a:gd name="T5" fmla="*/ 231 h 244"/>
                <a:gd name="T6" fmla="*/ 174 w 174"/>
                <a:gd name="T7" fmla="*/ 255 h 244"/>
                <a:gd name="T8" fmla="*/ 174 w 174"/>
                <a:gd name="T9" fmla="*/ 271 h 244"/>
                <a:gd name="T10" fmla="*/ 174 w 174"/>
                <a:gd name="T11" fmla="*/ 307 h 244"/>
                <a:gd name="T12" fmla="*/ 174 w 174"/>
                <a:gd name="T13" fmla="*/ 326 h 244"/>
                <a:gd name="T14" fmla="*/ 174 w 174"/>
                <a:gd name="T15" fmla="*/ 386 h 244"/>
                <a:gd name="T16" fmla="*/ 169 w 174"/>
                <a:gd name="T17" fmla="*/ 434 h 244"/>
                <a:gd name="T18" fmla="*/ 157 w 174"/>
                <a:gd name="T19" fmla="*/ 453 h 244"/>
                <a:gd name="T20" fmla="*/ 136 w 174"/>
                <a:gd name="T21" fmla="*/ 470 h 244"/>
                <a:gd name="T22" fmla="*/ 105 w 174"/>
                <a:gd name="T23" fmla="*/ 460 h 244"/>
                <a:gd name="T24" fmla="*/ 100 w 174"/>
                <a:gd name="T25" fmla="*/ 482 h 244"/>
                <a:gd name="T26" fmla="*/ 97 w 174"/>
                <a:gd name="T27" fmla="*/ 485 h 244"/>
                <a:gd name="T28" fmla="*/ 69 w 174"/>
                <a:gd name="T29" fmla="*/ 462 h 244"/>
                <a:gd name="T30" fmla="*/ 42 w 174"/>
                <a:gd name="T31" fmla="*/ 434 h 244"/>
                <a:gd name="T32" fmla="*/ 53 w 174"/>
                <a:gd name="T33" fmla="*/ 368 h 244"/>
                <a:gd name="T34" fmla="*/ 58 w 174"/>
                <a:gd name="T35" fmla="*/ 348 h 244"/>
                <a:gd name="T36" fmla="*/ 58 w 174"/>
                <a:gd name="T37" fmla="*/ 313 h 244"/>
                <a:gd name="T38" fmla="*/ 58 w 174"/>
                <a:gd name="T39" fmla="*/ 294 h 244"/>
                <a:gd name="T40" fmla="*/ 58 w 174"/>
                <a:gd name="T41" fmla="*/ 255 h 244"/>
                <a:gd name="T42" fmla="*/ 53 w 174"/>
                <a:gd name="T43" fmla="*/ 255 h 244"/>
                <a:gd name="T44" fmla="*/ 53 w 174"/>
                <a:gd name="T45" fmla="*/ 209 h 244"/>
                <a:gd name="T46" fmla="*/ 53 w 174"/>
                <a:gd name="T47" fmla="*/ 197 h 244"/>
                <a:gd name="T48" fmla="*/ 53 w 174"/>
                <a:gd name="T49" fmla="*/ 159 h 244"/>
                <a:gd name="T50" fmla="*/ 53 w 174"/>
                <a:gd name="T51" fmla="*/ 137 h 244"/>
                <a:gd name="T52" fmla="*/ 32 w 174"/>
                <a:gd name="T53" fmla="*/ 110 h 244"/>
                <a:gd name="T54" fmla="*/ 32 w 174"/>
                <a:gd name="T55" fmla="*/ 78 h 244"/>
                <a:gd name="T56" fmla="*/ 32 w 174"/>
                <a:gd name="T57" fmla="*/ 66 h 244"/>
                <a:gd name="T58" fmla="*/ 21 w 174"/>
                <a:gd name="T59" fmla="*/ 66 h 244"/>
                <a:gd name="T60" fmla="*/ 0 w 174"/>
                <a:gd name="T61" fmla="*/ 21 h 244"/>
                <a:gd name="T62" fmla="*/ 32 w 174"/>
                <a:gd name="T63" fmla="*/ 0 h 244"/>
                <a:gd name="T64" fmla="*/ 58 w 174"/>
                <a:gd name="T65" fmla="*/ 0 h 244"/>
                <a:gd name="T66" fmla="*/ 79 w 174"/>
                <a:gd name="T67" fmla="*/ 0 h 244"/>
                <a:gd name="T68" fmla="*/ 100 w 174"/>
                <a:gd name="T69" fmla="*/ 0 h 244"/>
                <a:gd name="T70" fmla="*/ 116 w 174"/>
                <a:gd name="T71" fmla="*/ 11 h 244"/>
                <a:gd name="T72" fmla="*/ 116 w 174"/>
                <a:gd name="T73" fmla="*/ 21 h 244"/>
                <a:gd name="T74" fmla="*/ 105 w 174"/>
                <a:gd name="T75" fmla="*/ 66 h 244"/>
                <a:gd name="T76" fmla="*/ 105 w 174"/>
                <a:gd name="T77" fmla="*/ 78 h 244"/>
                <a:gd name="T78" fmla="*/ 100 w 174"/>
                <a:gd name="T79" fmla="*/ 110 h 244"/>
                <a:gd name="T80" fmla="*/ 100 w 174"/>
                <a:gd name="T81" fmla="*/ 137 h 244"/>
                <a:gd name="T82" fmla="*/ 90 w 174"/>
                <a:gd name="T83" fmla="*/ 159 h 244"/>
                <a:gd name="T84" fmla="*/ 100 w 174"/>
                <a:gd name="T85" fmla="*/ 197 h 244"/>
                <a:gd name="T86" fmla="*/ 105 w 174"/>
                <a:gd name="T87" fmla="*/ 197 h 244"/>
                <a:gd name="T88" fmla="*/ 127 w 174"/>
                <a:gd name="T89" fmla="*/ 177 h 244"/>
                <a:gd name="T90" fmla="*/ 137 w 174"/>
                <a:gd name="T91" fmla="*/ 159 h 244"/>
                <a:gd name="T92" fmla="*/ 148 w 174"/>
                <a:gd name="T93" fmla="*/ 159 h 244"/>
                <a:gd name="T94" fmla="*/ 158 w 174"/>
                <a:gd name="T95" fmla="*/ 177 h 244"/>
                <a:gd name="T96" fmla="*/ 169 w 174"/>
                <a:gd name="T97" fmla="*/ 197 h 244"/>
                <a:gd name="T98" fmla="*/ 174 w 174"/>
                <a:gd name="T99" fmla="*/ 197 h 24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74" h="244">
                  <a:moveTo>
                    <a:pt x="174" y="100"/>
                  </a:moveTo>
                  <a:lnTo>
                    <a:pt x="174" y="106"/>
                  </a:lnTo>
                  <a:lnTo>
                    <a:pt x="174" y="116"/>
                  </a:lnTo>
                  <a:lnTo>
                    <a:pt x="174" y="127"/>
                  </a:lnTo>
                  <a:lnTo>
                    <a:pt x="174" y="137"/>
                  </a:lnTo>
                  <a:lnTo>
                    <a:pt x="174" y="155"/>
                  </a:lnTo>
                  <a:lnTo>
                    <a:pt x="174" y="164"/>
                  </a:lnTo>
                  <a:lnTo>
                    <a:pt x="174" y="195"/>
                  </a:lnTo>
                  <a:lnTo>
                    <a:pt x="169" y="217"/>
                  </a:lnTo>
                  <a:lnTo>
                    <a:pt x="157" y="227"/>
                  </a:lnTo>
                  <a:lnTo>
                    <a:pt x="136" y="236"/>
                  </a:lnTo>
                  <a:lnTo>
                    <a:pt x="105" y="230"/>
                  </a:lnTo>
                  <a:lnTo>
                    <a:pt x="100" y="243"/>
                  </a:lnTo>
                  <a:lnTo>
                    <a:pt x="97" y="244"/>
                  </a:lnTo>
                  <a:lnTo>
                    <a:pt x="69" y="232"/>
                  </a:lnTo>
                  <a:lnTo>
                    <a:pt x="42" y="217"/>
                  </a:lnTo>
                  <a:lnTo>
                    <a:pt x="53" y="185"/>
                  </a:lnTo>
                  <a:lnTo>
                    <a:pt x="58" y="174"/>
                  </a:lnTo>
                  <a:lnTo>
                    <a:pt x="58" y="158"/>
                  </a:lnTo>
                  <a:lnTo>
                    <a:pt x="58" y="148"/>
                  </a:lnTo>
                  <a:lnTo>
                    <a:pt x="58" y="127"/>
                  </a:lnTo>
                  <a:lnTo>
                    <a:pt x="53" y="127"/>
                  </a:lnTo>
                  <a:lnTo>
                    <a:pt x="53" y="106"/>
                  </a:lnTo>
                  <a:lnTo>
                    <a:pt x="53" y="100"/>
                  </a:lnTo>
                  <a:lnTo>
                    <a:pt x="53" y="79"/>
                  </a:lnTo>
                  <a:lnTo>
                    <a:pt x="53" y="69"/>
                  </a:lnTo>
                  <a:lnTo>
                    <a:pt x="32" y="58"/>
                  </a:lnTo>
                  <a:lnTo>
                    <a:pt x="32" y="42"/>
                  </a:lnTo>
                  <a:lnTo>
                    <a:pt x="32" y="32"/>
                  </a:lnTo>
                  <a:lnTo>
                    <a:pt x="21" y="32"/>
                  </a:lnTo>
                  <a:lnTo>
                    <a:pt x="0" y="21"/>
                  </a:lnTo>
                  <a:lnTo>
                    <a:pt x="32" y="0"/>
                  </a:lnTo>
                  <a:lnTo>
                    <a:pt x="58" y="0"/>
                  </a:lnTo>
                  <a:lnTo>
                    <a:pt x="79" y="0"/>
                  </a:lnTo>
                  <a:lnTo>
                    <a:pt x="100" y="0"/>
                  </a:lnTo>
                  <a:lnTo>
                    <a:pt x="116" y="11"/>
                  </a:lnTo>
                  <a:lnTo>
                    <a:pt x="116" y="21"/>
                  </a:lnTo>
                  <a:lnTo>
                    <a:pt x="105" y="32"/>
                  </a:lnTo>
                  <a:lnTo>
                    <a:pt x="105" y="42"/>
                  </a:lnTo>
                  <a:lnTo>
                    <a:pt x="100" y="58"/>
                  </a:lnTo>
                  <a:lnTo>
                    <a:pt x="100" y="69"/>
                  </a:lnTo>
                  <a:lnTo>
                    <a:pt x="90" y="79"/>
                  </a:lnTo>
                  <a:lnTo>
                    <a:pt x="100" y="100"/>
                  </a:lnTo>
                  <a:lnTo>
                    <a:pt x="105" y="100"/>
                  </a:lnTo>
                  <a:lnTo>
                    <a:pt x="127" y="90"/>
                  </a:lnTo>
                  <a:lnTo>
                    <a:pt x="137" y="79"/>
                  </a:lnTo>
                  <a:lnTo>
                    <a:pt x="148" y="79"/>
                  </a:lnTo>
                  <a:lnTo>
                    <a:pt x="158" y="90"/>
                  </a:lnTo>
                  <a:lnTo>
                    <a:pt x="169" y="100"/>
                  </a:lnTo>
                  <a:lnTo>
                    <a:pt x="174" y="100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0" name="Freeform 229"/>
            <p:cNvSpPr>
              <a:spLocks/>
            </p:cNvSpPr>
            <p:nvPr/>
          </p:nvSpPr>
          <p:spPr bwMode="auto">
            <a:xfrm>
              <a:off x="906" y="1566"/>
              <a:ext cx="143" cy="181"/>
            </a:xfrm>
            <a:custGeom>
              <a:avLst/>
              <a:gdLst>
                <a:gd name="T0" fmla="*/ 2 w 143"/>
                <a:gd name="T1" fmla="*/ 549 h 175"/>
                <a:gd name="T2" fmla="*/ 0 w 143"/>
                <a:gd name="T3" fmla="*/ 462 h 175"/>
                <a:gd name="T4" fmla="*/ 6 w 143"/>
                <a:gd name="T5" fmla="*/ 247 h 175"/>
                <a:gd name="T6" fmla="*/ 6 w 143"/>
                <a:gd name="T7" fmla="*/ 247 h 175"/>
                <a:gd name="T8" fmla="*/ 27 w 143"/>
                <a:gd name="T9" fmla="*/ 280 h 175"/>
                <a:gd name="T10" fmla="*/ 37 w 143"/>
                <a:gd name="T11" fmla="*/ 247 h 175"/>
                <a:gd name="T12" fmla="*/ 37 w 143"/>
                <a:gd name="T13" fmla="*/ 180 h 175"/>
                <a:gd name="T14" fmla="*/ 16 w 143"/>
                <a:gd name="T15" fmla="*/ 152 h 175"/>
                <a:gd name="T16" fmla="*/ 16 w 143"/>
                <a:gd name="T17" fmla="*/ 132 h 175"/>
                <a:gd name="T18" fmla="*/ 27 w 143"/>
                <a:gd name="T19" fmla="*/ 66 h 175"/>
                <a:gd name="T20" fmla="*/ 37 w 143"/>
                <a:gd name="T21" fmla="*/ 66 h 175"/>
                <a:gd name="T22" fmla="*/ 48 w 143"/>
                <a:gd name="T23" fmla="*/ 11 h 175"/>
                <a:gd name="T24" fmla="*/ 48 w 143"/>
                <a:gd name="T25" fmla="*/ 0 h 175"/>
                <a:gd name="T26" fmla="*/ 58 w 143"/>
                <a:gd name="T27" fmla="*/ 0 h 175"/>
                <a:gd name="T28" fmla="*/ 64 w 143"/>
                <a:gd name="T29" fmla="*/ 0 h 175"/>
                <a:gd name="T30" fmla="*/ 85 w 143"/>
                <a:gd name="T31" fmla="*/ 11 h 175"/>
                <a:gd name="T32" fmla="*/ 95 w 143"/>
                <a:gd name="T33" fmla="*/ 11 h 175"/>
                <a:gd name="T34" fmla="*/ 95 w 143"/>
                <a:gd name="T35" fmla="*/ 66 h 175"/>
                <a:gd name="T36" fmla="*/ 117 w 143"/>
                <a:gd name="T37" fmla="*/ 132 h 175"/>
                <a:gd name="T38" fmla="*/ 106 w 143"/>
                <a:gd name="T39" fmla="*/ 180 h 175"/>
                <a:gd name="T40" fmla="*/ 122 w 143"/>
                <a:gd name="T41" fmla="*/ 180 h 175"/>
                <a:gd name="T42" fmla="*/ 122 w 143"/>
                <a:gd name="T43" fmla="*/ 216 h 175"/>
                <a:gd name="T44" fmla="*/ 132 w 143"/>
                <a:gd name="T45" fmla="*/ 247 h 175"/>
                <a:gd name="T46" fmla="*/ 132 w 143"/>
                <a:gd name="T47" fmla="*/ 280 h 175"/>
                <a:gd name="T48" fmla="*/ 132 w 143"/>
                <a:gd name="T49" fmla="*/ 299 h 175"/>
                <a:gd name="T50" fmla="*/ 143 w 143"/>
                <a:gd name="T51" fmla="*/ 366 h 175"/>
                <a:gd name="T52" fmla="*/ 143 w 143"/>
                <a:gd name="T53" fmla="*/ 395 h 175"/>
                <a:gd name="T54" fmla="*/ 122 w 143"/>
                <a:gd name="T55" fmla="*/ 395 h 175"/>
                <a:gd name="T56" fmla="*/ 106 w 143"/>
                <a:gd name="T57" fmla="*/ 395 h 175"/>
                <a:gd name="T58" fmla="*/ 72 w 143"/>
                <a:gd name="T59" fmla="*/ 408 h 175"/>
                <a:gd name="T60" fmla="*/ 65 w 143"/>
                <a:gd name="T61" fmla="*/ 479 h 175"/>
                <a:gd name="T62" fmla="*/ 48 w 143"/>
                <a:gd name="T63" fmla="*/ 548 h 175"/>
                <a:gd name="T64" fmla="*/ 27 w 143"/>
                <a:gd name="T65" fmla="*/ 547 h 175"/>
                <a:gd name="T66" fmla="*/ 6 w 143"/>
                <a:gd name="T67" fmla="*/ 548 h 175"/>
                <a:gd name="T68" fmla="*/ 6 w 143"/>
                <a:gd name="T69" fmla="*/ 548 h 17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43" h="175">
                  <a:moveTo>
                    <a:pt x="2" y="175"/>
                  </a:moveTo>
                  <a:lnTo>
                    <a:pt x="0" y="146"/>
                  </a:lnTo>
                  <a:lnTo>
                    <a:pt x="6" y="79"/>
                  </a:lnTo>
                  <a:lnTo>
                    <a:pt x="27" y="90"/>
                  </a:lnTo>
                  <a:lnTo>
                    <a:pt x="37" y="79"/>
                  </a:lnTo>
                  <a:lnTo>
                    <a:pt x="37" y="58"/>
                  </a:lnTo>
                  <a:lnTo>
                    <a:pt x="16" y="48"/>
                  </a:lnTo>
                  <a:lnTo>
                    <a:pt x="16" y="42"/>
                  </a:lnTo>
                  <a:lnTo>
                    <a:pt x="27" y="21"/>
                  </a:lnTo>
                  <a:lnTo>
                    <a:pt x="37" y="21"/>
                  </a:lnTo>
                  <a:lnTo>
                    <a:pt x="48" y="11"/>
                  </a:lnTo>
                  <a:lnTo>
                    <a:pt x="48" y="0"/>
                  </a:lnTo>
                  <a:lnTo>
                    <a:pt x="58" y="0"/>
                  </a:lnTo>
                  <a:lnTo>
                    <a:pt x="64" y="0"/>
                  </a:lnTo>
                  <a:lnTo>
                    <a:pt x="85" y="11"/>
                  </a:lnTo>
                  <a:lnTo>
                    <a:pt x="95" y="11"/>
                  </a:lnTo>
                  <a:lnTo>
                    <a:pt x="95" y="21"/>
                  </a:lnTo>
                  <a:lnTo>
                    <a:pt x="117" y="42"/>
                  </a:lnTo>
                  <a:lnTo>
                    <a:pt x="106" y="58"/>
                  </a:lnTo>
                  <a:lnTo>
                    <a:pt x="122" y="58"/>
                  </a:lnTo>
                  <a:lnTo>
                    <a:pt x="122" y="69"/>
                  </a:lnTo>
                  <a:lnTo>
                    <a:pt x="132" y="79"/>
                  </a:lnTo>
                  <a:lnTo>
                    <a:pt x="132" y="90"/>
                  </a:lnTo>
                  <a:lnTo>
                    <a:pt x="132" y="95"/>
                  </a:lnTo>
                  <a:lnTo>
                    <a:pt x="143" y="116"/>
                  </a:lnTo>
                  <a:lnTo>
                    <a:pt x="143" y="127"/>
                  </a:lnTo>
                  <a:lnTo>
                    <a:pt x="122" y="127"/>
                  </a:lnTo>
                  <a:lnTo>
                    <a:pt x="106" y="127"/>
                  </a:lnTo>
                  <a:lnTo>
                    <a:pt x="72" y="130"/>
                  </a:lnTo>
                  <a:lnTo>
                    <a:pt x="65" y="152"/>
                  </a:lnTo>
                  <a:lnTo>
                    <a:pt x="48" y="174"/>
                  </a:lnTo>
                  <a:lnTo>
                    <a:pt x="27" y="173"/>
                  </a:lnTo>
                  <a:lnTo>
                    <a:pt x="6" y="174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1" name="Freeform 230"/>
            <p:cNvSpPr>
              <a:spLocks/>
            </p:cNvSpPr>
            <p:nvPr/>
          </p:nvSpPr>
          <p:spPr bwMode="auto">
            <a:xfrm>
              <a:off x="1350" y="3657"/>
              <a:ext cx="607" cy="248"/>
            </a:xfrm>
            <a:custGeom>
              <a:avLst/>
              <a:gdLst>
                <a:gd name="T0" fmla="*/ 174 w 607"/>
                <a:gd name="T1" fmla="*/ 21 h 248"/>
                <a:gd name="T2" fmla="*/ 153 w 607"/>
                <a:gd name="T3" fmla="*/ 21 h 248"/>
                <a:gd name="T4" fmla="*/ 127 w 607"/>
                <a:gd name="T5" fmla="*/ 37 h 248"/>
                <a:gd name="T6" fmla="*/ 134 w 607"/>
                <a:gd name="T7" fmla="*/ 44 h 248"/>
                <a:gd name="T8" fmla="*/ 153 w 607"/>
                <a:gd name="T9" fmla="*/ 58 h 248"/>
                <a:gd name="T10" fmla="*/ 174 w 607"/>
                <a:gd name="T11" fmla="*/ 58 h 248"/>
                <a:gd name="T12" fmla="*/ 174 w 607"/>
                <a:gd name="T13" fmla="*/ 74 h 248"/>
                <a:gd name="T14" fmla="*/ 185 w 607"/>
                <a:gd name="T15" fmla="*/ 106 h 248"/>
                <a:gd name="T16" fmla="*/ 201 w 607"/>
                <a:gd name="T17" fmla="*/ 132 h 248"/>
                <a:gd name="T18" fmla="*/ 164 w 607"/>
                <a:gd name="T19" fmla="*/ 142 h 248"/>
                <a:gd name="T20" fmla="*/ 106 w 607"/>
                <a:gd name="T21" fmla="*/ 127 h 248"/>
                <a:gd name="T22" fmla="*/ 84 w 607"/>
                <a:gd name="T23" fmla="*/ 127 h 248"/>
                <a:gd name="T24" fmla="*/ 69 w 607"/>
                <a:gd name="T25" fmla="*/ 127 h 248"/>
                <a:gd name="T26" fmla="*/ 58 w 607"/>
                <a:gd name="T27" fmla="*/ 106 h 248"/>
                <a:gd name="T28" fmla="*/ 26 w 607"/>
                <a:gd name="T29" fmla="*/ 84 h 248"/>
                <a:gd name="T30" fmla="*/ 0 w 607"/>
                <a:gd name="T31" fmla="*/ 116 h 248"/>
                <a:gd name="T32" fmla="*/ 37 w 607"/>
                <a:gd name="T33" fmla="*/ 142 h 248"/>
                <a:gd name="T34" fmla="*/ 69 w 607"/>
                <a:gd name="T35" fmla="*/ 164 h 248"/>
                <a:gd name="T36" fmla="*/ 84 w 607"/>
                <a:gd name="T37" fmla="*/ 174 h 248"/>
                <a:gd name="T38" fmla="*/ 106 w 607"/>
                <a:gd name="T39" fmla="*/ 190 h 248"/>
                <a:gd name="T40" fmla="*/ 143 w 607"/>
                <a:gd name="T41" fmla="*/ 211 h 248"/>
                <a:gd name="T42" fmla="*/ 211 w 607"/>
                <a:gd name="T43" fmla="*/ 237 h 248"/>
                <a:gd name="T44" fmla="*/ 211 w 607"/>
                <a:gd name="T45" fmla="*/ 201 h 248"/>
                <a:gd name="T46" fmla="*/ 248 w 607"/>
                <a:gd name="T47" fmla="*/ 201 h 248"/>
                <a:gd name="T48" fmla="*/ 290 w 607"/>
                <a:gd name="T49" fmla="*/ 211 h 248"/>
                <a:gd name="T50" fmla="*/ 338 w 607"/>
                <a:gd name="T51" fmla="*/ 211 h 248"/>
                <a:gd name="T52" fmla="*/ 396 w 607"/>
                <a:gd name="T53" fmla="*/ 227 h 248"/>
                <a:gd name="T54" fmla="*/ 417 w 607"/>
                <a:gd name="T55" fmla="*/ 211 h 248"/>
                <a:gd name="T56" fmla="*/ 454 w 607"/>
                <a:gd name="T57" fmla="*/ 227 h 248"/>
                <a:gd name="T58" fmla="*/ 486 w 607"/>
                <a:gd name="T59" fmla="*/ 227 h 248"/>
                <a:gd name="T60" fmla="*/ 523 w 607"/>
                <a:gd name="T61" fmla="*/ 198 h 248"/>
                <a:gd name="T62" fmla="*/ 591 w 607"/>
                <a:gd name="T63" fmla="*/ 211 h 248"/>
                <a:gd name="T64" fmla="*/ 602 w 607"/>
                <a:gd name="T65" fmla="*/ 201 h 248"/>
                <a:gd name="T66" fmla="*/ 581 w 607"/>
                <a:gd name="T67" fmla="*/ 174 h 248"/>
                <a:gd name="T68" fmla="*/ 559 w 607"/>
                <a:gd name="T69" fmla="*/ 164 h 248"/>
                <a:gd name="T70" fmla="*/ 538 w 607"/>
                <a:gd name="T71" fmla="*/ 142 h 248"/>
                <a:gd name="T72" fmla="*/ 491 w 607"/>
                <a:gd name="T73" fmla="*/ 127 h 248"/>
                <a:gd name="T74" fmla="*/ 443 w 607"/>
                <a:gd name="T75" fmla="*/ 95 h 248"/>
                <a:gd name="T76" fmla="*/ 375 w 607"/>
                <a:gd name="T77" fmla="*/ 69 h 248"/>
                <a:gd name="T78" fmla="*/ 348 w 607"/>
                <a:gd name="T79" fmla="*/ 26 h 248"/>
                <a:gd name="T80" fmla="*/ 324 w 607"/>
                <a:gd name="T81" fmla="*/ 23 h 248"/>
                <a:gd name="T82" fmla="*/ 280 w 607"/>
                <a:gd name="T83" fmla="*/ 37 h 248"/>
                <a:gd name="T84" fmla="*/ 259 w 607"/>
                <a:gd name="T85" fmla="*/ 26 h 248"/>
                <a:gd name="T86" fmla="*/ 243 w 607"/>
                <a:gd name="T87" fmla="*/ 11 h 248"/>
                <a:gd name="T88" fmla="*/ 211 w 607"/>
                <a:gd name="T89" fmla="*/ 0 h 248"/>
                <a:gd name="T90" fmla="*/ 185 w 607"/>
                <a:gd name="T91" fmla="*/ 0 h 248"/>
                <a:gd name="T92" fmla="*/ 174 w 607"/>
                <a:gd name="T93" fmla="*/ 11 h 24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607" h="248">
                  <a:moveTo>
                    <a:pt x="174" y="11"/>
                  </a:moveTo>
                  <a:lnTo>
                    <a:pt x="174" y="21"/>
                  </a:lnTo>
                  <a:lnTo>
                    <a:pt x="174" y="26"/>
                  </a:lnTo>
                  <a:lnTo>
                    <a:pt x="153" y="21"/>
                  </a:lnTo>
                  <a:lnTo>
                    <a:pt x="127" y="26"/>
                  </a:lnTo>
                  <a:lnTo>
                    <a:pt x="127" y="37"/>
                  </a:lnTo>
                  <a:lnTo>
                    <a:pt x="137" y="47"/>
                  </a:lnTo>
                  <a:lnTo>
                    <a:pt x="134" y="44"/>
                  </a:lnTo>
                  <a:lnTo>
                    <a:pt x="137" y="58"/>
                  </a:lnTo>
                  <a:lnTo>
                    <a:pt x="153" y="58"/>
                  </a:lnTo>
                  <a:lnTo>
                    <a:pt x="164" y="69"/>
                  </a:lnTo>
                  <a:lnTo>
                    <a:pt x="174" y="58"/>
                  </a:lnTo>
                  <a:lnTo>
                    <a:pt x="185" y="69"/>
                  </a:lnTo>
                  <a:lnTo>
                    <a:pt x="174" y="74"/>
                  </a:lnTo>
                  <a:lnTo>
                    <a:pt x="185" y="95"/>
                  </a:lnTo>
                  <a:lnTo>
                    <a:pt x="185" y="106"/>
                  </a:lnTo>
                  <a:lnTo>
                    <a:pt x="201" y="116"/>
                  </a:lnTo>
                  <a:lnTo>
                    <a:pt x="201" y="132"/>
                  </a:lnTo>
                  <a:lnTo>
                    <a:pt x="185" y="132"/>
                  </a:lnTo>
                  <a:lnTo>
                    <a:pt x="164" y="142"/>
                  </a:lnTo>
                  <a:lnTo>
                    <a:pt x="143" y="132"/>
                  </a:lnTo>
                  <a:lnTo>
                    <a:pt x="106" y="127"/>
                  </a:lnTo>
                  <a:lnTo>
                    <a:pt x="95" y="116"/>
                  </a:lnTo>
                  <a:lnTo>
                    <a:pt x="84" y="127"/>
                  </a:lnTo>
                  <a:lnTo>
                    <a:pt x="74" y="127"/>
                  </a:lnTo>
                  <a:lnTo>
                    <a:pt x="69" y="127"/>
                  </a:lnTo>
                  <a:lnTo>
                    <a:pt x="58" y="116"/>
                  </a:lnTo>
                  <a:lnTo>
                    <a:pt x="58" y="106"/>
                  </a:lnTo>
                  <a:lnTo>
                    <a:pt x="48" y="84"/>
                  </a:lnTo>
                  <a:lnTo>
                    <a:pt x="26" y="84"/>
                  </a:lnTo>
                  <a:lnTo>
                    <a:pt x="11" y="95"/>
                  </a:lnTo>
                  <a:lnTo>
                    <a:pt x="0" y="116"/>
                  </a:lnTo>
                  <a:lnTo>
                    <a:pt x="16" y="132"/>
                  </a:lnTo>
                  <a:lnTo>
                    <a:pt x="37" y="142"/>
                  </a:lnTo>
                  <a:lnTo>
                    <a:pt x="48" y="153"/>
                  </a:lnTo>
                  <a:lnTo>
                    <a:pt x="69" y="164"/>
                  </a:lnTo>
                  <a:lnTo>
                    <a:pt x="74" y="164"/>
                  </a:lnTo>
                  <a:lnTo>
                    <a:pt x="84" y="174"/>
                  </a:lnTo>
                  <a:lnTo>
                    <a:pt x="84" y="179"/>
                  </a:lnTo>
                  <a:lnTo>
                    <a:pt x="106" y="190"/>
                  </a:lnTo>
                  <a:lnTo>
                    <a:pt x="127" y="201"/>
                  </a:lnTo>
                  <a:lnTo>
                    <a:pt x="143" y="211"/>
                  </a:lnTo>
                  <a:lnTo>
                    <a:pt x="201" y="232"/>
                  </a:lnTo>
                  <a:lnTo>
                    <a:pt x="211" y="237"/>
                  </a:lnTo>
                  <a:lnTo>
                    <a:pt x="211" y="222"/>
                  </a:lnTo>
                  <a:lnTo>
                    <a:pt x="211" y="201"/>
                  </a:lnTo>
                  <a:lnTo>
                    <a:pt x="232" y="190"/>
                  </a:lnTo>
                  <a:lnTo>
                    <a:pt x="248" y="201"/>
                  </a:lnTo>
                  <a:lnTo>
                    <a:pt x="269" y="211"/>
                  </a:lnTo>
                  <a:lnTo>
                    <a:pt x="290" y="211"/>
                  </a:lnTo>
                  <a:lnTo>
                    <a:pt x="327" y="201"/>
                  </a:lnTo>
                  <a:lnTo>
                    <a:pt x="338" y="211"/>
                  </a:lnTo>
                  <a:lnTo>
                    <a:pt x="359" y="248"/>
                  </a:lnTo>
                  <a:lnTo>
                    <a:pt x="396" y="227"/>
                  </a:lnTo>
                  <a:lnTo>
                    <a:pt x="406" y="222"/>
                  </a:lnTo>
                  <a:lnTo>
                    <a:pt x="417" y="211"/>
                  </a:lnTo>
                  <a:lnTo>
                    <a:pt x="428" y="222"/>
                  </a:lnTo>
                  <a:lnTo>
                    <a:pt x="454" y="227"/>
                  </a:lnTo>
                  <a:lnTo>
                    <a:pt x="475" y="222"/>
                  </a:lnTo>
                  <a:lnTo>
                    <a:pt x="486" y="227"/>
                  </a:lnTo>
                  <a:lnTo>
                    <a:pt x="523" y="211"/>
                  </a:lnTo>
                  <a:lnTo>
                    <a:pt x="523" y="198"/>
                  </a:lnTo>
                  <a:lnTo>
                    <a:pt x="533" y="211"/>
                  </a:lnTo>
                  <a:lnTo>
                    <a:pt x="591" y="211"/>
                  </a:lnTo>
                  <a:lnTo>
                    <a:pt x="607" y="211"/>
                  </a:lnTo>
                  <a:lnTo>
                    <a:pt x="602" y="201"/>
                  </a:lnTo>
                  <a:lnTo>
                    <a:pt x="591" y="179"/>
                  </a:lnTo>
                  <a:lnTo>
                    <a:pt x="581" y="174"/>
                  </a:lnTo>
                  <a:lnTo>
                    <a:pt x="559" y="174"/>
                  </a:lnTo>
                  <a:lnTo>
                    <a:pt x="559" y="164"/>
                  </a:lnTo>
                  <a:lnTo>
                    <a:pt x="559" y="153"/>
                  </a:lnTo>
                  <a:lnTo>
                    <a:pt x="538" y="142"/>
                  </a:lnTo>
                  <a:lnTo>
                    <a:pt x="512" y="127"/>
                  </a:lnTo>
                  <a:lnTo>
                    <a:pt x="491" y="127"/>
                  </a:lnTo>
                  <a:lnTo>
                    <a:pt x="464" y="106"/>
                  </a:lnTo>
                  <a:lnTo>
                    <a:pt x="443" y="95"/>
                  </a:lnTo>
                  <a:lnTo>
                    <a:pt x="406" y="74"/>
                  </a:lnTo>
                  <a:lnTo>
                    <a:pt x="375" y="69"/>
                  </a:lnTo>
                  <a:lnTo>
                    <a:pt x="359" y="47"/>
                  </a:lnTo>
                  <a:lnTo>
                    <a:pt x="348" y="26"/>
                  </a:lnTo>
                  <a:lnTo>
                    <a:pt x="338" y="26"/>
                  </a:lnTo>
                  <a:lnTo>
                    <a:pt x="324" y="23"/>
                  </a:lnTo>
                  <a:lnTo>
                    <a:pt x="306" y="23"/>
                  </a:lnTo>
                  <a:lnTo>
                    <a:pt x="280" y="37"/>
                  </a:lnTo>
                  <a:lnTo>
                    <a:pt x="269" y="37"/>
                  </a:lnTo>
                  <a:lnTo>
                    <a:pt x="259" y="26"/>
                  </a:lnTo>
                  <a:lnTo>
                    <a:pt x="248" y="21"/>
                  </a:lnTo>
                  <a:lnTo>
                    <a:pt x="243" y="11"/>
                  </a:lnTo>
                  <a:lnTo>
                    <a:pt x="222" y="0"/>
                  </a:lnTo>
                  <a:lnTo>
                    <a:pt x="211" y="0"/>
                  </a:lnTo>
                  <a:lnTo>
                    <a:pt x="201" y="0"/>
                  </a:lnTo>
                  <a:lnTo>
                    <a:pt x="185" y="0"/>
                  </a:lnTo>
                  <a:lnTo>
                    <a:pt x="153" y="11"/>
                  </a:lnTo>
                  <a:lnTo>
                    <a:pt x="174" y="11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2" name="Freeform 231"/>
            <p:cNvSpPr>
              <a:spLocks/>
            </p:cNvSpPr>
            <p:nvPr/>
          </p:nvSpPr>
          <p:spPr bwMode="auto">
            <a:xfrm>
              <a:off x="2412" y="3524"/>
              <a:ext cx="1449" cy="644"/>
            </a:xfrm>
            <a:custGeom>
              <a:avLst/>
              <a:gdLst>
                <a:gd name="T0" fmla="*/ 1250 w 1449"/>
                <a:gd name="T1" fmla="*/ 60 h 644"/>
                <a:gd name="T2" fmla="*/ 1240 w 1449"/>
                <a:gd name="T3" fmla="*/ 129 h 644"/>
                <a:gd name="T4" fmla="*/ 1262 w 1449"/>
                <a:gd name="T5" fmla="*/ 167 h 644"/>
                <a:gd name="T6" fmla="*/ 1319 w 1449"/>
                <a:gd name="T7" fmla="*/ 166 h 644"/>
                <a:gd name="T8" fmla="*/ 1351 w 1449"/>
                <a:gd name="T9" fmla="*/ 138 h 644"/>
                <a:gd name="T10" fmla="*/ 1406 w 1449"/>
                <a:gd name="T11" fmla="*/ 158 h 644"/>
                <a:gd name="T12" fmla="*/ 1436 w 1449"/>
                <a:gd name="T13" fmla="*/ 187 h 644"/>
                <a:gd name="T14" fmla="*/ 1416 w 1449"/>
                <a:gd name="T15" fmla="*/ 220 h 644"/>
                <a:gd name="T16" fmla="*/ 1380 w 1449"/>
                <a:gd name="T17" fmla="*/ 221 h 644"/>
                <a:gd name="T18" fmla="*/ 1339 w 1449"/>
                <a:gd name="T19" fmla="*/ 240 h 644"/>
                <a:gd name="T20" fmla="*/ 1298 w 1449"/>
                <a:gd name="T21" fmla="*/ 274 h 644"/>
                <a:gd name="T22" fmla="*/ 1257 w 1449"/>
                <a:gd name="T23" fmla="*/ 339 h 644"/>
                <a:gd name="T24" fmla="*/ 1212 w 1449"/>
                <a:gd name="T25" fmla="*/ 343 h 644"/>
                <a:gd name="T26" fmla="*/ 1178 w 1449"/>
                <a:gd name="T27" fmla="*/ 386 h 644"/>
                <a:gd name="T28" fmla="*/ 1121 w 1449"/>
                <a:gd name="T29" fmla="*/ 393 h 644"/>
                <a:gd name="T30" fmla="*/ 1075 w 1449"/>
                <a:gd name="T31" fmla="*/ 382 h 644"/>
                <a:gd name="T32" fmla="*/ 1053 w 1449"/>
                <a:gd name="T33" fmla="*/ 425 h 644"/>
                <a:gd name="T34" fmla="*/ 1068 w 1449"/>
                <a:gd name="T35" fmla="*/ 455 h 644"/>
                <a:gd name="T36" fmla="*/ 1037 w 1449"/>
                <a:gd name="T37" fmla="*/ 512 h 644"/>
                <a:gd name="T38" fmla="*/ 987 w 1449"/>
                <a:gd name="T39" fmla="*/ 565 h 644"/>
                <a:gd name="T40" fmla="*/ 910 w 1449"/>
                <a:gd name="T41" fmla="*/ 585 h 644"/>
                <a:gd name="T42" fmla="*/ 850 w 1449"/>
                <a:gd name="T43" fmla="*/ 583 h 644"/>
                <a:gd name="T44" fmla="*/ 767 w 1449"/>
                <a:gd name="T45" fmla="*/ 619 h 644"/>
                <a:gd name="T46" fmla="*/ 707 w 1449"/>
                <a:gd name="T47" fmla="*/ 644 h 644"/>
                <a:gd name="T48" fmla="*/ 662 w 1449"/>
                <a:gd name="T49" fmla="*/ 627 h 644"/>
                <a:gd name="T50" fmla="*/ 595 w 1449"/>
                <a:gd name="T51" fmla="*/ 602 h 644"/>
                <a:gd name="T52" fmla="*/ 556 w 1449"/>
                <a:gd name="T53" fmla="*/ 579 h 644"/>
                <a:gd name="T54" fmla="*/ 498 w 1449"/>
                <a:gd name="T55" fmla="*/ 551 h 644"/>
                <a:gd name="T56" fmla="*/ 417 w 1449"/>
                <a:gd name="T57" fmla="*/ 556 h 644"/>
                <a:gd name="T58" fmla="*/ 338 w 1449"/>
                <a:gd name="T59" fmla="*/ 543 h 644"/>
                <a:gd name="T60" fmla="*/ 308 w 1449"/>
                <a:gd name="T61" fmla="*/ 517 h 644"/>
                <a:gd name="T62" fmla="*/ 291 w 1449"/>
                <a:gd name="T63" fmla="*/ 469 h 644"/>
                <a:gd name="T64" fmla="*/ 263 w 1449"/>
                <a:gd name="T65" fmla="*/ 407 h 644"/>
                <a:gd name="T66" fmla="*/ 217 w 1449"/>
                <a:gd name="T67" fmla="*/ 363 h 644"/>
                <a:gd name="T68" fmla="*/ 171 w 1449"/>
                <a:gd name="T69" fmla="*/ 337 h 644"/>
                <a:gd name="T70" fmla="*/ 123 w 1449"/>
                <a:gd name="T71" fmla="*/ 330 h 644"/>
                <a:gd name="T72" fmla="*/ 86 w 1449"/>
                <a:gd name="T73" fmla="*/ 298 h 644"/>
                <a:gd name="T74" fmla="*/ 106 w 1449"/>
                <a:gd name="T75" fmla="*/ 249 h 644"/>
                <a:gd name="T76" fmla="*/ 110 w 1449"/>
                <a:gd name="T77" fmla="*/ 183 h 644"/>
                <a:gd name="T78" fmla="*/ 99 w 1449"/>
                <a:gd name="T79" fmla="*/ 117 h 644"/>
                <a:gd name="T80" fmla="*/ 56 w 1449"/>
                <a:gd name="T81" fmla="*/ 91 h 644"/>
                <a:gd name="T82" fmla="*/ 20 w 1449"/>
                <a:gd name="T83" fmla="*/ 59 h 644"/>
                <a:gd name="T84" fmla="*/ 0 w 1449"/>
                <a:gd name="T85" fmla="*/ 0 h 64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49" h="644">
                  <a:moveTo>
                    <a:pt x="1268" y="14"/>
                  </a:moveTo>
                  <a:lnTo>
                    <a:pt x="1250" y="60"/>
                  </a:lnTo>
                  <a:lnTo>
                    <a:pt x="1245" y="102"/>
                  </a:lnTo>
                  <a:lnTo>
                    <a:pt x="1240" y="129"/>
                  </a:lnTo>
                  <a:lnTo>
                    <a:pt x="1226" y="156"/>
                  </a:lnTo>
                  <a:lnTo>
                    <a:pt x="1262" y="167"/>
                  </a:lnTo>
                  <a:lnTo>
                    <a:pt x="1292" y="158"/>
                  </a:lnTo>
                  <a:lnTo>
                    <a:pt x="1319" y="166"/>
                  </a:lnTo>
                  <a:lnTo>
                    <a:pt x="1336" y="150"/>
                  </a:lnTo>
                  <a:lnTo>
                    <a:pt x="1351" y="138"/>
                  </a:lnTo>
                  <a:lnTo>
                    <a:pt x="1378" y="137"/>
                  </a:lnTo>
                  <a:lnTo>
                    <a:pt x="1406" y="158"/>
                  </a:lnTo>
                  <a:lnTo>
                    <a:pt x="1421" y="172"/>
                  </a:lnTo>
                  <a:lnTo>
                    <a:pt x="1436" y="187"/>
                  </a:lnTo>
                  <a:lnTo>
                    <a:pt x="1449" y="207"/>
                  </a:lnTo>
                  <a:lnTo>
                    <a:pt x="1416" y="220"/>
                  </a:lnTo>
                  <a:lnTo>
                    <a:pt x="1398" y="221"/>
                  </a:lnTo>
                  <a:lnTo>
                    <a:pt x="1380" y="221"/>
                  </a:lnTo>
                  <a:lnTo>
                    <a:pt x="1357" y="243"/>
                  </a:lnTo>
                  <a:lnTo>
                    <a:pt x="1339" y="240"/>
                  </a:lnTo>
                  <a:lnTo>
                    <a:pt x="1315" y="259"/>
                  </a:lnTo>
                  <a:lnTo>
                    <a:pt x="1298" y="274"/>
                  </a:lnTo>
                  <a:lnTo>
                    <a:pt x="1283" y="305"/>
                  </a:lnTo>
                  <a:lnTo>
                    <a:pt x="1257" y="339"/>
                  </a:lnTo>
                  <a:lnTo>
                    <a:pt x="1234" y="345"/>
                  </a:lnTo>
                  <a:lnTo>
                    <a:pt x="1212" y="343"/>
                  </a:lnTo>
                  <a:lnTo>
                    <a:pt x="1192" y="370"/>
                  </a:lnTo>
                  <a:lnTo>
                    <a:pt x="1178" y="386"/>
                  </a:lnTo>
                  <a:lnTo>
                    <a:pt x="1154" y="395"/>
                  </a:lnTo>
                  <a:lnTo>
                    <a:pt x="1121" y="393"/>
                  </a:lnTo>
                  <a:lnTo>
                    <a:pt x="1102" y="382"/>
                  </a:lnTo>
                  <a:lnTo>
                    <a:pt x="1075" y="382"/>
                  </a:lnTo>
                  <a:lnTo>
                    <a:pt x="1052" y="407"/>
                  </a:lnTo>
                  <a:lnTo>
                    <a:pt x="1053" y="425"/>
                  </a:lnTo>
                  <a:lnTo>
                    <a:pt x="1053" y="443"/>
                  </a:lnTo>
                  <a:lnTo>
                    <a:pt x="1068" y="455"/>
                  </a:lnTo>
                  <a:lnTo>
                    <a:pt x="1072" y="482"/>
                  </a:lnTo>
                  <a:lnTo>
                    <a:pt x="1037" y="512"/>
                  </a:lnTo>
                  <a:lnTo>
                    <a:pt x="1014" y="543"/>
                  </a:lnTo>
                  <a:lnTo>
                    <a:pt x="987" y="565"/>
                  </a:lnTo>
                  <a:lnTo>
                    <a:pt x="946" y="584"/>
                  </a:lnTo>
                  <a:lnTo>
                    <a:pt x="910" y="585"/>
                  </a:lnTo>
                  <a:lnTo>
                    <a:pt x="880" y="583"/>
                  </a:lnTo>
                  <a:lnTo>
                    <a:pt x="850" y="583"/>
                  </a:lnTo>
                  <a:lnTo>
                    <a:pt x="826" y="590"/>
                  </a:lnTo>
                  <a:lnTo>
                    <a:pt x="767" y="619"/>
                  </a:lnTo>
                  <a:lnTo>
                    <a:pt x="725" y="641"/>
                  </a:lnTo>
                  <a:lnTo>
                    <a:pt x="707" y="644"/>
                  </a:lnTo>
                  <a:lnTo>
                    <a:pt x="692" y="624"/>
                  </a:lnTo>
                  <a:lnTo>
                    <a:pt x="662" y="627"/>
                  </a:lnTo>
                  <a:lnTo>
                    <a:pt x="622" y="613"/>
                  </a:lnTo>
                  <a:lnTo>
                    <a:pt x="595" y="602"/>
                  </a:lnTo>
                  <a:lnTo>
                    <a:pt x="559" y="597"/>
                  </a:lnTo>
                  <a:lnTo>
                    <a:pt x="556" y="579"/>
                  </a:lnTo>
                  <a:lnTo>
                    <a:pt x="525" y="562"/>
                  </a:lnTo>
                  <a:lnTo>
                    <a:pt x="498" y="551"/>
                  </a:lnTo>
                  <a:lnTo>
                    <a:pt x="441" y="552"/>
                  </a:lnTo>
                  <a:lnTo>
                    <a:pt x="417" y="556"/>
                  </a:lnTo>
                  <a:lnTo>
                    <a:pt x="375" y="548"/>
                  </a:lnTo>
                  <a:lnTo>
                    <a:pt x="338" y="543"/>
                  </a:lnTo>
                  <a:lnTo>
                    <a:pt x="317" y="538"/>
                  </a:lnTo>
                  <a:lnTo>
                    <a:pt x="308" y="517"/>
                  </a:lnTo>
                  <a:lnTo>
                    <a:pt x="289" y="502"/>
                  </a:lnTo>
                  <a:lnTo>
                    <a:pt x="291" y="469"/>
                  </a:lnTo>
                  <a:lnTo>
                    <a:pt x="282" y="442"/>
                  </a:lnTo>
                  <a:lnTo>
                    <a:pt x="263" y="407"/>
                  </a:lnTo>
                  <a:lnTo>
                    <a:pt x="235" y="381"/>
                  </a:lnTo>
                  <a:lnTo>
                    <a:pt x="217" y="363"/>
                  </a:lnTo>
                  <a:lnTo>
                    <a:pt x="192" y="349"/>
                  </a:lnTo>
                  <a:lnTo>
                    <a:pt x="171" y="337"/>
                  </a:lnTo>
                  <a:lnTo>
                    <a:pt x="150" y="329"/>
                  </a:lnTo>
                  <a:lnTo>
                    <a:pt x="123" y="330"/>
                  </a:lnTo>
                  <a:lnTo>
                    <a:pt x="113" y="312"/>
                  </a:lnTo>
                  <a:lnTo>
                    <a:pt x="86" y="298"/>
                  </a:lnTo>
                  <a:lnTo>
                    <a:pt x="85" y="268"/>
                  </a:lnTo>
                  <a:lnTo>
                    <a:pt x="106" y="249"/>
                  </a:lnTo>
                  <a:lnTo>
                    <a:pt x="110" y="207"/>
                  </a:lnTo>
                  <a:lnTo>
                    <a:pt x="110" y="183"/>
                  </a:lnTo>
                  <a:lnTo>
                    <a:pt x="94" y="141"/>
                  </a:lnTo>
                  <a:lnTo>
                    <a:pt x="99" y="117"/>
                  </a:lnTo>
                  <a:lnTo>
                    <a:pt x="72" y="112"/>
                  </a:lnTo>
                  <a:lnTo>
                    <a:pt x="56" y="91"/>
                  </a:lnTo>
                  <a:lnTo>
                    <a:pt x="32" y="92"/>
                  </a:lnTo>
                  <a:lnTo>
                    <a:pt x="20" y="59"/>
                  </a:lnTo>
                  <a:lnTo>
                    <a:pt x="4" y="36"/>
                  </a:lnTo>
                  <a:lnTo>
                    <a:pt x="0" y="0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3" name="Freeform 232"/>
            <p:cNvSpPr>
              <a:spLocks/>
            </p:cNvSpPr>
            <p:nvPr/>
          </p:nvSpPr>
          <p:spPr bwMode="auto">
            <a:xfrm>
              <a:off x="1341" y="4021"/>
              <a:ext cx="220" cy="152"/>
            </a:xfrm>
            <a:custGeom>
              <a:avLst/>
              <a:gdLst>
                <a:gd name="T0" fmla="*/ 220 w 220"/>
                <a:gd name="T1" fmla="*/ 0 h 152"/>
                <a:gd name="T2" fmla="*/ 214 w 220"/>
                <a:gd name="T3" fmla="*/ 17 h 152"/>
                <a:gd name="T4" fmla="*/ 208 w 220"/>
                <a:gd name="T5" fmla="*/ 32 h 152"/>
                <a:gd name="T6" fmla="*/ 175 w 220"/>
                <a:gd name="T7" fmla="*/ 27 h 152"/>
                <a:gd name="T8" fmla="*/ 148 w 220"/>
                <a:gd name="T9" fmla="*/ 14 h 152"/>
                <a:gd name="T10" fmla="*/ 111 w 220"/>
                <a:gd name="T11" fmla="*/ 6 h 152"/>
                <a:gd name="T12" fmla="*/ 79 w 220"/>
                <a:gd name="T13" fmla="*/ 6 h 152"/>
                <a:gd name="T14" fmla="*/ 42 w 220"/>
                <a:gd name="T15" fmla="*/ 11 h 152"/>
                <a:gd name="T16" fmla="*/ 12 w 220"/>
                <a:gd name="T17" fmla="*/ 15 h 152"/>
                <a:gd name="T18" fmla="*/ 0 w 220"/>
                <a:gd name="T19" fmla="*/ 26 h 152"/>
                <a:gd name="T20" fmla="*/ 15 w 220"/>
                <a:gd name="T21" fmla="*/ 42 h 152"/>
                <a:gd name="T22" fmla="*/ 26 w 220"/>
                <a:gd name="T23" fmla="*/ 152 h 15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0" h="152">
                  <a:moveTo>
                    <a:pt x="220" y="0"/>
                  </a:moveTo>
                  <a:lnTo>
                    <a:pt x="214" y="17"/>
                  </a:lnTo>
                  <a:lnTo>
                    <a:pt x="208" y="32"/>
                  </a:lnTo>
                  <a:lnTo>
                    <a:pt x="175" y="27"/>
                  </a:lnTo>
                  <a:lnTo>
                    <a:pt x="148" y="14"/>
                  </a:lnTo>
                  <a:lnTo>
                    <a:pt x="111" y="6"/>
                  </a:lnTo>
                  <a:lnTo>
                    <a:pt x="79" y="6"/>
                  </a:lnTo>
                  <a:lnTo>
                    <a:pt x="42" y="11"/>
                  </a:lnTo>
                  <a:lnTo>
                    <a:pt x="12" y="15"/>
                  </a:lnTo>
                  <a:lnTo>
                    <a:pt x="0" y="26"/>
                  </a:lnTo>
                  <a:lnTo>
                    <a:pt x="15" y="42"/>
                  </a:lnTo>
                  <a:lnTo>
                    <a:pt x="26" y="152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4" name="Freeform 233"/>
            <p:cNvSpPr>
              <a:spLocks/>
            </p:cNvSpPr>
            <p:nvPr/>
          </p:nvSpPr>
          <p:spPr bwMode="auto">
            <a:xfrm>
              <a:off x="660" y="3791"/>
              <a:ext cx="184" cy="382"/>
            </a:xfrm>
            <a:custGeom>
              <a:avLst/>
              <a:gdLst>
                <a:gd name="T0" fmla="*/ 184 w 184"/>
                <a:gd name="T1" fmla="*/ 0 h 382"/>
                <a:gd name="T2" fmla="*/ 165 w 184"/>
                <a:gd name="T3" fmla="*/ 21 h 382"/>
                <a:gd name="T4" fmla="*/ 147 w 184"/>
                <a:gd name="T5" fmla="*/ 45 h 382"/>
                <a:gd name="T6" fmla="*/ 135 w 184"/>
                <a:gd name="T7" fmla="*/ 63 h 382"/>
                <a:gd name="T8" fmla="*/ 123 w 184"/>
                <a:gd name="T9" fmla="*/ 77 h 382"/>
                <a:gd name="T10" fmla="*/ 91 w 184"/>
                <a:gd name="T11" fmla="*/ 83 h 382"/>
                <a:gd name="T12" fmla="*/ 72 w 184"/>
                <a:gd name="T13" fmla="*/ 105 h 382"/>
                <a:gd name="T14" fmla="*/ 64 w 184"/>
                <a:gd name="T15" fmla="*/ 134 h 382"/>
                <a:gd name="T16" fmla="*/ 76 w 184"/>
                <a:gd name="T17" fmla="*/ 144 h 382"/>
                <a:gd name="T18" fmla="*/ 60 w 184"/>
                <a:gd name="T19" fmla="*/ 156 h 382"/>
                <a:gd name="T20" fmla="*/ 39 w 184"/>
                <a:gd name="T21" fmla="*/ 182 h 382"/>
                <a:gd name="T22" fmla="*/ 30 w 184"/>
                <a:gd name="T23" fmla="*/ 215 h 382"/>
                <a:gd name="T24" fmla="*/ 9 w 184"/>
                <a:gd name="T25" fmla="*/ 240 h 382"/>
                <a:gd name="T26" fmla="*/ 0 w 184"/>
                <a:gd name="T27" fmla="*/ 266 h 382"/>
                <a:gd name="T28" fmla="*/ 13 w 184"/>
                <a:gd name="T29" fmla="*/ 284 h 382"/>
                <a:gd name="T30" fmla="*/ 15 w 184"/>
                <a:gd name="T31" fmla="*/ 301 h 382"/>
                <a:gd name="T32" fmla="*/ 23 w 184"/>
                <a:gd name="T33" fmla="*/ 346 h 382"/>
                <a:gd name="T34" fmla="*/ 21 w 184"/>
                <a:gd name="T35" fmla="*/ 382 h 38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84" h="382">
                  <a:moveTo>
                    <a:pt x="184" y="0"/>
                  </a:moveTo>
                  <a:lnTo>
                    <a:pt x="165" y="21"/>
                  </a:lnTo>
                  <a:lnTo>
                    <a:pt x="147" y="45"/>
                  </a:lnTo>
                  <a:lnTo>
                    <a:pt x="135" y="63"/>
                  </a:lnTo>
                  <a:lnTo>
                    <a:pt x="123" y="77"/>
                  </a:lnTo>
                  <a:lnTo>
                    <a:pt x="91" y="83"/>
                  </a:lnTo>
                  <a:lnTo>
                    <a:pt x="72" y="105"/>
                  </a:lnTo>
                  <a:lnTo>
                    <a:pt x="64" y="134"/>
                  </a:lnTo>
                  <a:lnTo>
                    <a:pt x="76" y="144"/>
                  </a:lnTo>
                  <a:lnTo>
                    <a:pt x="60" y="156"/>
                  </a:lnTo>
                  <a:lnTo>
                    <a:pt x="39" y="182"/>
                  </a:lnTo>
                  <a:lnTo>
                    <a:pt x="30" y="215"/>
                  </a:lnTo>
                  <a:lnTo>
                    <a:pt x="9" y="240"/>
                  </a:lnTo>
                  <a:lnTo>
                    <a:pt x="0" y="266"/>
                  </a:lnTo>
                  <a:lnTo>
                    <a:pt x="13" y="284"/>
                  </a:lnTo>
                  <a:lnTo>
                    <a:pt x="15" y="301"/>
                  </a:lnTo>
                  <a:lnTo>
                    <a:pt x="23" y="346"/>
                  </a:lnTo>
                  <a:lnTo>
                    <a:pt x="21" y="382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5" name="Freeform 234"/>
            <p:cNvSpPr>
              <a:spLocks/>
            </p:cNvSpPr>
            <p:nvPr/>
          </p:nvSpPr>
          <p:spPr bwMode="auto">
            <a:xfrm>
              <a:off x="95" y="2959"/>
              <a:ext cx="234" cy="318"/>
            </a:xfrm>
            <a:custGeom>
              <a:avLst/>
              <a:gdLst>
                <a:gd name="T0" fmla="*/ 0 w 234"/>
                <a:gd name="T1" fmla="*/ 318 h 318"/>
                <a:gd name="T2" fmla="*/ 37 w 234"/>
                <a:gd name="T3" fmla="*/ 311 h 318"/>
                <a:gd name="T4" fmla="*/ 47 w 234"/>
                <a:gd name="T5" fmla="*/ 299 h 318"/>
                <a:gd name="T6" fmla="*/ 68 w 234"/>
                <a:gd name="T7" fmla="*/ 300 h 318"/>
                <a:gd name="T8" fmla="*/ 88 w 234"/>
                <a:gd name="T9" fmla="*/ 294 h 318"/>
                <a:gd name="T10" fmla="*/ 91 w 234"/>
                <a:gd name="T11" fmla="*/ 269 h 318"/>
                <a:gd name="T12" fmla="*/ 91 w 234"/>
                <a:gd name="T13" fmla="*/ 252 h 318"/>
                <a:gd name="T14" fmla="*/ 89 w 234"/>
                <a:gd name="T15" fmla="*/ 222 h 318"/>
                <a:gd name="T16" fmla="*/ 103 w 234"/>
                <a:gd name="T17" fmla="*/ 204 h 318"/>
                <a:gd name="T18" fmla="*/ 103 w 234"/>
                <a:gd name="T19" fmla="*/ 191 h 318"/>
                <a:gd name="T20" fmla="*/ 116 w 234"/>
                <a:gd name="T21" fmla="*/ 173 h 318"/>
                <a:gd name="T22" fmla="*/ 116 w 234"/>
                <a:gd name="T23" fmla="*/ 161 h 318"/>
                <a:gd name="T24" fmla="*/ 127 w 234"/>
                <a:gd name="T25" fmla="*/ 141 h 318"/>
                <a:gd name="T26" fmla="*/ 128 w 234"/>
                <a:gd name="T27" fmla="*/ 122 h 318"/>
                <a:gd name="T28" fmla="*/ 146 w 234"/>
                <a:gd name="T29" fmla="*/ 113 h 318"/>
                <a:gd name="T30" fmla="*/ 143 w 234"/>
                <a:gd name="T31" fmla="*/ 99 h 318"/>
                <a:gd name="T32" fmla="*/ 140 w 234"/>
                <a:gd name="T33" fmla="*/ 89 h 318"/>
                <a:gd name="T34" fmla="*/ 148 w 234"/>
                <a:gd name="T35" fmla="*/ 81 h 318"/>
                <a:gd name="T36" fmla="*/ 163 w 234"/>
                <a:gd name="T37" fmla="*/ 74 h 318"/>
                <a:gd name="T38" fmla="*/ 169 w 234"/>
                <a:gd name="T39" fmla="*/ 60 h 318"/>
                <a:gd name="T40" fmla="*/ 184 w 234"/>
                <a:gd name="T41" fmla="*/ 45 h 318"/>
                <a:gd name="T42" fmla="*/ 196 w 234"/>
                <a:gd name="T43" fmla="*/ 20 h 318"/>
                <a:gd name="T44" fmla="*/ 205 w 234"/>
                <a:gd name="T45" fmla="*/ 0 h 318"/>
                <a:gd name="T46" fmla="*/ 234 w 234"/>
                <a:gd name="T47" fmla="*/ 0 h 31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34" h="318">
                  <a:moveTo>
                    <a:pt x="0" y="318"/>
                  </a:moveTo>
                  <a:lnTo>
                    <a:pt x="37" y="311"/>
                  </a:lnTo>
                  <a:lnTo>
                    <a:pt x="47" y="299"/>
                  </a:lnTo>
                  <a:lnTo>
                    <a:pt x="68" y="300"/>
                  </a:lnTo>
                  <a:lnTo>
                    <a:pt x="88" y="294"/>
                  </a:lnTo>
                  <a:lnTo>
                    <a:pt x="91" y="269"/>
                  </a:lnTo>
                  <a:lnTo>
                    <a:pt x="91" y="252"/>
                  </a:lnTo>
                  <a:lnTo>
                    <a:pt x="89" y="222"/>
                  </a:lnTo>
                  <a:lnTo>
                    <a:pt x="103" y="204"/>
                  </a:lnTo>
                  <a:lnTo>
                    <a:pt x="103" y="191"/>
                  </a:lnTo>
                  <a:lnTo>
                    <a:pt x="116" y="173"/>
                  </a:lnTo>
                  <a:lnTo>
                    <a:pt x="116" y="161"/>
                  </a:lnTo>
                  <a:lnTo>
                    <a:pt x="127" y="141"/>
                  </a:lnTo>
                  <a:lnTo>
                    <a:pt x="128" y="122"/>
                  </a:lnTo>
                  <a:lnTo>
                    <a:pt x="146" y="113"/>
                  </a:lnTo>
                  <a:lnTo>
                    <a:pt x="143" y="99"/>
                  </a:lnTo>
                  <a:lnTo>
                    <a:pt x="140" y="89"/>
                  </a:lnTo>
                  <a:lnTo>
                    <a:pt x="148" y="81"/>
                  </a:lnTo>
                  <a:lnTo>
                    <a:pt x="163" y="74"/>
                  </a:lnTo>
                  <a:lnTo>
                    <a:pt x="169" y="60"/>
                  </a:lnTo>
                  <a:lnTo>
                    <a:pt x="184" y="45"/>
                  </a:lnTo>
                  <a:lnTo>
                    <a:pt x="196" y="20"/>
                  </a:lnTo>
                  <a:lnTo>
                    <a:pt x="205" y="0"/>
                  </a:lnTo>
                  <a:lnTo>
                    <a:pt x="234" y="0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6" name="Freeform 235"/>
            <p:cNvSpPr>
              <a:spLocks/>
            </p:cNvSpPr>
            <p:nvPr/>
          </p:nvSpPr>
          <p:spPr bwMode="auto">
            <a:xfrm>
              <a:off x="97" y="3004"/>
              <a:ext cx="119" cy="101"/>
            </a:xfrm>
            <a:custGeom>
              <a:avLst/>
              <a:gdLst>
                <a:gd name="T0" fmla="*/ 119 w 119"/>
                <a:gd name="T1" fmla="*/ 101 h 101"/>
                <a:gd name="T2" fmla="*/ 107 w 119"/>
                <a:gd name="T3" fmla="*/ 81 h 101"/>
                <a:gd name="T4" fmla="*/ 98 w 119"/>
                <a:gd name="T5" fmla="*/ 69 h 101"/>
                <a:gd name="T6" fmla="*/ 74 w 119"/>
                <a:gd name="T7" fmla="*/ 48 h 101"/>
                <a:gd name="T8" fmla="*/ 59 w 119"/>
                <a:gd name="T9" fmla="*/ 33 h 101"/>
                <a:gd name="T10" fmla="*/ 56 w 119"/>
                <a:gd name="T11" fmla="*/ 14 h 101"/>
                <a:gd name="T12" fmla="*/ 47 w 119"/>
                <a:gd name="T13" fmla="*/ 3 h 101"/>
                <a:gd name="T14" fmla="*/ 30 w 119"/>
                <a:gd name="T15" fmla="*/ 6 h 101"/>
                <a:gd name="T16" fmla="*/ 14 w 119"/>
                <a:gd name="T17" fmla="*/ 0 h 101"/>
                <a:gd name="T18" fmla="*/ 0 w 119"/>
                <a:gd name="T19" fmla="*/ 11 h 10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9" h="101">
                  <a:moveTo>
                    <a:pt x="119" y="101"/>
                  </a:moveTo>
                  <a:lnTo>
                    <a:pt x="107" y="81"/>
                  </a:lnTo>
                  <a:lnTo>
                    <a:pt x="98" y="69"/>
                  </a:lnTo>
                  <a:lnTo>
                    <a:pt x="74" y="48"/>
                  </a:lnTo>
                  <a:lnTo>
                    <a:pt x="59" y="33"/>
                  </a:lnTo>
                  <a:lnTo>
                    <a:pt x="56" y="14"/>
                  </a:lnTo>
                  <a:lnTo>
                    <a:pt x="47" y="3"/>
                  </a:lnTo>
                  <a:lnTo>
                    <a:pt x="30" y="6"/>
                  </a:lnTo>
                  <a:lnTo>
                    <a:pt x="14" y="0"/>
                  </a:lnTo>
                  <a:lnTo>
                    <a:pt x="0" y="11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7" name="Freeform 236"/>
            <p:cNvSpPr>
              <a:spLocks/>
            </p:cNvSpPr>
            <p:nvPr/>
          </p:nvSpPr>
          <p:spPr bwMode="auto">
            <a:xfrm>
              <a:off x="3952" y="1719"/>
              <a:ext cx="95" cy="48"/>
            </a:xfrm>
            <a:custGeom>
              <a:avLst/>
              <a:gdLst>
                <a:gd name="T0" fmla="*/ 0 w 108"/>
                <a:gd name="T1" fmla="*/ 4 h 54"/>
                <a:gd name="T2" fmla="*/ 4 w 108"/>
                <a:gd name="T3" fmla="*/ 4 h 54"/>
                <a:gd name="T4" fmla="*/ 4 w 108"/>
                <a:gd name="T5" fmla="*/ 4 h 54"/>
                <a:gd name="T6" fmla="*/ 4 w 108"/>
                <a:gd name="T7" fmla="*/ 4 h 54"/>
                <a:gd name="T8" fmla="*/ 4 w 108"/>
                <a:gd name="T9" fmla="*/ 4 h 54"/>
                <a:gd name="T10" fmla="*/ 4 w 108"/>
                <a:gd name="T11" fmla="*/ 4 h 54"/>
                <a:gd name="T12" fmla="*/ 4 w 108"/>
                <a:gd name="T13" fmla="*/ 4 h 54"/>
                <a:gd name="T14" fmla="*/ 4 w 108"/>
                <a:gd name="T15" fmla="*/ 4 h 54"/>
                <a:gd name="T16" fmla="*/ 4 w 108"/>
                <a:gd name="T17" fmla="*/ 4 h 54"/>
                <a:gd name="T18" fmla="*/ 4 w 108"/>
                <a:gd name="T19" fmla="*/ 0 h 54"/>
                <a:gd name="T20" fmla="*/ 4 w 108"/>
                <a:gd name="T21" fmla="*/ 0 h 54"/>
                <a:gd name="T22" fmla="*/ 4 w 108"/>
                <a:gd name="T23" fmla="*/ 0 h 54"/>
                <a:gd name="T24" fmla="*/ 4 w 108"/>
                <a:gd name="T25" fmla="*/ 4 h 54"/>
                <a:gd name="T26" fmla="*/ 4 w 108"/>
                <a:gd name="T27" fmla="*/ 0 h 54"/>
                <a:gd name="T28" fmla="*/ 4 w 108"/>
                <a:gd name="T29" fmla="*/ 0 h 54"/>
                <a:gd name="T30" fmla="*/ 4 w 108"/>
                <a:gd name="T31" fmla="*/ 4 h 54"/>
                <a:gd name="T32" fmla="*/ 4 w 108"/>
                <a:gd name="T33" fmla="*/ 4 h 54"/>
                <a:gd name="T34" fmla="*/ 4 w 108"/>
                <a:gd name="T35" fmla="*/ 4 h 54"/>
                <a:gd name="T36" fmla="*/ 0 w 108"/>
                <a:gd name="T37" fmla="*/ 4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08" h="54">
                  <a:moveTo>
                    <a:pt x="0" y="36"/>
                  </a:moveTo>
                  <a:lnTo>
                    <a:pt x="24" y="36"/>
                  </a:lnTo>
                  <a:lnTo>
                    <a:pt x="30" y="48"/>
                  </a:lnTo>
                  <a:lnTo>
                    <a:pt x="54" y="54"/>
                  </a:lnTo>
                  <a:lnTo>
                    <a:pt x="66" y="48"/>
                  </a:lnTo>
                  <a:lnTo>
                    <a:pt x="90" y="48"/>
                  </a:lnTo>
                  <a:lnTo>
                    <a:pt x="96" y="36"/>
                  </a:lnTo>
                  <a:lnTo>
                    <a:pt x="108" y="36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78" y="0"/>
                  </a:lnTo>
                  <a:lnTo>
                    <a:pt x="54" y="12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30" y="12"/>
                  </a:lnTo>
                  <a:lnTo>
                    <a:pt x="24" y="24"/>
                  </a:lnTo>
                  <a:lnTo>
                    <a:pt x="12" y="24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8" name="Freeform 237"/>
            <p:cNvSpPr>
              <a:spLocks/>
            </p:cNvSpPr>
            <p:nvPr/>
          </p:nvSpPr>
          <p:spPr bwMode="auto">
            <a:xfrm>
              <a:off x="3778" y="1741"/>
              <a:ext cx="163" cy="116"/>
            </a:xfrm>
            <a:custGeom>
              <a:avLst/>
              <a:gdLst>
                <a:gd name="T0" fmla="*/ 4 w 186"/>
                <a:gd name="T1" fmla="*/ 4 h 132"/>
                <a:gd name="T2" fmla="*/ 4 w 186"/>
                <a:gd name="T3" fmla="*/ 4 h 132"/>
                <a:gd name="T4" fmla="*/ 4 w 186"/>
                <a:gd name="T5" fmla="*/ 4 h 132"/>
                <a:gd name="T6" fmla="*/ 4 w 186"/>
                <a:gd name="T7" fmla="*/ 4 h 132"/>
                <a:gd name="T8" fmla="*/ 4 w 186"/>
                <a:gd name="T9" fmla="*/ 4 h 132"/>
                <a:gd name="T10" fmla="*/ 4 w 186"/>
                <a:gd name="T11" fmla="*/ 4 h 132"/>
                <a:gd name="T12" fmla="*/ 4 w 186"/>
                <a:gd name="T13" fmla="*/ 4 h 132"/>
                <a:gd name="T14" fmla="*/ 4 w 186"/>
                <a:gd name="T15" fmla="*/ 4 h 132"/>
                <a:gd name="T16" fmla="*/ 4 w 186"/>
                <a:gd name="T17" fmla="*/ 4 h 132"/>
                <a:gd name="T18" fmla="*/ 4 w 186"/>
                <a:gd name="T19" fmla="*/ 4 h 132"/>
                <a:gd name="T20" fmla="*/ 4 w 186"/>
                <a:gd name="T21" fmla="*/ 4 h 132"/>
                <a:gd name="T22" fmla="*/ 4 w 186"/>
                <a:gd name="T23" fmla="*/ 0 h 132"/>
                <a:gd name="T24" fmla="*/ 4 w 186"/>
                <a:gd name="T25" fmla="*/ 4 h 132"/>
                <a:gd name="T26" fmla="*/ 4 w 186"/>
                <a:gd name="T27" fmla="*/ 4 h 132"/>
                <a:gd name="T28" fmla="*/ 4 w 186"/>
                <a:gd name="T29" fmla="*/ 4 h 132"/>
                <a:gd name="T30" fmla="*/ 4 w 186"/>
                <a:gd name="T31" fmla="*/ 4 h 132"/>
                <a:gd name="T32" fmla="*/ 4 w 186"/>
                <a:gd name="T33" fmla="*/ 4 h 132"/>
                <a:gd name="T34" fmla="*/ 4 w 186"/>
                <a:gd name="T35" fmla="*/ 4 h 132"/>
                <a:gd name="T36" fmla="*/ 4 w 186"/>
                <a:gd name="T37" fmla="*/ 4 h 132"/>
                <a:gd name="T38" fmla="*/ 4 w 186"/>
                <a:gd name="T39" fmla="*/ 4 h 132"/>
                <a:gd name="T40" fmla="*/ 4 w 186"/>
                <a:gd name="T41" fmla="*/ 4 h 132"/>
                <a:gd name="T42" fmla="*/ 4 w 186"/>
                <a:gd name="T43" fmla="*/ 4 h 132"/>
                <a:gd name="T44" fmla="*/ 4 w 186"/>
                <a:gd name="T45" fmla="*/ 4 h 132"/>
                <a:gd name="T46" fmla="*/ 4 w 186"/>
                <a:gd name="T47" fmla="*/ 4 h 132"/>
                <a:gd name="T48" fmla="*/ 4 w 186"/>
                <a:gd name="T49" fmla="*/ 4 h 132"/>
                <a:gd name="T50" fmla="*/ 4 w 186"/>
                <a:gd name="T51" fmla="*/ 4 h 132"/>
                <a:gd name="T52" fmla="*/ 0 w 186"/>
                <a:gd name="T53" fmla="*/ 4 h 132"/>
                <a:gd name="T54" fmla="*/ 4 w 186"/>
                <a:gd name="T55" fmla="*/ 4 h 132"/>
                <a:gd name="T56" fmla="*/ 4 w 186"/>
                <a:gd name="T57" fmla="*/ 4 h 132"/>
                <a:gd name="T58" fmla="*/ 4 w 186"/>
                <a:gd name="T59" fmla="*/ 4 h 132"/>
                <a:gd name="T60" fmla="*/ 4 w 186"/>
                <a:gd name="T61" fmla="*/ 4 h 132"/>
                <a:gd name="T62" fmla="*/ 4 w 186"/>
                <a:gd name="T63" fmla="*/ 4 h 132"/>
                <a:gd name="T64" fmla="*/ 4 w 186"/>
                <a:gd name="T65" fmla="*/ 4 h 132"/>
                <a:gd name="T66" fmla="*/ 4 w 186"/>
                <a:gd name="T67" fmla="*/ 4 h 132"/>
                <a:gd name="T68" fmla="*/ 4 w 186"/>
                <a:gd name="T69" fmla="*/ 4 h 132"/>
                <a:gd name="T70" fmla="*/ 4 w 186"/>
                <a:gd name="T71" fmla="*/ 4 h 132"/>
                <a:gd name="T72" fmla="*/ 4 w 186"/>
                <a:gd name="T73" fmla="*/ 4 h 132"/>
                <a:gd name="T74" fmla="*/ 4 w 186"/>
                <a:gd name="T75" fmla="*/ 4 h 132"/>
                <a:gd name="T76" fmla="*/ 4 w 186"/>
                <a:gd name="T77" fmla="*/ 4 h 132"/>
                <a:gd name="T78" fmla="*/ 4 w 186"/>
                <a:gd name="T79" fmla="*/ 4 h 132"/>
                <a:gd name="T80" fmla="*/ 4 w 186"/>
                <a:gd name="T81" fmla="*/ 4 h 132"/>
                <a:gd name="T82" fmla="*/ 4 w 186"/>
                <a:gd name="T83" fmla="*/ 4 h 132"/>
                <a:gd name="T84" fmla="*/ 4 w 186"/>
                <a:gd name="T85" fmla="*/ 4 h 132"/>
                <a:gd name="T86" fmla="*/ 4 w 186"/>
                <a:gd name="T87" fmla="*/ 4 h 132"/>
                <a:gd name="T88" fmla="*/ 4 w 186"/>
                <a:gd name="T89" fmla="*/ 4 h 132"/>
                <a:gd name="T90" fmla="*/ 4 w 186"/>
                <a:gd name="T91" fmla="*/ 4 h 132"/>
                <a:gd name="T92" fmla="*/ 4 w 186"/>
                <a:gd name="T93" fmla="*/ 4 h 132"/>
                <a:gd name="T94" fmla="*/ 4 w 186"/>
                <a:gd name="T95" fmla="*/ 4 h 132"/>
                <a:gd name="T96" fmla="*/ 4 w 186"/>
                <a:gd name="T97" fmla="*/ 4 h 132"/>
                <a:gd name="T98" fmla="*/ 4 w 186"/>
                <a:gd name="T99" fmla="*/ 4 h 132"/>
                <a:gd name="T100" fmla="*/ 4 w 186"/>
                <a:gd name="T101" fmla="*/ 4 h 13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86" h="132">
                  <a:moveTo>
                    <a:pt x="120" y="30"/>
                  </a:moveTo>
                  <a:lnTo>
                    <a:pt x="132" y="42"/>
                  </a:lnTo>
                  <a:lnTo>
                    <a:pt x="144" y="54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74" y="54"/>
                  </a:lnTo>
                  <a:lnTo>
                    <a:pt x="186" y="42"/>
                  </a:lnTo>
                  <a:lnTo>
                    <a:pt x="186" y="30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24"/>
                  </a:lnTo>
                  <a:lnTo>
                    <a:pt x="120" y="12"/>
                  </a:lnTo>
                  <a:lnTo>
                    <a:pt x="96" y="12"/>
                  </a:lnTo>
                  <a:lnTo>
                    <a:pt x="84" y="12"/>
                  </a:lnTo>
                  <a:lnTo>
                    <a:pt x="84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84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30" y="30"/>
                  </a:lnTo>
                  <a:lnTo>
                    <a:pt x="24" y="30"/>
                  </a:lnTo>
                  <a:lnTo>
                    <a:pt x="12" y="42"/>
                  </a:lnTo>
                  <a:lnTo>
                    <a:pt x="0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24" y="108"/>
                  </a:lnTo>
                  <a:lnTo>
                    <a:pt x="24" y="120"/>
                  </a:lnTo>
                  <a:lnTo>
                    <a:pt x="30" y="132"/>
                  </a:lnTo>
                  <a:lnTo>
                    <a:pt x="54" y="132"/>
                  </a:lnTo>
                  <a:lnTo>
                    <a:pt x="66" y="132"/>
                  </a:lnTo>
                  <a:lnTo>
                    <a:pt x="84" y="132"/>
                  </a:lnTo>
                  <a:lnTo>
                    <a:pt x="96" y="132"/>
                  </a:lnTo>
                  <a:lnTo>
                    <a:pt x="96" y="120"/>
                  </a:lnTo>
                  <a:lnTo>
                    <a:pt x="96" y="108"/>
                  </a:lnTo>
                  <a:lnTo>
                    <a:pt x="108" y="108"/>
                  </a:lnTo>
                  <a:lnTo>
                    <a:pt x="120" y="108"/>
                  </a:lnTo>
                  <a:lnTo>
                    <a:pt x="132" y="96"/>
                  </a:lnTo>
                  <a:lnTo>
                    <a:pt x="132" y="90"/>
                  </a:lnTo>
                  <a:lnTo>
                    <a:pt x="144" y="90"/>
                  </a:lnTo>
                  <a:lnTo>
                    <a:pt x="162" y="90"/>
                  </a:lnTo>
                  <a:lnTo>
                    <a:pt x="162" y="78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6"/>
                  </a:lnTo>
                  <a:lnTo>
                    <a:pt x="120" y="54"/>
                  </a:lnTo>
                  <a:lnTo>
                    <a:pt x="120" y="42"/>
                  </a:lnTo>
                  <a:lnTo>
                    <a:pt x="120" y="30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9" name="Freeform 238"/>
            <p:cNvSpPr>
              <a:spLocks/>
            </p:cNvSpPr>
            <p:nvPr/>
          </p:nvSpPr>
          <p:spPr bwMode="auto">
            <a:xfrm>
              <a:off x="3904" y="1867"/>
              <a:ext cx="69" cy="48"/>
            </a:xfrm>
            <a:custGeom>
              <a:avLst/>
              <a:gdLst>
                <a:gd name="T0" fmla="*/ 0 w 78"/>
                <a:gd name="T1" fmla="*/ 4 h 54"/>
                <a:gd name="T2" fmla="*/ 4 w 78"/>
                <a:gd name="T3" fmla="*/ 4 h 54"/>
                <a:gd name="T4" fmla="*/ 4 w 78"/>
                <a:gd name="T5" fmla="*/ 4 h 54"/>
                <a:gd name="T6" fmla="*/ 4 w 78"/>
                <a:gd name="T7" fmla="*/ 4 h 54"/>
                <a:gd name="T8" fmla="*/ 4 w 78"/>
                <a:gd name="T9" fmla="*/ 0 h 54"/>
                <a:gd name="T10" fmla="*/ 4 w 78"/>
                <a:gd name="T11" fmla="*/ 0 h 54"/>
                <a:gd name="T12" fmla="*/ 4 w 78"/>
                <a:gd name="T13" fmla="*/ 0 h 54"/>
                <a:gd name="T14" fmla="*/ 4 w 78"/>
                <a:gd name="T15" fmla="*/ 4 h 54"/>
                <a:gd name="T16" fmla="*/ 4 w 78"/>
                <a:gd name="T17" fmla="*/ 4 h 54"/>
                <a:gd name="T18" fmla="*/ 4 w 78"/>
                <a:gd name="T19" fmla="*/ 4 h 54"/>
                <a:gd name="T20" fmla="*/ 4 w 78"/>
                <a:gd name="T21" fmla="*/ 4 h 54"/>
                <a:gd name="T22" fmla="*/ 4 w 78"/>
                <a:gd name="T23" fmla="*/ 4 h 54"/>
                <a:gd name="T24" fmla="*/ 4 w 78"/>
                <a:gd name="T25" fmla="*/ 4 h 54"/>
                <a:gd name="T26" fmla="*/ 4 w 78"/>
                <a:gd name="T27" fmla="*/ 4 h 54"/>
                <a:gd name="T28" fmla="*/ 0 w 78"/>
                <a:gd name="T29" fmla="*/ 4 h 5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8" h="54">
                  <a:moveTo>
                    <a:pt x="0" y="54"/>
                  </a:moveTo>
                  <a:lnTo>
                    <a:pt x="12" y="42"/>
                  </a:lnTo>
                  <a:lnTo>
                    <a:pt x="12" y="30"/>
                  </a:lnTo>
                  <a:lnTo>
                    <a:pt x="18" y="6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66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8" y="30"/>
                  </a:lnTo>
                  <a:lnTo>
                    <a:pt x="66" y="30"/>
                  </a:lnTo>
                  <a:lnTo>
                    <a:pt x="54" y="42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40" name="Freeform 239"/>
            <p:cNvSpPr>
              <a:spLocks/>
            </p:cNvSpPr>
            <p:nvPr/>
          </p:nvSpPr>
          <p:spPr bwMode="auto">
            <a:xfrm>
              <a:off x="3883" y="1867"/>
              <a:ext cx="21" cy="16"/>
            </a:xfrm>
            <a:custGeom>
              <a:avLst/>
              <a:gdLst>
                <a:gd name="T0" fmla="*/ 4 w 24"/>
                <a:gd name="T1" fmla="*/ 4 h 18"/>
                <a:gd name="T2" fmla="*/ 0 w 24"/>
                <a:gd name="T3" fmla="*/ 4 h 18"/>
                <a:gd name="T4" fmla="*/ 0 w 24"/>
                <a:gd name="T5" fmla="*/ 4 h 18"/>
                <a:gd name="T6" fmla="*/ 0 w 24"/>
                <a:gd name="T7" fmla="*/ 0 h 18"/>
                <a:gd name="T8" fmla="*/ 4 w 24"/>
                <a:gd name="T9" fmla="*/ 0 h 18"/>
                <a:gd name="T10" fmla="*/ 4 w 24"/>
                <a:gd name="T11" fmla="*/ 0 h 18"/>
                <a:gd name="T12" fmla="*/ 4 w 24"/>
                <a:gd name="T13" fmla="*/ 4 h 18"/>
                <a:gd name="T14" fmla="*/ 4 w 24"/>
                <a:gd name="T15" fmla="*/ 4 h 18"/>
                <a:gd name="T16" fmla="*/ 4 w 24"/>
                <a:gd name="T17" fmla="*/ 4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4" h="18">
                  <a:moveTo>
                    <a:pt x="12" y="18"/>
                  </a:move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18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41" name="Freeform 240"/>
            <p:cNvSpPr>
              <a:spLocks/>
            </p:cNvSpPr>
            <p:nvPr/>
          </p:nvSpPr>
          <p:spPr bwMode="auto">
            <a:xfrm>
              <a:off x="3149" y="1709"/>
              <a:ext cx="85" cy="90"/>
            </a:xfrm>
            <a:custGeom>
              <a:avLst/>
              <a:gdLst>
                <a:gd name="T0" fmla="*/ 0 w 96"/>
                <a:gd name="T1" fmla="*/ 4 h 102"/>
                <a:gd name="T2" fmla="*/ 0 w 96"/>
                <a:gd name="T3" fmla="*/ 4 h 102"/>
                <a:gd name="T4" fmla="*/ 0 w 96"/>
                <a:gd name="T5" fmla="*/ 4 h 102"/>
                <a:gd name="T6" fmla="*/ 4 w 96"/>
                <a:gd name="T7" fmla="*/ 4 h 102"/>
                <a:gd name="T8" fmla="*/ 4 w 96"/>
                <a:gd name="T9" fmla="*/ 4 h 102"/>
                <a:gd name="T10" fmla="*/ 4 w 96"/>
                <a:gd name="T11" fmla="*/ 4 h 102"/>
                <a:gd name="T12" fmla="*/ 4 w 96"/>
                <a:gd name="T13" fmla="*/ 4 h 102"/>
                <a:gd name="T14" fmla="*/ 4 w 96"/>
                <a:gd name="T15" fmla="*/ 4 h 102"/>
                <a:gd name="T16" fmla="*/ 4 w 96"/>
                <a:gd name="T17" fmla="*/ 0 h 102"/>
                <a:gd name="T18" fmla="*/ 4 w 96"/>
                <a:gd name="T19" fmla="*/ 0 h 102"/>
                <a:gd name="T20" fmla="*/ 4 w 96"/>
                <a:gd name="T21" fmla="*/ 4 h 102"/>
                <a:gd name="T22" fmla="*/ 4 w 96"/>
                <a:gd name="T23" fmla="*/ 4 h 102"/>
                <a:gd name="T24" fmla="*/ 4 w 96"/>
                <a:gd name="T25" fmla="*/ 4 h 102"/>
                <a:gd name="T26" fmla="*/ 4 w 96"/>
                <a:gd name="T27" fmla="*/ 4 h 102"/>
                <a:gd name="T28" fmla="*/ 4 w 96"/>
                <a:gd name="T29" fmla="*/ 4 h 102"/>
                <a:gd name="T30" fmla="*/ 4 w 96"/>
                <a:gd name="T31" fmla="*/ 4 h 102"/>
                <a:gd name="T32" fmla="*/ 4 w 96"/>
                <a:gd name="T33" fmla="*/ 4 h 102"/>
                <a:gd name="T34" fmla="*/ 4 w 96"/>
                <a:gd name="T35" fmla="*/ 4 h 102"/>
                <a:gd name="T36" fmla="*/ 4 w 96"/>
                <a:gd name="T37" fmla="*/ 4 h 102"/>
                <a:gd name="T38" fmla="*/ 4 w 96"/>
                <a:gd name="T39" fmla="*/ 4 h 102"/>
                <a:gd name="T40" fmla="*/ 4 w 96"/>
                <a:gd name="T41" fmla="*/ 4 h 102"/>
                <a:gd name="T42" fmla="*/ 4 w 96"/>
                <a:gd name="T43" fmla="*/ 4 h 102"/>
                <a:gd name="T44" fmla="*/ 4 w 96"/>
                <a:gd name="T45" fmla="*/ 4 h 102"/>
                <a:gd name="T46" fmla="*/ 4 w 96"/>
                <a:gd name="T47" fmla="*/ 4 h 102"/>
                <a:gd name="T48" fmla="*/ 4 w 96"/>
                <a:gd name="T49" fmla="*/ 4 h 102"/>
                <a:gd name="T50" fmla="*/ 0 w 96"/>
                <a:gd name="T51" fmla="*/ 4 h 102"/>
                <a:gd name="T52" fmla="*/ 0 w 96"/>
                <a:gd name="T53" fmla="*/ 4 h 10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96" h="102">
                  <a:moveTo>
                    <a:pt x="0" y="90"/>
                  </a:moveTo>
                  <a:lnTo>
                    <a:pt x="0" y="78"/>
                  </a:lnTo>
                  <a:lnTo>
                    <a:pt x="0" y="66"/>
                  </a:lnTo>
                  <a:lnTo>
                    <a:pt x="12" y="60"/>
                  </a:lnTo>
                  <a:lnTo>
                    <a:pt x="12" y="48"/>
                  </a:lnTo>
                  <a:lnTo>
                    <a:pt x="18" y="36"/>
                  </a:lnTo>
                  <a:lnTo>
                    <a:pt x="30" y="36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54" y="0"/>
                  </a:lnTo>
                  <a:lnTo>
                    <a:pt x="42" y="24"/>
                  </a:lnTo>
                  <a:lnTo>
                    <a:pt x="66" y="12"/>
                  </a:lnTo>
                  <a:lnTo>
                    <a:pt x="78" y="12"/>
                  </a:lnTo>
                  <a:lnTo>
                    <a:pt x="78" y="24"/>
                  </a:lnTo>
                  <a:lnTo>
                    <a:pt x="84" y="36"/>
                  </a:lnTo>
                  <a:lnTo>
                    <a:pt x="96" y="36"/>
                  </a:lnTo>
                  <a:lnTo>
                    <a:pt x="96" y="48"/>
                  </a:lnTo>
                  <a:lnTo>
                    <a:pt x="84" y="60"/>
                  </a:lnTo>
                  <a:lnTo>
                    <a:pt x="84" y="66"/>
                  </a:lnTo>
                  <a:lnTo>
                    <a:pt x="78" y="78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30" y="90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42" name="Freeform 241"/>
            <p:cNvSpPr>
              <a:spLocks/>
            </p:cNvSpPr>
            <p:nvPr/>
          </p:nvSpPr>
          <p:spPr bwMode="auto">
            <a:xfrm>
              <a:off x="3118" y="1973"/>
              <a:ext cx="137" cy="74"/>
            </a:xfrm>
            <a:custGeom>
              <a:avLst/>
              <a:gdLst>
                <a:gd name="T0" fmla="*/ 4 w 156"/>
                <a:gd name="T1" fmla="*/ 4 h 84"/>
                <a:gd name="T2" fmla="*/ 4 w 156"/>
                <a:gd name="T3" fmla="*/ 4 h 84"/>
                <a:gd name="T4" fmla="*/ 4 w 156"/>
                <a:gd name="T5" fmla="*/ 4 h 84"/>
                <a:gd name="T6" fmla="*/ 0 w 156"/>
                <a:gd name="T7" fmla="*/ 4 h 84"/>
                <a:gd name="T8" fmla="*/ 4 w 156"/>
                <a:gd name="T9" fmla="*/ 4 h 84"/>
                <a:gd name="T10" fmla="*/ 4 w 156"/>
                <a:gd name="T11" fmla="*/ 4 h 84"/>
                <a:gd name="T12" fmla="*/ 4 w 156"/>
                <a:gd name="T13" fmla="*/ 4 h 84"/>
                <a:gd name="T14" fmla="*/ 4 w 156"/>
                <a:gd name="T15" fmla="*/ 4 h 84"/>
                <a:gd name="T16" fmla="*/ 4 w 156"/>
                <a:gd name="T17" fmla="*/ 4 h 84"/>
                <a:gd name="T18" fmla="*/ 4 w 156"/>
                <a:gd name="T19" fmla="*/ 4 h 84"/>
                <a:gd name="T20" fmla="*/ 4 w 156"/>
                <a:gd name="T21" fmla="*/ 4 h 84"/>
                <a:gd name="T22" fmla="*/ 4 w 156"/>
                <a:gd name="T23" fmla="*/ 0 h 84"/>
                <a:gd name="T24" fmla="*/ 4 w 156"/>
                <a:gd name="T25" fmla="*/ 0 h 84"/>
                <a:gd name="T26" fmla="*/ 4 w 156"/>
                <a:gd name="T27" fmla="*/ 4 h 84"/>
                <a:gd name="T28" fmla="*/ 4 w 156"/>
                <a:gd name="T29" fmla="*/ 4 h 84"/>
                <a:gd name="T30" fmla="*/ 4 w 156"/>
                <a:gd name="T31" fmla="*/ 4 h 84"/>
                <a:gd name="T32" fmla="*/ 4 w 156"/>
                <a:gd name="T33" fmla="*/ 4 h 84"/>
                <a:gd name="T34" fmla="*/ 4 w 156"/>
                <a:gd name="T35" fmla="*/ 4 h 84"/>
                <a:gd name="T36" fmla="*/ 4 w 156"/>
                <a:gd name="T37" fmla="*/ 4 h 84"/>
                <a:gd name="T38" fmla="*/ 4 w 156"/>
                <a:gd name="T39" fmla="*/ 4 h 84"/>
                <a:gd name="T40" fmla="*/ 4 w 156"/>
                <a:gd name="T41" fmla="*/ 4 h 84"/>
                <a:gd name="T42" fmla="*/ 4 w 156"/>
                <a:gd name="T43" fmla="*/ 4 h 84"/>
                <a:gd name="T44" fmla="*/ 4 w 156"/>
                <a:gd name="T45" fmla="*/ 4 h 84"/>
                <a:gd name="T46" fmla="*/ 4 w 156"/>
                <a:gd name="T47" fmla="*/ 4 h 84"/>
                <a:gd name="T48" fmla="*/ 4 w 156"/>
                <a:gd name="T49" fmla="*/ 4 h 84"/>
                <a:gd name="T50" fmla="*/ 4 w 156"/>
                <a:gd name="T51" fmla="*/ 4 h 8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6" h="84">
                  <a:moveTo>
                    <a:pt x="24" y="84"/>
                  </a:moveTo>
                  <a:lnTo>
                    <a:pt x="12" y="78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12" y="30"/>
                  </a:lnTo>
                  <a:lnTo>
                    <a:pt x="36" y="18"/>
                  </a:lnTo>
                  <a:lnTo>
                    <a:pt x="36" y="30"/>
                  </a:lnTo>
                  <a:lnTo>
                    <a:pt x="54" y="30"/>
                  </a:lnTo>
                  <a:lnTo>
                    <a:pt x="66" y="30"/>
                  </a:lnTo>
                  <a:lnTo>
                    <a:pt x="90" y="18"/>
                  </a:lnTo>
                  <a:lnTo>
                    <a:pt x="90" y="12"/>
                  </a:lnTo>
                  <a:lnTo>
                    <a:pt x="102" y="0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44" y="18"/>
                  </a:lnTo>
                  <a:lnTo>
                    <a:pt x="156" y="30"/>
                  </a:lnTo>
                  <a:lnTo>
                    <a:pt x="132" y="30"/>
                  </a:lnTo>
                  <a:lnTo>
                    <a:pt x="114" y="42"/>
                  </a:lnTo>
                  <a:lnTo>
                    <a:pt x="102" y="42"/>
                  </a:lnTo>
                  <a:lnTo>
                    <a:pt x="78" y="42"/>
                  </a:lnTo>
                  <a:lnTo>
                    <a:pt x="66" y="54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78"/>
                  </a:lnTo>
                  <a:lnTo>
                    <a:pt x="48" y="84"/>
                  </a:lnTo>
                  <a:lnTo>
                    <a:pt x="24" y="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43" name="Freeform 242"/>
            <p:cNvSpPr>
              <a:spLocks/>
            </p:cNvSpPr>
            <p:nvPr/>
          </p:nvSpPr>
          <p:spPr bwMode="auto">
            <a:xfrm>
              <a:off x="3165" y="2099"/>
              <a:ext cx="101" cy="74"/>
            </a:xfrm>
            <a:custGeom>
              <a:avLst/>
              <a:gdLst>
                <a:gd name="T0" fmla="*/ 0 w 114"/>
                <a:gd name="T1" fmla="*/ 4 h 84"/>
                <a:gd name="T2" fmla="*/ 0 w 114"/>
                <a:gd name="T3" fmla="*/ 4 h 84"/>
                <a:gd name="T4" fmla="*/ 4 w 114"/>
                <a:gd name="T5" fmla="*/ 4 h 84"/>
                <a:gd name="T6" fmla="*/ 4 w 114"/>
                <a:gd name="T7" fmla="*/ 4 h 84"/>
                <a:gd name="T8" fmla="*/ 4 w 114"/>
                <a:gd name="T9" fmla="*/ 4 h 84"/>
                <a:gd name="T10" fmla="*/ 4 w 114"/>
                <a:gd name="T11" fmla="*/ 4 h 84"/>
                <a:gd name="T12" fmla="*/ 4 w 114"/>
                <a:gd name="T13" fmla="*/ 4 h 84"/>
                <a:gd name="T14" fmla="*/ 4 w 114"/>
                <a:gd name="T15" fmla="*/ 4 h 84"/>
                <a:gd name="T16" fmla="*/ 4 w 114"/>
                <a:gd name="T17" fmla="*/ 0 h 84"/>
                <a:gd name="T18" fmla="*/ 4 w 114"/>
                <a:gd name="T19" fmla="*/ 0 h 84"/>
                <a:gd name="T20" fmla="*/ 4 w 114"/>
                <a:gd name="T21" fmla="*/ 0 h 84"/>
                <a:gd name="T22" fmla="*/ 4 w 114"/>
                <a:gd name="T23" fmla="*/ 4 h 84"/>
                <a:gd name="T24" fmla="*/ 4 w 114"/>
                <a:gd name="T25" fmla="*/ 4 h 84"/>
                <a:gd name="T26" fmla="*/ 4 w 114"/>
                <a:gd name="T27" fmla="*/ 4 h 84"/>
                <a:gd name="T28" fmla="*/ 4 w 114"/>
                <a:gd name="T29" fmla="*/ 4 h 84"/>
                <a:gd name="T30" fmla="*/ 4 w 114"/>
                <a:gd name="T31" fmla="*/ 4 h 84"/>
                <a:gd name="T32" fmla="*/ 4 w 114"/>
                <a:gd name="T33" fmla="*/ 4 h 84"/>
                <a:gd name="T34" fmla="*/ 4 w 114"/>
                <a:gd name="T35" fmla="*/ 4 h 84"/>
                <a:gd name="T36" fmla="*/ 0 w 114"/>
                <a:gd name="T37" fmla="*/ 4 h 8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14" h="84">
                  <a:moveTo>
                    <a:pt x="0" y="84"/>
                  </a:moveTo>
                  <a:lnTo>
                    <a:pt x="0" y="72"/>
                  </a:lnTo>
                  <a:lnTo>
                    <a:pt x="12" y="66"/>
                  </a:lnTo>
                  <a:lnTo>
                    <a:pt x="36" y="66"/>
                  </a:lnTo>
                  <a:lnTo>
                    <a:pt x="60" y="42"/>
                  </a:lnTo>
                  <a:lnTo>
                    <a:pt x="60" y="30"/>
                  </a:lnTo>
                  <a:lnTo>
                    <a:pt x="78" y="18"/>
                  </a:lnTo>
                  <a:lnTo>
                    <a:pt x="78" y="6"/>
                  </a:lnTo>
                  <a:lnTo>
                    <a:pt x="90" y="0"/>
                  </a:lnTo>
                  <a:lnTo>
                    <a:pt x="102" y="0"/>
                  </a:lnTo>
                  <a:lnTo>
                    <a:pt x="114" y="0"/>
                  </a:lnTo>
                  <a:lnTo>
                    <a:pt x="102" y="18"/>
                  </a:lnTo>
                  <a:lnTo>
                    <a:pt x="90" y="30"/>
                  </a:lnTo>
                  <a:lnTo>
                    <a:pt x="78" y="42"/>
                  </a:lnTo>
                  <a:lnTo>
                    <a:pt x="60" y="54"/>
                  </a:lnTo>
                  <a:lnTo>
                    <a:pt x="48" y="66"/>
                  </a:lnTo>
                  <a:lnTo>
                    <a:pt x="36" y="72"/>
                  </a:lnTo>
                  <a:lnTo>
                    <a:pt x="24" y="72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44" name="Freeform 243"/>
            <p:cNvSpPr>
              <a:spLocks/>
            </p:cNvSpPr>
            <p:nvPr/>
          </p:nvSpPr>
          <p:spPr bwMode="auto">
            <a:xfrm>
              <a:off x="1551" y="4053"/>
              <a:ext cx="90" cy="122"/>
            </a:xfrm>
            <a:custGeom>
              <a:avLst/>
              <a:gdLst>
                <a:gd name="T0" fmla="*/ 0 w 90"/>
                <a:gd name="T1" fmla="*/ 0 h 122"/>
                <a:gd name="T2" fmla="*/ 18 w 90"/>
                <a:gd name="T3" fmla="*/ 22 h 122"/>
                <a:gd name="T4" fmla="*/ 40 w 90"/>
                <a:gd name="T5" fmla="*/ 56 h 122"/>
                <a:gd name="T6" fmla="*/ 62 w 90"/>
                <a:gd name="T7" fmla="*/ 82 h 122"/>
                <a:gd name="T8" fmla="*/ 58 w 90"/>
                <a:gd name="T9" fmla="*/ 98 h 122"/>
                <a:gd name="T10" fmla="*/ 90 w 90"/>
                <a:gd name="T11" fmla="*/ 122 h 1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122">
                  <a:moveTo>
                    <a:pt x="0" y="0"/>
                  </a:moveTo>
                  <a:lnTo>
                    <a:pt x="18" y="22"/>
                  </a:lnTo>
                  <a:lnTo>
                    <a:pt x="40" y="56"/>
                  </a:lnTo>
                  <a:lnTo>
                    <a:pt x="62" y="82"/>
                  </a:lnTo>
                  <a:lnTo>
                    <a:pt x="58" y="98"/>
                  </a:lnTo>
                  <a:lnTo>
                    <a:pt x="90" y="122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</p:grpSp>
      <p:grpSp>
        <p:nvGrpSpPr>
          <p:cNvPr id="245" name="Group 180"/>
          <p:cNvGrpSpPr>
            <a:grpSpLocks/>
          </p:cNvGrpSpPr>
          <p:nvPr/>
        </p:nvGrpSpPr>
        <p:grpSpPr bwMode="auto">
          <a:xfrm>
            <a:off x="366159" y="1222347"/>
            <a:ext cx="7734302" cy="5059366"/>
            <a:chOff x="77" y="911"/>
            <a:chExt cx="4872" cy="3187"/>
          </a:xfrm>
        </p:grpSpPr>
        <p:sp>
          <p:nvSpPr>
            <p:cNvPr id="246" name="Line 74"/>
            <p:cNvSpPr>
              <a:spLocks noChangeShapeType="1"/>
            </p:cNvSpPr>
            <p:nvPr/>
          </p:nvSpPr>
          <p:spPr bwMode="auto">
            <a:xfrm>
              <a:off x="382" y="1528"/>
              <a:ext cx="162" cy="0"/>
            </a:xfrm>
            <a:prstGeom prst="line">
              <a:avLst/>
            </a:prstGeom>
            <a:noFill/>
            <a:ln w="12700">
              <a:solidFill>
                <a:srgbClr val="0D5C9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47" name="Line 75"/>
            <p:cNvSpPr>
              <a:spLocks noChangeShapeType="1"/>
            </p:cNvSpPr>
            <p:nvPr/>
          </p:nvSpPr>
          <p:spPr bwMode="auto">
            <a:xfrm flipH="1">
              <a:off x="540" y="1528"/>
              <a:ext cx="0" cy="244"/>
            </a:xfrm>
            <a:prstGeom prst="line">
              <a:avLst/>
            </a:prstGeom>
            <a:noFill/>
            <a:ln w="12700">
              <a:solidFill>
                <a:srgbClr val="0D5C9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48" name="Rectangle 76"/>
            <p:cNvSpPr>
              <a:spLocks noChangeArrowheads="1"/>
            </p:cNvSpPr>
            <p:nvPr/>
          </p:nvSpPr>
          <p:spPr bwMode="auto">
            <a:xfrm>
              <a:off x="3041" y="2687"/>
              <a:ext cx="23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Россия</a:t>
              </a:r>
              <a:endPara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49" name="Rectangle 77"/>
            <p:cNvSpPr>
              <a:spLocks noChangeArrowheads="1"/>
            </p:cNvSpPr>
            <p:nvPr/>
          </p:nvSpPr>
          <p:spPr bwMode="auto">
            <a:xfrm>
              <a:off x="2923" y="3768"/>
              <a:ext cx="358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Монголия</a:t>
              </a:r>
              <a:endPara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50" name="Rectangle 78"/>
            <p:cNvSpPr>
              <a:spLocks noChangeArrowheads="1"/>
            </p:cNvSpPr>
            <p:nvPr/>
          </p:nvSpPr>
          <p:spPr bwMode="auto">
            <a:xfrm>
              <a:off x="4003" y="3768"/>
              <a:ext cx="207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Китай</a:t>
              </a:r>
              <a:endPara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51" name="Rectangle 79"/>
            <p:cNvSpPr>
              <a:spLocks noChangeArrowheads="1"/>
            </p:cNvSpPr>
            <p:nvPr/>
          </p:nvSpPr>
          <p:spPr bwMode="auto">
            <a:xfrm>
              <a:off x="1514" y="3219"/>
              <a:ext cx="344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Казахстан</a:t>
              </a:r>
              <a:endPara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52" name="Oval 80"/>
            <p:cNvSpPr>
              <a:spLocks noChangeArrowheads="1"/>
            </p:cNvSpPr>
            <p:nvPr/>
          </p:nvSpPr>
          <p:spPr bwMode="gray">
            <a:xfrm>
              <a:off x="1154" y="3735"/>
              <a:ext cx="58" cy="58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53" name="Rectangle 81"/>
            <p:cNvSpPr>
              <a:spLocks noChangeArrowheads="1"/>
            </p:cNvSpPr>
            <p:nvPr/>
          </p:nvSpPr>
          <p:spPr bwMode="auto">
            <a:xfrm>
              <a:off x="1137" y="3662"/>
              <a:ext cx="211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Шуртан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54" name="Rectangle 82"/>
            <p:cNvSpPr>
              <a:spLocks noChangeArrowheads="1"/>
            </p:cNvSpPr>
            <p:nvPr/>
          </p:nvSpPr>
          <p:spPr bwMode="auto">
            <a:xfrm>
              <a:off x="975" y="3478"/>
              <a:ext cx="397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Узбекистан</a:t>
              </a:r>
              <a:endPara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55" name="Rectangle 83"/>
            <p:cNvSpPr>
              <a:spLocks noChangeArrowheads="1"/>
            </p:cNvSpPr>
            <p:nvPr/>
          </p:nvSpPr>
          <p:spPr bwMode="auto">
            <a:xfrm>
              <a:off x="2053" y="3982"/>
              <a:ext cx="207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Китай</a:t>
              </a:r>
              <a:endPara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56" name="Rectangle 84"/>
            <p:cNvSpPr>
              <a:spLocks noChangeArrowheads="1"/>
            </p:cNvSpPr>
            <p:nvPr/>
          </p:nvSpPr>
          <p:spPr bwMode="auto">
            <a:xfrm>
              <a:off x="327" y="3705"/>
              <a:ext cx="180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Иран</a:t>
              </a:r>
              <a:endPara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57" name="Rectangle 85"/>
            <p:cNvSpPr>
              <a:spLocks noChangeArrowheads="1"/>
            </p:cNvSpPr>
            <p:nvPr/>
          </p:nvSpPr>
          <p:spPr bwMode="auto">
            <a:xfrm>
              <a:off x="816" y="4001"/>
              <a:ext cx="40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Афганистан</a:t>
              </a:r>
              <a:endPara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58" name="Rectangle 86"/>
            <p:cNvSpPr>
              <a:spLocks noChangeArrowheads="1"/>
            </p:cNvSpPr>
            <p:nvPr/>
          </p:nvSpPr>
          <p:spPr bwMode="auto">
            <a:xfrm>
              <a:off x="100" y="2771"/>
              <a:ext cx="25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Турция</a:t>
              </a:r>
              <a:endPara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59" name="Rectangle 87"/>
            <p:cNvSpPr>
              <a:spLocks noChangeArrowheads="1"/>
            </p:cNvSpPr>
            <p:nvPr/>
          </p:nvSpPr>
          <p:spPr bwMode="auto">
            <a:xfrm>
              <a:off x="2392" y="2369"/>
              <a:ext cx="425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Новый Уренгой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60" name="Oval 88"/>
            <p:cNvSpPr>
              <a:spLocks noChangeArrowheads="1"/>
            </p:cNvSpPr>
            <p:nvPr/>
          </p:nvSpPr>
          <p:spPr bwMode="auto">
            <a:xfrm>
              <a:off x="1031" y="2075"/>
              <a:ext cx="38" cy="38"/>
            </a:xfrm>
            <a:prstGeom prst="ellipse">
              <a:avLst/>
            </a:prstGeom>
            <a:solidFill>
              <a:srgbClr val="00A6D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61" name="Oval 89"/>
            <p:cNvSpPr>
              <a:spLocks noChangeArrowheads="1"/>
            </p:cNvSpPr>
            <p:nvPr/>
          </p:nvSpPr>
          <p:spPr bwMode="gray">
            <a:xfrm>
              <a:off x="326" y="1783"/>
              <a:ext cx="58" cy="58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62" name="Oval 90"/>
            <p:cNvSpPr>
              <a:spLocks noChangeArrowheads="1"/>
            </p:cNvSpPr>
            <p:nvPr/>
          </p:nvSpPr>
          <p:spPr bwMode="gray">
            <a:xfrm>
              <a:off x="682" y="1861"/>
              <a:ext cx="58" cy="58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63" name="Oval 91"/>
            <p:cNvSpPr>
              <a:spLocks noChangeArrowheads="1"/>
            </p:cNvSpPr>
            <p:nvPr/>
          </p:nvSpPr>
          <p:spPr bwMode="gray">
            <a:xfrm>
              <a:off x="585" y="2349"/>
              <a:ext cx="58" cy="58"/>
            </a:xfrm>
            <a:prstGeom prst="ellipse">
              <a:avLst/>
            </a:prstGeom>
            <a:solidFill>
              <a:srgbClr val="53A14B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64" name="Oval 92"/>
            <p:cNvSpPr>
              <a:spLocks noChangeArrowheads="1"/>
            </p:cNvSpPr>
            <p:nvPr/>
          </p:nvSpPr>
          <p:spPr bwMode="gray">
            <a:xfrm>
              <a:off x="993" y="2166"/>
              <a:ext cx="58" cy="58"/>
            </a:xfrm>
            <a:prstGeom prst="ellipse">
              <a:avLst/>
            </a:prstGeom>
            <a:solidFill>
              <a:srgbClr val="53A14B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65" name="Oval 93"/>
            <p:cNvSpPr>
              <a:spLocks noChangeArrowheads="1"/>
            </p:cNvSpPr>
            <p:nvPr/>
          </p:nvSpPr>
          <p:spPr bwMode="gray">
            <a:xfrm>
              <a:off x="1280" y="2616"/>
              <a:ext cx="58" cy="58"/>
            </a:xfrm>
            <a:prstGeom prst="ellipse">
              <a:avLst/>
            </a:prstGeom>
            <a:solidFill>
              <a:srgbClr val="53A14B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66" name="Oval 94"/>
            <p:cNvSpPr>
              <a:spLocks noChangeArrowheads="1"/>
            </p:cNvSpPr>
            <p:nvPr/>
          </p:nvSpPr>
          <p:spPr bwMode="gray">
            <a:xfrm>
              <a:off x="1689" y="2421"/>
              <a:ext cx="58" cy="58"/>
            </a:xfrm>
            <a:prstGeom prst="ellipse">
              <a:avLst/>
            </a:prstGeom>
            <a:solidFill>
              <a:srgbClr val="53A14B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67" name="Rectangle 95"/>
            <p:cNvSpPr>
              <a:spLocks noChangeArrowheads="1"/>
            </p:cNvSpPr>
            <p:nvPr/>
          </p:nvSpPr>
          <p:spPr bwMode="gray">
            <a:xfrm>
              <a:off x="585" y="1828"/>
              <a:ext cx="48" cy="48"/>
            </a:xfrm>
            <a:prstGeom prst="rect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68" name="Rectangle 97"/>
            <p:cNvSpPr>
              <a:spLocks noChangeArrowheads="1"/>
            </p:cNvSpPr>
            <p:nvPr/>
          </p:nvSpPr>
          <p:spPr bwMode="gray">
            <a:xfrm>
              <a:off x="927" y="2187"/>
              <a:ext cx="48" cy="48"/>
            </a:xfrm>
            <a:prstGeom prst="rect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69" name="Rectangle 98"/>
            <p:cNvSpPr>
              <a:spLocks noChangeArrowheads="1"/>
            </p:cNvSpPr>
            <p:nvPr/>
          </p:nvSpPr>
          <p:spPr bwMode="gray">
            <a:xfrm>
              <a:off x="1341" y="2620"/>
              <a:ext cx="48" cy="48"/>
            </a:xfrm>
            <a:prstGeom prst="rect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70" name="Rectangle 99"/>
            <p:cNvSpPr>
              <a:spLocks noChangeArrowheads="1"/>
            </p:cNvSpPr>
            <p:nvPr/>
          </p:nvSpPr>
          <p:spPr bwMode="gray">
            <a:xfrm>
              <a:off x="1539" y="2704"/>
              <a:ext cx="48" cy="48"/>
            </a:xfrm>
            <a:prstGeom prst="rect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71" name="Rectangle 100"/>
            <p:cNvSpPr>
              <a:spLocks noChangeArrowheads="1"/>
            </p:cNvSpPr>
            <p:nvPr/>
          </p:nvSpPr>
          <p:spPr bwMode="gray">
            <a:xfrm>
              <a:off x="1591" y="2578"/>
              <a:ext cx="48" cy="48"/>
            </a:xfrm>
            <a:prstGeom prst="rect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72" name="Oval 101"/>
            <p:cNvSpPr>
              <a:spLocks noChangeArrowheads="1"/>
            </p:cNvSpPr>
            <p:nvPr/>
          </p:nvSpPr>
          <p:spPr bwMode="gray">
            <a:xfrm>
              <a:off x="1021" y="2062"/>
              <a:ext cx="58" cy="58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73" name="Rectangle 102"/>
            <p:cNvSpPr>
              <a:spLocks noChangeArrowheads="1"/>
            </p:cNvSpPr>
            <p:nvPr/>
          </p:nvSpPr>
          <p:spPr bwMode="auto">
            <a:xfrm>
              <a:off x="365" y="2137"/>
              <a:ext cx="297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Украина</a:t>
              </a:r>
              <a:endPara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74" name="Rectangle 103"/>
            <p:cNvSpPr>
              <a:spLocks noChangeArrowheads="1"/>
            </p:cNvSpPr>
            <p:nvPr/>
          </p:nvSpPr>
          <p:spPr bwMode="auto">
            <a:xfrm>
              <a:off x="1102" y="2058"/>
              <a:ext cx="210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Москва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75" name="Rectangle 104"/>
            <p:cNvSpPr>
              <a:spLocks noChangeArrowheads="1"/>
            </p:cNvSpPr>
            <p:nvPr/>
          </p:nvSpPr>
          <p:spPr bwMode="auto">
            <a:xfrm>
              <a:off x="477" y="2648"/>
              <a:ext cx="290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Буденовск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76" name="Rectangle 106"/>
            <p:cNvSpPr>
              <a:spLocks noChangeArrowheads="1"/>
            </p:cNvSpPr>
            <p:nvPr/>
          </p:nvSpPr>
          <p:spPr bwMode="auto">
            <a:xfrm>
              <a:off x="561" y="1757"/>
              <a:ext cx="225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Мозырь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77" name="Rectangle 107"/>
            <p:cNvSpPr>
              <a:spLocks noChangeArrowheads="1"/>
            </p:cNvSpPr>
            <p:nvPr/>
          </p:nvSpPr>
          <p:spPr bwMode="auto">
            <a:xfrm>
              <a:off x="688" y="1927"/>
              <a:ext cx="223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Жлобин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78" name="Rectangle 109"/>
            <p:cNvSpPr>
              <a:spLocks noChangeArrowheads="1"/>
            </p:cNvSpPr>
            <p:nvPr/>
          </p:nvSpPr>
          <p:spPr bwMode="auto">
            <a:xfrm>
              <a:off x="971" y="1504"/>
              <a:ext cx="345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Кохтла-Ярве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79" name="Rectangle 110"/>
            <p:cNvSpPr>
              <a:spLocks noChangeArrowheads="1"/>
            </p:cNvSpPr>
            <p:nvPr/>
          </p:nvSpPr>
          <p:spPr bwMode="auto">
            <a:xfrm>
              <a:off x="736" y="2115"/>
              <a:ext cx="223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Шохино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80" name="Rectangle 111"/>
            <p:cNvSpPr>
              <a:spLocks noChangeArrowheads="1"/>
            </p:cNvSpPr>
            <p:nvPr/>
          </p:nvSpPr>
          <p:spPr bwMode="auto">
            <a:xfrm>
              <a:off x="1069" y="2161"/>
              <a:ext cx="399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00" kern="0" dirty="0">
                  <a:solidFill>
                    <a:srgbClr val="FFFFFF"/>
                  </a:solidFill>
                  <a:ea typeface="+mn-ea"/>
                  <a:cs typeface="Arial" charset="0"/>
                </a:rPr>
                <a:t>Новомосковск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81" name="Rectangle 112"/>
            <p:cNvSpPr>
              <a:spLocks noChangeArrowheads="1"/>
            </p:cNvSpPr>
            <p:nvPr/>
          </p:nvSpPr>
          <p:spPr bwMode="auto">
            <a:xfrm>
              <a:off x="1117" y="2547"/>
              <a:ext cx="245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Тольятти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82" name="Rectangle 113"/>
            <p:cNvSpPr>
              <a:spLocks noChangeArrowheads="1"/>
            </p:cNvSpPr>
            <p:nvPr/>
          </p:nvSpPr>
          <p:spPr bwMode="auto">
            <a:xfrm>
              <a:off x="1333" y="2758"/>
              <a:ext cx="206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Самара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83" name="Rectangle 114"/>
            <p:cNvSpPr>
              <a:spLocks noChangeArrowheads="1"/>
            </p:cNvSpPr>
            <p:nvPr/>
          </p:nvSpPr>
          <p:spPr bwMode="auto">
            <a:xfrm>
              <a:off x="1596" y="2692"/>
              <a:ext cx="106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Уфа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84" name="Rectangle 115"/>
            <p:cNvSpPr>
              <a:spLocks noChangeArrowheads="1"/>
            </p:cNvSpPr>
            <p:nvPr/>
          </p:nvSpPr>
          <p:spPr bwMode="auto">
            <a:xfrm>
              <a:off x="1694" y="2569"/>
              <a:ext cx="181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Пермь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85" name="Rectangle 116"/>
            <p:cNvSpPr>
              <a:spLocks noChangeArrowheads="1"/>
            </p:cNvSpPr>
            <p:nvPr/>
          </p:nvSpPr>
          <p:spPr bwMode="auto">
            <a:xfrm>
              <a:off x="1739" y="2415"/>
              <a:ext cx="296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Березники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86" name="Rectangle 117"/>
            <p:cNvSpPr>
              <a:spLocks noChangeArrowheads="1"/>
            </p:cNvSpPr>
            <p:nvPr/>
          </p:nvSpPr>
          <p:spPr bwMode="auto">
            <a:xfrm>
              <a:off x="995" y="2841"/>
              <a:ext cx="201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Атырау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87" name="Rectangle 118"/>
            <p:cNvSpPr>
              <a:spLocks noChangeArrowheads="1"/>
            </p:cNvSpPr>
            <p:nvPr/>
          </p:nvSpPr>
          <p:spPr bwMode="auto">
            <a:xfrm>
              <a:off x="77" y="1470"/>
              <a:ext cx="322" cy="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Беларусь</a:t>
              </a:r>
              <a:endPara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88" name="Rectangle 119"/>
            <p:cNvSpPr>
              <a:spLocks noChangeArrowheads="1"/>
            </p:cNvSpPr>
            <p:nvPr/>
          </p:nvSpPr>
          <p:spPr bwMode="auto">
            <a:xfrm>
              <a:off x="165" y="1335"/>
              <a:ext cx="207" cy="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Литва</a:t>
              </a:r>
              <a:endPara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89" name="Rectangle 120"/>
            <p:cNvSpPr>
              <a:spLocks noChangeArrowheads="1"/>
            </p:cNvSpPr>
            <p:nvPr/>
          </p:nvSpPr>
          <p:spPr bwMode="auto">
            <a:xfrm>
              <a:off x="89" y="1188"/>
              <a:ext cx="247" cy="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Латвия</a:t>
              </a:r>
              <a:endPara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90" name="Rectangle 121"/>
            <p:cNvSpPr>
              <a:spLocks noChangeArrowheads="1"/>
            </p:cNvSpPr>
            <p:nvPr/>
          </p:nvSpPr>
          <p:spPr bwMode="auto">
            <a:xfrm>
              <a:off x="92" y="1053"/>
              <a:ext cx="282" cy="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Эстония</a:t>
              </a:r>
              <a:endPara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91" name="Line 122"/>
            <p:cNvSpPr>
              <a:spLocks noChangeShapeType="1"/>
            </p:cNvSpPr>
            <p:nvPr/>
          </p:nvSpPr>
          <p:spPr bwMode="auto">
            <a:xfrm>
              <a:off x="444" y="1393"/>
              <a:ext cx="240" cy="0"/>
            </a:xfrm>
            <a:prstGeom prst="line">
              <a:avLst/>
            </a:prstGeom>
            <a:noFill/>
            <a:ln w="12700">
              <a:solidFill>
                <a:srgbClr val="0D5C9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92" name="Line 123"/>
            <p:cNvSpPr>
              <a:spLocks noChangeShapeType="1"/>
            </p:cNvSpPr>
            <p:nvPr/>
          </p:nvSpPr>
          <p:spPr bwMode="auto">
            <a:xfrm>
              <a:off x="680" y="1389"/>
              <a:ext cx="0" cy="233"/>
            </a:xfrm>
            <a:prstGeom prst="line">
              <a:avLst/>
            </a:prstGeom>
            <a:noFill/>
            <a:ln w="12700">
              <a:solidFill>
                <a:srgbClr val="0D5C9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93" name="Line 124"/>
            <p:cNvSpPr>
              <a:spLocks noChangeShapeType="1"/>
            </p:cNvSpPr>
            <p:nvPr/>
          </p:nvSpPr>
          <p:spPr bwMode="auto">
            <a:xfrm>
              <a:off x="332" y="1244"/>
              <a:ext cx="488" cy="1"/>
            </a:xfrm>
            <a:prstGeom prst="line">
              <a:avLst/>
            </a:prstGeom>
            <a:noFill/>
            <a:ln w="12700">
              <a:solidFill>
                <a:srgbClr val="0D5C9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94" name="Line 125"/>
            <p:cNvSpPr>
              <a:spLocks noChangeShapeType="1"/>
            </p:cNvSpPr>
            <p:nvPr/>
          </p:nvSpPr>
          <p:spPr bwMode="auto">
            <a:xfrm>
              <a:off x="816" y="1241"/>
              <a:ext cx="0" cy="340"/>
            </a:xfrm>
            <a:prstGeom prst="line">
              <a:avLst/>
            </a:prstGeom>
            <a:noFill/>
            <a:ln w="12700">
              <a:solidFill>
                <a:srgbClr val="0D5C9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95" name="Line 126"/>
            <p:cNvSpPr>
              <a:spLocks noChangeShapeType="1"/>
            </p:cNvSpPr>
            <p:nvPr/>
          </p:nvSpPr>
          <p:spPr bwMode="auto">
            <a:xfrm>
              <a:off x="377" y="1109"/>
              <a:ext cx="571" cy="0"/>
            </a:xfrm>
            <a:prstGeom prst="line">
              <a:avLst/>
            </a:prstGeom>
            <a:noFill/>
            <a:ln w="12700">
              <a:solidFill>
                <a:srgbClr val="0D5C9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96" name="Line 127"/>
            <p:cNvSpPr>
              <a:spLocks noChangeShapeType="1"/>
            </p:cNvSpPr>
            <p:nvPr/>
          </p:nvSpPr>
          <p:spPr bwMode="auto">
            <a:xfrm flipH="1">
              <a:off x="944" y="1105"/>
              <a:ext cx="3" cy="503"/>
            </a:xfrm>
            <a:prstGeom prst="line">
              <a:avLst/>
            </a:prstGeom>
            <a:noFill/>
            <a:ln w="12700">
              <a:solidFill>
                <a:srgbClr val="0D5C9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97" name="Oval 128"/>
            <p:cNvSpPr>
              <a:spLocks noChangeArrowheads="1"/>
            </p:cNvSpPr>
            <p:nvPr/>
          </p:nvSpPr>
          <p:spPr bwMode="gray">
            <a:xfrm>
              <a:off x="489" y="2320"/>
              <a:ext cx="58" cy="58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98" name="Oval 130"/>
            <p:cNvSpPr>
              <a:spLocks noChangeArrowheads="1"/>
            </p:cNvSpPr>
            <p:nvPr/>
          </p:nvSpPr>
          <p:spPr bwMode="gray">
            <a:xfrm>
              <a:off x="1786" y="2759"/>
              <a:ext cx="58" cy="58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99" name="Rectangle 131"/>
            <p:cNvSpPr>
              <a:spLocks noChangeArrowheads="1"/>
            </p:cNvSpPr>
            <p:nvPr/>
          </p:nvSpPr>
          <p:spPr bwMode="auto">
            <a:xfrm>
              <a:off x="1867" y="2752"/>
              <a:ext cx="165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Ревда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00" name="Oval 132"/>
            <p:cNvSpPr>
              <a:spLocks noChangeArrowheads="1"/>
            </p:cNvSpPr>
            <p:nvPr/>
          </p:nvSpPr>
          <p:spPr bwMode="gray">
            <a:xfrm>
              <a:off x="2198" y="3095"/>
              <a:ext cx="58" cy="58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01" name="Rectangle 133"/>
            <p:cNvSpPr>
              <a:spLocks noChangeArrowheads="1"/>
            </p:cNvSpPr>
            <p:nvPr/>
          </p:nvSpPr>
          <p:spPr bwMode="auto">
            <a:xfrm>
              <a:off x="2268" y="3088"/>
              <a:ext cx="329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Новосбирск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02" name="Oval 134"/>
            <p:cNvSpPr>
              <a:spLocks noChangeArrowheads="1"/>
            </p:cNvSpPr>
            <p:nvPr/>
          </p:nvSpPr>
          <p:spPr bwMode="gray">
            <a:xfrm>
              <a:off x="359" y="1837"/>
              <a:ext cx="58" cy="58"/>
            </a:xfrm>
            <a:prstGeom prst="ellipse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03" name="Oval 135"/>
            <p:cNvSpPr>
              <a:spLocks noChangeArrowheads="1"/>
            </p:cNvSpPr>
            <p:nvPr/>
          </p:nvSpPr>
          <p:spPr bwMode="gray">
            <a:xfrm>
              <a:off x="593" y="2593"/>
              <a:ext cx="58" cy="58"/>
            </a:xfrm>
            <a:prstGeom prst="ellipse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04" name="Oval 136"/>
            <p:cNvSpPr>
              <a:spLocks noChangeArrowheads="1"/>
            </p:cNvSpPr>
            <p:nvPr/>
          </p:nvSpPr>
          <p:spPr bwMode="gray">
            <a:xfrm>
              <a:off x="2505" y="2305"/>
              <a:ext cx="58" cy="58"/>
            </a:xfrm>
            <a:prstGeom prst="ellipse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05" name="Oval 137"/>
            <p:cNvSpPr>
              <a:spLocks noChangeArrowheads="1"/>
            </p:cNvSpPr>
            <p:nvPr/>
          </p:nvSpPr>
          <p:spPr bwMode="gray">
            <a:xfrm>
              <a:off x="391" y="1783"/>
              <a:ext cx="58" cy="58"/>
            </a:xfrm>
            <a:prstGeom prst="ellipse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06" name="Oval 138"/>
            <p:cNvSpPr>
              <a:spLocks noChangeArrowheads="1"/>
            </p:cNvSpPr>
            <p:nvPr/>
          </p:nvSpPr>
          <p:spPr bwMode="gray">
            <a:xfrm>
              <a:off x="935" y="2845"/>
              <a:ext cx="58" cy="58"/>
            </a:xfrm>
            <a:prstGeom prst="ellipse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07" name="Rectangle 139"/>
            <p:cNvSpPr>
              <a:spLocks noChangeArrowheads="1"/>
            </p:cNvSpPr>
            <p:nvPr/>
          </p:nvSpPr>
          <p:spPr bwMode="gray">
            <a:xfrm>
              <a:off x="963" y="1580"/>
              <a:ext cx="48" cy="48"/>
            </a:xfrm>
            <a:prstGeom prst="rect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08" name="Rectangle 140"/>
            <p:cNvSpPr>
              <a:spLocks noChangeArrowheads="1"/>
            </p:cNvSpPr>
            <p:nvPr/>
          </p:nvSpPr>
          <p:spPr bwMode="gray">
            <a:xfrm>
              <a:off x="1655" y="2578"/>
              <a:ext cx="48" cy="48"/>
            </a:xfrm>
            <a:prstGeom prst="rect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09" name="Rectangle 141"/>
            <p:cNvSpPr>
              <a:spLocks noChangeArrowheads="1"/>
            </p:cNvSpPr>
            <p:nvPr/>
          </p:nvSpPr>
          <p:spPr bwMode="gray">
            <a:xfrm>
              <a:off x="1341" y="2704"/>
              <a:ext cx="48" cy="48"/>
            </a:xfrm>
            <a:prstGeom prst="rect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10" name="Rectangle 142"/>
            <p:cNvSpPr>
              <a:spLocks noChangeArrowheads="1"/>
            </p:cNvSpPr>
            <p:nvPr/>
          </p:nvSpPr>
          <p:spPr bwMode="gray">
            <a:xfrm>
              <a:off x="2450" y="2312"/>
              <a:ext cx="48" cy="48"/>
            </a:xfrm>
            <a:prstGeom prst="rect">
              <a:avLst/>
            </a:prstGeom>
            <a:solidFill>
              <a:srgbClr val="53A14B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11" name="Rectangle 143"/>
            <p:cNvSpPr>
              <a:spLocks noChangeArrowheads="1"/>
            </p:cNvSpPr>
            <p:nvPr/>
          </p:nvSpPr>
          <p:spPr bwMode="auto">
            <a:xfrm>
              <a:off x="337" y="1907"/>
              <a:ext cx="194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Калюш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12" name="Rectangle 145"/>
            <p:cNvSpPr>
              <a:spLocks noChangeArrowheads="1"/>
            </p:cNvSpPr>
            <p:nvPr/>
          </p:nvSpPr>
          <p:spPr bwMode="gray">
            <a:xfrm>
              <a:off x="3316" y="988"/>
              <a:ext cx="48" cy="48"/>
            </a:xfrm>
            <a:prstGeom prst="rect">
              <a:avLst/>
            </a:prstGeom>
            <a:solidFill>
              <a:srgbClr val="E60D2E"/>
            </a:solidFill>
            <a:ln w="12700" algn="ctr">
              <a:solidFill>
                <a:srgbClr val="273F44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13" name="Rectangle 146"/>
            <p:cNvSpPr>
              <a:spLocks noChangeArrowheads="1"/>
            </p:cNvSpPr>
            <p:nvPr/>
          </p:nvSpPr>
          <p:spPr bwMode="auto">
            <a:xfrm>
              <a:off x="3371" y="911"/>
              <a:ext cx="1578" cy="8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b">
              <a:spAutoFit/>
            </a:bodyPr>
            <a:lstStyle/>
            <a:p>
              <a:pPr marL="0" marR="0" lvl="0" indent="0" defTabSz="76200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Установки</a:t>
              </a:r>
              <a:r>
                <a:rPr kumimoji="0" lang="ru-RU" sz="1200" b="0" i="0" u="none" strike="noStrike" kern="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 адсорбции</a:t>
              </a: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  <a:p>
              <a:pPr marL="0" marR="0" lvl="0" indent="0" defTabSz="76200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Воздухоразделительные установки</a:t>
              </a: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  <a:p>
              <a:pPr marL="0" marR="0" lvl="0" indent="0" defTabSz="76200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Установки водорода и синтез-газа</a:t>
              </a: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  <a:p>
              <a:pPr marL="0" marR="0" lvl="0" indent="0" defTabSz="76200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Газоперерабатывающие</a:t>
              </a:r>
              <a:r>
                <a:rPr kumimoji="0" lang="ru-RU" sz="1200" b="0" i="0" u="none" strike="noStrike" kern="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 заводы</a:t>
              </a: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  <a:p>
              <a:pPr marL="0" marR="0" lvl="0" indent="0" defTabSz="76200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Переработка</a:t>
              </a:r>
              <a:r>
                <a:rPr kumimoji="0" lang="ru-RU" sz="1200" b="0" i="0" u="none" strike="noStrike" kern="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 природного газа</a:t>
              </a: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  <a:p>
              <a:pPr marL="0" marR="0" lvl="0" indent="0" defTabSz="76200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Нефтехимические производства</a:t>
              </a: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14" name="Rectangle 147"/>
            <p:cNvSpPr>
              <a:spLocks noChangeArrowheads="1"/>
            </p:cNvSpPr>
            <p:nvPr/>
          </p:nvSpPr>
          <p:spPr bwMode="gray">
            <a:xfrm>
              <a:off x="3316" y="1245"/>
              <a:ext cx="48" cy="48"/>
            </a:xfrm>
            <a:prstGeom prst="rect">
              <a:avLst/>
            </a:prstGeom>
            <a:solidFill>
              <a:srgbClr val="00A6D6"/>
            </a:solidFill>
            <a:ln w="12700" algn="ctr">
              <a:solidFill>
                <a:srgbClr val="273F44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15" name="Oval 148"/>
            <p:cNvSpPr>
              <a:spLocks noChangeArrowheads="1"/>
            </p:cNvSpPr>
            <p:nvPr/>
          </p:nvSpPr>
          <p:spPr bwMode="gray">
            <a:xfrm>
              <a:off x="3316" y="1370"/>
              <a:ext cx="49" cy="49"/>
            </a:xfrm>
            <a:prstGeom prst="ellipse">
              <a:avLst/>
            </a:prstGeom>
            <a:solidFill>
              <a:srgbClr val="53A14B"/>
            </a:solidFill>
            <a:ln w="12700" algn="ctr">
              <a:solidFill>
                <a:srgbClr val="273F4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16" name="Oval 149"/>
            <p:cNvSpPr>
              <a:spLocks noChangeArrowheads="1"/>
            </p:cNvSpPr>
            <p:nvPr/>
          </p:nvSpPr>
          <p:spPr bwMode="gray">
            <a:xfrm>
              <a:off x="3316" y="1116"/>
              <a:ext cx="49" cy="49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273F4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17" name="Oval 150"/>
            <p:cNvSpPr>
              <a:spLocks noChangeArrowheads="1"/>
            </p:cNvSpPr>
            <p:nvPr/>
          </p:nvSpPr>
          <p:spPr bwMode="gray">
            <a:xfrm>
              <a:off x="3316" y="1625"/>
              <a:ext cx="49" cy="49"/>
            </a:xfrm>
            <a:prstGeom prst="ellipse">
              <a:avLst/>
            </a:prstGeom>
            <a:solidFill>
              <a:srgbClr val="E60D2E"/>
            </a:solidFill>
            <a:ln w="12700" algn="ctr">
              <a:solidFill>
                <a:srgbClr val="273F4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18" name="Rectangle 151"/>
            <p:cNvSpPr>
              <a:spLocks noChangeArrowheads="1"/>
            </p:cNvSpPr>
            <p:nvPr/>
          </p:nvSpPr>
          <p:spPr bwMode="gray">
            <a:xfrm>
              <a:off x="3316" y="1487"/>
              <a:ext cx="48" cy="48"/>
            </a:xfrm>
            <a:prstGeom prst="rect">
              <a:avLst/>
            </a:prstGeom>
            <a:solidFill>
              <a:srgbClr val="53A14B"/>
            </a:solidFill>
            <a:ln w="12700" algn="ctr">
              <a:solidFill>
                <a:srgbClr val="273F44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19" name="Oval 158"/>
            <p:cNvSpPr>
              <a:spLocks noChangeArrowheads="1"/>
            </p:cNvSpPr>
            <p:nvPr/>
          </p:nvSpPr>
          <p:spPr bwMode="gray">
            <a:xfrm>
              <a:off x="1035" y="1824"/>
              <a:ext cx="58" cy="58"/>
            </a:xfrm>
            <a:prstGeom prst="ellipse">
              <a:avLst/>
            </a:prstGeom>
            <a:solidFill>
              <a:srgbClr val="53A14B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20" name="Rectangle 159"/>
            <p:cNvSpPr>
              <a:spLocks noChangeArrowheads="1"/>
            </p:cNvSpPr>
            <p:nvPr/>
          </p:nvSpPr>
          <p:spPr bwMode="auto">
            <a:xfrm>
              <a:off x="595" y="2278"/>
              <a:ext cx="402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Северодонецк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21" name="Rectangle 160"/>
            <p:cNvSpPr>
              <a:spLocks noChangeArrowheads="1"/>
            </p:cNvSpPr>
            <p:nvPr/>
          </p:nvSpPr>
          <p:spPr bwMode="auto">
            <a:xfrm>
              <a:off x="991" y="1885"/>
              <a:ext cx="518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Великий Новгород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22" name="Oval 161"/>
            <p:cNvSpPr>
              <a:spLocks noChangeArrowheads="1"/>
            </p:cNvSpPr>
            <p:nvPr/>
          </p:nvSpPr>
          <p:spPr bwMode="gray">
            <a:xfrm>
              <a:off x="978" y="1827"/>
              <a:ext cx="55" cy="54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23" name="Rectangle 162"/>
            <p:cNvSpPr>
              <a:spLocks noChangeArrowheads="1"/>
            </p:cNvSpPr>
            <p:nvPr/>
          </p:nvSpPr>
          <p:spPr bwMode="auto">
            <a:xfrm>
              <a:off x="226" y="2382"/>
              <a:ext cx="317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Мариуполь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24" name="Oval 163"/>
            <p:cNvSpPr>
              <a:spLocks noChangeArrowheads="1"/>
            </p:cNvSpPr>
            <p:nvPr/>
          </p:nvSpPr>
          <p:spPr bwMode="gray">
            <a:xfrm>
              <a:off x="614" y="2049"/>
              <a:ext cx="54" cy="55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25" name="Rectangle 164"/>
            <p:cNvSpPr>
              <a:spLocks noChangeArrowheads="1"/>
            </p:cNvSpPr>
            <p:nvPr/>
          </p:nvSpPr>
          <p:spPr bwMode="auto">
            <a:xfrm>
              <a:off x="331" y="2041"/>
              <a:ext cx="261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Енакиево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26" name="Oval 165"/>
            <p:cNvSpPr>
              <a:spLocks noChangeArrowheads="1"/>
            </p:cNvSpPr>
            <p:nvPr/>
          </p:nvSpPr>
          <p:spPr bwMode="gray">
            <a:xfrm>
              <a:off x="1009" y="2337"/>
              <a:ext cx="55" cy="54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27" name="Rectangle 166"/>
            <p:cNvSpPr>
              <a:spLocks noChangeArrowheads="1"/>
            </p:cNvSpPr>
            <p:nvPr/>
          </p:nvSpPr>
          <p:spPr bwMode="auto">
            <a:xfrm>
              <a:off x="1067" y="2328"/>
              <a:ext cx="206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Липецк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28" name="Oval 167"/>
            <p:cNvSpPr>
              <a:spLocks noChangeArrowheads="1"/>
            </p:cNvSpPr>
            <p:nvPr/>
          </p:nvSpPr>
          <p:spPr bwMode="gray">
            <a:xfrm>
              <a:off x="1786" y="2836"/>
              <a:ext cx="55" cy="55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29" name="Rectangle 168"/>
            <p:cNvSpPr>
              <a:spLocks noChangeArrowheads="1"/>
            </p:cNvSpPr>
            <p:nvPr/>
          </p:nvSpPr>
          <p:spPr bwMode="auto">
            <a:xfrm>
              <a:off x="1808" y="2895"/>
              <a:ext cx="245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Карабаш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30" name="Oval 169"/>
            <p:cNvSpPr>
              <a:spLocks noChangeArrowheads="1"/>
            </p:cNvSpPr>
            <p:nvPr/>
          </p:nvSpPr>
          <p:spPr bwMode="gray">
            <a:xfrm>
              <a:off x="1849" y="2673"/>
              <a:ext cx="54" cy="55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31" name="Rectangle 170"/>
            <p:cNvSpPr>
              <a:spLocks noChangeArrowheads="1"/>
            </p:cNvSpPr>
            <p:nvPr/>
          </p:nvSpPr>
          <p:spPr bwMode="auto">
            <a:xfrm>
              <a:off x="1898" y="2664"/>
              <a:ext cx="354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Березовский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32" name="Oval 171"/>
            <p:cNvSpPr>
              <a:spLocks noChangeArrowheads="1"/>
            </p:cNvSpPr>
            <p:nvPr/>
          </p:nvSpPr>
          <p:spPr bwMode="gray">
            <a:xfrm>
              <a:off x="1398" y="2558"/>
              <a:ext cx="54" cy="54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33" name="Rectangle 172"/>
            <p:cNvSpPr>
              <a:spLocks noChangeArrowheads="1"/>
            </p:cNvSpPr>
            <p:nvPr/>
          </p:nvSpPr>
          <p:spPr bwMode="auto">
            <a:xfrm>
              <a:off x="1400" y="2481"/>
              <a:ext cx="190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Казань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34" name="Oval 173"/>
            <p:cNvSpPr>
              <a:spLocks noChangeArrowheads="1"/>
            </p:cNvSpPr>
            <p:nvPr/>
          </p:nvSpPr>
          <p:spPr bwMode="gray">
            <a:xfrm>
              <a:off x="2058" y="2810"/>
              <a:ext cx="55" cy="55"/>
            </a:xfrm>
            <a:prstGeom prst="ellipse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35" name="Rectangle 174"/>
            <p:cNvSpPr>
              <a:spLocks noChangeArrowheads="1"/>
            </p:cNvSpPr>
            <p:nvPr/>
          </p:nvSpPr>
          <p:spPr bwMode="auto">
            <a:xfrm>
              <a:off x="2112" y="2804"/>
              <a:ext cx="255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Тобольск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36" name="Rectangle 175"/>
            <p:cNvSpPr>
              <a:spLocks noChangeArrowheads="1"/>
            </p:cNvSpPr>
            <p:nvPr/>
          </p:nvSpPr>
          <p:spPr bwMode="gray">
            <a:xfrm>
              <a:off x="1476" y="2704"/>
              <a:ext cx="48" cy="48"/>
            </a:xfrm>
            <a:prstGeom prst="rect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37" name="Oval 176"/>
            <p:cNvSpPr>
              <a:spLocks noChangeArrowheads="1"/>
            </p:cNvSpPr>
            <p:nvPr/>
          </p:nvSpPr>
          <p:spPr bwMode="gray">
            <a:xfrm>
              <a:off x="2739" y="2238"/>
              <a:ext cx="54" cy="54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38" name="Rectangle 177"/>
            <p:cNvSpPr>
              <a:spLocks noChangeArrowheads="1"/>
            </p:cNvSpPr>
            <p:nvPr/>
          </p:nvSpPr>
          <p:spPr bwMode="auto">
            <a:xfrm>
              <a:off x="2772" y="2231"/>
              <a:ext cx="266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Норильск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39" name="Oval 178"/>
            <p:cNvSpPr>
              <a:spLocks noChangeArrowheads="1"/>
            </p:cNvSpPr>
            <p:nvPr/>
          </p:nvSpPr>
          <p:spPr bwMode="gray">
            <a:xfrm>
              <a:off x="994" y="1998"/>
              <a:ext cx="54" cy="55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40" name="Rectangle 179"/>
            <p:cNvSpPr>
              <a:spLocks noChangeArrowheads="1"/>
            </p:cNvSpPr>
            <p:nvPr/>
          </p:nvSpPr>
          <p:spPr bwMode="auto">
            <a:xfrm>
              <a:off x="1045" y="1967"/>
              <a:ext cx="138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Клин</a:t>
              </a: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</p:grpSp>
      <p:sp>
        <p:nvSpPr>
          <p:cNvPr id="167" name="Slide Number Placeholder 4"/>
          <p:cNvSpPr txBox="1">
            <a:spLocks noGrp="1"/>
          </p:cNvSpPr>
          <p:nvPr/>
        </p:nvSpPr>
        <p:spPr bwMode="gray">
          <a:xfrm>
            <a:off x="6959600" y="6453188"/>
            <a:ext cx="186055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>
            <a:defPPr>
              <a:defRPr lang="en-US"/>
            </a:defPPr>
            <a:lvl1pPr algn="r">
              <a:lnSpc>
                <a:spcPct val="100000"/>
              </a:lnSpc>
              <a:defRPr sz="1400"/>
            </a:lvl1pPr>
          </a:lstStyle>
          <a:p>
            <a:fld id="{EAE39CC8-55C0-4E61-B62C-527734F31101}" type="slidenum">
              <a:rPr lang="en-GB"/>
              <a:pPr/>
              <a:t>6</a:t>
            </a:fld>
            <a:endParaRPr lang="en-GB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8" name="Title 1"/>
          <p:cNvSpPr>
            <a:spLocks noGrp="1"/>
          </p:cNvSpPr>
          <p:nvPr>
            <p:ph type="title" idx="4294967295"/>
          </p:nvPr>
        </p:nvSpPr>
        <p:spPr>
          <a:xfrm>
            <a:off x="154141" y="147787"/>
            <a:ext cx="6697030" cy="1020762"/>
          </a:xfrm>
        </p:spPr>
        <p:txBody>
          <a:bodyPr/>
          <a:lstStyle/>
          <a:p>
            <a:r>
              <a:rPr lang="en-GB" dirty="0"/>
              <a:t>Linde Engineering</a:t>
            </a:r>
            <a:br>
              <a:rPr lang="en-GB" dirty="0"/>
            </a:br>
            <a:r>
              <a:rPr lang="ru-RU" b="0" dirty="0"/>
              <a:t>Крупнейшие проекты в России </a:t>
            </a:r>
            <a:r>
              <a:rPr lang="en-GB" b="0" dirty="0"/>
              <a:t>(</a:t>
            </a:r>
            <a:r>
              <a:rPr lang="ru-RU" b="0" dirty="0"/>
              <a:t>Реализуются</a:t>
            </a:r>
            <a:r>
              <a:rPr lang="en-GB" b="0" dirty="0"/>
              <a:t>) </a:t>
            </a:r>
            <a:endParaRPr lang="en-GB" dirty="0"/>
          </a:p>
        </p:txBody>
      </p:sp>
      <p:sp>
        <p:nvSpPr>
          <p:cNvPr id="6150" name="Slide Number Placeholder 4"/>
          <p:cNvSpPr txBox="1">
            <a:spLocks noGrp="1"/>
          </p:cNvSpPr>
          <p:nvPr/>
        </p:nvSpPr>
        <p:spPr bwMode="gray">
          <a:xfrm>
            <a:off x="6959600" y="6453188"/>
            <a:ext cx="186055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>
            <a:defPPr>
              <a:defRPr lang="en-US"/>
            </a:defPPr>
            <a:lvl1pPr algn="r">
              <a:lnSpc>
                <a:spcPct val="100000"/>
              </a:lnSpc>
              <a:defRPr sz="1400"/>
            </a:lvl1pPr>
          </a:lstStyle>
          <a:p>
            <a:fld id="{EAE39CC8-55C0-4E61-B62C-527734F31101}" type="slidenum">
              <a:rPr lang="en-GB"/>
              <a:pPr/>
              <a:t>7</a:t>
            </a:fld>
            <a:endParaRPr lang="en-GB"/>
          </a:p>
        </p:txBody>
      </p:sp>
      <p:sp>
        <p:nvSpPr>
          <p:cNvPr id="6" name="Freeform 255"/>
          <p:cNvSpPr>
            <a:spLocks/>
          </p:cNvSpPr>
          <p:nvPr/>
        </p:nvSpPr>
        <p:spPr bwMode="gray">
          <a:xfrm>
            <a:off x="287524" y="2204864"/>
            <a:ext cx="8518291" cy="4176464"/>
          </a:xfrm>
          <a:custGeom>
            <a:avLst/>
            <a:gdLst>
              <a:gd name="T0" fmla="*/ 3895 w 4233"/>
              <a:gd name="T1" fmla="*/ 426 h 1554"/>
              <a:gd name="T2" fmla="*/ 3682 w 4233"/>
              <a:gd name="T3" fmla="*/ 440 h 1554"/>
              <a:gd name="T4" fmla="*/ 3389 w 4233"/>
              <a:gd name="T5" fmla="*/ 302 h 1554"/>
              <a:gd name="T6" fmla="*/ 3296 w 4233"/>
              <a:gd name="T7" fmla="*/ 296 h 1554"/>
              <a:gd name="T8" fmla="*/ 3130 w 4233"/>
              <a:gd name="T9" fmla="*/ 340 h 1554"/>
              <a:gd name="T10" fmla="*/ 2904 w 4233"/>
              <a:gd name="T11" fmla="*/ 348 h 1554"/>
              <a:gd name="T12" fmla="*/ 2829 w 4233"/>
              <a:gd name="T13" fmla="*/ 288 h 1554"/>
              <a:gd name="T14" fmla="*/ 2679 w 4233"/>
              <a:gd name="T15" fmla="*/ 214 h 1554"/>
              <a:gd name="T16" fmla="*/ 2528 w 4233"/>
              <a:gd name="T17" fmla="*/ 250 h 1554"/>
              <a:gd name="T18" fmla="*/ 2186 w 4233"/>
              <a:gd name="T19" fmla="*/ 245 h 1554"/>
              <a:gd name="T20" fmla="*/ 2280 w 4233"/>
              <a:gd name="T21" fmla="*/ 185 h 1554"/>
              <a:gd name="T22" fmla="*/ 2387 w 4233"/>
              <a:gd name="T23" fmla="*/ 87 h 1554"/>
              <a:gd name="T24" fmla="*/ 2159 w 4233"/>
              <a:gd name="T25" fmla="*/ 3 h 1554"/>
              <a:gd name="T26" fmla="*/ 1995 w 4233"/>
              <a:gd name="T27" fmla="*/ 73 h 1554"/>
              <a:gd name="T28" fmla="*/ 1817 w 4233"/>
              <a:gd name="T29" fmla="*/ 112 h 1554"/>
              <a:gd name="T30" fmla="*/ 1666 w 4233"/>
              <a:gd name="T31" fmla="*/ 182 h 1554"/>
              <a:gd name="T32" fmla="*/ 1359 w 4233"/>
              <a:gd name="T33" fmla="*/ 326 h 1554"/>
              <a:gd name="T34" fmla="*/ 1293 w 4233"/>
              <a:gd name="T35" fmla="*/ 405 h 1554"/>
              <a:gd name="T36" fmla="*/ 1312 w 4233"/>
              <a:gd name="T37" fmla="*/ 475 h 1554"/>
              <a:gd name="T38" fmla="*/ 1266 w 4233"/>
              <a:gd name="T39" fmla="*/ 365 h 1554"/>
              <a:gd name="T40" fmla="*/ 1103 w 4233"/>
              <a:gd name="T41" fmla="*/ 422 h 1554"/>
              <a:gd name="T42" fmla="*/ 1129 w 4233"/>
              <a:gd name="T43" fmla="*/ 483 h 1554"/>
              <a:gd name="T44" fmla="*/ 826 w 4233"/>
              <a:gd name="T45" fmla="*/ 489 h 1554"/>
              <a:gd name="T46" fmla="*/ 491 w 4233"/>
              <a:gd name="T47" fmla="*/ 535 h 1554"/>
              <a:gd name="T48" fmla="*/ 462 w 4233"/>
              <a:gd name="T49" fmla="*/ 535 h 1554"/>
              <a:gd name="T50" fmla="*/ 378 w 4233"/>
              <a:gd name="T51" fmla="*/ 676 h 1554"/>
              <a:gd name="T52" fmla="*/ 253 w 4233"/>
              <a:gd name="T53" fmla="*/ 698 h 1554"/>
              <a:gd name="T54" fmla="*/ 339 w 4233"/>
              <a:gd name="T55" fmla="*/ 603 h 1554"/>
              <a:gd name="T56" fmla="*/ 215 w 4233"/>
              <a:gd name="T57" fmla="*/ 457 h 1554"/>
              <a:gd name="T58" fmla="*/ 20 w 4233"/>
              <a:gd name="T59" fmla="*/ 491 h 1554"/>
              <a:gd name="T60" fmla="*/ 74 w 4233"/>
              <a:gd name="T61" fmla="*/ 870 h 1554"/>
              <a:gd name="T62" fmla="*/ 75 w 4233"/>
              <a:gd name="T63" fmla="*/ 1041 h 1554"/>
              <a:gd name="T64" fmla="*/ 131 w 4233"/>
              <a:gd name="T65" fmla="*/ 1169 h 1554"/>
              <a:gd name="T66" fmla="*/ 332 w 4233"/>
              <a:gd name="T67" fmla="*/ 1264 h 1554"/>
              <a:gd name="T68" fmla="*/ 296 w 4233"/>
              <a:gd name="T69" fmla="*/ 1373 h 1554"/>
              <a:gd name="T70" fmla="*/ 285 w 4233"/>
              <a:gd name="T71" fmla="*/ 1447 h 1554"/>
              <a:gd name="T72" fmla="*/ 546 w 4233"/>
              <a:gd name="T73" fmla="*/ 1540 h 1554"/>
              <a:gd name="T74" fmla="*/ 603 w 4233"/>
              <a:gd name="T75" fmla="*/ 1370 h 1554"/>
              <a:gd name="T76" fmla="*/ 649 w 4233"/>
              <a:gd name="T77" fmla="*/ 1203 h 1554"/>
              <a:gd name="T78" fmla="*/ 812 w 4233"/>
              <a:gd name="T79" fmla="*/ 1218 h 1554"/>
              <a:gd name="T80" fmla="*/ 976 w 4233"/>
              <a:gd name="T81" fmla="*/ 1101 h 1554"/>
              <a:gd name="T82" fmla="*/ 1330 w 4233"/>
              <a:gd name="T83" fmla="*/ 1106 h 1554"/>
              <a:gd name="T84" fmla="*/ 1494 w 4233"/>
              <a:gd name="T85" fmla="*/ 1209 h 1554"/>
              <a:gd name="T86" fmla="*/ 1827 w 4233"/>
              <a:gd name="T87" fmla="*/ 1226 h 1554"/>
              <a:gd name="T88" fmla="*/ 2077 w 4233"/>
              <a:gd name="T89" fmla="*/ 1190 h 1554"/>
              <a:gd name="T90" fmla="*/ 2522 w 4233"/>
              <a:gd name="T91" fmla="*/ 1255 h 1554"/>
              <a:gd name="T92" fmla="*/ 2742 w 4233"/>
              <a:gd name="T93" fmla="*/ 1140 h 1554"/>
              <a:gd name="T94" fmla="*/ 2898 w 4233"/>
              <a:gd name="T95" fmla="*/ 1411 h 1554"/>
              <a:gd name="T96" fmla="*/ 2932 w 4233"/>
              <a:gd name="T97" fmla="*/ 1502 h 1554"/>
              <a:gd name="T98" fmla="*/ 3159 w 4233"/>
              <a:gd name="T99" fmla="*/ 1190 h 1554"/>
              <a:gd name="T100" fmla="*/ 3030 w 4233"/>
              <a:gd name="T101" fmla="*/ 1104 h 1554"/>
              <a:gd name="T102" fmla="*/ 3291 w 4233"/>
              <a:gd name="T103" fmla="*/ 888 h 1554"/>
              <a:gd name="T104" fmla="*/ 3463 w 4233"/>
              <a:gd name="T105" fmla="*/ 910 h 1554"/>
              <a:gd name="T106" fmla="*/ 3662 w 4233"/>
              <a:gd name="T107" fmla="*/ 798 h 1554"/>
              <a:gd name="T108" fmla="*/ 3753 w 4233"/>
              <a:gd name="T109" fmla="*/ 799 h 1554"/>
              <a:gd name="T110" fmla="*/ 3733 w 4233"/>
              <a:gd name="T111" fmla="*/ 851 h 1554"/>
              <a:gd name="T112" fmla="*/ 3573 w 4233"/>
              <a:gd name="T113" fmla="*/ 1134 h 1554"/>
              <a:gd name="T114" fmla="*/ 3736 w 4233"/>
              <a:gd name="T115" fmla="*/ 1022 h 1554"/>
              <a:gd name="T116" fmla="*/ 3767 w 4233"/>
              <a:gd name="T117" fmla="*/ 893 h 1554"/>
              <a:gd name="T118" fmla="*/ 4063 w 4233"/>
              <a:gd name="T119" fmla="*/ 796 h 1554"/>
              <a:gd name="T120" fmla="*/ 4161 w 4233"/>
              <a:gd name="T121" fmla="*/ 676 h 1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233" h="1554">
                <a:moveTo>
                  <a:pt x="4233" y="465"/>
                </a:moveTo>
                <a:lnTo>
                  <a:pt x="4204" y="449"/>
                </a:lnTo>
                <a:lnTo>
                  <a:pt x="4210" y="448"/>
                </a:lnTo>
                <a:lnTo>
                  <a:pt x="4210" y="448"/>
                </a:lnTo>
                <a:lnTo>
                  <a:pt x="4182" y="438"/>
                </a:lnTo>
                <a:lnTo>
                  <a:pt x="4153" y="431"/>
                </a:lnTo>
                <a:lnTo>
                  <a:pt x="4123" y="426"/>
                </a:lnTo>
                <a:lnTo>
                  <a:pt x="4092" y="422"/>
                </a:lnTo>
                <a:lnTo>
                  <a:pt x="4032" y="417"/>
                </a:lnTo>
                <a:lnTo>
                  <a:pt x="3972" y="411"/>
                </a:lnTo>
                <a:lnTo>
                  <a:pt x="3974" y="469"/>
                </a:lnTo>
                <a:lnTo>
                  <a:pt x="3994" y="481"/>
                </a:lnTo>
                <a:lnTo>
                  <a:pt x="3994" y="481"/>
                </a:lnTo>
                <a:lnTo>
                  <a:pt x="3981" y="481"/>
                </a:lnTo>
                <a:lnTo>
                  <a:pt x="3971" y="478"/>
                </a:lnTo>
                <a:lnTo>
                  <a:pt x="3961" y="475"/>
                </a:lnTo>
                <a:lnTo>
                  <a:pt x="3951" y="471"/>
                </a:lnTo>
                <a:lnTo>
                  <a:pt x="3931" y="462"/>
                </a:lnTo>
                <a:lnTo>
                  <a:pt x="3920" y="458"/>
                </a:lnTo>
                <a:lnTo>
                  <a:pt x="3911" y="455"/>
                </a:lnTo>
                <a:lnTo>
                  <a:pt x="3895" y="426"/>
                </a:lnTo>
                <a:lnTo>
                  <a:pt x="3874" y="440"/>
                </a:lnTo>
                <a:lnTo>
                  <a:pt x="3874" y="440"/>
                </a:lnTo>
                <a:lnTo>
                  <a:pt x="3856" y="435"/>
                </a:lnTo>
                <a:lnTo>
                  <a:pt x="3837" y="432"/>
                </a:lnTo>
                <a:lnTo>
                  <a:pt x="3816" y="431"/>
                </a:lnTo>
                <a:lnTo>
                  <a:pt x="3794" y="431"/>
                </a:lnTo>
                <a:lnTo>
                  <a:pt x="3773" y="432"/>
                </a:lnTo>
                <a:lnTo>
                  <a:pt x="3753" y="437"/>
                </a:lnTo>
                <a:lnTo>
                  <a:pt x="3733" y="442"/>
                </a:lnTo>
                <a:lnTo>
                  <a:pt x="3718" y="448"/>
                </a:lnTo>
                <a:lnTo>
                  <a:pt x="3718" y="448"/>
                </a:lnTo>
                <a:lnTo>
                  <a:pt x="3718" y="460"/>
                </a:lnTo>
                <a:lnTo>
                  <a:pt x="3716" y="472"/>
                </a:lnTo>
                <a:lnTo>
                  <a:pt x="3713" y="478"/>
                </a:lnTo>
                <a:lnTo>
                  <a:pt x="3710" y="483"/>
                </a:lnTo>
                <a:lnTo>
                  <a:pt x="3705" y="486"/>
                </a:lnTo>
                <a:lnTo>
                  <a:pt x="3701" y="489"/>
                </a:lnTo>
                <a:lnTo>
                  <a:pt x="3698" y="483"/>
                </a:lnTo>
                <a:lnTo>
                  <a:pt x="3708" y="462"/>
                </a:lnTo>
                <a:lnTo>
                  <a:pt x="3682" y="440"/>
                </a:lnTo>
                <a:lnTo>
                  <a:pt x="3682" y="440"/>
                </a:lnTo>
                <a:lnTo>
                  <a:pt x="3679" y="411"/>
                </a:lnTo>
                <a:lnTo>
                  <a:pt x="3678" y="403"/>
                </a:lnTo>
                <a:lnTo>
                  <a:pt x="3675" y="396"/>
                </a:lnTo>
                <a:lnTo>
                  <a:pt x="3671" y="389"/>
                </a:lnTo>
                <a:lnTo>
                  <a:pt x="3665" y="383"/>
                </a:lnTo>
                <a:lnTo>
                  <a:pt x="3642" y="365"/>
                </a:lnTo>
                <a:lnTo>
                  <a:pt x="3642" y="365"/>
                </a:lnTo>
                <a:lnTo>
                  <a:pt x="3550" y="366"/>
                </a:lnTo>
                <a:lnTo>
                  <a:pt x="3506" y="366"/>
                </a:lnTo>
                <a:lnTo>
                  <a:pt x="3460" y="366"/>
                </a:lnTo>
                <a:lnTo>
                  <a:pt x="3424" y="343"/>
                </a:lnTo>
                <a:lnTo>
                  <a:pt x="3395" y="351"/>
                </a:lnTo>
                <a:lnTo>
                  <a:pt x="3395" y="351"/>
                </a:lnTo>
                <a:lnTo>
                  <a:pt x="3401" y="340"/>
                </a:lnTo>
                <a:lnTo>
                  <a:pt x="3403" y="333"/>
                </a:lnTo>
                <a:lnTo>
                  <a:pt x="3405" y="326"/>
                </a:lnTo>
                <a:lnTo>
                  <a:pt x="3374" y="328"/>
                </a:lnTo>
                <a:lnTo>
                  <a:pt x="3403" y="320"/>
                </a:lnTo>
                <a:lnTo>
                  <a:pt x="3408" y="316"/>
                </a:lnTo>
                <a:lnTo>
                  <a:pt x="3375" y="310"/>
                </a:lnTo>
                <a:lnTo>
                  <a:pt x="3389" y="302"/>
                </a:lnTo>
                <a:lnTo>
                  <a:pt x="3326" y="296"/>
                </a:lnTo>
                <a:lnTo>
                  <a:pt x="3326" y="296"/>
                </a:lnTo>
                <a:lnTo>
                  <a:pt x="3322" y="302"/>
                </a:lnTo>
                <a:lnTo>
                  <a:pt x="3316" y="308"/>
                </a:lnTo>
                <a:lnTo>
                  <a:pt x="3303" y="317"/>
                </a:lnTo>
                <a:lnTo>
                  <a:pt x="3289" y="326"/>
                </a:lnTo>
                <a:lnTo>
                  <a:pt x="3276" y="334"/>
                </a:lnTo>
                <a:lnTo>
                  <a:pt x="3260" y="326"/>
                </a:lnTo>
                <a:lnTo>
                  <a:pt x="3279" y="319"/>
                </a:lnTo>
                <a:lnTo>
                  <a:pt x="3265" y="317"/>
                </a:lnTo>
                <a:lnTo>
                  <a:pt x="3265" y="317"/>
                </a:lnTo>
                <a:lnTo>
                  <a:pt x="3282" y="314"/>
                </a:lnTo>
                <a:lnTo>
                  <a:pt x="3289" y="314"/>
                </a:lnTo>
                <a:lnTo>
                  <a:pt x="3289" y="316"/>
                </a:lnTo>
                <a:lnTo>
                  <a:pt x="3289" y="317"/>
                </a:lnTo>
                <a:lnTo>
                  <a:pt x="3316" y="297"/>
                </a:lnTo>
                <a:lnTo>
                  <a:pt x="3316" y="297"/>
                </a:lnTo>
                <a:lnTo>
                  <a:pt x="3306" y="299"/>
                </a:lnTo>
                <a:lnTo>
                  <a:pt x="3300" y="299"/>
                </a:lnTo>
                <a:lnTo>
                  <a:pt x="3297" y="297"/>
                </a:lnTo>
                <a:lnTo>
                  <a:pt x="3296" y="296"/>
                </a:lnTo>
                <a:lnTo>
                  <a:pt x="3296" y="294"/>
                </a:lnTo>
                <a:lnTo>
                  <a:pt x="3300" y="293"/>
                </a:lnTo>
                <a:lnTo>
                  <a:pt x="3305" y="293"/>
                </a:lnTo>
                <a:lnTo>
                  <a:pt x="3312" y="293"/>
                </a:lnTo>
                <a:lnTo>
                  <a:pt x="3312" y="293"/>
                </a:lnTo>
                <a:lnTo>
                  <a:pt x="3293" y="287"/>
                </a:lnTo>
                <a:lnTo>
                  <a:pt x="3266" y="280"/>
                </a:lnTo>
                <a:lnTo>
                  <a:pt x="3237" y="274"/>
                </a:lnTo>
                <a:lnTo>
                  <a:pt x="3207" y="271"/>
                </a:lnTo>
                <a:lnTo>
                  <a:pt x="3193" y="270"/>
                </a:lnTo>
                <a:lnTo>
                  <a:pt x="3177" y="271"/>
                </a:lnTo>
                <a:lnTo>
                  <a:pt x="3164" y="273"/>
                </a:lnTo>
                <a:lnTo>
                  <a:pt x="3151" y="276"/>
                </a:lnTo>
                <a:lnTo>
                  <a:pt x="3141" y="282"/>
                </a:lnTo>
                <a:lnTo>
                  <a:pt x="3131" y="288"/>
                </a:lnTo>
                <a:lnTo>
                  <a:pt x="3124" y="297"/>
                </a:lnTo>
                <a:lnTo>
                  <a:pt x="3119" y="308"/>
                </a:lnTo>
                <a:lnTo>
                  <a:pt x="3124" y="319"/>
                </a:lnTo>
                <a:lnTo>
                  <a:pt x="3121" y="319"/>
                </a:lnTo>
                <a:lnTo>
                  <a:pt x="3130" y="340"/>
                </a:lnTo>
                <a:lnTo>
                  <a:pt x="3130" y="340"/>
                </a:lnTo>
                <a:lnTo>
                  <a:pt x="3111" y="342"/>
                </a:lnTo>
                <a:lnTo>
                  <a:pt x="3099" y="343"/>
                </a:lnTo>
                <a:lnTo>
                  <a:pt x="3084" y="349"/>
                </a:lnTo>
                <a:lnTo>
                  <a:pt x="3076" y="349"/>
                </a:lnTo>
                <a:lnTo>
                  <a:pt x="3067" y="349"/>
                </a:lnTo>
                <a:lnTo>
                  <a:pt x="3052" y="345"/>
                </a:lnTo>
                <a:lnTo>
                  <a:pt x="3032" y="336"/>
                </a:lnTo>
                <a:lnTo>
                  <a:pt x="3026" y="345"/>
                </a:lnTo>
                <a:lnTo>
                  <a:pt x="3013" y="331"/>
                </a:lnTo>
                <a:lnTo>
                  <a:pt x="2989" y="333"/>
                </a:lnTo>
                <a:lnTo>
                  <a:pt x="2983" y="340"/>
                </a:lnTo>
                <a:lnTo>
                  <a:pt x="3001" y="354"/>
                </a:lnTo>
                <a:lnTo>
                  <a:pt x="3001" y="354"/>
                </a:lnTo>
                <a:lnTo>
                  <a:pt x="2978" y="348"/>
                </a:lnTo>
                <a:lnTo>
                  <a:pt x="2958" y="342"/>
                </a:lnTo>
                <a:lnTo>
                  <a:pt x="2949" y="337"/>
                </a:lnTo>
                <a:lnTo>
                  <a:pt x="2940" y="331"/>
                </a:lnTo>
                <a:lnTo>
                  <a:pt x="2932" y="323"/>
                </a:lnTo>
                <a:lnTo>
                  <a:pt x="2924" y="314"/>
                </a:lnTo>
                <a:lnTo>
                  <a:pt x="2918" y="316"/>
                </a:lnTo>
                <a:lnTo>
                  <a:pt x="2904" y="348"/>
                </a:lnTo>
                <a:lnTo>
                  <a:pt x="2904" y="348"/>
                </a:lnTo>
                <a:lnTo>
                  <a:pt x="2917" y="349"/>
                </a:lnTo>
                <a:lnTo>
                  <a:pt x="2924" y="351"/>
                </a:lnTo>
                <a:lnTo>
                  <a:pt x="2927" y="353"/>
                </a:lnTo>
                <a:lnTo>
                  <a:pt x="2924" y="356"/>
                </a:lnTo>
                <a:lnTo>
                  <a:pt x="2920" y="357"/>
                </a:lnTo>
                <a:lnTo>
                  <a:pt x="2911" y="359"/>
                </a:lnTo>
                <a:lnTo>
                  <a:pt x="2889" y="362"/>
                </a:lnTo>
                <a:lnTo>
                  <a:pt x="2875" y="362"/>
                </a:lnTo>
                <a:lnTo>
                  <a:pt x="2861" y="360"/>
                </a:lnTo>
                <a:lnTo>
                  <a:pt x="2849" y="357"/>
                </a:lnTo>
                <a:lnTo>
                  <a:pt x="2837" y="354"/>
                </a:lnTo>
                <a:lnTo>
                  <a:pt x="2828" y="348"/>
                </a:lnTo>
                <a:lnTo>
                  <a:pt x="2820" y="340"/>
                </a:lnTo>
                <a:lnTo>
                  <a:pt x="2817" y="336"/>
                </a:lnTo>
                <a:lnTo>
                  <a:pt x="2815" y="330"/>
                </a:lnTo>
                <a:lnTo>
                  <a:pt x="2814" y="323"/>
                </a:lnTo>
                <a:lnTo>
                  <a:pt x="2814" y="317"/>
                </a:lnTo>
                <a:lnTo>
                  <a:pt x="2776" y="290"/>
                </a:lnTo>
                <a:lnTo>
                  <a:pt x="2780" y="287"/>
                </a:lnTo>
                <a:lnTo>
                  <a:pt x="2829" y="288"/>
                </a:lnTo>
                <a:lnTo>
                  <a:pt x="2814" y="287"/>
                </a:lnTo>
                <a:lnTo>
                  <a:pt x="2832" y="280"/>
                </a:lnTo>
                <a:lnTo>
                  <a:pt x="2817" y="256"/>
                </a:lnTo>
                <a:lnTo>
                  <a:pt x="2777" y="268"/>
                </a:lnTo>
                <a:lnTo>
                  <a:pt x="2791" y="254"/>
                </a:lnTo>
                <a:lnTo>
                  <a:pt x="2791" y="262"/>
                </a:lnTo>
                <a:lnTo>
                  <a:pt x="2818" y="248"/>
                </a:lnTo>
                <a:lnTo>
                  <a:pt x="2794" y="236"/>
                </a:lnTo>
                <a:lnTo>
                  <a:pt x="2799" y="234"/>
                </a:lnTo>
                <a:lnTo>
                  <a:pt x="2779" y="234"/>
                </a:lnTo>
                <a:lnTo>
                  <a:pt x="2769" y="256"/>
                </a:lnTo>
                <a:lnTo>
                  <a:pt x="2746" y="264"/>
                </a:lnTo>
                <a:lnTo>
                  <a:pt x="2748" y="271"/>
                </a:lnTo>
                <a:lnTo>
                  <a:pt x="2733" y="261"/>
                </a:lnTo>
                <a:lnTo>
                  <a:pt x="2749" y="234"/>
                </a:lnTo>
                <a:lnTo>
                  <a:pt x="2749" y="234"/>
                </a:lnTo>
                <a:lnTo>
                  <a:pt x="2733" y="227"/>
                </a:lnTo>
                <a:lnTo>
                  <a:pt x="2716" y="222"/>
                </a:lnTo>
                <a:lnTo>
                  <a:pt x="2697" y="218"/>
                </a:lnTo>
                <a:lnTo>
                  <a:pt x="2679" y="214"/>
                </a:lnTo>
                <a:lnTo>
                  <a:pt x="2679" y="214"/>
                </a:lnTo>
                <a:lnTo>
                  <a:pt x="2677" y="216"/>
                </a:lnTo>
                <a:lnTo>
                  <a:pt x="2677" y="218"/>
                </a:lnTo>
                <a:lnTo>
                  <a:pt x="2680" y="221"/>
                </a:lnTo>
                <a:lnTo>
                  <a:pt x="2682" y="222"/>
                </a:lnTo>
                <a:lnTo>
                  <a:pt x="2673" y="218"/>
                </a:lnTo>
                <a:lnTo>
                  <a:pt x="2677" y="261"/>
                </a:lnTo>
                <a:lnTo>
                  <a:pt x="2717" y="262"/>
                </a:lnTo>
                <a:lnTo>
                  <a:pt x="2713" y="279"/>
                </a:lnTo>
                <a:lnTo>
                  <a:pt x="2746" y="305"/>
                </a:lnTo>
                <a:lnTo>
                  <a:pt x="2725" y="296"/>
                </a:lnTo>
                <a:lnTo>
                  <a:pt x="2722" y="290"/>
                </a:lnTo>
                <a:lnTo>
                  <a:pt x="2659" y="273"/>
                </a:lnTo>
                <a:lnTo>
                  <a:pt x="2664" y="268"/>
                </a:lnTo>
                <a:lnTo>
                  <a:pt x="2664" y="268"/>
                </a:lnTo>
                <a:lnTo>
                  <a:pt x="2628" y="262"/>
                </a:lnTo>
                <a:lnTo>
                  <a:pt x="2610" y="261"/>
                </a:lnTo>
                <a:lnTo>
                  <a:pt x="2593" y="261"/>
                </a:lnTo>
                <a:lnTo>
                  <a:pt x="2614" y="270"/>
                </a:lnTo>
                <a:lnTo>
                  <a:pt x="2616" y="274"/>
                </a:lnTo>
                <a:lnTo>
                  <a:pt x="2528" y="250"/>
                </a:lnTo>
                <a:lnTo>
                  <a:pt x="2528" y="250"/>
                </a:lnTo>
                <a:lnTo>
                  <a:pt x="2528" y="245"/>
                </a:lnTo>
                <a:lnTo>
                  <a:pt x="2527" y="242"/>
                </a:lnTo>
                <a:lnTo>
                  <a:pt x="2524" y="239"/>
                </a:lnTo>
                <a:lnTo>
                  <a:pt x="2519" y="236"/>
                </a:lnTo>
                <a:lnTo>
                  <a:pt x="2507" y="231"/>
                </a:lnTo>
                <a:lnTo>
                  <a:pt x="2493" y="228"/>
                </a:lnTo>
                <a:lnTo>
                  <a:pt x="2463" y="225"/>
                </a:lnTo>
                <a:lnTo>
                  <a:pt x="2443" y="224"/>
                </a:lnTo>
                <a:lnTo>
                  <a:pt x="2440" y="228"/>
                </a:lnTo>
                <a:lnTo>
                  <a:pt x="2395" y="233"/>
                </a:lnTo>
                <a:lnTo>
                  <a:pt x="2378" y="218"/>
                </a:lnTo>
                <a:lnTo>
                  <a:pt x="2281" y="219"/>
                </a:lnTo>
                <a:lnTo>
                  <a:pt x="2303" y="230"/>
                </a:lnTo>
                <a:lnTo>
                  <a:pt x="2291" y="237"/>
                </a:lnTo>
                <a:lnTo>
                  <a:pt x="2271" y="233"/>
                </a:lnTo>
                <a:lnTo>
                  <a:pt x="2275" y="242"/>
                </a:lnTo>
                <a:lnTo>
                  <a:pt x="2275" y="242"/>
                </a:lnTo>
                <a:lnTo>
                  <a:pt x="2229" y="250"/>
                </a:lnTo>
                <a:lnTo>
                  <a:pt x="2206" y="253"/>
                </a:lnTo>
                <a:lnTo>
                  <a:pt x="2183" y="253"/>
                </a:lnTo>
                <a:lnTo>
                  <a:pt x="2186" y="245"/>
                </a:lnTo>
                <a:lnTo>
                  <a:pt x="2206" y="244"/>
                </a:lnTo>
                <a:lnTo>
                  <a:pt x="2206" y="244"/>
                </a:lnTo>
                <a:lnTo>
                  <a:pt x="2209" y="239"/>
                </a:lnTo>
                <a:lnTo>
                  <a:pt x="2214" y="236"/>
                </a:lnTo>
                <a:lnTo>
                  <a:pt x="2217" y="233"/>
                </a:lnTo>
                <a:lnTo>
                  <a:pt x="2219" y="231"/>
                </a:lnTo>
                <a:lnTo>
                  <a:pt x="2220" y="228"/>
                </a:lnTo>
                <a:lnTo>
                  <a:pt x="2203" y="225"/>
                </a:lnTo>
                <a:lnTo>
                  <a:pt x="2203" y="225"/>
                </a:lnTo>
                <a:lnTo>
                  <a:pt x="2203" y="222"/>
                </a:lnTo>
                <a:lnTo>
                  <a:pt x="2203" y="221"/>
                </a:lnTo>
                <a:lnTo>
                  <a:pt x="2206" y="219"/>
                </a:lnTo>
                <a:lnTo>
                  <a:pt x="2209" y="219"/>
                </a:lnTo>
                <a:lnTo>
                  <a:pt x="2211" y="221"/>
                </a:lnTo>
                <a:lnTo>
                  <a:pt x="2212" y="222"/>
                </a:lnTo>
                <a:lnTo>
                  <a:pt x="2212" y="225"/>
                </a:lnTo>
                <a:lnTo>
                  <a:pt x="2242" y="225"/>
                </a:lnTo>
                <a:lnTo>
                  <a:pt x="2258" y="214"/>
                </a:lnTo>
                <a:lnTo>
                  <a:pt x="2260" y="208"/>
                </a:lnTo>
                <a:lnTo>
                  <a:pt x="2295" y="190"/>
                </a:lnTo>
                <a:lnTo>
                  <a:pt x="2280" y="185"/>
                </a:lnTo>
                <a:lnTo>
                  <a:pt x="2280" y="185"/>
                </a:lnTo>
                <a:lnTo>
                  <a:pt x="2301" y="182"/>
                </a:lnTo>
                <a:lnTo>
                  <a:pt x="2321" y="176"/>
                </a:lnTo>
                <a:lnTo>
                  <a:pt x="2361" y="162"/>
                </a:lnTo>
                <a:lnTo>
                  <a:pt x="2352" y="159"/>
                </a:lnTo>
                <a:lnTo>
                  <a:pt x="2398" y="136"/>
                </a:lnTo>
                <a:lnTo>
                  <a:pt x="2392" y="125"/>
                </a:lnTo>
                <a:lnTo>
                  <a:pt x="2392" y="125"/>
                </a:lnTo>
                <a:lnTo>
                  <a:pt x="2393" y="124"/>
                </a:lnTo>
                <a:lnTo>
                  <a:pt x="2395" y="125"/>
                </a:lnTo>
                <a:lnTo>
                  <a:pt x="2400" y="129"/>
                </a:lnTo>
                <a:lnTo>
                  <a:pt x="2404" y="132"/>
                </a:lnTo>
                <a:lnTo>
                  <a:pt x="2404" y="130"/>
                </a:lnTo>
                <a:lnTo>
                  <a:pt x="2404" y="127"/>
                </a:lnTo>
                <a:lnTo>
                  <a:pt x="2390" y="122"/>
                </a:lnTo>
                <a:lnTo>
                  <a:pt x="2390" y="122"/>
                </a:lnTo>
                <a:lnTo>
                  <a:pt x="2392" y="113"/>
                </a:lnTo>
                <a:lnTo>
                  <a:pt x="2392" y="107"/>
                </a:lnTo>
                <a:lnTo>
                  <a:pt x="2392" y="99"/>
                </a:lnTo>
                <a:lnTo>
                  <a:pt x="2390" y="93"/>
                </a:lnTo>
                <a:lnTo>
                  <a:pt x="2387" y="87"/>
                </a:lnTo>
                <a:lnTo>
                  <a:pt x="2383" y="83"/>
                </a:lnTo>
                <a:lnTo>
                  <a:pt x="2374" y="73"/>
                </a:lnTo>
                <a:lnTo>
                  <a:pt x="2361" y="67"/>
                </a:lnTo>
                <a:lnTo>
                  <a:pt x="2347" y="63"/>
                </a:lnTo>
                <a:lnTo>
                  <a:pt x="2334" y="60"/>
                </a:lnTo>
                <a:lnTo>
                  <a:pt x="2320" y="58"/>
                </a:lnTo>
                <a:lnTo>
                  <a:pt x="2321" y="52"/>
                </a:lnTo>
                <a:lnTo>
                  <a:pt x="2321" y="52"/>
                </a:lnTo>
                <a:lnTo>
                  <a:pt x="2309" y="55"/>
                </a:lnTo>
                <a:lnTo>
                  <a:pt x="2298" y="56"/>
                </a:lnTo>
                <a:lnTo>
                  <a:pt x="2274" y="56"/>
                </a:lnTo>
                <a:lnTo>
                  <a:pt x="2251" y="55"/>
                </a:lnTo>
                <a:lnTo>
                  <a:pt x="2226" y="52"/>
                </a:lnTo>
                <a:lnTo>
                  <a:pt x="2220" y="38"/>
                </a:lnTo>
                <a:lnTo>
                  <a:pt x="2148" y="38"/>
                </a:lnTo>
                <a:lnTo>
                  <a:pt x="2146" y="36"/>
                </a:lnTo>
                <a:lnTo>
                  <a:pt x="2196" y="18"/>
                </a:lnTo>
                <a:lnTo>
                  <a:pt x="2196" y="18"/>
                </a:lnTo>
                <a:lnTo>
                  <a:pt x="2185" y="12"/>
                </a:lnTo>
                <a:lnTo>
                  <a:pt x="2173" y="6"/>
                </a:lnTo>
                <a:lnTo>
                  <a:pt x="2159" y="3"/>
                </a:lnTo>
                <a:lnTo>
                  <a:pt x="2143" y="0"/>
                </a:lnTo>
                <a:lnTo>
                  <a:pt x="2128" y="0"/>
                </a:lnTo>
                <a:lnTo>
                  <a:pt x="2114" y="3"/>
                </a:lnTo>
                <a:lnTo>
                  <a:pt x="2102" y="7"/>
                </a:lnTo>
                <a:lnTo>
                  <a:pt x="2096" y="10"/>
                </a:lnTo>
                <a:lnTo>
                  <a:pt x="2091" y="15"/>
                </a:lnTo>
                <a:lnTo>
                  <a:pt x="2093" y="18"/>
                </a:lnTo>
                <a:lnTo>
                  <a:pt x="2093" y="18"/>
                </a:lnTo>
                <a:lnTo>
                  <a:pt x="2079" y="27"/>
                </a:lnTo>
                <a:lnTo>
                  <a:pt x="2067" y="36"/>
                </a:lnTo>
                <a:lnTo>
                  <a:pt x="2061" y="43"/>
                </a:lnTo>
                <a:lnTo>
                  <a:pt x="2057" y="49"/>
                </a:lnTo>
                <a:lnTo>
                  <a:pt x="2056" y="56"/>
                </a:lnTo>
                <a:lnTo>
                  <a:pt x="2056" y="64"/>
                </a:lnTo>
                <a:lnTo>
                  <a:pt x="2088" y="76"/>
                </a:lnTo>
                <a:lnTo>
                  <a:pt x="2088" y="76"/>
                </a:lnTo>
                <a:lnTo>
                  <a:pt x="2065" y="72"/>
                </a:lnTo>
                <a:lnTo>
                  <a:pt x="2044" y="70"/>
                </a:lnTo>
                <a:lnTo>
                  <a:pt x="2021" y="69"/>
                </a:lnTo>
                <a:lnTo>
                  <a:pt x="1998" y="70"/>
                </a:lnTo>
                <a:lnTo>
                  <a:pt x="1995" y="73"/>
                </a:lnTo>
                <a:lnTo>
                  <a:pt x="2016" y="83"/>
                </a:lnTo>
                <a:lnTo>
                  <a:pt x="2010" y="99"/>
                </a:lnTo>
                <a:lnTo>
                  <a:pt x="2010" y="99"/>
                </a:lnTo>
                <a:lnTo>
                  <a:pt x="2007" y="93"/>
                </a:lnTo>
                <a:lnTo>
                  <a:pt x="2001" y="90"/>
                </a:lnTo>
                <a:lnTo>
                  <a:pt x="1995" y="87"/>
                </a:lnTo>
                <a:lnTo>
                  <a:pt x="1988" y="87"/>
                </a:lnTo>
                <a:lnTo>
                  <a:pt x="1972" y="87"/>
                </a:lnTo>
                <a:lnTo>
                  <a:pt x="1953" y="92"/>
                </a:lnTo>
                <a:lnTo>
                  <a:pt x="1935" y="95"/>
                </a:lnTo>
                <a:lnTo>
                  <a:pt x="1918" y="98"/>
                </a:lnTo>
                <a:lnTo>
                  <a:pt x="1910" y="98"/>
                </a:lnTo>
                <a:lnTo>
                  <a:pt x="1904" y="96"/>
                </a:lnTo>
                <a:lnTo>
                  <a:pt x="1899" y="93"/>
                </a:lnTo>
                <a:lnTo>
                  <a:pt x="1895" y="89"/>
                </a:lnTo>
                <a:lnTo>
                  <a:pt x="1895" y="89"/>
                </a:lnTo>
                <a:lnTo>
                  <a:pt x="1883" y="92"/>
                </a:lnTo>
                <a:lnTo>
                  <a:pt x="1870" y="95"/>
                </a:lnTo>
                <a:lnTo>
                  <a:pt x="1843" y="104"/>
                </a:lnTo>
                <a:lnTo>
                  <a:pt x="1830" y="109"/>
                </a:lnTo>
                <a:lnTo>
                  <a:pt x="1817" y="112"/>
                </a:lnTo>
                <a:lnTo>
                  <a:pt x="1804" y="113"/>
                </a:lnTo>
                <a:lnTo>
                  <a:pt x="1791" y="112"/>
                </a:lnTo>
                <a:lnTo>
                  <a:pt x="1791" y="116"/>
                </a:lnTo>
                <a:lnTo>
                  <a:pt x="1791" y="116"/>
                </a:lnTo>
                <a:lnTo>
                  <a:pt x="1783" y="115"/>
                </a:lnTo>
                <a:lnTo>
                  <a:pt x="1774" y="115"/>
                </a:lnTo>
                <a:lnTo>
                  <a:pt x="1752" y="118"/>
                </a:lnTo>
                <a:lnTo>
                  <a:pt x="1732" y="122"/>
                </a:lnTo>
                <a:lnTo>
                  <a:pt x="1723" y="125"/>
                </a:lnTo>
                <a:lnTo>
                  <a:pt x="1717" y="129"/>
                </a:lnTo>
                <a:lnTo>
                  <a:pt x="1694" y="141"/>
                </a:lnTo>
                <a:lnTo>
                  <a:pt x="1691" y="147"/>
                </a:lnTo>
                <a:lnTo>
                  <a:pt x="1691" y="145"/>
                </a:lnTo>
                <a:lnTo>
                  <a:pt x="1649" y="167"/>
                </a:lnTo>
                <a:lnTo>
                  <a:pt x="1649" y="167"/>
                </a:lnTo>
                <a:lnTo>
                  <a:pt x="1651" y="173"/>
                </a:lnTo>
                <a:lnTo>
                  <a:pt x="1654" y="179"/>
                </a:lnTo>
                <a:lnTo>
                  <a:pt x="1657" y="182"/>
                </a:lnTo>
                <a:lnTo>
                  <a:pt x="1660" y="184"/>
                </a:lnTo>
                <a:lnTo>
                  <a:pt x="1663" y="184"/>
                </a:lnTo>
                <a:lnTo>
                  <a:pt x="1666" y="182"/>
                </a:lnTo>
                <a:lnTo>
                  <a:pt x="1651" y="214"/>
                </a:lnTo>
                <a:lnTo>
                  <a:pt x="1651" y="214"/>
                </a:lnTo>
                <a:lnTo>
                  <a:pt x="1634" y="213"/>
                </a:lnTo>
                <a:lnTo>
                  <a:pt x="1614" y="213"/>
                </a:lnTo>
                <a:lnTo>
                  <a:pt x="1571" y="216"/>
                </a:lnTo>
                <a:lnTo>
                  <a:pt x="1530" y="221"/>
                </a:lnTo>
                <a:lnTo>
                  <a:pt x="1493" y="228"/>
                </a:lnTo>
                <a:lnTo>
                  <a:pt x="1487" y="256"/>
                </a:lnTo>
                <a:lnTo>
                  <a:pt x="1494" y="265"/>
                </a:lnTo>
                <a:lnTo>
                  <a:pt x="1488" y="284"/>
                </a:lnTo>
                <a:lnTo>
                  <a:pt x="1499" y="293"/>
                </a:lnTo>
                <a:lnTo>
                  <a:pt x="1527" y="296"/>
                </a:lnTo>
                <a:lnTo>
                  <a:pt x="1525" y="326"/>
                </a:lnTo>
                <a:lnTo>
                  <a:pt x="1525" y="326"/>
                </a:lnTo>
                <a:lnTo>
                  <a:pt x="1470" y="308"/>
                </a:lnTo>
                <a:lnTo>
                  <a:pt x="1442" y="299"/>
                </a:lnTo>
                <a:lnTo>
                  <a:pt x="1413" y="293"/>
                </a:lnTo>
                <a:lnTo>
                  <a:pt x="1413" y="314"/>
                </a:lnTo>
                <a:lnTo>
                  <a:pt x="1405" y="320"/>
                </a:lnTo>
                <a:lnTo>
                  <a:pt x="1361" y="313"/>
                </a:lnTo>
                <a:lnTo>
                  <a:pt x="1359" y="326"/>
                </a:lnTo>
                <a:lnTo>
                  <a:pt x="1335" y="320"/>
                </a:lnTo>
                <a:lnTo>
                  <a:pt x="1343" y="293"/>
                </a:lnTo>
                <a:lnTo>
                  <a:pt x="1323" y="277"/>
                </a:lnTo>
                <a:lnTo>
                  <a:pt x="1330" y="282"/>
                </a:lnTo>
                <a:lnTo>
                  <a:pt x="1320" y="305"/>
                </a:lnTo>
                <a:lnTo>
                  <a:pt x="1283" y="319"/>
                </a:lnTo>
                <a:lnTo>
                  <a:pt x="1284" y="325"/>
                </a:lnTo>
                <a:lnTo>
                  <a:pt x="1284" y="325"/>
                </a:lnTo>
                <a:lnTo>
                  <a:pt x="1281" y="328"/>
                </a:lnTo>
                <a:lnTo>
                  <a:pt x="1280" y="331"/>
                </a:lnTo>
                <a:lnTo>
                  <a:pt x="1278" y="334"/>
                </a:lnTo>
                <a:lnTo>
                  <a:pt x="1278" y="337"/>
                </a:lnTo>
                <a:lnTo>
                  <a:pt x="1281" y="342"/>
                </a:lnTo>
                <a:lnTo>
                  <a:pt x="1287" y="346"/>
                </a:lnTo>
                <a:lnTo>
                  <a:pt x="1287" y="346"/>
                </a:lnTo>
                <a:lnTo>
                  <a:pt x="1289" y="357"/>
                </a:lnTo>
                <a:lnTo>
                  <a:pt x="1289" y="365"/>
                </a:lnTo>
                <a:lnTo>
                  <a:pt x="1292" y="379"/>
                </a:lnTo>
                <a:lnTo>
                  <a:pt x="1293" y="386"/>
                </a:lnTo>
                <a:lnTo>
                  <a:pt x="1293" y="394"/>
                </a:lnTo>
                <a:lnTo>
                  <a:pt x="1293" y="405"/>
                </a:lnTo>
                <a:lnTo>
                  <a:pt x="1290" y="417"/>
                </a:lnTo>
                <a:lnTo>
                  <a:pt x="1298" y="438"/>
                </a:lnTo>
                <a:lnTo>
                  <a:pt x="1298" y="438"/>
                </a:lnTo>
                <a:lnTo>
                  <a:pt x="1293" y="442"/>
                </a:lnTo>
                <a:lnTo>
                  <a:pt x="1290" y="446"/>
                </a:lnTo>
                <a:lnTo>
                  <a:pt x="1292" y="449"/>
                </a:lnTo>
                <a:lnTo>
                  <a:pt x="1295" y="451"/>
                </a:lnTo>
                <a:lnTo>
                  <a:pt x="1307" y="455"/>
                </a:lnTo>
                <a:lnTo>
                  <a:pt x="1326" y="458"/>
                </a:lnTo>
                <a:lnTo>
                  <a:pt x="1364" y="462"/>
                </a:lnTo>
                <a:lnTo>
                  <a:pt x="1386" y="463"/>
                </a:lnTo>
                <a:lnTo>
                  <a:pt x="1386" y="463"/>
                </a:lnTo>
                <a:lnTo>
                  <a:pt x="1384" y="466"/>
                </a:lnTo>
                <a:lnTo>
                  <a:pt x="1382" y="468"/>
                </a:lnTo>
                <a:lnTo>
                  <a:pt x="1379" y="469"/>
                </a:lnTo>
                <a:lnTo>
                  <a:pt x="1375" y="469"/>
                </a:lnTo>
                <a:lnTo>
                  <a:pt x="1372" y="468"/>
                </a:lnTo>
                <a:lnTo>
                  <a:pt x="1370" y="466"/>
                </a:lnTo>
                <a:lnTo>
                  <a:pt x="1369" y="465"/>
                </a:lnTo>
                <a:lnTo>
                  <a:pt x="1370" y="462"/>
                </a:lnTo>
                <a:lnTo>
                  <a:pt x="1312" y="475"/>
                </a:lnTo>
                <a:lnTo>
                  <a:pt x="1309" y="492"/>
                </a:lnTo>
                <a:lnTo>
                  <a:pt x="1323" y="517"/>
                </a:lnTo>
                <a:lnTo>
                  <a:pt x="1321" y="524"/>
                </a:lnTo>
                <a:lnTo>
                  <a:pt x="1300" y="538"/>
                </a:lnTo>
                <a:lnTo>
                  <a:pt x="1295" y="560"/>
                </a:lnTo>
                <a:lnTo>
                  <a:pt x="1295" y="560"/>
                </a:lnTo>
                <a:lnTo>
                  <a:pt x="1260" y="577"/>
                </a:lnTo>
                <a:lnTo>
                  <a:pt x="1241" y="583"/>
                </a:lnTo>
                <a:lnTo>
                  <a:pt x="1232" y="586"/>
                </a:lnTo>
                <a:lnTo>
                  <a:pt x="1221" y="587"/>
                </a:lnTo>
                <a:lnTo>
                  <a:pt x="1206" y="569"/>
                </a:lnTo>
                <a:lnTo>
                  <a:pt x="1206" y="569"/>
                </a:lnTo>
                <a:lnTo>
                  <a:pt x="1243" y="549"/>
                </a:lnTo>
                <a:lnTo>
                  <a:pt x="1261" y="538"/>
                </a:lnTo>
                <a:lnTo>
                  <a:pt x="1277" y="526"/>
                </a:lnTo>
                <a:lnTo>
                  <a:pt x="1275" y="501"/>
                </a:lnTo>
                <a:lnTo>
                  <a:pt x="1286" y="480"/>
                </a:lnTo>
                <a:lnTo>
                  <a:pt x="1258" y="457"/>
                </a:lnTo>
                <a:lnTo>
                  <a:pt x="1258" y="397"/>
                </a:lnTo>
                <a:lnTo>
                  <a:pt x="1267" y="394"/>
                </a:lnTo>
                <a:lnTo>
                  <a:pt x="1266" y="365"/>
                </a:lnTo>
                <a:lnTo>
                  <a:pt x="1240" y="337"/>
                </a:lnTo>
                <a:lnTo>
                  <a:pt x="1258" y="310"/>
                </a:lnTo>
                <a:lnTo>
                  <a:pt x="1260" y="274"/>
                </a:lnTo>
                <a:lnTo>
                  <a:pt x="1260" y="274"/>
                </a:lnTo>
                <a:lnTo>
                  <a:pt x="1243" y="264"/>
                </a:lnTo>
                <a:lnTo>
                  <a:pt x="1227" y="256"/>
                </a:lnTo>
                <a:lnTo>
                  <a:pt x="1215" y="253"/>
                </a:lnTo>
                <a:lnTo>
                  <a:pt x="1203" y="253"/>
                </a:lnTo>
                <a:lnTo>
                  <a:pt x="1194" y="256"/>
                </a:lnTo>
                <a:lnTo>
                  <a:pt x="1186" y="262"/>
                </a:lnTo>
                <a:lnTo>
                  <a:pt x="1178" y="270"/>
                </a:lnTo>
                <a:lnTo>
                  <a:pt x="1172" y="279"/>
                </a:lnTo>
                <a:lnTo>
                  <a:pt x="1160" y="300"/>
                </a:lnTo>
                <a:lnTo>
                  <a:pt x="1146" y="323"/>
                </a:lnTo>
                <a:lnTo>
                  <a:pt x="1139" y="334"/>
                </a:lnTo>
                <a:lnTo>
                  <a:pt x="1129" y="343"/>
                </a:lnTo>
                <a:lnTo>
                  <a:pt x="1120" y="351"/>
                </a:lnTo>
                <a:lnTo>
                  <a:pt x="1108" y="356"/>
                </a:lnTo>
                <a:lnTo>
                  <a:pt x="1120" y="377"/>
                </a:lnTo>
                <a:lnTo>
                  <a:pt x="1103" y="422"/>
                </a:lnTo>
                <a:lnTo>
                  <a:pt x="1103" y="422"/>
                </a:lnTo>
                <a:lnTo>
                  <a:pt x="1115" y="426"/>
                </a:lnTo>
                <a:lnTo>
                  <a:pt x="1128" y="432"/>
                </a:lnTo>
                <a:lnTo>
                  <a:pt x="1139" y="440"/>
                </a:lnTo>
                <a:lnTo>
                  <a:pt x="1148" y="449"/>
                </a:lnTo>
                <a:lnTo>
                  <a:pt x="1155" y="458"/>
                </a:lnTo>
                <a:lnTo>
                  <a:pt x="1158" y="465"/>
                </a:lnTo>
                <a:lnTo>
                  <a:pt x="1160" y="471"/>
                </a:lnTo>
                <a:lnTo>
                  <a:pt x="1160" y="477"/>
                </a:lnTo>
                <a:lnTo>
                  <a:pt x="1158" y="483"/>
                </a:lnTo>
                <a:lnTo>
                  <a:pt x="1157" y="489"/>
                </a:lnTo>
                <a:lnTo>
                  <a:pt x="1152" y="497"/>
                </a:lnTo>
                <a:lnTo>
                  <a:pt x="1152" y="497"/>
                </a:lnTo>
                <a:lnTo>
                  <a:pt x="1151" y="498"/>
                </a:lnTo>
                <a:lnTo>
                  <a:pt x="1148" y="498"/>
                </a:lnTo>
                <a:lnTo>
                  <a:pt x="1140" y="497"/>
                </a:lnTo>
                <a:lnTo>
                  <a:pt x="1139" y="495"/>
                </a:lnTo>
                <a:lnTo>
                  <a:pt x="1135" y="494"/>
                </a:lnTo>
                <a:lnTo>
                  <a:pt x="1135" y="491"/>
                </a:lnTo>
                <a:lnTo>
                  <a:pt x="1137" y="488"/>
                </a:lnTo>
                <a:lnTo>
                  <a:pt x="1137" y="488"/>
                </a:lnTo>
                <a:lnTo>
                  <a:pt x="1129" y="483"/>
                </a:lnTo>
                <a:lnTo>
                  <a:pt x="1122" y="478"/>
                </a:lnTo>
                <a:lnTo>
                  <a:pt x="1105" y="469"/>
                </a:lnTo>
                <a:lnTo>
                  <a:pt x="1088" y="463"/>
                </a:lnTo>
                <a:lnTo>
                  <a:pt x="1071" y="458"/>
                </a:lnTo>
                <a:lnTo>
                  <a:pt x="1073" y="454"/>
                </a:lnTo>
                <a:lnTo>
                  <a:pt x="928" y="423"/>
                </a:lnTo>
                <a:lnTo>
                  <a:pt x="911" y="434"/>
                </a:lnTo>
                <a:lnTo>
                  <a:pt x="911" y="434"/>
                </a:lnTo>
                <a:lnTo>
                  <a:pt x="925" y="457"/>
                </a:lnTo>
                <a:lnTo>
                  <a:pt x="928" y="466"/>
                </a:lnTo>
                <a:lnTo>
                  <a:pt x="928" y="472"/>
                </a:lnTo>
                <a:lnTo>
                  <a:pt x="928" y="475"/>
                </a:lnTo>
                <a:lnTo>
                  <a:pt x="925" y="477"/>
                </a:lnTo>
                <a:lnTo>
                  <a:pt x="918" y="480"/>
                </a:lnTo>
                <a:lnTo>
                  <a:pt x="905" y="480"/>
                </a:lnTo>
                <a:lnTo>
                  <a:pt x="887" y="478"/>
                </a:lnTo>
                <a:lnTo>
                  <a:pt x="888" y="477"/>
                </a:lnTo>
                <a:lnTo>
                  <a:pt x="878" y="466"/>
                </a:lnTo>
                <a:lnTo>
                  <a:pt x="833" y="477"/>
                </a:lnTo>
                <a:lnTo>
                  <a:pt x="826" y="489"/>
                </a:lnTo>
                <a:lnTo>
                  <a:pt x="826" y="489"/>
                </a:lnTo>
                <a:lnTo>
                  <a:pt x="818" y="485"/>
                </a:lnTo>
                <a:lnTo>
                  <a:pt x="810" y="481"/>
                </a:lnTo>
                <a:lnTo>
                  <a:pt x="792" y="477"/>
                </a:lnTo>
                <a:lnTo>
                  <a:pt x="773" y="475"/>
                </a:lnTo>
                <a:lnTo>
                  <a:pt x="753" y="475"/>
                </a:lnTo>
                <a:lnTo>
                  <a:pt x="733" y="478"/>
                </a:lnTo>
                <a:lnTo>
                  <a:pt x="714" y="485"/>
                </a:lnTo>
                <a:lnTo>
                  <a:pt x="694" y="491"/>
                </a:lnTo>
                <a:lnTo>
                  <a:pt x="672" y="498"/>
                </a:lnTo>
                <a:lnTo>
                  <a:pt x="634" y="518"/>
                </a:lnTo>
                <a:lnTo>
                  <a:pt x="597" y="538"/>
                </a:lnTo>
                <a:lnTo>
                  <a:pt x="563" y="555"/>
                </a:lnTo>
                <a:lnTo>
                  <a:pt x="537" y="569"/>
                </a:lnTo>
                <a:lnTo>
                  <a:pt x="532" y="578"/>
                </a:lnTo>
                <a:lnTo>
                  <a:pt x="532" y="578"/>
                </a:lnTo>
                <a:lnTo>
                  <a:pt x="519" y="569"/>
                </a:lnTo>
                <a:lnTo>
                  <a:pt x="506" y="560"/>
                </a:lnTo>
                <a:lnTo>
                  <a:pt x="496" y="550"/>
                </a:lnTo>
                <a:lnTo>
                  <a:pt x="491" y="543"/>
                </a:lnTo>
                <a:lnTo>
                  <a:pt x="490" y="538"/>
                </a:lnTo>
                <a:lnTo>
                  <a:pt x="491" y="535"/>
                </a:lnTo>
                <a:lnTo>
                  <a:pt x="493" y="532"/>
                </a:lnTo>
                <a:lnTo>
                  <a:pt x="497" y="529"/>
                </a:lnTo>
                <a:lnTo>
                  <a:pt x="503" y="527"/>
                </a:lnTo>
                <a:lnTo>
                  <a:pt x="511" y="526"/>
                </a:lnTo>
                <a:lnTo>
                  <a:pt x="534" y="523"/>
                </a:lnTo>
                <a:lnTo>
                  <a:pt x="513" y="492"/>
                </a:lnTo>
                <a:lnTo>
                  <a:pt x="513" y="492"/>
                </a:lnTo>
                <a:lnTo>
                  <a:pt x="494" y="494"/>
                </a:lnTo>
                <a:lnTo>
                  <a:pt x="474" y="492"/>
                </a:lnTo>
                <a:lnTo>
                  <a:pt x="456" y="489"/>
                </a:lnTo>
                <a:lnTo>
                  <a:pt x="436" y="483"/>
                </a:lnTo>
                <a:lnTo>
                  <a:pt x="437" y="485"/>
                </a:lnTo>
                <a:lnTo>
                  <a:pt x="437" y="485"/>
                </a:lnTo>
                <a:lnTo>
                  <a:pt x="453" y="495"/>
                </a:lnTo>
                <a:lnTo>
                  <a:pt x="459" y="500"/>
                </a:lnTo>
                <a:lnTo>
                  <a:pt x="463" y="504"/>
                </a:lnTo>
                <a:lnTo>
                  <a:pt x="465" y="509"/>
                </a:lnTo>
                <a:lnTo>
                  <a:pt x="467" y="517"/>
                </a:lnTo>
                <a:lnTo>
                  <a:pt x="465" y="524"/>
                </a:lnTo>
                <a:lnTo>
                  <a:pt x="462" y="535"/>
                </a:lnTo>
                <a:lnTo>
                  <a:pt x="462" y="535"/>
                </a:lnTo>
                <a:lnTo>
                  <a:pt x="457" y="538"/>
                </a:lnTo>
                <a:lnTo>
                  <a:pt x="456" y="543"/>
                </a:lnTo>
                <a:lnTo>
                  <a:pt x="456" y="546"/>
                </a:lnTo>
                <a:lnTo>
                  <a:pt x="459" y="550"/>
                </a:lnTo>
                <a:lnTo>
                  <a:pt x="468" y="560"/>
                </a:lnTo>
                <a:lnTo>
                  <a:pt x="476" y="564"/>
                </a:lnTo>
                <a:lnTo>
                  <a:pt x="474" y="583"/>
                </a:lnTo>
                <a:lnTo>
                  <a:pt x="447" y="604"/>
                </a:lnTo>
                <a:lnTo>
                  <a:pt x="453" y="598"/>
                </a:lnTo>
                <a:lnTo>
                  <a:pt x="413" y="586"/>
                </a:lnTo>
                <a:lnTo>
                  <a:pt x="408" y="593"/>
                </a:lnTo>
                <a:lnTo>
                  <a:pt x="365" y="615"/>
                </a:lnTo>
                <a:lnTo>
                  <a:pt x="365" y="618"/>
                </a:lnTo>
                <a:lnTo>
                  <a:pt x="344" y="629"/>
                </a:lnTo>
                <a:lnTo>
                  <a:pt x="344" y="629"/>
                </a:lnTo>
                <a:lnTo>
                  <a:pt x="356" y="650"/>
                </a:lnTo>
                <a:lnTo>
                  <a:pt x="362" y="663"/>
                </a:lnTo>
                <a:lnTo>
                  <a:pt x="370" y="672"/>
                </a:lnTo>
                <a:lnTo>
                  <a:pt x="370" y="672"/>
                </a:lnTo>
                <a:lnTo>
                  <a:pt x="373" y="675"/>
                </a:lnTo>
                <a:lnTo>
                  <a:pt x="378" y="676"/>
                </a:lnTo>
                <a:lnTo>
                  <a:pt x="381" y="678"/>
                </a:lnTo>
                <a:lnTo>
                  <a:pt x="384" y="681"/>
                </a:lnTo>
                <a:lnTo>
                  <a:pt x="382" y="686"/>
                </a:lnTo>
                <a:lnTo>
                  <a:pt x="382" y="686"/>
                </a:lnTo>
                <a:lnTo>
                  <a:pt x="364" y="676"/>
                </a:lnTo>
                <a:lnTo>
                  <a:pt x="353" y="672"/>
                </a:lnTo>
                <a:lnTo>
                  <a:pt x="342" y="667"/>
                </a:lnTo>
                <a:lnTo>
                  <a:pt x="332" y="666"/>
                </a:lnTo>
                <a:lnTo>
                  <a:pt x="321" y="666"/>
                </a:lnTo>
                <a:lnTo>
                  <a:pt x="310" y="667"/>
                </a:lnTo>
                <a:lnTo>
                  <a:pt x="301" y="670"/>
                </a:lnTo>
                <a:lnTo>
                  <a:pt x="296" y="666"/>
                </a:lnTo>
                <a:lnTo>
                  <a:pt x="305" y="664"/>
                </a:lnTo>
                <a:lnTo>
                  <a:pt x="304" y="663"/>
                </a:lnTo>
                <a:lnTo>
                  <a:pt x="269" y="647"/>
                </a:lnTo>
                <a:lnTo>
                  <a:pt x="255" y="667"/>
                </a:lnTo>
                <a:lnTo>
                  <a:pt x="292" y="684"/>
                </a:lnTo>
                <a:lnTo>
                  <a:pt x="292" y="684"/>
                </a:lnTo>
                <a:lnTo>
                  <a:pt x="278" y="692"/>
                </a:lnTo>
                <a:lnTo>
                  <a:pt x="266" y="696"/>
                </a:lnTo>
                <a:lnTo>
                  <a:pt x="253" y="698"/>
                </a:lnTo>
                <a:lnTo>
                  <a:pt x="243" y="696"/>
                </a:lnTo>
                <a:lnTo>
                  <a:pt x="233" y="693"/>
                </a:lnTo>
                <a:lnTo>
                  <a:pt x="224" y="687"/>
                </a:lnTo>
                <a:lnTo>
                  <a:pt x="218" y="679"/>
                </a:lnTo>
                <a:lnTo>
                  <a:pt x="210" y="672"/>
                </a:lnTo>
                <a:lnTo>
                  <a:pt x="204" y="661"/>
                </a:lnTo>
                <a:lnTo>
                  <a:pt x="200" y="650"/>
                </a:lnTo>
                <a:lnTo>
                  <a:pt x="192" y="626"/>
                </a:lnTo>
                <a:lnTo>
                  <a:pt x="186" y="601"/>
                </a:lnTo>
                <a:lnTo>
                  <a:pt x="181" y="578"/>
                </a:lnTo>
                <a:lnTo>
                  <a:pt x="181" y="578"/>
                </a:lnTo>
                <a:lnTo>
                  <a:pt x="190" y="577"/>
                </a:lnTo>
                <a:lnTo>
                  <a:pt x="201" y="578"/>
                </a:lnTo>
                <a:lnTo>
                  <a:pt x="213" y="580"/>
                </a:lnTo>
                <a:lnTo>
                  <a:pt x="226" y="584"/>
                </a:lnTo>
                <a:lnTo>
                  <a:pt x="252" y="592"/>
                </a:lnTo>
                <a:lnTo>
                  <a:pt x="281" y="601"/>
                </a:lnTo>
                <a:lnTo>
                  <a:pt x="296" y="604"/>
                </a:lnTo>
                <a:lnTo>
                  <a:pt x="312" y="606"/>
                </a:lnTo>
                <a:lnTo>
                  <a:pt x="325" y="606"/>
                </a:lnTo>
                <a:lnTo>
                  <a:pt x="339" y="603"/>
                </a:lnTo>
                <a:lnTo>
                  <a:pt x="353" y="597"/>
                </a:lnTo>
                <a:lnTo>
                  <a:pt x="367" y="589"/>
                </a:lnTo>
                <a:lnTo>
                  <a:pt x="378" y="577"/>
                </a:lnTo>
                <a:lnTo>
                  <a:pt x="388" y="560"/>
                </a:lnTo>
                <a:lnTo>
                  <a:pt x="388" y="560"/>
                </a:lnTo>
                <a:lnTo>
                  <a:pt x="391" y="552"/>
                </a:lnTo>
                <a:lnTo>
                  <a:pt x="390" y="546"/>
                </a:lnTo>
                <a:lnTo>
                  <a:pt x="387" y="540"/>
                </a:lnTo>
                <a:lnTo>
                  <a:pt x="381" y="535"/>
                </a:lnTo>
                <a:lnTo>
                  <a:pt x="373" y="529"/>
                </a:lnTo>
                <a:lnTo>
                  <a:pt x="364" y="524"/>
                </a:lnTo>
                <a:lnTo>
                  <a:pt x="342" y="514"/>
                </a:lnTo>
                <a:lnTo>
                  <a:pt x="319" y="504"/>
                </a:lnTo>
                <a:lnTo>
                  <a:pt x="298" y="495"/>
                </a:lnTo>
                <a:lnTo>
                  <a:pt x="282" y="486"/>
                </a:lnTo>
                <a:lnTo>
                  <a:pt x="276" y="481"/>
                </a:lnTo>
                <a:lnTo>
                  <a:pt x="275" y="477"/>
                </a:lnTo>
                <a:lnTo>
                  <a:pt x="275" y="477"/>
                </a:lnTo>
                <a:lnTo>
                  <a:pt x="261" y="471"/>
                </a:lnTo>
                <a:lnTo>
                  <a:pt x="246" y="465"/>
                </a:lnTo>
                <a:lnTo>
                  <a:pt x="215" y="457"/>
                </a:lnTo>
                <a:lnTo>
                  <a:pt x="184" y="452"/>
                </a:lnTo>
                <a:lnTo>
                  <a:pt x="154" y="451"/>
                </a:lnTo>
                <a:lnTo>
                  <a:pt x="157" y="446"/>
                </a:lnTo>
                <a:lnTo>
                  <a:pt x="135" y="448"/>
                </a:lnTo>
                <a:lnTo>
                  <a:pt x="135" y="448"/>
                </a:lnTo>
                <a:lnTo>
                  <a:pt x="137" y="448"/>
                </a:lnTo>
                <a:lnTo>
                  <a:pt x="137" y="448"/>
                </a:lnTo>
                <a:lnTo>
                  <a:pt x="134" y="445"/>
                </a:lnTo>
                <a:lnTo>
                  <a:pt x="126" y="438"/>
                </a:lnTo>
                <a:lnTo>
                  <a:pt x="126" y="438"/>
                </a:lnTo>
                <a:lnTo>
                  <a:pt x="126" y="437"/>
                </a:lnTo>
                <a:lnTo>
                  <a:pt x="129" y="437"/>
                </a:lnTo>
                <a:lnTo>
                  <a:pt x="131" y="435"/>
                </a:lnTo>
                <a:lnTo>
                  <a:pt x="131" y="434"/>
                </a:lnTo>
                <a:lnTo>
                  <a:pt x="118" y="434"/>
                </a:lnTo>
                <a:lnTo>
                  <a:pt x="123" y="437"/>
                </a:lnTo>
                <a:lnTo>
                  <a:pt x="94" y="432"/>
                </a:lnTo>
                <a:lnTo>
                  <a:pt x="95" y="443"/>
                </a:lnTo>
                <a:lnTo>
                  <a:pt x="20" y="477"/>
                </a:lnTo>
                <a:lnTo>
                  <a:pt x="26" y="480"/>
                </a:lnTo>
                <a:lnTo>
                  <a:pt x="20" y="491"/>
                </a:lnTo>
                <a:lnTo>
                  <a:pt x="74" y="531"/>
                </a:lnTo>
                <a:lnTo>
                  <a:pt x="43" y="567"/>
                </a:lnTo>
                <a:lnTo>
                  <a:pt x="43" y="567"/>
                </a:lnTo>
                <a:lnTo>
                  <a:pt x="49" y="581"/>
                </a:lnTo>
                <a:lnTo>
                  <a:pt x="54" y="598"/>
                </a:lnTo>
                <a:lnTo>
                  <a:pt x="61" y="639"/>
                </a:lnTo>
                <a:lnTo>
                  <a:pt x="66" y="681"/>
                </a:lnTo>
                <a:lnTo>
                  <a:pt x="71" y="715"/>
                </a:lnTo>
                <a:lnTo>
                  <a:pt x="114" y="742"/>
                </a:lnTo>
                <a:lnTo>
                  <a:pt x="114" y="742"/>
                </a:lnTo>
                <a:lnTo>
                  <a:pt x="91" y="771"/>
                </a:lnTo>
                <a:lnTo>
                  <a:pt x="68" y="801"/>
                </a:lnTo>
                <a:lnTo>
                  <a:pt x="54" y="813"/>
                </a:lnTo>
                <a:lnTo>
                  <a:pt x="40" y="825"/>
                </a:lnTo>
                <a:lnTo>
                  <a:pt x="26" y="837"/>
                </a:lnTo>
                <a:lnTo>
                  <a:pt x="11" y="848"/>
                </a:lnTo>
                <a:lnTo>
                  <a:pt x="40" y="840"/>
                </a:lnTo>
                <a:lnTo>
                  <a:pt x="32" y="853"/>
                </a:lnTo>
                <a:lnTo>
                  <a:pt x="51" y="867"/>
                </a:lnTo>
                <a:lnTo>
                  <a:pt x="74" y="867"/>
                </a:lnTo>
                <a:lnTo>
                  <a:pt x="74" y="870"/>
                </a:lnTo>
                <a:lnTo>
                  <a:pt x="85" y="871"/>
                </a:lnTo>
                <a:lnTo>
                  <a:pt x="51" y="873"/>
                </a:lnTo>
                <a:lnTo>
                  <a:pt x="0" y="929"/>
                </a:lnTo>
                <a:lnTo>
                  <a:pt x="0" y="929"/>
                </a:lnTo>
                <a:lnTo>
                  <a:pt x="11" y="945"/>
                </a:lnTo>
                <a:lnTo>
                  <a:pt x="19" y="957"/>
                </a:lnTo>
                <a:lnTo>
                  <a:pt x="26" y="971"/>
                </a:lnTo>
                <a:lnTo>
                  <a:pt x="32" y="983"/>
                </a:lnTo>
                <a:lnTo>
                  <a:pt x="34" y="989"/>
                </a:lnTo>
                <a:lnTo>
                  <a:pt x="34" y="994"/>
                </a:lnTo>
                <a:lnTo>
                  <a:pt x="34" y="997"/>
                </a:lnTo>
                <a:lnTo>
                  <a:pt x="31" y="1000"/>
                </a:lnTo>
                <a:lnTo>
                  <a:pt x="26" y="1000"/>
                </a:lnTo>
                <a:lnTo>
                  <a:pt x="22" y="1000"/>
                </a:lnTo>
                <a:lnTo>
                  <a:pt x="29" y="1018"/>
                </a:lnTo>
                <a:lnTo>
                  <a:pt x="29" y="1018"/>
                </a:lnTo>
                <a:lnTo>
                  <a:pt x="37" y="1023"/>
                </a:lnTo>
                <a:lnTo>
                  <a:pt x="45" y="1029"/>
                </a:lnTo>
                <a:lnTo>
                  <a:pt x="55" y="1034"/>
                </a:lnTo>
                <a:lnTo>
                  <a:pt x="65" y="1038"/>
                </a:lnTo>
                <a:lnTo>
                  <a:pt x="75" y="1041"/>
                </a:lnTo>
                <a:lnTo>
                  <a:pt x="86" y="1043"/>
                </a:lnTo>
                <a:lnTo>
                  <a:pt x="97" y="1045"/>
                </a:lnTo>
                <a:lnTo>
                  <a:pt x="106" y="1043"/>
                </a:lnTo>
                <a:lnTo>
                  <a:pt x="106" y="1043"/>
                </a:lnTo>
                <a:lnTo>
                  <a:pt x="104" y="1055"/>
                </a:lnTo>
                <a:lnTo>
                  <a:pt x="106" y="1066"/>
                </a:lnTo>
                <a:lnTo>
                  <a:pt x="108" y="1078"/>
                </a:lnTo>
                <a:lnTo>
                  <a:pt x="112" y="1088"/>
                </a:lnTo>
                <a:lnTo>
                  <a:pt x="118" y="1098"/>
                </a:lnTo>
                <a:lnTo>
                  <a:pt x="126" y="1106"/>
                </a:lnTo>
                <a:lnTo>
                  <a:pt x="135" y="1112"/>
                </a:lnTo>
                <a:lnTo>
                  <a:pt x="146" y="1117"/>
                </a:lnTo>
                <a:lnTo>
                  <a:pt x="154" y="1134"/>
                </a:lnTo>
                <a:lnTo>
                  <a:pt x="154" y="1134"/>
                </a:lnTo>
                <a:lnTo>
                  <a:pt x="138" y="1144"/>
                </a:lnTo>
                <a:lnTo>
                  <a:pt x="134" y="1150"/>
                </a:lnTo>
                <a:lnTo>
                  <a:pt x="129" y="1155"/>
                </a:lnTo>
                <a:lnTo>
                  <a:pt x="127" y="1160"/>
                </a:lnTo>
                <a:lnTo>
                  <a:pt x="127" y="1163"/>
                </a:lnTo>
                <a:lnTo>
                  <a:pt x="129" y="1167"/>
                </a:lnTo>
                <a:lnTo>
                  <a:pt x="131" y="1169"/>
                </a:lnTo>
                <a:lnTo>
                  <a:pt x="134" y="1172"/>
                </a:lnTo>
                <a:lnTo>
                  <a:pt x="140" y="1173"/>
                </a:lnTo>
                <a:lnTo>
                  <a:pt x="152" y="1175"/>
                </a:lnTo>
                <a:lnTo>
                  <a:pt x="167" y="1175"/>
                </a:lnTo>
                <a:lnTo>
                  <a:pt x="187" y="1173"/>
                </a:lnTo>
                <a:lnTo>
                  <a:pt x="200" y="1187"/>
                </a:lnTo>
                <a:lnTo>
                  <a:pt x="200" y="1207"/>
                </a:lnTo>
                <a:lnTo>
                  <a:pt x="221" y="1210"/>
                </a:lnTo>
                <a:lnTo>
                  <a:pt x="233" y="1242"/>
                </a:lnTo>
                <a:lnTo>
                  <a:pt x="233" y="1242"/>
                </a:lnTo>
                <a:lnTo>
                  <a:pt x="243" y="1239"/>
                </a:lnTo>
                <a:lnTo>
                  <a:pt x="250" y="1236"/>
                </a:lnTo>
                <a:lnTo>
                  <a:pt x="261" y="1236"/>
                </a:lnTo>
                <a:lnTo>
                  <a:pt x="270" y="1236"/>
                </a:lnTo>
                <a:lnTo>
                  <a:pt x="279" y="1238"/>
                </a:lnTo>
                <a:lnTo>
                  <a:pt x="289" y="1239"/>
                </a:lnTo>
                <a:lnTo>
                  <a:pt x="299" y="1242"/>
                </a:lnTo>
                <a:lnTo>
                  <a:pt x="309" y="1247"/>
                </a:lnTo>
                <a:lnTo>
                  <a:pt x="316" y="1252"/>
                </a:lnTo>
                <a:lnTo>
                  <a:pt x="324" y="1258"/>
                </a:lnTo>
                <a:lnTo>
                  <a:pt x="332" y="1264"/>
                </a:lnTo>
                <a:lnTo>
                  <a:pt x="339" y="1270"/>
                </a:lnTo>
                <a:lnTo>
                  <a:pt x="344" y="1278"/>
                </a:lnTo>
                <a:lnTo>
                  <a:pt x="348" y="1287"/>
                </a:lnTo>
                <a:lnTo>
                  <a:pt x="351" y="1295"/>
                </a:lnTo>
                <a:lnTo>
                  <a:pt x="355" y="1304"/>
                </a:lnTo>
                <a:lnTo>
                  <a:pt x="355" y="1304"/>
                </a:lnTo>
                <a:lnTo>
                  <a:pt x="359" y="1310"/>
                </a:lnTo>
                <a:lnTo>
                  <a:pt x="359" y="1312"/>
                </a:lnTo>
                <a:lnTo>
                  <a:pt x="359" y="1315"/>
                </a:lnTo>
                <a:lnTo>
                  <a:pt x="356" y="1321"/>
                </a:lnTo>
                <a:lnTo>
                  <a:pt x="351" y="1324"/>
                </a:lnTo>
                <a:lnTo>
                  <a:pt x="345" y="1328"/>
                </a:lnTo>
                <a:lnTo>
                  <a:pt x="338" y="1331"/>
                </a:lnTo>
                <a:lnTo>
                  <a:pt x="325" y="1335"/>
                </a:lnTo>
                <a:lnTo>
                  <a:pt x="313" y="1348"/>
                </a:lnTo>
                <a:lnTo>
                  <a:pt x="310" y="1358"/>
                </a:lnTo>
                <a:lnTo>
                  <a:pt x="335" y="1353"/>
                </a:lnTo>
                <a:lnTo>
                  <a:pt x="339" y="1361"/>
                </a:lnTo>
                <a:lnTo>
                  <a:pt x="312" y="1373"/>
                </a:lnTo>
                <a:lnTo>
                  <a:pt x="318" y="1376"/>
                </a:lnTo>
                <a:lnTo>
                  <a:pt x="296" y="1373"/>
                </a:lnTo>
                <a:lnTo>
                  <a:pt x="319" y="1396"/>
                </a:lnTo>
                <a:lnTo>
                  <a:pt x="319" y="1396"/>
                </a:lnTo>
                <a:lnTo>
                  <a:pt x="315" y="1394"/>
                </a:lnTo>
                <a:lnTo>
                  <a:pt x="312" y="1396"/>
                </a:lnTo>
                <a:lnTo>
                  <a:pt x="307" y="1397"/>
                </a:lnTo>
                <a:lnTo>
                  <a:pt x="305" y="1401"/>
                </a:lnTo>
                <a:lnTo>
                  <a:pt x="305" y="1404"/>
                </a:lnTo>
                <a:lnTo>
                  <a:pt x="305" y="1404"/>
                </a:lnTo>
                <a:lnTo>
                  <a:pt x="301" y="1396"/>
                </a:lnTo>
                <a:lnTo>
                  <a:pt x="285" y="1420"/>
                </a:lnTo>
                <a:lnTo>
                  <a:pt x="285" y="1420"/>
                </a:lnTo>
                <a:lnTo>
                  <a:pt x="279" y="1419"/>
                </a:lnTo>
                <a:lnTo>
                  <a:pt x="275" y="1419"/>
                </a:lnTo>
                <a:lnTo>
                  <a:pt x="270" y="1420"/>
                </a:lnTo>
                <a:lnTo>
                  <a:pt x="267" y="1422"/>
                </a:lnTo>
                <a:lnTo>
                  <a:pt x="266" y="1425"/>
                </a:lnTo>
                <a:lnTo>
                  <a:pt x="266" y="1428"/>
                </a:lnTo>
                <a:lnTo>
                  <a:pt x="269" y="1430"/>
                </a:lnTo>
                <a:lnTo>
                  <a:pt x="276" y="1430"/>
                </a:lnTo>
                <a:lnTo>
                  <a:pt x="285" y="1447"/>
                </a:lnTo>
                <a:lnTo>
                  <a:pt x="285" y="1447"/>
                </a:lnTo>
                <a:lnTo>
                  <a:pt x="295" y="1448"/>
                </a:lnTo>
                <a:lnTo>
                  <a:pt x="304" y="1451"/>
                </a:lnTo>
                <a:lnTo>
                  <a:pt x="313" y="1454"/>
                </a:lnTo>
                <a:lnTo>
                  <a:pt x="321" y="1459"/>
                </a:lnTo>
                <a:lnTo>
                  <a:pt x="336" y="1471"/>
                </a:lnTo>
                <a:lnTo>
                  <a:pt x="351" y="1482"/>
                </a:lnTo>
                <a:lnTo>
                  <a:pt x="361" y="1479"/>
                </a:lnTo>
                <a:lnTo>
                  <a:pt x="361" y="1479"/>
                </a:lnTo>
                <a:lnTo>
                  <a:pt x="379" y="1482"/>
                </a:lnTo>
                <a:lnTo>
                  <a:pt x="397" y="1485"/>
                </a:lnTo>
                <a:lnTo>
                  <a:pt x="436" y="1490"/>
                </a:lnTo>
                <a:lnTo>
                  <a:pt x="454" y="1493"/>
                </a:lnTo>
                <a:lnTo>
                  <a:pt x="473" y="1497"/>
                </a:lnTo>
                <a:lnTo>
                  <a:pt x="491" y="1505"/>
                </a:lnTo>
                <a:lnTo>
                  <a:pt x="508" y="1514"/>
                </a:lnTo>
                <a:lnTo>
                  <a:pt x="511" y="1523"/>
                </a:lnTo>
                <a:lnTo>
                  <a:pt x="511" y="1523"/>
                </a:lnTo>
                <a:lnTo>
                  <a:pt x="517" y="1528"/>
                </a:lnTo>
                <a:lnTo>
                  <a:pt x="525" y="1531"/>
                </a:lnTo>
                <a:lnTo>
                  <a:pt x="540" y="1537"/>
                </a:lnTo>
                <a:lnTo>
                  <a:pt x="546" y="1540"/>
                </a:lnTo>
                <a:lnTo>
                  <a:pt x="554" y="1543"/>
                </a:lnTo>
                <a:lnTo>
                  <a:pt x="560" y="1548"/>
                </a:lnTo>
                <a:lnTo>
                  <a:pt x="566" y="1554"/>
                </a:lnTo>
                <a:lnTo>
                  <a:pt x="583" y="1552"/>
                </a:lnTo>
                <a:lnTo>
                  <a:pt x="592" y="1534"/>
                </a:lnTo>
                <a:lnTo>
                  <a:pt x="563" y="1496"/>
                </a:lnTo>
                <a:lnTo>
                  <a:pt x="566" y="1467"/>
                </a:lnTo>
                <a:lnTo>
                  <a:pt x="560" y="1479"/>
                </a:lnTo>
                <a:lnTo>
                  <a:pt x="559" y="1477"/>
                </a:lnTo>
                <a:lnTo>
                  <a:pt x="554" y="1453"/>
                </a:lnTo>
                <a:lnTo>
                  <a:pt x="540" y="1442"/>
                </a:lnTo>
                <a:lnTo>
                  <a:pt x="540" y="1442"/>
                </a:lnTo>
                <a:lnTo>
                  <a:pt x="546" y="1431"/>
                </a:lnTo>
                <a:lnTo>
                  <a:pt x="554" y="1422"/>
                </a:lnTo>
                <a:lnTo>
                  <a:pt x="560" y="1414"/>
                </a:lnTo>
                <a:lnTo>
                  <a:pt x="568" y="1408"/>
                </a:lnTo>
                <a:lnTo>
                  <a:pt x="585" y="1396"/>
                </a:lnTo>
                <a:lnTo>
                  <a:pt x="605" y="1384"/>
                </a:lnTo>
                <a:lnTo>
                  <a:pt x="591" y="1378"/>
                </a:lnTo>
                <a:lnTo>
                  <a:pt x="603" y="1370"/>
                </a:lnTo>
                <a:lnTo>
                  <a:pt x="603" y="1370"/>
                </a:lnTo>
                <a:lnTo>
                  <a:pt x="595" y="1362"/>
                </a:lnTo>
                <a:lnTo>
                  <a:pt x="588" y="1355"/>
                </a:lnTo>
                <a:lnTo>
                  <a:pt x="569" y="1339"/>
                </a:lnTo>
                <a:lnTo>
                  <a:pt x="551" y="1325"/>
                </a:lnTo>
                <a:lnTo>
                  <a:pt x="543" y="1316"/>
                </a:lnTo>
                <a:lnTo>
                  <a:pt x="536" y="1307"/>
                </a:lnTo>
                <a:lnTo>
                  <a:pt x="536" y="1307"/>
                </a:lnTo>
                <a:lnTo>
                  <a:pt x="540" y="1301"/>
                </a:lnTo>
                <a:lnTo>
                  <a:pt x="545" y="1293"/>
                </a:lnTo>
                <a:lnTo>
                  <a:pt x="549" y="1275"/>
                </a:lnTo>
                <a:lnTo>
                  <a:pt x="554" y="1258"/>
                </a:lnTo>
                <a:lnTo>
                  <a:pt x="557" y="1241"/>
                </a:lnTo>
                <a:lnTo>
                  <a:pt x="586" y="1258"/>
                </a:lnTo>
                <a:lnTo>
                  <a:pt x="595" y="1250"/>
                </a:lnTo>
                <a:lnTo>
                  <a:pt x="580" y="1233"/>
                </a:lnTo>
                <a:lnTo>
                  <a:pt x="580" y="1233"/>
                </a:lnTo>
                <a:lnTo>
                  <a:pt x="585" y="1232"/>
                </a:lnTo>
                <a:lnTo>
                  <a:pt x="591" y="1230"/>
                </a:lnTo>
                <a:lnTo>
                  <a:pt x="603" y="1226"/>
                </a:lnTo>
                <a:lnTo>
                  <a:pt x="631" y="1210"/>
                </a:lnTo>
                <a:lnTo>
                  <a:pt x="649" y="1203"/>
                </a:lnTo>
                <a:lnTo>
                  <a:pt x="671" y="1198"/>
                </a:lnTo>
                <a:lnTo>
                  <a:pt x="683" y="1195"/>
                </a:lnTo>
                <a:lnTo>
                  <a:pt x="695" y="1195"/>
                </a:lnTo>
                <a:lnTo>
                  <a:pt x="709" y="1195"/>
                </a:lnTo>
                <a:lnTo>
                  <a:pt x="724" y="1196"/>
                </a:lnTo>
                <a:lnTo>
                  <a:pt x="750" y="1213"/>
                </a:lnTo>
                <a:lnTo>
                  <a:pt x="750" y="1213"/>
                </a:lnTo>
                <a:lnTo>
                  <a:pt x="749" y="1219"/>
                </a:lnTo>
                <a:lnTo>
                  <a:pt x="750" y="1223"/>
                </a:lnTo>
                <a:lnTo>
                  <a:pt x="753" y="1224"/>
                </a:lnTo>
                <a:lnTo>
                  <a:pt x="756" y="1224"/>
                </a:lnTo>
                <a:lnTo>
                  <a:pt x="761" y="1224"/>
                </a:lnTo>
                <a:lnTo>
                  <a:pt x="763" y="1223"/>
                </a:lnTo>
                <a:lnTo>
                  <a:pt x="764" y="1219"/>
                </a:lnTo>
                <a:lnTo>
                  <a:pt x="761" y="1218"/>
                </a:lnTo>
                <a:lnTo>
                  <a:pt x="793" y="1232"/>
                </a:lnTo>
                <a:lnTo>
                  <a:pt x="793" y="1232"/>
                </a:lnTo>
                <a:lnTo>
                  <a:pt x="796" y="1226"/>
                </a:lnTo>
                <a:lnTo>
                  <a:pt x="801" y="1223"/>
                </a:lnTo>
                <a:lnTo>
                  <a:pt x="806" y="1219"/>
                </a:lnTo>
                <a:lnTo>
                  <a:pt x="812" y="1218"/>
                </a:lnTo>
                <a:lnTo>
                  <a:pt x="826" y="1216"/>
                </a:lnTo>
                <a:lnTo>
                  <a:pt x="841" y="1218"/>
                </a:lnTo>
                <a:lnTo>
                  <a:pt x="856" y="1223"/>
                </a:lnTo>
                <a:lnTo>
                  <a:pt x="872" y="1227"/>
                </a:lnTo>
                <a:lnTo>
                  <a:pt x="884" y="1233"/>
                </a:lnTo>
                <a:lnTo>
                  <a:pt x="893" y="1238"/>
                </a:lnTo>
                <a:lnTo>
                  <a:pt x="944" y="1227"/>
                </a:lnTo>
                <a:lnTo>
                  <a:pt x="948" y="1204"/>
                </a:lnTo>
                <a:lnTo>
                  <a:pt x="911" y="1196"/>
                </a:lnTo>
                <a:lnTo>
                  <a:pt x="933" y="1167"/>
                </a:lnTo>
                <a:lnTo>
                  <a:pt x="928" y="1150"/>
                </a:lnTo>
                <a:lnTo>
                  <a:pt x="934" y="1141"/>
                </a:lnTo>
                <a:lnTo>
                  <a:pt x="954" y="1138"/>
                </a:lnTo>
                <a:lnTo>
                  <a:pt x="956" y="1134"/>
                </a:lnTo>
                <a:lnTo>
                  <a:pt x="942" y="1126"/>
                </a:lnTo>
                <a:lnTo>
                  <a:pt x="947" y="1092"/>
                </a:lnTo>
                <a:lnTo>
                  <a:pt x="947" y="1092"/>
                </a:lnTo>
                <a:lnTo>
                  <a:pt x="950" y="1095"/>
                </a:lnTo>
                <a:lnTo>
                  <a:pt x="953" y="1098"/>
                </a:lnTo>
                <a:lnTo>
                  <a:pt x="964" y="1101"/>
                </a:lnTo>
                <a:lnTo>
                  <a:pt x="976" y="1101"/>
                </a:lnTo>
                <a:lnTo>
                  <a:pt x="991" y="1100"/>
                </a:lnTo>
                <a:lnTo>
                  <a:pt x="1027" y="1091"/>
                </a:lnTo>
                <a:lnTo>
                  <a:pt x="1068" y="1080"/>
                </a:lnTo>
                <a:lnTo>
                  <a:pt x="1111" y="1069"/>
                </a:lnTo>
                <a:lnTo>
                  <a:pt x="1132" y="1066"/>
                </a:lnTo>
                <a:lnTo>
                  <a:pt x="1154" y="1063"/>
                </a:lnTo>
                <a:lnTo>
                  <a:pt x="1175" y="1063"/>
                </a:lnTo>
                <a:lnTo>
                  <a:pt x="1195" y="1065"/>
                </a:lnTo>
                <a:lnTo>
                  <a:pt x="1214" y="1069"/>
                </a:lnTo>
                <a:lnTo>
                  <a:pt x="1223" y="1072"/>
                </a:lnTo>
                <a:lnTo>
                  <a:pt x="1232" y="1077"/>
                </a:lnTo>
                <a:lnTo>
                  <a:pt x="1221" y="1094"/>
                </a:lnTo>
                <a:lnTo>
                  <a:pt x="1289" y="1101"/>
                </a:lnTo>
                <a:lnTo>
                  <a:pt x="1289" y="1101"/>
                </a:lnTo>
                <a:lnTo>
                  <a:pt x="1284" y="1104"/>
                </a:lnTo>
                <a:lnTo>
                  <a:pt x="1283" y="1107"/>
                </a:lnTo>
                <a:lnTo>
                  <a:pt x="1284" y="1109"/>
                </a:lnTo>
                <a:lnTo>
                  <a:pt x="1287" y="1111"/>
                </a:lnTo>
                <a:lnTo>
                  <a:pt x="1300" y="1111"/>
                </a:lnTo>
                <a:lnTo>
                  <a:pt x="1315" y="1109"/>
                </a:lnTo>
                <a:lnTo>
                  <a:pt x="1330" y="1106"/>
                </a:lnTo>
                <a:lnTo>
                  <a:pt x="1344" y="1100"/>
                </a:lnTo>
                <a:lnTo>
                  <a:pt x="1350" y="1097"/>
                </a:lnTo>
                <a:lnTo>
                  <a:pt x="1353" y="1092"/>
                </a:lnTo>
                <a:lnTo>
                  <a:pt x="1353" y="1088"/>
                </a:lnTo>
                <a:lnTo>
                  <a:pt x="1352" y="1083"/>
                </a:lnTo>
                <a:lnTo>
                  <a:pt x="1373" y="1078"/>
                </a:lnTo>
                <a:lnTo>
                  <a:pt x="1359" y="1092"/>
                </a:lnTo>
                <a:lnTo>
                  <a:pt x="1359" y="1092"/>
                </a:lnTo>
                <a:lnTo>
                  <a:pt x="1369" y="1095"/>
                </a:lnTo>
                <a:lnTo>
                  <a:pt x="1378" y="1098"/>
                </a:lnTo>
                <a:lnTo>
                  <a:pt x="1387" y="1103"/>
                </a:lnTo>
                <a:lnTo>
                  <a:pt x="1395" y="1109"/>
                </a:lnTo>
                <a:lnTo>
                  <a:pt x="1410" y="1121"/>
                </a:lnTo>
                <a:lnTo>
                  <a:pt x="1424" y="1138"/>
                </a:lnTo>
                <a:lnTo>
                  <a:pt x="1436" y="1155"/>
                </a:lnTo>
                <a:lnTo>
                  <a:pt x="1447" y="1172"/>
                </a:lnTo>
                <a:lnTo>
                  <a:pt x="1456" y="1190"/>
                </a:lnTo>
                <a:lnTo>
                  <a:pt x="1464" y="1209"/>
                </a:lnTo>
                <a:lnTo>
                  <a:pt x="1481" y="1193"/>
                </a:lnTo>
                <a:lnTo>
                  <a:pt x="1494" y="1209"/>
                </a:lnTo>
                <a:lnTo>
                  <a:pt x="1494" y="1209"/>
                </a:lnTo>
                <a:lnTo>
                  <a:pt x="1502" y="1212"/>
                </a:lnTo>
                <a:lnTo>
                  <a:pt x="1510" y="1213"/>
                </a:lnTo>
                <a:lnTo>
                  <a:pt x="1530" y="1212"/>
                </a:lnTo>
                <a:lnTo>
                  <a:pt x="1548" y="1210"/>
                </a:lnTo>
                <a:lnTo>
                  <a:pt x="1563" y="1207"/>
                </a:lnTo>
                <a:lnTo>
                  <a:pt x="1619" y="1259"/>
                </a:lnTo>
                <a:lnTo>
                  <a:pt x="1619" y="1259"/>
                </a:lnTo>
                <a:lnTo>
                  <a:pt x="1626" y="1255"/>
                </a:lnTo>
                <a:lnTo>
                  <a:pt x="1634" y="1250"/>
                </a:lnTo>
                <a:lnTo>
                  <a:pt x="1640" y="1249"/>
                </a:lnTo>
                <a:lnTo>
                  <a:pt x="1648" y="1250"/>
                </a:lnTo>
                <a:lnTo>
                  <a:pt x="1654" y="1252"/>
                </a:lnTo>
                <a:lnTo>
                  <a:pt x="1659" y="1256"/>
                </a:lnTo>
                <a:lnTo>
                  <a:pt x="1665" y="1262"/>
                </a:lnTo>
                <a:lnTo>
                  <a:pt x="1668" y="1270"/>
                </a:lnTo>
                <a:lnTo>
                  <a:pt x="1760" y="1238"/>
                </a:lnTo>
                <a:lnTo>
                  <a:pt x="1761" y="1232"/>
                </a:lnTo>
                <a:lnTo>
                  <a:pt x="1784" y="1230"/>
                </a:lnTo>
                <a:lnTo>
                  <a:pt x="1792" y="1218"/>
                </a:lnTo>
                <a:lnTo>
                  <a:pt x="1792" y="1218"/>
                </a:lnTo>
                <a:lnTo>
                  <a:pt x="1827" y="1226"/>
                </a:lnTo>
                <a:lnTo>
                  <a:pt x="1864" y="1230"/>
                </a:lnTo>
                <a:lnTo>
                  <a:pt x="1866" y="1238"/>
                </a:lnTo>
                <a:lnTo>
                  <a:pt x="1893" y="1250"/>
                </a:lnTo>
                <a:lnTo>
                  <a:pt x="1893" y="1250"/>
                </a:lnTo>
                <a:lnTo>
                  <a:pt x="1910" y="1247"/>
                </a:lnTo>
                <a:lnTo>
                  <a:pt x="1930" y="1246"/>
                </a:lnTo>
                <a:lnTo>
                  <a:pt x="1965" y="1246"/>
                </a:lnTo>
                <a:lnTo>
                  <a:pt x="1965" y="1246"/>
                </a:lnTo>
                <a:lnTo>
                  <a:pt x="1962" y="1227"/>
                </a:lnTo>
                <a:lnTo>
                  <a:pt x="1962" y="1210"/>
                </a:lnTo>
                <a:lnTo>
                  <a:pt x="1962" y="1198"/>
                </a:lnTo>
                <a:lnTo>
                  <a:pt x="1964" y="1187"/>
                </a:lnTo>
                <a:lnTo>
                  <a:pt x="1967" y="1180"/>
                </a:lnTo>
                <a:lnTo>
                  <a:pt x="1970" y="1173"/>
                </a:lnTo>
                <a:lnTo>
                  <a:pt x="1976" y="1170"/>
                </a:lnTo>
                <a:lnTo>
                  <a:pt x="1984" y="1169"/>
                </a:lnTo>
                <a:lnTo>
                  <a:pt x="1992" y="1167"/>
                </a:lnTo>
                <a:lnTo>
                  <a:pt x="2001" y="1169"/>
                </a:lnTo>
                <a:lnTo>
                  <a:pt x="2022" y="1173"/>
                </a:lnTo>
                <a:lnTo>
                  <a:pt x="2077" y="1190"/>
                </a:lnTo>
                <a:lnTo>
                  <a:pt x="2077" y="1190"/>
                </a:lnTo>
                <a:lnTo>
                  <a:pt x="2079" y="1196"/>
                </a:lnTo>
                <a:lnTo>
                  <a:pt x="2081" y="1203"/>
                </a:lnTo>
                <a:lnTo>
                  <a:pt x="2085" y="1209"/>
                </a:lnTo>
                <a:lnTo>
                  <a:pt x="2090" y="1213"/>
                </a:lnTo>
                <a:lnTo>
                  <a:pt x="2102" y="1223"/>
                </a:lnTo>
                <a:lnTo>
                  <a:pt x="2117" y="1230"/>
                </a:lnTo>
                <a:lnTo>
                  <a:pt x="2137" y="1238"/>
                </a:lnTo>
                <a:lnTo>
                  <a:pt x="2159" y="1244"/>
                </a:lnTo>
                <a:lnTo>
                  <a:pt x="2183" y="1249"/>
                </a:lnTo>
                <a:lnTo>
                  <a:pt x="2208" y="1253"/>
                </a:lnTo>
                <a:lnTo>
                  <a:pt x="2258" y="1259"/>
                </a:lnTo>
                <a:lnTo>
                  <a:pt x="2306" y="1262"/>
                </a:lnTo>
                <a:lnTo>
                  <a:pt x="2346" y="1262"/>
                </a:lnTo>
                <a:lnTo>
                  <a:pt x="2372" y="1259"/>
                </a:lnTo>
                <a:lnTo>
                  <a:pt x="2381" y="1247"/>
                </a:lnTo>
                <a:lnTo>
                  <a:pt x="2427" y="1230"/>
                </a:lnTo>
                <a:lnTo>
                  <a:pt x="2446" y="1247"/>
                </a:lnTo>
                <a:lnTo>
                  <a:pt x="2469" y="1239"/>
                </a:lnTo>
                <a:lnTo>
                  <a:pt x="2515" y="1262"/>
                </a:lnTo>
                <a:lnTo>
                  <a:pt x="2515" y="1262"/>
                </a:lnTo>
                <a:lnTo>
                  <a:pt x="2522" y="1255"/>
                </a:lnTo>
                <a:lnTo>
                  <a:pt x="2530" y="1247"/>
                </a:lnTo>
                <a:lnTo>
                  <a:pt x="2547" y="1232"/>
                </a:lnTo>
                <a:lnTo>
                  <a:pt x="2555" y="1224"/>
                </a:lnTo>
                <a:lnTo>
                  <a:pt x="2561" y="1216"/>
                </a:lnTo>
                <a:lnTo>
                  <a:pt x="2565" y="1206"/>
                </a:lnTo>
                <a:lnTo>
                  <a:pt x="2568" y="1195"/>
                </a:lnTo>
                <a:lnTo>
                  <a:pt x="2587" y="1180"/>
                </a:lnTo>
                <a:lnTo>
                  <a:pt x="2593" y="1158"/>
                </a:lnTo>
                <a:lnTo>
                  <a:pt x="2571" y="1147"/>
                </a:lnTo>
                <a:lnTo>
                  <a:pt x="2598" y="1124"/>
                </a:lnTo>
                <a:lnTo>
                  <a:pt x="2598" y="1124"/>
                </a:lnTo>
                <a:lnTo>
                  <a:pt x="2622" y="1127"/>
                </a:lnTo>
                <a:lnTo>
                  <a:pt x="2644" y="1127"/>
                </a:lnTo>
                <a:lnTo>
                  <a:pt x="2662" y="1127"/>
                </a:lnTo>
                <a:lnTo>
                  <a:pt x="2677" y="1126"/>
                </a:lnTo>
                <a:lnTo>
                  <a:pt x="2702" y="1123"/>
                </a:lnTo>
                <a:lnTo>
                  <a:pt x="2711" y="1123"/>
                </a:lnTo>
                <a:lnTo>
                  <a:pt x="2720" y="1123"/>
                </a:lnTo>
                <a:lnTo>
                  <a:pt x="2728" y="1126"/>
                </a:lnTo>
                <a:lnTo>
                  <a:pt x="2734" y="1132"/>
                </a:lnTo>
                <a:lnTo>
                  <a:pt x="2742" y="1140"/>
                </a:lnTo>
                <a:lnTo>
                  <a:pt x="2749" y="1154"/>
                </a:lnTo>
                <a:lnTo>
                  <a:pt x="2757" y="1170"/>
                </a:lnTo>
                <a:lnTo>
                  <a:pt x="2766" y="1193"/>
                </a:lnTo>
                <a:lnTo>
                  <a:pt x="2788" y="1255"/>
                </a:lnTo>
                <a:lnTo>
                  <a:pt x="2834" y="1259"/>
                </a:lnTo>
                <a:lnTo>
                  <a:pt x="2834" y="1259"/>
                </a:lnTo>
                <a:lnTo>
                  <a:pt x="2864" y="1292"/>
                </a:lnTo>
                <a:lnTo>
                  <a:pt x="2894" y="1325"/>
                </a:lnTo>
                <a:lnTo>
                  <a:pt x="2920" y="1324"/>
                </a:lnTo>
                <a:lnTo>
                  <a:pt x="2927" y="1316"/>
                </a:lnTo>
                <a:lnTo>
                  <a:pt x="2983" y="1305"/>
                </a:lnTo>
                <a:lnTo>
                  <a:pt x="2983" y="1305"/>
                </a:lnTo>
                <a:lnTo>
                  <a:pt x="2983" y="1312"/>
                </a:lnTo>
                <a:lnTo>
                  <a:pt x="2983" y="1319"/>
                </a:lnTo>
                <a:lnTo>
                  <a:pt x="2978" y="1335"/>
                </a:lnTo>
                <a:lnTo>
                  <a:pt x="2972" y="1350"/>
                </a:lnTo>
                <a:lnTo>
                  <a:pt x="2964" y="1365"/>
                </a:lnTo>
                <a:lnTo>
                  <a:pt x="2944" y="1394"/>
                </a:lnTo>
                <a:lnTo>
                  <a:pt x="2927" y="1420"/>
                </a:lnTo>
                <a:lnTo>
                  <a:pt x="2898" y="1411"/>
                </a:lnTo>
                <a:lnTo>
                  <a:pt x="2898" y="1411"/>
                </a:lnTo>
                <a:lnTo>
                  <a:pt x="2892" y="1417"/>
                </a:lnTo>
                <a:lnTo>
                  <a:pt x="2888" y="1424"/>
                </a:lnTo>
                <a:lnTo>
                  <a:pt x="2884" y="1428"/>
                </a:lnTo>
                <a:lnTo>
                  <a:pt x="2883" y="1434"/>
                </a:lnTo>
                <a:lnTo>
                  <a:pt x="2881" y="1444"/>
                </a:lnTo>
                <a:lnTo>
                  <a:pt x="2881" y="1454"/>
                </a:lnTo>
                <a:lnTo>
                  <a:pt x="2881" y="1465"/>
                </a:lnTo>
                <a:lnTo>
                  <a:pt x="2878" y="1477"/>
                </a:lnTo>
                <a:lnTo>
                  <a:pt x="2877" y="1485"/>
                </a:lnTo>
                <a:lnTo>
                  <a:pt x="2872" y="1493"/>
                </a:lnTo>
                <a:lnTo>
                  <a:pt x="2868" y="1502"/>
                </a:lnTo>
                <a:lnTo>
                  <a:pt x="2860" y="1511"/>
                </a:lnTo>
                <a:lnTo>
                  <a:pt x="2871" y="1505"/>
                </a:lnTo>
                <a:lnTo>
                  <a:pt x="2871" y="1505"/>
                </a:lnTo>
                <a:lnTo>
                  <a:pt x="2869" y="1503"/>
                </a:lnTo>
                <a:lnTo>
                  <a:pt x="2868" y="1502"/>
                </a:lnTo>
                <a:lnTo>
                  <a:pt x="2866" y="1502"/>
                </a:lnTo>
                <a:lnTo>
                  <a:pt x="2866" y="1500"/>
                </a:lnTo>
                <a:lnTo>
                  <a:pt x="2881" y="1505"/>
                </a:lnTo>
                <a:lnTo>
                  <a:pt x="2900" y="1474"/>
                </a:lnTo>
                <a:lnTo>
                  <a:pt x="2932" y="1502"/>
                </a:lnTo>
                <a:lnTo>
                  <a:pt x="2932" y="1502"/>
                </a:lnTo>
                <a:lnTo>
                  <a:pt x="2943" y="1497"/>
                </a:lnTo>
                <a:lnTo>
                  <a:pt x="2955" y="1491"/>
                </a:lnTo>
                <a:lnTo>
                  <a:pt x="2980" y="1477"/>
                </a:lnTo>
                <a:lnTo>
                  <a:pt x="3003" y="1459"/>
                </a:lnTo>
                <a:lnTo>
                  <a:pt x="3026" y="1437"/>
                </a:lnTo>
                <a:lnTo>
                  <a:pt x="3047" y="1414"/>
                </a:lnTo>
                <a:lnTo>
                  <a:pt x="3065" y="1390"/>
                </a:lnTo>
                <a:lnTo>
                  <a:pt x="3082" y="1367"/>
                </a:lnTo>
                <a:lnTo>
                  <a:pt x="3093" y="1344"/>
                </a:lnTo>
                <a:lnTo>
                  <a:pt x="3101" y="1342"/>
                </a:lnTo>
                <a:lnTo>
                  <a:pt x="3101" y="1342"/>
                </a:lnTo>
                <a:lnTo>
                  <a:pt x="3102" y="1331"/>
                </a:lnTo>
                <a:lnTo>
                  <a:pt x="3105" y="1318"/>
                </a:lnTo>
                <a:lnTo>
                  <a:pt x="3110" y="1305"/>
                </a:lnTo>
                <a:lnTo>
                  <a:pt x="3116" y="1292"/>
                </a:lnTo>
                <a:lnTo>
                  <a:pt x="3130" y="1262"/>
                </a:lnTo>
                <a:lnTo>
                  <a:pt x="3144" y="1233"/>
                </a:lnTo>
                <a:lnTo>
                  <a:pt x="3150" y="1218"/>
                </a:lnTo>
                <a:lnTo>
                  <a:pt x="3156" y="1204"/>
                </a:lnTo>
                <a:lnTo>
                  <a:pt x="3159" y="1190"/>
                </a:lnTo>
                <a:lnTo>
                  <a:pt x="3161" y="1177"/>
                </a:lnTo>
                <a:lnTo>
                  <a:pt x="3159" y="1163"/>
                </a:lnTo>
                <a:lnTo>
                  <a:pt x="3156" y="1150"/>
                </a:lnTo>
                <a:lnTo>
                  <a:pt x="3148" y="1140"/>
                </a:lnTo>
                <a:lnTo>
                  <a:pt x="3139" y="1129"/>
                </a:lnTo>
                <a:lnTo>
                  <a:pt x="3139" y="1129"/>
                </a:lnTo>
                <a:lnTo>
                  <a:pt x="3153" y="1135"/>
                </a:lnTo>
                <a:lnTo>
                  <a:pt x="3158" y="1137"/>
                </a:lnTo>
                <a:lnTo>
                  <a:pt x="3159" y="1137"/>
                </a:lnTo>
                <a:lnTo>
                  <a:pt x="3161" y="1135"/>
                </a:lnTo>
                <a:lnTo>
                  <a:pt x="3161" y="1132"/>
                </a:lnTo>
                <a:lnTo>
                  <a:pt x="3158" y="1126"/>
                </a:lnTo>
                <a:lnTo>
                  <a:pt x="3144" y="1109"/>
                </a:lnTo>
                <a:lnTo>
                  <a:pt x="3131" y="1097"/>
                </a:lnTo>
                <a:lnTo>
                  <a:pt x="3088" y="1088"/>
                </a:lnTo>
                <a:lnTo>
                  <a:pt x="3085" y="1117"/>
                </a:lnTo>
                <a:lnTo>
                  <a:pt x="3078" y="1109"/>
                </a:lnTo>
                <a:lnTo>
                  <a:pt x="3046" y="1115"/>
                </a:lnTo>
                <a:lnTo>
                  <a:pt x="3062" y="1101"/>
                </a:lnTo>
                <a:lnTo>
                  <a:pt x="3035" y="1107"/>
                </a:lnTo>
                <a:lnTo>
                  <a:pt x="3030" y="1104"/>
                </a:lnTo>
                <a:lnTo>
                  <a:pt x="3038" y="1077"/>
                </a:lnTo>
                <a:lnTo>
                  <a:pt x="3009" y="1078"/>
                </a:lnTo>
                <a:lnTo>
                  <a:pt x="2990" y="1068"/>
                </a:lnTo>
                <a:lnTo>
                  <a:pt x="3021" y="1052"/>
                </a:lnTo>
                <a:lnTo>
                  <a:pt x="3023" y="1041"/>
                </a:lnTo>
                <a:lnTo>
                  <a:pt x="3076" y="1005"/>
                </a:lnTo>
                <a:lnTo>
                  <a:pt x="3076" y="1005"/>
                </a:lnTo>
                <a:lnTo>
                  <a:pt x="3078" y="997"/>
                </a:lnTo>
                <a:lnTo>
                  <a:pt x="3081" y="989"/>
                </a:lnTo>
                <a:lnTo>
                  <a:pt x="3087" y="976"/>
                </a:lnTo>
                <a:lnTo>
                  <a:pt x="3098" y="962"/>
                </a:lnTo>
                <a:lnTo>
                  <a:pt x="3111" y="949"/>
                </a:lnTo>
                <a:lnTo>
                  <a:pt x="3128" y="937"/>
                </a:lnTo>
                <a:lnTo>
                  <a:pt x="3145" y="926"/>
                </a:lnTo>
                <a:lnTo>
                  <a:pt x="3165" y="917"/>
                </a:lnTo>
                <a:lnTo>
                  <a:pt x="3185" y="908"/>
                </a:lnTo>
                <a:lnTo>
                  <a:pt x="3207" y="902"/>
                </a:lnTo>
                <a:lnTo>
                  <a:pt x="3230" y="896"/>
                </a:lnTo>
                <a:lnTo>
                  <a:pt x="3251" y="891"/>
                </a:lnTo>
                <a:lnTo>
                  <a:pt x="3271" y="888"/>
                </a:lnTo>
                <a:lnTo>
                  <a:pt x="3291" y="888"/>
                </a:lnTo>
                <a:lnTo>
                  <a:pt x="3311" y="888"/>
                </a:lnTo>
                <a:lnTo>
                  <a:pt x="3326" y="891"/>
                </a:lnTo>
                <a:lnTo>
                  <a:pt x="3342" y="894"/>
                </a:lnTo>
                <a:lnTo>
                  <a:pt x="3355" y="888"/>
                </a:lnTo>
                <a:lnTo>
                  <a:pt x="3374" y="896"/>
                </a:lnTo>
                <a:lnTo>
                  <a:pt x="3374" y="896"/>
                </a:lnTo>
                <a:lnTo>
                  <a:pt x="3369" y="894"/>
                </a:lnTo>
                <a:lnTo>
                  <a:pt x="3368" y="891"/>
                </a:lnTo>
                <a:lnTo>
                  <a:pt x="3368" y="890"/>
                </a:lnTo>
                <a:lnTo>
                  <a:pt x="3371" y="887"/>
                </a:lnTo>
                <a:lnTo>
                  <a:pt x="3377" y="880"/>
                </a:lnTo>
                <a:lnTo>
                  <a:pt x="3380" y="876"/>
                </a:lnTo>
                <a:lnTo>
                  <a:pt x="3380" y="873"/>
                </a:lnTo>
                <a:lnTo>
                  <a:pt x="3380" y="873"/>
                </a:lnTo>
                <a:lnTo>
                  <a:pt x="3403" y="876"/>
                </a:lnTo>
                <a:lnTo>
                  <a:pt x="3424" y="880"/>
                </a:lnTo>
                <a:lnTo>
                  <a:pt x="3447" y="888"/>
                </a:lnTo>
                <a:lnTo>
                  <a:pt x="3467" y="896"/>
                </a:lnTo>
                <a:lnTo>
                  <a:pt x="3432" y="900"/>
                </a:lnTo>
                <a:lnTo>
                  <a:pt x="3441" y="911"/>
                </a:lnTo>
                <a:lnTo>
                  <a:pt x="3463" y="910"/>
                </a:lnTo>
                <a:lnTo>
                  <a:pt x="3466" y="906"/>
                </a:lnTo>
                <a:lnTo>
                  <a:pt x="3484" y="911"/>
                </a:lnTo>
                <a:lnTo>
                  <a:pt x="3546" y="894"/>
                </a:lnTo>
                <a:lnTo>
                  <a:pt x="3546" y="894"/>
                </a:lnTo>
                <a:lnTo>
                  <a:pt x="3541" y="890"/>
                </a:lnTo>
                <a:lnTo>
                  <a:pt x="3538" y="887"/>
                </a:lnTo>
                <a:lnTo>
                  <a:pt x="3533" y="885"/>
                </a:lnTo>
                <a:lnTo>
                  <a:pt x="3529" y="885"/>
                </a:lnTo>
                <a:lnTo>
                  <a:pt x="3521" y="887"/>
                </a:lnTo>
                <a:lnTo>
                  <a:pt x="3518" y="888"/>
                </a:lnTo>
                <a:lnTo>
                  <a:pt x="3517" y="888"/>
                </a:lnTo>
                <a:lnTo>
                  <a:pt x="3569" y="833"/>
                </a:lnTo>
                <a:lnTo>
                  <a:pt x="3569" y="827"/>
                </a:lnTo>
                <a:lnTo>
                  <a:pt x="3589" y="814"/>
                </a:lnTo>
                <a:lnTo>
                  <a:pt x="3589" y="804"/>
                </a:lnTo>
                <a:lnTo>
                  <a:pt x="3615" y="790"/>
                </a:lnTo>
                <a:lnTo>
                  <a:pt x="3615" y="790"/>
                </a:lnTo>
                <a:lnTo>
                  <a:pt x="3635" y="796"/>
                </a:lnTo>
                <a:lnTo>
                  <a:pt x="3644" y="798"/>
                </a:lnTo>
                <a:lnTo>
                  <a:pt x="3653" y="799"/>
                </a:lnTo>
                <a:lnTo>
                  <a:pt x="3662" y="798"/>
                </a:lnTo>
                <a:lnTo>
                  <a:pt x="3671" y="794"/>
                </a:lnTo>
                <a:lnTo>
                  <a:pt x="3681" y="790"/>
                </a:lnTo>
                <a:lnTo>
                  <a:pt x="3688" y="784"/>
                </a:lnTo>
                <a:lnTo>
                  <a:pt x="3691" y="784"/>
                </a:lnTo>
                <a:lnTo>
                  <a:pt x="3675" y="813"/>
                </a:lnTo>
                <a:lnTo>
                  <a:pt x="3679" y="825"/>
                </a:lnTo>
                <a:lnTo>
                  <a:pt x="3679" y="825"/>
                </a:lnTo>
                <a:lnTo>
                  <a:pt x="3687" y="822"/>
                </a:lnTo>
                <a:lnTo>
                  <a:pt x="3691" y="821"/>
                </a:lnTo>
                <a:lnTo>
                  <a:pt x="3693" y="821"/>
                </a:lnTo>
                <a:lnTo>
                  <a:pt x="3693" y="822"/>
                </a:lnTo>
                <a:lnTo>
                  <a:pt x="3685" y="840"/>
                </a:lnTo>
                <a:lnTo>
                  <a:pt x="3685" y="840"/>
                </a:lnTo>
                <a:lnTo>
                  <a:pt x="3693" y="840"/>
                </a:lnTo>
                <a:lnTo>
                  <a:pt x="3701" y="836"/>
                </a:lnTo>
                <a:lnTo>
                  <a:pt x="3710" y="830"/>
                </a:lnTo>
                <a:lnTo>
                  <a:pt x="3719" y="822"/>
                </a:lnTo>
                <a:lnTo>
                  <a:pt x="3736" y="807"/>
                </a:lnTo>
                <a:lnTo>
                  <a:pt x="3748" y="794"/>
                </a:lnTo>
                <a:lnTo>
                  <a:pt x="3748" y="794"/>
                </a:lnTo>
                <a:lnTo>
                  <a:pt x="3753" y="799"/>
                </a:lnTo>
                <a:lnTo>
                  <a:pt x="3756" y="801"/>
                </a:lnTo>
                <a:lnTo>
                  <a:pt x="3760" y="802"/>
                </a:lnTo>
                <a:lnTo>
                  <a:pt x="3764" y="802"/>
                </a:lnTo>
                <a:lnTo>
                  <a:pt x="3765" y="801"/>
                </a:lnTo>
                <a:lnTo>
                  <a:pt x="3768" y="799"/>
                </a:lnTo>
                <a:lnTo>
                  <a:pt x="3771" y="791"/>
                </a:lnTo>
                <a:lnTo>
                  <a:pt x="3773" y="784"/>
                </a:lnTo>
                <a:lnTo>
                  <a:pt x="3773" y="773"/>
                </a:lnTo>
                <a:lnTo>
                  <a:pt x="3773" y="758"/>
                </a:lnTo>
                <a:lnTo>
                  <a:pt x="3814" y="753"/>
                </a:lnTo>
                <a:lnTo>
                  <a:pt x="3816" y="758"/>
                </a:lnTo>
                <a:lnTo>
                  <a:pt x="3837" y="762"/>
                </a:lnTo>
                <a:lnTo>
                  <a:pt x="3826" y="761"/>
                </a:lnTo>
                <a:lnTo>
                  <a:pt x="3833" y="768"/>
                </a:lnTo>
                <a:lnTo>
                  <a:pt x="3797" y="768"/>
                </a:lnTo>
                <a:lnTo>
                  <a:pt x="3785" y="828"/>
                </a:lnTo>
                <a:lnTo>
                  <a:pt x="3785" y="828"/>
                </a:lnTo>
                <a:lnTo>
                  <a:pt x="3771" y="831"/>
                </a:lnTo>
                <a:lnTo>
                  <a:pt x="3757" y="836"/>
                </a:lnTo>
                <a:lnTo>
                  <a:pt x="3745" y="844"/>
                </a:lnTo>
                <a:lnTo>
                  <a:pt x="3733" y="851"/>
                </a:lnTo>
                <a:lnTo>
                  <a:pt x="3721" y="862"/>
                </a:lnTo>
                <a:lnTo>
                  <a:pt x="3710" y="873"/>
                </a:lnTo>
                <a:lnTo>
                  <a:pt x="3687" y="896"/>
                </a:lnTo>
                <a:lnTo>
                  <a:pt x="3665" y="919"/>
                </a:lnTo>
                <a:lnTo>
                  <a:pt x="3655" y="929"/>
                </a:lnTo>
                <a:lnTo>
                  <a:pt x="3642" y="939"/>
                </a:lnTo>
                <a:lnTo>
                  <a:pt x="3632" y="945"/>
                </a:lnTo>
                <a:lnTo>
                  <a:pt x="3619" y="951"/>
                </a:lnTo>
                <a:lnTo>
                  <a:pt x="3607" y="954"/>
                </a:lnTo>
                <a:lnTo>
                  <a:pt x="3593" y="954"/>
                </a:lnTo>
                <a:lnTo>
                  <a:pt x="3599" y="963"/>
                </a:lnTo>
                <a:lnTo>
                  <a:pt x="3590" y="983"/>
                </a:lnTo>
                <a:lnTo>
                  <a:pt x="3572" y="994"/>
                </a:lnTo>
                <a:lnTo>
                  <a:pt x="3572" y="994"/>
                </a:lnTo>
                <a:lnTo>
                  <a:pt x="3564" y="1014"/>
                </a:lnTo>
                <a:lnTo>
                  <a:pt x="3559" y="1034"/>
                </a:lnTo>
                <a:lnTo>
                  <a:pt x="3559" y="1054"/>
                </a:lnTo>
                <a:lnTo>
                  <a:pt x="3559" y="1074"/>
                </a:lnTo>
                <a:lnTo>
                  <a:pt x="3563" y="1094"/>
                </a:lnTo>
                <a:lnTo>
                  <a:pt x="3567" y="1114"/>
                </a:lnTo>
                <a:lnTo>
                  <a:pt x="3573" y="1134"/>
                </a:lnTo>
                <a:lnTo>
                  <a:pt x="3581" y="1154"/>
                </a:lnTo>
                <a:lnTo>
                  <a:pt x="3576" y="1157"/>
                </a:lnTo>
                <a:lnTo>
                  <a:pt x="3576" y="1157"/>
                </a:lnTo>
                <a:lnTo>
                  <a:pt x="3582" y="1169"/>
                </a:lnTo>
                <a:lnTo>
                  <a:pt x="3586" y="1183"/>
                </a:lnTo>
                <a:lnTo>
                  <a:pt x="3587" y="1195"/>
                </a:lnTo>
                <a:lnTo>
                  <a:pt x="3586" y="1209"/>
                </a:lnTo>
                <a:lnTo>
                  <a:pt x="3633" y="1177"/>
                </a:lnTo>
                <a:lnTo>
                  <a:pt x="3633" y="1177"/>
                </a:lnTo>
                <a:lnTo>
                  <a:pt x="3638" y="1147"/>
                </a:lnTo>
                <a:lnTo>
                  <a:pt x="3639" y="1140"/>
                </a:lnTo>
                <a:lnTo>
                  <a:pt x="3641" y="1135"/>
                </a:lnTo>
                <a:lnTo>
                  <a:pt x="3642" y="1135"/>
                </a:lnTo>
                <a:lnTo>
                  <a:pt x="3644" y="1135"/>
                </a:lnTo>
                <a:lnTo>
                  <a:pt x="3645" y="1141"/>
                </a:lnTo>
                <a:lnTo>
                  <a:pt x="3673" y="1127"/>
                </a:lnTo>
                <a:lnTo>
                  <a:pt x="3679" y="1137"/>
                </a:lnTo>
                <a:lnTo>
                  <a:pt x="3673" y="1109"/>
                </a:lnTo>
                <a:lnTo>
                  <a:pt x="3696" y="1081"/>
                </a:lnTo>
                <a:lnTo>
                  <a:pt x="3737" y="1072"/>
                </a:lnTo>
                <a:lnTo>
                  <a:pt x="3736" y="1022"/>
                </a:lnTo>
                <a:lnTo>
                  <a:pt x="3736" y="1022"/>
                </a:lnTo>
                <a:lnTo>
                  <a:pt x="3747" y="1012"/>
                </a:lnTo>
                <a:lnTo>
                  <a:pt x="3754" y="1003"/>
                </a:lnTo>
                <a:lnTo>
                  <a:pt x="3762" y="994"/>
                </a:lnTo>
                <a:lnTo>
                  <a:pt x="3765" y="986"/>
                </a:lnTo>
                <a:lnTo>
                  <a:pt x="3768" y="977"/>
                </a:lnTo>
                <a:lnTo>
                  <a:pt x="3770" y="971"/>
                </a:lnTo>
                <a:lnTo>
                  <a:pt x="3768" y="965"/>
                </a:lnTo>
                <a:lnTo>
                  <a:pt x="3767" y="959"/>
                </a:lnTo>
                <a:lnTo>
                  <a:pt x="3765" y="954"/>
                </a:lnTo>
                <a:lnTo>
                  <a:pt x="3760" y="949"/>
                </a:lnTo>
                <a:lnTo>
                  <a:pt x="3757" y="946"/>
                </a:lnTo>
                <a:lnTo>
                  <a:pt x="3753" y="945"/>
                </a:lnTo>
                <a:lnTo>
                  <a:pt x="3748" y="945"/>
                </a:lnTo>
                <a:lnTo>
                  <a:pt x="3744" y="946"/>
                </a:lnTo>
                <a:lnTo>
                  <a:pt x="3739" y="948"/>
                </a:lnTo>
                <a:lnTo>
                  <a:pt x="3734" y="953"/>
                </a:lnTo>
                <a:lnTo>
                  <a:pt x="3734" y="953"/>
                </a:lnTo>
                <a:lnTo>
                  <a:pt x="3745" y="931"/>
                </a:lnTo>
                <a:lnTo>
                  <a:pt x="3756" y="913"/>
                </a:lnTo>
                <a:lnTo>
                  <a:pt x="3767" y="893"/>
                </a:lnTo>
                <a:lnTo>
                  <a:pt x="3774" y="871"/>
                </a:lnTo>
                <a:lnTo>
                  <a:pt x="3774" y="871"/>
                </a:lnTo>
                <a:lnTo>
                  <a:pt x="3785" y="867"/>
                </a:lnTo>
                <a:lnTo>
                  <a:pt x="3794" y="865"/>
                </a:lnTo>
                <a:lnTo>
                  <a:pt x="3814" y="860"/>
                </a:lnTo>
                <a:lnTo>
                  <a:pt x="3833" y="856"/>
                </a:lnTo>
                <a:lnTo>
                  <a:pt x="3842" y="851"/>
                </a:lnTo>
                <a:lnTo>
                  <a:pt x="3851" y="845"/>
                </a:lnTo>
                <a:lnTo>
                  <a:pt x="3849" y="873"/>
                </a:lnTo>
                <a:lnTo>
                  <a:pt x="3876" y="850"/>
                </a:lnTo>
                <a:lnTo>
                  <a:pt x="3880" y="851"/>
                </a:lnTo>
                <a:lnTo>
                  <a:pt x="3912" y="840"/>
                </a:lnTo>
                <a:lnTo>
                  <a:pt x="3948" y="850"/>
                </a:lnTo>
                <a:lnTo>
                  <a:pt x="3966" y="870"/>
                </a:lnTo>
                <a:lnTo>
                  <a:pt x="3972" y="851"/>
                </a:lnTo>
                <a:lnTo>
                  <a:pt x="3971" y="848"/>
                </a:lnTo>
                <a:lnTo>
                  <a:pt x="3981" y="845"/>
                </a:lnTo>
                <a:lnTo>
                  <a:pt x="4014" y="821"/>
                </a:lnTo>
                <a:lnTo>
                  <a:pt x="4020" y="825"/>
                </a:lnTo>
                <a:lnTo>
                  <a:pt x="4052" y="794"/>
                </a:lnTo>
                <a:lnTo>
                  <a:pt x="4063" y="796"/>
                </a:lnTo>
                <a:lnTo>
                  <a:pt x="4086" y="788"/>
                </a:lnTo>
                <a:lnTo>
                  <a:pt x="4083" y="785"/>
                </a:lnTo>
                <a:lnTo>
                  <a:pt x="4095" y="784"/>
                </a:lnTo>
                <a:lnTo>
                  <a:pt x="4098" y="778"/>
                </a:lnTo>
                <a:lnTo>
                  <a:pt x="4100" y="779"/>
                </a:lnTo>
                <a:lnTo>
                  <a:pt x="4221" y="755"/>
                </a:lnTo>
                <a:lnTo>
                  <a:pt x="4213" y="741"/>
                </a:lnTo>
                <a:lnTo>
                  <a:pt x="4213" y="741"/>
                </a:lnTo>
                <a:lnTo>
                  <a:pt x="4210" y="741"/>
                </a:lnTo>
                <a:lnTo>
                  <a:pt x="4207" y="742"/>
                </a:lnTo>
                <a:lnTo>
                  <a:pt x="4205" y="742"/>
                </a:lnTo>
                <a:lnTo>
                  <a:pt x="4204" y="742"/>
                </a:lnTo>
                <a:lnTo>
                  <a:pt x="4204" y="742"/>
                </a:lnTo>
                <a:lnTo>
                  <a:pt x="4207" y="739"/>
                </a:lnTo>
                <a:lnTo>
                  <a:pt x="4210" y="738"/>
                </a:lnTo>
                <a:lnTo>
                  <a:pt x="4213" y="736"/>
                </a:lnTo>
                <a:lnTo>
                  <a:pt x="4216" y="735"/>
                </a:lnTo>
                <a:lnTo>
                  <a:pt x="4207" y="728"/>
                </a:lnTo>
                <a:lnTo>
                  <a:pt x="4187" y="679"/>
                </a:lnTo>
                <a:lnTo>
                  <a:pt x="4181" y="686"/>
                </a:lnTo>
                <a:lnTo>
                  <a:pt x="4161" y="676"/>
                </a:lnTo>
                <a:lnTo>
                  <a:pt x="4164" y="663"/>
                </a:lnTo>
                <a:lnTo>
                  <a:pt x="4164" y="663"/>
                </a:lnTo>
                <a:lnTo>
                  <a:pt x="4158" y="655"/>
                </a:lnTo>
                <a:lnTo>
                  <a:pt x="4155" y="653"/>
                </a:lnTo>
                <a:lnTo>
                  <a:pt x="4152" y="650"/>
                </a:lnTo>
                <a:lnTo>
                  <a:pt x="4152" y="650"/>
                </a:lnTo>
                <a:lnTo>
                  <a:pt x="4158" y="655"/>
                </a:lnTo>
                <a:lnTo>
                  <a:pt x="4165" y="659"/>
                </a:lnTo>
                <a:lnTo>
                  <a:pt x="4181" y="664"/>
                </a:lnTo>
                <a:lnTo>
                  <a:pt x="4196" y="666"/>
                </a:lnTo>
                <a:lnTo>
                  <a:pt x="4212" y="664"/>
                </a:lnTo>
                <a:lnTo>
                  <a:pt x="4212" y="669"/>
                </a:lnTo>
                <a:lnTo>
                  <a:pt x="4192" y="670"/>
                </a:lnTo>
                <a:lnTo>
                  <a:pt x="4192" y="672"/>
                </a:lnTo>
                <a:lnTo>
                  <a:pt x="4212" y="670"/>
                </a:lnTo>
                <a:lnTo>
                  <a:pt x="4231" y="647"/>
                </a:lnTo>
                <a:lnTo>
                  <a:pt x="4233" y="465"/>
                </a:lnTo>
                <a:close/>
              </a:path>
            </a:pathLst>
          </a:custGeom>
          <a:solidFill>
            <a:schemeClr val="accent3">
              <a:lumMod val="6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00"/>
          </a:p>
        </p:txBody>
      </p:sp>
      <p:sp>
        <p:nvSpPr>
          <p:cNvPr id="7" name="Line Callout 2 6"/>
          <p:cNvSpPr/>
          <p:nvPr/>
        </p:nvSpPr>
        <p:spPr bwMode="auto">
          <a:xfrm>
            <a:off x="823264" y="1332509"/>
            <a:ext cx="8141224" cy="1736451"/>
          </a:xfrm>
          <a:prstGeom prst="borderCallout2">
            <a:avLst>
              <a:gd name="adj1" fmla="val 48826"/>
              <a:gd name="adj2" fmla="val -13"/>
              <a:gd name="adj3" fmla="val 48518"/>
              <a:gd name="adj4" fmla="val -2324"/>
              <a:gd name="adj5" fmla="val 179686"/>
              <a:gd name="adj6" fmla="val -5142"/>
            </a:avLst>
          </a:prstGeom>
          <a:solidFill>
            <a:schemeClr val="bg1">
              <a:alpha val="50000"/>
            </a:schemeClr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82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just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</a:rPr>
              <a:t>Портовая СПГ</a:t>
            </a:r>
            <a:endParaRPr lang="en-GB" sz="1200" b="1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Заказчик</a:t>
            </a:r>
            <a:r>
              <a:rPr lang="en-GB" altLang="de-DE" sz="1200" dirty="0">
                <a:solidFill>
                  <a:schemeClr val="accent2">
                    <a:lumMod val="75000"/>
                  </a:schemeClr>
                </a:solidFill>
              </a:rPr>
              <a:t>	</a:t>
            </a:r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ООО «НИПИ НГ «ПЕТОН»» </a:t>
            </a:r>
          </a:p>
          <a:p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                              </a:t>
            </a:r>
            <a:r>
              <a:rPr lang="en-GB" altLang="de-DE" sz="1200" dirty="0">
                <a:solidFill>
                  <a:schemeClr val="accent2">
                    <a:lumMod val="75000"/>
                  </a:schemeClr>
                </a:solidFill>
              </a:rPr>
              <a:t> / </a:t>
            </a:r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ПАО «Газпром»</a:t>
            </a:r>
            <a:endParaRPr lang="en-GB" altLang="de-DE" sz="1200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Распол.</a:t>
            </a:r>
            <a:r>
              <a:rPr lang="en-GB" altLang="de-DE" sz="1200" dirty="0">
                <a:solidFill>
                  <a:schemeClr val="accent2">
                    <a:lumMod val="75000"/>
                  </a:schemeClr>
                </a:solidFill>
              </a:rPr>
              <a:t>	</a:t>
            </a:r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КС «Портовая»</a:t>
            </a:r>
            <a:endParaRPr lang="en-GB" altLang="de-DE" sz="1200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Процесс</a:t>
            </a:r>
            <a:r>
              <a:rPr lang="en-GB" altLang="de-DE" sz="1200" dirty="0">
                <a:solidFill>
                  <a:schemeClr val="accent2">
                    <a:lumMod val="75000"/>
                  </a:schemeClr>
                </a:solidFill>
              </a:rPr>
              <a:t> 	</a:t>
            </a:r>
            <a:r>
              <a:rPr lang="en-US" altLang="de-DE" sz="1200" dirty="0">
                <a:solidFill>
                  <a:schemeClr val="accent2">
                    <a:lumMod val="75000"/>
                  </a:schemeClr>
                </a:solidFill>
              </a:rPr>
              <a:t>LIMUM3 </a:t>
            </a:r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с</a:t>
            </a:r>
            <a:r>
              <a:rPr lang="en-US" altLang="de-DE" sz="12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СВТО</a:t>
            </a:r>
            <a:r>
              <a:rPr lang="en-US" altLang="de-DE" sz="12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endParaRPr lang="en-GB" altLang="de-DE" sz="1200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Мощность</a:t>
            </a:r>
            <a:r>
              <a:rPr lang="en-GB" altLang="de-DE" sz="1200" dirty="0">
                <a:solidFill>
                  <a:schemeClr val="accent2">
                    <a:lumMod val="75000"/>
                  </a:schemeClr>
                </a:solidFill>
              </a:rPr>
              <a:t>	</a:t>
            </a:r>
            <a:r>
              <a:rPr lang="en-US" altLang="de-DE" sz="1200" dirty="0">
                <a:solidFill>
                  <a:schemeClr val="accent2">
                    <a:lumMod val="75000"/>
                  </a:schemeClr>
                </a:solidFill>
              </a:rPr>
              <a:t>1.5 </a:t>
            </a:r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млн.т./год</a:t>
            </a:r>
            <a:r>
              <a:rPr lang="en-US" altLang="de-DE" sz="1200" dirty="0">
                <a:solidFill>
                  <a:schemeClr val="accent2">
                    <a:lumMod val="75000"/>
                  </a:schemeClr>
                </a:solidFill>
              </a:rPr>
              <a:t> </a:t>
            </a:r>
          </a:p>
          <a:p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Объем </a:t>
            </a:r>
            <a:r>
              <a:rPr lang="de-DE" altLang="de-DE" sz="1200" dirty="0">
                <a:solidFill>
                  <a:schemeClr val="accent2">
                    <a:lumMod val="75000"/>
                  </a:schemeClr>
                </a:solidFill>
              </a:rPr>
              <a:t>Linde    </a:t>
            </a:r>
            <a:r>
              <a:rPr lang="en-GB" altLang="de-DE" sz="1200" dirty="0">
                <a:solidFill>
                  <a:schemeClr val="accent2">
                    <a:lumMod val="75000"/>
                  </a:schemeClr>
                </a:solidFill>
              </a:rPr>
              <a:t>EPSS</a:t>
            </a:r>
          </a:p>
        </p:txBody>
      </p:sp>
      <p:sp>
        <p:nvSpPr>
          <p:cNvPr id="10" name="Line Callout 2 9"/>
          <p:cNvSpPr/>
          <p:nvPr/>
        </p:nvSpPr>
        <p:spPr bwMode="auto">
          <a:xfrm>
            <a:off x="1043608" y="3245125"/>
            <a:ext cx="7488832" cy="1720300"/>
          </a:xfrm>
          <a:prstGeom prst="borderCallout2">
            <a:avLst>
              <a:gd name="adj1" fmla="val 100142"/>
              <a:gd name="adj2" fmla="val 49771"/>
              <a:gd name="adj3" fmla="val 111907"/>
              <a:gd name="adj4" fmla="val 49762"/>
              <a:gd name="adj5" fmla="val 123970"/>
              <a:gd name="adj6" fmla="val 65298"/>
            </a:avLst>
          </a:prstGeom>
          <a:solidFill>
            <a:schemeClr val="bg1">
              <a:alpha val="49000"/>
            </a:schemeClr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82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ru-RU" sz="1200" b="1" dirty="0">
                <a:solidFill>
                  <a:schemeClr val="accent2">
                    <a:lumMod val="75000"/>
                  </a:schemeClr>
                </a:solidFill>
              </a:rPr>
              <a:t>Амурский ГПЗ</a:t>
            </a:r>
            <a:endParaRPr lang="en-GB" sz="1200" b="1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Заказчик</a:t>
            </a:r>
            <a:r>
              <a:rPr lang="en-GB" altLang="de-DE" sz="1200" dirty="0">
                <a:solidFill>
                  <a:schemeClr val="accent2">
                    <a:lumMod val="75000"/>
                  </a:schemeClr>
                </a:solidFill>
              </a:rPr>
              <a:t>	</a:t>
            </a:r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АО «НИПИгазпереработка»</a:t>
            </a:r>
          </a:p>
          <a:p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                         / ПАО «Газпром»</a:t>
            </a:r>
            <a:endParaRPr lang="en-GB" altLang="de-DE" sz="1200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Распол.</a:t>
            </a:r>
            <a:r>
              <a:rPr lang="en-GB" altLang="de-DE" sz="1200" dirty="0">
                <a:solidFill>
                  <a:schemeClr val="accent2">
                    <a:lumMod val="75000"/>
                  </a:schemeClr>
                </a:solidFill>
              </a:rPr>
              <a:t>	</a:t>
            </a:r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г. Свободный</a:t>
            </a:r>
            <a:endParaRPr lang="en-GB" altLang="de-DE" sz="1200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Процесс</a:t>
            </a:r>
            <a:r>
              <a:rPr lang="en-GB" altLang="de-DE" sz="1200" dirty="0">
                <a:solidFill>
                  <a:schemeClr val="accent2">
                    <a:lumMod val="75000"/>
                  </a:schemeClr>
                </a:solidFill>
              </a:rPr>
              <a:t> 	</a:t>
            </a:r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Комбин. Извлечение ШФЛУ/</a:t>
            </a:r>
          </a:p>
          <a:p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                               азота, гелия</a:t>
            </a:r>
            <a:endParaRPr lang="en-GB" altLang="de-DE" sz="1200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Мощность</a:t>
            </a:r>
            <a:r>
              <a:rPr lang="en-GB" altLang="de-DE" sz="1200" dirty="0">
                <a:solidFill>
                  <a:schemeClr val="accent2">
                    <a:lumMod val="75000"/>
                  </a:schemeClr>
                </a:solidFill>
              </a:rPr>
              <a:t>	</a:t>
            </a:r>
            <a:r>
              <a:rPr lang="en-US" altLang="de-DE" sz="1200" dirty="0">
                <a:solidFill>
                  <a:schemeClr val="accent2">
                    <a:lumMod val="75000"/>
                  </a:schemeClr>
                </a:solidFill>
              </a:rPr>
              <a:t>6 x 875.000 </a:t>
            </a:r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нм3</a:t>
            </a:r>
            <a:r>
              <a:rPr lang="en-US" altLang="de-DE" sz="1200" dirty="0">
                <a:solidFill>
                  <a:schemeClr val="accent2">
                    <a:lumMod val="75000"/>
                  </a:schemeClr>
                </a:solidFill>
              </a:rPr>
              <a:t>/</a:t>
            </a:r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ч</a:t>
            </a:r>
            <a:r>
              <a:rPr lang="en-US" altLang="de-DE" sz="1200" dirty="0">
                <a:solidFill>
                  <a:schemeClr val="accent2">
                    <a:lumMod val="75000"/>
                  </a:schemeClr>
                </a:solidFill>
              </a:rPr>
              <a:t> </a:t>
            </a:r>
          </a:p>
          <a:p>
            <a:r>
              <a:rPr lang="ru-RU" altLang="de-DE" sz="1200" dirty="0">
                <a:solidFill>
                  <a:schemeClr val="accent2">
                    <a:lumMod val="75000"/>
                  </a:schemeClr>
                </a:solidFill>
              </a:rPr>
              <a:t>Объем </a:t>
            </a:r>
            <a:r>
              <a:rPr lang="de-DE" altLang="de-DE" sz="1200" dirty="0">
                <a:solidFill>
                  <a:schemeClr val="accent2">
                    <a:lumMod val="75000"/>
                  </a:schemeClr>
                </a:solidFill>
              </a:rPr>
              <a:t>Linde</a:t>
            </a:r>
            <a:r>
              <a:rPr lang="en-GB" altLang="de-DE" sz="1200" dirty="0">
                <a:solidFill>
                  <a:schemeClr val="accent2">
                    <a:lumMod val="75000"/>
                  </a:schemeClr>
                </a:solidFill>
              </a:rPr>
              <a:t> 	EPSS</a:t>
            </a:r>
            <a:r>
              <a:rPr lang="en-GB" sz="1200" b="0" dirty="0"/>
              <a:t> </a:t>
            </a:r>
          </a:p>
        </p:txBody>
      </p:sp>
      <p:sp>
        <p:nvSpPr>
          <p:cNvPr id="19" name="Oval 18"/>
          <p:cNvSpPr>
            <a:spLocks noChangeAspect="1"/>
          </p:cNvSpPr>
          <p:nvPr/>
        </p:nvSpPr>
        <p:spPr bwMode="auto">
          <a:xfrm>
            <a:off x="287524" y="4401108"/>
            <a:ext cx="192541" cy="192542"/>
          </a:xfrm>
          <a:prstGeom prst="ellipse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82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20" name="Oval 19"/>
          <p:cNvSpPr>
            <a:spLocks noChangeAspect="1"/>
          </p:cNvSpPr>
          <p:nvPr/>
        </p:nvSpPr>
        <p:spPr bwMode="auto">
          <a:xfrm>
            <a:off x="5904148" y="5313424"/>
            <a:ext cx="192541" cy="192542"/>
          </a:xfrm>
          <a:prstGeom prst="ellipse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82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pic>
        <p:nvPicPr>
          <p:cNvPr id="16" name="Grafik 1" descr="image00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1142" y="1366589"/>
            <a:ext cx="3108086" cy="1676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Bildplatzhalter 9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17" r="14517"/>
          <a:stretch/>
        </p:blipFill>
        <p:spPr bwMode="gray">
          <a:xfrm>
            <a:off x="4284152" y="3277783"/>
            <a:ext cx="2105259" cy="166338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453702AC-36B4-4381-BA83-6338346A135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2078" y="1366589"/>
            <a:ext cx="2234911" cy="1676183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B0DD6A01-A1D8-4791-B5A8-E2A067B1F1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84232" y="3277782"/>
            <a:ext cx="2136360" cy="1682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4047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8" name="Title 1"/>
          <p:cNvSpPr>
            <a:spLocks noGrp="1"/>
          </p:cNvSpPr>
          <p:nvPr>
            <p:ph type="title" idx="4294967295"/>
          </p:nvPr>
        </p:nvSpPr>
        <p:spPr>
          <a:xfrm>
            <a:off x="154141" y="147787"/>
            <a:ext cx="6697030" cy="1020762"/>
          </a:xfrm>
        </p:spPr>
        <p:txBody>
          <a:bodyPr/>
          <a:lstStyle/>
          <a:p>
            <a:pPr eaLnBrk="1" hangingPunct="1"/>
            <a:r>
              <a:rPr lang="en-US" dirty="0"/>
              <a:t>Linde Engineering</a:t>
            </a:r>
            <a:br>
              <a:rPr lang="en-US" dirty="0"/>
            </a:br>
            <a:r>
              <a:rPr lang="ru-RU" b="0" dirty="0"/>
              <a:t>Организация локализации производства</a:t>
            </a:r>
            <a:endParaRPr lang="en-US" b="0" dirty="0"/>
          </a:p>
        </p:txBody>
      </p:sp>
      <p:sp>
        <p:nvSpPr>
          <p:cNvPr id="6150" name="Slide Number Placeholder 4"/>
          <p:cNvSpPr txBox="1">
            <a:spLocks noGrp="1"/>
          </p:cNvSpPr>
          <p:nvPr/>
        </p:nvSpPr>
        <p:spPr bwMode="gray">
          <a:xfrm>
            <a:off x="6959600" y="6453188"/>
            <a:ext cx="186055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>
            <a:defPPr>
              <a:defRPr lang="en-US"/>
            </a:defPPr>
            <a:lvl1pPr algn="r">
              <a:lnSpc>
                <a:spcPct val="100000"/>
              </a:lnSpc>
              <a:defRPr sz="1400"/>
            </a:lvl1pPr>
          </a:lstStyle>
          <a:p>
            <a:fld id="{EAE39CC8-55C0-4E61-B62C-527734F31101}" type="slidenum">
              <a:rPr lang="en-GB"/>
              <a:pPr/>
              <a:t>8</a:t>
            </a:fld>
            <a:endParaRPr lang="en-GB"/>
          </a:p>
        </p:txBody>
      </p:sp>
      <p:sp>
        <p:nvSpPr>
          <p:cNvPr id="15" name="Прямоугольник 14"/>
          <p:cNvSpPr/>
          <p:nvPr/>
        </p:nvSpPr>
        <p:spPr>
          <a:xfrm>
            <a:off x="179512" y="1340768"/>
            <a:ext cx="4464496" cy="53322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Aft>
                <a:spcPts val="1200"/>
              </a:spcAft>
            </a:pPr>
            <a:r>
              <a:rPr lang="ru-RU" sz="1500" b="1" dirty="0">
                <a:solidFill>
                  <a:schemeClr val="accent1">
                    <a:lumMod val="75000"/>
                  </a:schemeClr>
                </a:solidFill>
              </a:rPr>
              <a:t>Соглашение о стратегическом сотрудничестве с ПАО «Газпром»</a:t>
            </a:r>
            <a:endParaRPr lang="en-US" sz="1500" b="1" dirty="0">
              <a:solidFill>
                <a:schemeClr val="accent1">
                  <a:lumMod val="75000"/>
                </a:schemeClr>
              </a:solidFill>
            </a:endParaRPr>
          </a:p>
          <a:p>
            <a:pPr algn="l">
              <a:spcAft>
                <a:spcPts val="1200"/>
              </a:spcAft>
            </a:pPr>
            <a:r>
              <a:rPr lang="ru-RU" sz="1500" dirty="0">
                <a:solidFill>
                  <a:schemeClr val="accent1">
                    <a:lumMod val="75000"/>
                  </a:schemeClr>
                </a:solidFill>
              </a:rPr>
              <a:t>В конце </a:t>
            </a:r>
            <a:r>
              <a:rPr lang="en-US" sz="1500" dirty="0">
                <a:solidFill>
                  <a:schemeClr val="accent1">
                    <a:lumMod val="75000"/>
                  </a:schemeClr>
                </a:solidFill>
              </a:rPr>
              <a:t>2015</a:t>
            </a:r>
            <a:r>
              <a:rPr lang="ru-RU" sz="1500" dirty="0">
                <a:solidFill>
                  <a:schemeClr val="accent1">
                    <a:lumMod val="75000"/>
                  </a:schemeClr>
                </a:solidFill>
              </a:rPr>
              <a:t> компании ПАО «Газпром» и </a:t>
            </a:r>
            <a:r>
              <a:rPr lang="en-US" sz="1500" dirty="0">
                <a:solidFill>
                  <a:schemeClr val="accent1">
                    <a:lumMod val="75000"/>
                  </a:schemeClr>
                </a:solidFill>
              </a:rPr>
              <a:t>Linde </a:t>
            </a:r>
            <a:r>
              <a:rPr lang="ru-RU" sz="1500" dirty="0">
                <a:solidFill>
                  <a:schemeClr val="accent1">
                    <a:lumMod val="75000"/>
                  </a:schemeClr>
                </a:solidFill>
              </a:rPr>
              <a:t>подписали Соглашение о стратегическом сотрудничестве для взаимодействия в следующих областях</a:t>
            </a:r>
            <a:r>
              <a:rPr lang="en-US" sz="1500" dirty="0">
                <a:solidFill>
                  <a:schemeClr val="accent1">
                    <a:lumMod val="75000"/>
                  </a:schemeClr>
                </a:solidFill>
              </a:rPr>
              <a:t>:</a:t>
            </a:r>
          </a:p>
          <a:p>
            <a:pPr marL="719138" lvl="1" indent="-261938" algn="l">
              <a:spcAft>
                <a:spcPts val="1200"/>
              </a:spcAft>
              <a:buFont typeface="Arial" pitchFamily="34" charset="0"/>
              <a:buChar char="•"/>
            </a:pPr>
            <a:r>
              <a:rPr lang="ru-RU" sz="1500" dirty="0">
                <a:solidFill>
                  <a:schemeClr val="accent1">
                    <a:lumMod val="75000"/>
                  </a:schemeClr>
                </a:solidFill>
              </a:rPr>
              <a:t>Переработка и сжижение природного газа</a:t>
            </a:r>
            <a:r>
              <a:rPr lang="en-US" sz="1500" dirty="0">
                <a:solidFill>
                  <a:schemeClr val="accent1">
                    <a:lumMod val="75000"/>
                  </a:schemeClr>
                </a:solidFill>
              </a:rPr>
              <a:t>.</a:t>
            </a:r>
          </a:p>
          <a:p>
            <a:pPr marL="719138" lvl="1" indent="-261938" algn="l">
              <a:spcAft>
                <a:spcPts val="1200"/>
              </a:spcAft>
              <a:buFont typeface="Arial" pitchFamily="34" charset="0"/>
              <a:buChar char="•"/>
            </a:pPr>
            <a:r>
              <a:rPr lang="ru-RU" sz="1500" dirty="0">
                <a:solidFill>
                  <a:schemeClr val="accent1">
                    <a:lumMod val="75000"/>
                  </a:schemeClr>
                </a:solidFill>
              </a:rPr>
              <a:t>Локализация производства оборудования для переработки и сжижения природного газа</a:t>
            </a:r>
            <a:r>
              <a:rPr lang="en-US" sz="1500" dirty="0">
                <a:solidFill>
                  <a:schemeClr val="accent1">
                    <a:lumMod val="75000"/>
                  </a:schemeClr>
                </a:solidFill>
              </a:rPr>
              <a:t>.</a:t>
            </a:r>
          </a:p>
          <a:p>
            <a:pPr marL="719138" lvl="1" indent="-261938" algn="l">
              <a:spcAft>
                <a:spcPts val="1200"/>
              </a:spcAft>
              <a:buFont typeface="Arial" pitchFamily="34" charset="0"/>
              <a:buChar char="•"/>
            </a:pPr>
            <a:r>
              <a:rPr lang="ru-RU" sz="1500" dirty="0">
                <a:solidFill>
                  <a:schemeClr val="accent1">
                    <a:lumMod val="75000"/>
                  </a:schemeClr>
                </a:solidFill>
              </a:rPr>
              <a:t>Совершенствование обучения персонала</a:t>
            </a:r>
            <a:endParaRPr lang="en-US" sz="1500" dirty="0">
              <a:solidFill>
                <a:schemeClr val="accent1">
                  <a:lumMod val="75000"/>
                </a:schemeClr>
              </a:solidFill>
            </a:endParaRPr>
          </a:p>
          <a:p>
            <a:pPr marL="0" lvl="1" algn="l">
              <a:spcAft>
                <a:spcPts val="1200"/>
              </a:spcAft>
            </a:pPr>
            <a:r>
              <a:rPr lang="ru-RU" sz="1500" b="1" dirty="0">
                <a:solidFill>
                  <a:schemeClr val="accent1">
                    <a:lumMod val="75000"/>
                  </a:schemeClr>
                </a:solidFill>
              </a:rPr>
              <a:t>Создание Совместного Предприятия с компанией ПАО «Силовые Машины»</a:t>
            </a:r>
          </a:p>
          <a:p>
            <a:pPr marL="0" lvl="1" algn="l">
              <a:spcAft>
                <a:spcPts val="1200"/>
              </a:spcAft>
            </a:pPr>
            <a:r>
              <a:rPr lang="de-DE" sz="1500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sz="1500" dirty="0">
                <a:solidFill>
                  <a:schemeClr val="accent1">
                    <a:lumMod val="75000"/>
                  </a:schemeClr>
                </a:solidFill>
              </a:rPr>
              <a:t>В конце 2016 года компании ПАО «Силовые Машины» и</a:t>
            </a:r>
            <a:r>
              <a:rPr lang="en-US" sz="1500" dirty="0">
                <a:solidFill>
                  <a:schemeClr val="accent1">
                    <a:lumMod val="75000"/>
                  </a:schemeClr>
                </a:solidFill>
              </a:rPr>
              <a:t> Linde</a:t>
            </a:r>
            <a:r>
              <a:rPr lang="ru-RU" sz="1500" dirty="0">
                <a:solidFill>
                  <a:schemeClr val="accent1">
                    <a:lumMod val="75000"/>
                  </a:schemeClr>
                </a:solidFill>
              </a:rPr>
              <a:t> создали Совместное Предприятие по производству спиральновитых теплообменников в г. Санкт-Петербург</a:t>
            </a:r>
            <a:endParaRPr lang="en-US" sz="15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8" name="Picture 5" descr="Bild1070">
            <a:extLst>
              <a:ext uri="{FF2B5EF4-FFF2-40B4-BE49-F238E27FC236}">
                <a16:creationId xmlns:a16="http://schemas.microsoft.com/office/drawing/2014/main" id="{F49BEB08-FE2E-4C39-910F-3416B33032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7951" y="1412592"/>
            <a:ext cx="4004389" cy="2664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16B5BF36-6D41-4D03-9530-DB1E574F47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7950" y="4734947"/>
            <a:ext cx="4004389" cy="179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9768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dirty="0">
                <a:ea typeface="MS PGothic" pitchFamily="34" charset="-128"/>
              </a:rPr>
              <a:t>Компания </a:t>
            </a:r>
            <a:r>
              <a:rPr lang="en-US" dirty="0">
                <a:ea typeface="MS PGothic" pitchFamily="34" charset="-128"/>
              </a:rPr>
              <a:t>The Linde Group </a:t>
            </a:r>
            <a:r>
              <a:rPr lang="ru-RU" dirty="0">
                <a:ea typeface="MS PGothic" pitchFamily="34" charset="-128"/>
              </a:rPr>
              <a:t>в России</a:t>
            </a:r>
            <a:br>
              <a:rPr lang="en-US" dirty="0">
                <a:ea typeface="MS PGothic" pitchFamily="34" charset="-128"/>
              </a:rPr>
            </a:br>
            <a:r>
              <a:rPr lang="ru-RU" b="0" dirty="0">
                <a:ea typeface="MS PGothic" pitchFamily="34" charset="-128"/>
              </a:rPr>
              <a:t>Перспективы и стратегия</a:t>
            </a:r>
            <a:endParaRPr lang="en-US" sz="1800" b="0" dirty="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13316" name="Inhaltsplatzhalter 1"/>
          <p:cNvSpPr>
            <a:spLocks noGrp="1"/>
          </p:cNvSpPr>
          <p:nvPr>
            <p:ph idx="1"/>
          </p:nvPr>
        </p:nvSpPr>
        <p:spPr>
          <a:xfrm>
            <a:off x="179512" y="1350770"/>
            <a:ext cx="8677275" cy="3590398"/>
          </a:xfrm>
        </p:spPr>
        <p:txBody>
          <a:bodyPr/>
          <a:lstStyle/>
          <a:p>
            <a:pPr>
              <a:spcBef>
                <a:spcPts val="1200"/>
              </a:spcBef>
              <a:spcAft>
                <a:spcPts val="0"/>
              </a:spcAft>
            </a:pPr>
            <a:r>
              <a:rPr lang="ru-RU" dirty="0"/>
              <a:t>Перспективы</a:t>
            </a:r>
            <a:endParaRPr lang="en-GB" dirty="0"/>
          </a:p>
          <a:p>
            <a:pPr lvl="2">
              <a:spcBef>
                <a:spcPts val="1200"/>
              </a:spcBef>
              <a:spcAft>
                <a:spcPts val="0"/>
              </a:spcAft>
            </a:pPr>
            <a:r>
              <a:rPr lang="ru-RU" dirty="0"/>
              <a:t>Россия является ведущим поставщиком углеводородов в мире и занимает  1-е место по запасам</a:t>
            </a:r>
            <a:endParaRPr lang="en-GB" dirty="0"/>
          </a:p>
          <a:p>
            <a:pPr lvl="2">
              <a:spcBef>
                <a:spcPts val="1200"/>
              </a:spcBef>
              <a:spcAft>
                <a:spcPts val="0"/>
              </a:spcAft>
            </a:pPr>
            <a:r>
              <a:rPr lang="en-GB" dirty="0"/>
              <a:t>Linde </a:t>
            </a:r>
            <a:r>
              <a:rPr lang="ru-RU" dirty="0"/>
              <a:t>признает стремление России наращивать собственные производственно-сбытовые цепочки и поддерживает эту стратегию расширяя свою деятельность на территории России, напр. через инвестиции в промышленные производства и содействие в разработке/локализации технологий/продукции в области газопереработки</a:t>
            </a:r>
            <a:endParaRPr lang="en-US" dirty="0"/>
          </a:p>
          <a:p>
            <a:pPr>
              <a:spcBef>
                <a:spcPts val="1200"/>
              </a:spcBef>
              <a:spcAft>
                <a:spcPts val="0"/>
              </a:spcAft>
            </a:pPr>
            <a:r>
              <a:rPr lang="ru-RU" dirty="0"/>
              <a:t>Стратегия</a:t>
            </a:r>
            <a:endParaRPr lang="en-GB" dirty="0"/>
          </a:p>
          <a:p>
            <a:pPr lvl="2">
              <a:spcBef>
                <a:spcPts val="1200"/>
              </a:spcBef>
              <a:spcAft>
                <a:spcPts val="0"/>
              </a:spcAft>
            </a:pPr>
            <a:r>
              <a:rPr lang="ru-RU" dirty="0"/>
              <a:t>Расширенная поддержка в локализации производства, напр. производства спиральновитых теплообменников или СПГ-заправочных станций</a:t>
            </a:r>
            <a:endParaRPr lang="en-GB" dirty="0"/>
          </a:p>
          <a:p>
            <a:pPr lvl="2">
              <a:spcBef>
                <a:spcPts val="1200"/>
              </a:spcBef>
              <a:spcAft>
                <a:spcPts val="0"/>
              </a:spcAft>
            </a:pPr>
            <a:r>
              <a:rPr lang="ru-RU" dirty="0"/>
              <a:t>Содействие в понимании/модернизации российских кодов и стандартов</a:t>
            </a:r>
            <a:endParaRPr lang="en-US" dirty="0"/>
          </a:p>
          <a:p>
            <a:pPr lvl="2">
              <a:spcBef>
                <a:spcPts val="1200"/>
              </a:spcBef>
              <a:spcAft>
                <a:spcPts val="0"/>
              </a:spcAft>
            </a:pPr>
            <a:r>
              <a:rPr lang="ru-RU" dirty="0"/>
              <a:t>Заблаговременная адаптация проектов для расширения возможностей к участию для российских производителей оборудования</a:t>
            </a:r>
            <a:endParaRPr lang="en-GB" dirty="0"/>
          </a:p>
          <a:p>
            <a:pPr lvl="2">
              <a:spcBef>
                <a:spcPts val="1200"/>
              </a:spcBef>
              <a:spcAft>
                <a:spcPts val="0"/>
              </a:spcAft>
            </a:pPr>
            <a:r>
              <a:rPr lang="ru-RU" dirty="0"/>
              <a:t>Расширение ресурсов для проектирования в России</a:t>
            </a:r>
            <a:endParaRPr lang="en-GB" dirty="0"/>
          </a:p>
          <a:p>
            <a:pPr lvl="2">
              <a:spcBef>
                <a:spcPts val="1200"/>
              </a:spcBef>
              <a:spcAft>
                <a:spcPts val="0"/>
              </a:spcAft>
            </a:pPr>
            <a:r>
              <a:rPr lang="ru-RU" dirty="0"/>
              <a:t>Поиск</a:t>
            </a:r>
            <a:r>
              <a:rPr lang="en-GB" dirty="0"/>
              <a:t>/</a:t>
            </a:r>
            <a:r>
              <a:rPr lang="ru-RU" dirty="0"/>
              <a:t>внедрение технологий для извлечения дополнительной прибыли в цепочках поставок природного газа</a:t>
            </a:r>
            <a:endParaRPr lang="en-GB" dirty="0"/>
          </a:p>
        </p:txBody>
      </p:sp>
      <p:sp>
        <p:nvSpPr>
          <p:cNvPr id="4" name="Slide Number Placeholder 4"/>
          <p:cNvSpPr txBox="1">
            <a:spLocks noGrp="1"/>
          </p:cNvSpPr>
          <p:nvPr/>
        </p:nvSpPr>
        <p:spPr bwMode="gray">
          <a:xfrm>
            <a:off x="6959600" y="6453188"/>
            <a:ext cx="186055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  <a:spcAft>
                <a:spcPct val="0"/>
              </a:spcAft>
            </a:pPr>
            <a:fld id="{EAE39CC8-55C0-4E61-B62C-527734F31101}" type="slidenum">
              <a:rPr lang="en-GB" sz="1400"/>
              <a:pPr algn="r">
                <a:lnSpc>
                  <a:spcPct val="100000"/>
                </a:lnSpc>
                <a:spcAft>
                  <a:spcPct val="0"/>
                </a:spcAft>
              </a:pPr>
              <a:t>9</a:t>
            </a:fld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33711388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_Linde_Group_Presentation_FY2014">
  <a:themeElements>
    <a:clrScheme name="Linde_PPTxp_Vorlage 1">
      <a:dk1>
        <a:srgbClr val="00305C"/>
      </a:dk1>
      <a:lt1>
        <a:srgbClr val="FFFFFF"/>
      </a:lt1>
      <a:dk2>
        <a:srgbClr val="D1D4CC"/>
      </a:dk2>
      <a:lt2>
        <a:srgbClr val="008AC4"/>
      </a:lt2>
      <a:accent1>
        <a:srgbClr val="00305C"/>
      </a:accent1>
      <a:accent2>
        <a:srgbClr val="0D5C91"/>
      </a:accent2>
      <a:accent3>
        <a:srgbClr val="FFFFFF"/>
      </a:accent3>
      <a:accent4>
        <a:srgbClr val="00274D"/>
      </a:accent4>
      <a:accent5>
        <a:srgbClr val="AAADB5"/>
      </a:accent5>
      <a:accent6>
        <a:srgbClr val="0B5383"/>
      </a:accent6>
      <a:hlink>
        <a:srgbClr val="6B8FB5"/>
      </a:hlink>
      <a:folHlink>
        <a:srgbClr val="B01C2E"/>
      </a:folHlink>
    </a:clrScheme>
    <a:fontScheme name="Linde_PPTxp_Vorlage">
      <a:majorFont>
        <a:latin typeface="LindeDaxPowerPoint"/>
        <a:ea typeface="ＭＳ Ｐゴシック"/>
        <a:cs typeface=""/>
      </a:majorFont>
      <a:minorFont>
        <a:latin typeface="LindeDaxPowerPoint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LindeDaxPowerPoint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LindeDaxPowerPoint" charset="0"/>
            <a:ea typeface="ＭＳ Ｐゴシック" charset="0"/>
          </a:defRPr>
        </a:defPPr>
      </a:lstStyle>
    </a:lnDef>
  </a:objectDefaults>
  <a:extraClrSchemeLst>
    <a:extraClrScheme>
      <a:clrScheme name="Linde_PPTxp_Vorlage 1">
        <a:dk1>
          <a:srgbClr val="00305C"/>
        </a:dk1>
        <a:lt1>
          <a:srgbClr val="FFFFFF"/>
        </a:lt1>
        <a:dk2>
          <a:srgbClr val="D1D4CC"/>
        </a:dk2>
        <a:lt2>
          <a:srgbClr val="008AC4"/>
        </a:lt2>
        <a:accent1>
          <a:srgbClr val="00305C"/>
        </a:accent1>
        <a:accent2>
          <a:srgbClr val="0D5C91"/>
        </a:accent2>
        <a:accent3>
          <a:srgbClr val="FFFFFF"/>
        </a:accent3>
        <a:accent4>
          <a:srgbClr val="00274D"/>
        </a:accent4>
        <a:accent5>
          <a:srgbClr val="AAADB5"/>
        </a:accent5>
        <a:accent6>
          <a:srgbClr val="0B5383"/>
        </a:accent6>
        <a:hlink>
          <a:srgbClr val="6B8FB5"/>
        </a:hlink>
        <a:folHlink>
          <a:srgbClr val="B01C2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TLG_PPT2010_Master_EN_2012-12-05">
  <a:themeElements>
    <a:clrScheme name="The Linde Group 3">
      <a:dk1>
        <a:srgbClr val="00305C"/>
      </a:dk1>
      <a:lt1>
        <a:srgbClr val="FFFFFF"/>
      </a:lt1>
      <a:dk2>
        <a:srgbClr val="D1D4CC"/>
      </a:dk2>
      <a:lt2>
        <a:srgbClr val="008AC4"/>
      </a:lt2>
      <a:accent1>
        <a:srgbClr val="00305C"/>
      </a:accent1>
      <a:accent2>
        <a:srgbClr val="0D5C91"/>
      </a:accent2>
      <a:accent3>
        <a:srgbClr val="6B8FB5"/>
      </a:accent3>
      <a:accent4>
        <a:srgbClr val="DCEAB2"/>
      </a:accent4>
      <a:accent5>
        <a:srgbClr val="C4BDA3"/>
      </a:accent5>
      <a:accent6>
        <a:srgbClr val="8A9199"/>
      </a:accent6>
      <a:hlink>
        <a:srgbClr val="00305C"/>
      </a:hlink>
      <a:folHlink>
        <a:srgbClr val="00305C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82800" numCol="1" rtlCol="0" anchor="t" anchorCtr="0" compatLnSpc="1">
        <a:prstTxWarp prst="textNoShape">
          <a:avLst/>
        </a:prstTxWarp>
      </a:bodyPr>
      <a:lstStyle>
        <a:defPPr marL="266700" marR="0" indent="-266700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 typeface="LindeDaxPowerPoint" pitchFamily="34" charset="0"/>
          <a:buChar char="—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lnDef>
  </a:objectDefaults>
  <a:extraClrSchemeLst>
    <a:extraClrScheme>
      <a:clrScheme name="Linde_PPTxp_Vorlage 1">
        <a:dk1>
          <a:srgbClr val="00305C"/>
        </a:dk1>
        <a:lt1>
          <a:srgbClr val="FFFFFF"/>
        </a:lt1>
        <a:dk2>
          <a:srgbClr val="D1D4CC"/>
        </a:dk2>
        <a:lt2>
          <a:srgbClr val="008AC4"/>
        </a:lt2>
        <a:accent1>
          <a:srgbClr val="00305C"/>
        </a:accent1>
        <a:accent2>
          <a:srgbClr val="0D5C91"/>
        </a:accent2>
        <a:accent3>
          <a:srgbClr val="FFFFFF"/>
        </a:accent3>
        <a:accent4>
          <a:srgbClr val="00274D"/>
        </a:accent4>
        <a:accent5>
          <a:srgbClr val="AAADB5"/>
        </a:accent5>
        <a:accent6>
          <a:srgbClr val="0B5383"/>
        </a:accent6>
        <a:hlink>
          <a:srgbClr val="6B8FB5"/>
        </a:hlink>
        <a:folHlink>
          <a:srgbClr val="B01C2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TLG_PPT2010_Master_EN_2012-12-05">
  <a:themeElements>
    <a:clrScheme name="The Linde Group 3">
      <a:dk1>
        <a:srgbClr val="00305C"/>
      </a:dk1>
      <a:lt1>
        <a:srgbClr val="FFFFFF"/>
      </a:lt1>
      <a:dk2>
        <a:srgbClr val="D1D4CC"/>
      </a:dk2>
      <a:lt2>
        <a:srgbClr val="008AC4"/>
      </a:lt2>
      <a:accent1>
        <a:srgbClr val="00305C"/>
      </a:accent1>
      <a:accent2>
        <a:srgbClr val="0D5C91"/>
      </a:accent2>
      <a:accent3>
        <a:srgbClr val="6B8FB5"/>
      </a:accent3>
      <a:accent4>
        <a:srgbClr val="DCEAB2"/>
      </a:accent4>
      <a:accent5>
        <a:srgbClr val="C4BDA3"/>
      </a:accent5>
      <a:accent6>
        <a:srgbClr val="8A9199"/>
      </a:accent6>
      <a:hlink>
        <a:srgbClr val="00305C"/>
      </a:hlink>
      <a:folHlink>
        <a:srgbClr val="00305C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82800" numCol="1" rtlCol="0" anchor="t" anchorCtr="0" compatLnSpc="1">
        <a:prstTxWarp prst="textNoShape">
          <a:avLst/>
        </a:prstTxWarp>
      </a:bodyPr>
      <a:lstStyle>
        <a:defPPr marL="266700" marR="0" indent="-266700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 typeface="LindeDaxPowerPoint" pitchFamily="34" charset="0"/>
          <a:buChar char="—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lnDef>
  </a:objectDefaults>
  <a:extraClrSchemeLst>
    <a:extraClrScheme>
      <a:clrScheme name="Linde_PPTxp_Vorlage 1">
        <a:dk1>
          <a:srgbClr val="00305C"/>
        </a:dk1>
        <a:lt1>
          <a:srgbClr val="FFFFFF"/>
        </a:lt1>
        <a:dk2>
          <a:srgbClr val="D1D4CC"/>
        </a:dk2>
        <a:lt2>
          <a:srgbClr val="008AC4"/>
        </a:lt2>
        <a:accent1>
          <a:srgbClr val="00305C"/>
        </a:accent1>
        <a:accent2>
          <a:srgbClr val="0D5C91"/>
        </a:accent2>
        <a:accent3>
          <a:srgbClr val="FFFFFF"/>
        </a:accent3>
        <a:accent4>
          <a:srgbClr val="00274D"/>
        </a:accent4>
        <a:accent5>
          <a:srgbClr val="AAADB5"/>
        </a:accent5>
        <a:accent6>
          <a:srgbClr val="0B5383"/>
        </a:accent6>
        <a:hlink>
          <a:srgbClr val="6B8FB5"/>
        </a:hlink>
        <a:folHlink>
          <a:srgbClr val="B01C2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-Design">
  <a:themeElements>
    <a:clrScheme name="">
      <a:dk1>
        <a:srgbClr val="00305C"/>
      </a:dk1>
      <a:lt1>
        <a:srgbClr val="FFFFFF"/>
      </a:lt1>
      <a:dk2>
        <a:srgbClr val="D1D4CC"/>
      </a:dk2>
      <a:lt2>
        <a:srgbClr val="008AC4"/>
      </a:lt2>
      <a:accent1>
        <a:srgbClr val="00305C"/>
      </a:accent1>
      <a:accent2>
        <a:srgbClr val="0D5C91"/>
      </a:accent2>
      <a:accent3>
        <a:srgbClr val="FFFFFF"/>
      </a:accent3>
      <a:accent4>
        <a:srgbClr val="00274D"/>
      </a:accent4>
      <a:accent5>
        <a:srgbClr val="AAADB5"/>
      </a:accent5>
      <a:accent6>
        <a:srgbClr val="0B5383"/>
      </a:accent6>
      <a:hlink>
        <a:srgbClr val="6B8FB5"/>
      </a:hlink>
      <a:folHlink>
        <a:srgbClr val="B01C2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-Design">
  <a:themeElements>
    <a:clrScheme name="">
      <a:dk1>
        <a:srgbClr val="45637A"/>
      </a:dk1>
      <a:lt1>
        <a:srgbClr val="FFFFFF"/>
      </a:lt1>
      <a:dk2>
        <a:srgbClr val="FFFFFF"/>
      </a:dk2>
      <a:lt2>
        <a:srgbClr val="000000"/>
      </a:lt2>
      <a:accent1>
        <a:srgbClr val="0D5C91"/>
      </a:accent1>
      <a:accent2>
        <a:srgbClr val="00A6D6"/>
      </a:accent2>
      <a:accent3>
        <a:srgbClr val="FFFFFF"/>
      </a:accent3>
      <a:accent4>
        <a:srgbClr val="3A5367"/>
      </a:accent4>
      <a:accent5>
        <a:srgbClr val="AAB5C7"/>
      </a:accent5>
      <a:accent6>
        <a:srgbClr val="0096C2"/>
      </a:accent6>
      <a:hlink>
        <a:srgbClr val="45637A"/>
      </a:hlink>
      <a:folHlink>
        <a:srgbClr val="BFD1D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Linde_PPTxp_Vorlage 1">
    <a:dk1>
      <a:srgbClr val="00305C"/>
    </a:dk1>
    <a:lt1>
      <a:srgbClr val="FFFFFF"/>
    </a:lt1>
    <a:dk2>
      <a:srgbClr val="D1D4CC"/>
    </a:dk2>
    <a:lt2>
      <a:srgbClr val="008AC4"/>
    </a:lt2>
    <a:accent1>
      <a:srgbClr val="00305C"/>
    </a:accent1>
    <a:accent2>
      <a:srgbClr val="0D5C91"/>
    </a:accent2>
    <a:accent3>
      <a:srgbClr val="FFFFFF"/>
    </a:accent3>
    <a:accent4>
      <a:srgbClr val="00274D"/>
    </a:accent4>
    <a:accent5>
      <a:srgbClr val="AAADB5"/>
    </a:accent5>
    <a:accent6>
      <a:srgbClr val="0B5383"/>
    </a:accent6>
    <a:hlink>
      <a:srgbClr val="6B8FB5"/>
    </a:hlink>
    <a:folHlink>
      <a:srgbClr val="B01C2E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he_Linde_Group_Presentation_FY2014</Template>
  <TotalTime>0</TotalTime>
  <Words>773</Words>
  <Application>Microsoft Office PowerPoint</Application>
  <PresentationFormat>On-screen Show (4:3)</PresentationFormat>
  <Paragraphs>264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1" baseType="lpstr">
      <vt:lpstr>MS PGothic</vt:lpstr>
      <vt:lpstr>MS PGothic</vt:lpstr>
      <vt:lpstr>Arial</vt:lpstr>
      <vt:lpstr>Calibri</vt:lpstr>
      <vt:lpstr>LindeDaxOffice</vt:lpstr>
      <vt:lpstr>LindeDaxPowerPoint</vt:lpstr>
      <vt:lpstr>Wingdings</vt:lpstr>
      <vt:lpstr>The_Linde_Group_Presentation_FY2014</vt:lpstr>
      <vt:lpstr>3_TLG_PPT2010_Master_EN_2012-12-05</vt:lpstr>
      <vt:lpstr>4_TLG_PPT2010_Master_EN_2012-12-05</vt:lpstr>
      <vt:lpstr>think-cell Folie</vt:lpstr>
      <vt:lpstr>Опыт, перспективы и стратегия компании Linde  в России </vt:lpstr>
      <vt:lpstr>Компания The Linde Group в мире Глобальное присутствие в более чем 100 странах, включая Россию</vt:lpstr>
      <vt:lpstr>Газовое и Инжиниринговое подразделения компании Linde Синергия инжиниринга и эксплуатации</vt:lpstr>
      <vt:lpstr>Linde Gas Референцные заводы в России</vt:lpstr>
      <vt:lpstr>Linde Gas Недавние проекты в России</vt:lpstr>
      <vt:lpstr>Linde Engineering Референцные заводы в России</vt:lpstr>
      <vt:lpstr>Linde Engineering Крупнейшие проекты в России (Реализуются) </vt:lpstr>
      <vt:lpstr>Linde Engineering Организация локализации производства</vt:lpstr>
      <vt:lpstr>Компания The Linde Group в России Перспективы и стратегия</vt:lpstr>
      <vt:lpstr>Спасибо за внимание</vt:lpstr>
    </vt:vector>
  </TitlesOfParts>
  <Company>Linde 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Linde Group 2015. Building on Strengths.</dc:title>
  <dc:creator>Marc Schier</dc:creator>
  <cp:lastModifiedBy>Andrei Kupriianov</cp:lastModifiedBy>
  <cp:revision>64</cp:revision>
  <cp:lastPrinted>2017-10-02T20:36:24Z</cp:lastPrinted>
  <dcterms:created xsi:type="dcterms:W3CDTF">2015-09-22T08:34:38Z</dcterms:created>
  <dcterms:modified xsi:type="dcterms:W3CDTF">2017-10-03T13:19:28Z</dcterms:modified>
</cp:coreProperties>
</file>